
<file path=[Content_Types].xml><?xml version="1.0" encoding="utf-8"?>
<Types xmlns="http://schemas.openxmlformats.org/package/2006/content-types">
  <Default Extension="jpeg" ContentType="image/jpe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4"/>
  </p:notesMasterIdLst>
  <p:sldIdLst>
    <p:sldId id="257" r:id="rId3"/>
    <p:sldId id="258" r:id="rId5"/>
    <p:sldId id="296" r:id="rId6"/>
    <p:sldId id="260" r:id="rId7"/>
    <p:sldId id="261" r:id="rId8"/>
    <p:sldId id="294" r:id="rId9"/>
    <p:sldId id="29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89" r:id="rId20"/>
    <p:sldId id="273" r:id="rId21"/>
    <p:sldId id="274" r:id="rId22"/>
    <p:sldId id="275" r:id="rId23"/>
    <p:sldId id="276" r:id="rId24"/>
    <p:sldId id="290" r:id="rId25"/>
    <p:sldId id="277" r:id="rId26"/>
    <p:sldId id="278" r:id="rId27"/>
    <p:sldId id="279" r:id="rId28"/>
    <p:sldId id="280" r:id="rId29"/>
    <p:sldId id="281" r:id="rId30"/>
    <p:sldId id="282" r:id="rId31"/>
    <p:sldId id="283" r:id="rId32"/>
    <p:sldId id="295" r:id="rId3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微软雅黑" panose="020B0503020204020204" pitchFamily="34" charset="-122"/>
      <p:regular r:id="rId41"/>
    </p:embeddedFont>
    <p:embeddedFont>
      <p:font typeface="MStiffHeiHK-UltraBold" panose="00000900000000000000" pitchFamily="2" charset="-120"/>
      <p:regular r:id="rId42"/>
    </p:embeddedFont>
  </p:embeddedFont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7A0000"/>
    <a:srgbClr val="C00000"/>
    <a:srgbClr val="000000"/>
    <a:srgbClr val="0085B4"/>
    <a:srgbClr val="FFE697"/>
    <a:srgbClr val="E2AC00"/>
    <a:srgbClr val="A8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94660"/>
  </p:normalViewPr>
  <p:slideViewPr>
    <p:cSldViewPr showGuides="1">
      <p:cViewPr varScale="1">
        <p:scale>
          <a:sx n="107" d="100"/>
          <a:sy n="107" d="100"/>
        </p:scale>
        <p:origin x="642" y="102"/>
      </p:cViewPr>
      <p:guideLst>
        <p:guide orient="horz" pos="2935"/>
        <p:guide pos="2200"/>
        <p:guide pos="1655"/>
        <p:guide pos="55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-16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2" Type="http://schemas.openxmlformats.org/officeDocument/2006/relationships/font" Target="fonts/font6.fntdata"/><Relationship Id="rId41" Type="http://schemas.openxmlformats.org/officeDocument/2006/relationships/font" Target="fonts/font5.fntdata"/><Relationship Id="rId40" Type="http://schemas.openxmlformats.org/officeDocument/2006/relationships/font" Target="fonts/font4.fntdata"/><Relationship Id="rId4" Type="http://schemas.openxmlformats.org/officeDocument/2006/relationships/notesMaster" Target="notesMasters/notesMaster1.xml"/><Relationship Id="rId39" Type="http://schemas.openxmlformats.org/officeDocument/2006/relationships/font" Target="fonts/font3.fntdata"/><Relationship Id="rId38" Type="http://schemas.openxmlformats.org/officeDocument/2006/relationships/font" Target="fonts/font2.fntdata"/><Relationship Id="rId37" Type="http://schemas.openxmlformats.org/officeDocument/2006/relationships/font" Target="fonts/font1.fntdata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1AB547A-21CA-4FE2-8074-137AC48904D8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BFD227CE-4BEB-409C-BC78-F81B5A3E78FD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6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</a:pPr>
            <a:fld id="{54872BF2-2671-4175-A40F-1916AA744974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smtClean="0"/>
          </a:p>
        </p:txBody>
      </p:sp>
      <p:sp>
        <p:nvSpPr>
          <p:cNvPr id="1126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</a:pPr>
            <a:fld id="{82ED1451-1561-4CEE-8EB7-EE71892F5681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79A5F-C2BF-40DD-BEB3-CD6FD2CBF9EE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B4BBD-3E76-46A0-8835-D8B038860CA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731E34-0334-4E25-8AEE-57AE057CF492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0605FC-5A00-4D97-90D0-CCDFB2ADF63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2F694B-09E4-4AEC-AFF7-40748B19FC5C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612BB4-FCAA-46F0-ADC1-6B67A1AB495C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27DC480-7EB7-42BD-A97C-D93B8DC0AED5}" type="datetimeFigureOut">
              <a:rPr lang="zh-CN" altLang="en-US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8A7158-FDA8-4E8C-85F5-CC802AE065FF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13E6FE-2D6F-40FF-BF56-FE6DD4FAF9AB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07B77B-4F3D-401B-AE8A-FEEBB815FB5C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7EA7D6-B99B-47E6-A056-19848F036587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DDBBB2-E412-43ED-BAD0-11AD8127A61E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F2F3BC-9C7F-47F4-8F8A-F24921F18CC2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B91125-0B46-4027-AE8B-72831D229825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25739B-4CB5-4A07-8ACF-CBEEF0A1327D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6BD48E-D6AC-400B-9D0F-54B1AEB7A4B6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CC6DC5-1ECD-4ADC-ADC1-47B27FF5E266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B0141D-AB35-490E-B5A4-860A700DF282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6"/>
          <p:cNvGrpSpPr/>
          <p:nvPr userDrawn="1"/>
        </p:nvGrpSpPr>
        <p:grpSpPr bwMode="auto">
          <a:xfrm>
            <a:off x="0" y="0"/>
            <a:ext cx="9145588" cy="33338"/>
            <a:chOff x="0" y="767888"/>
            <a:chExt cx="9145068" cy="33394"/>
          </a:xfrm>
        </p:grpSpPr>
        <p:sp>
          <p:nvSpPr>
            <p:cNvPr id="3" name="矩形 113"/>
            <p:cNvSpPr/>
            <p:nvPr/>
          </p:nvSpPr>
          <p:spPr>
            <a:xfrm>
              <a:off x="930222" y="767888"/>
              <a:ext cx="2136654" cy="33394"/>
            </a:xfrm>
            <a:custGeom>
              <a:avLst/>
              <a:gdLst/>
              <a:ahLst/>
              <a:cxnLst/>
              <a:rect l="l" t="t" r="r" b="b"/>
              <a:pathLst>
                <a:path w="2842792" h="33394">
                  <a:moveTo>
                    <a:pt x="0" y="0"/>
                  </a:moveTo>
                  <a:lnTo>
                    <a:pt x="2842792" y="0"/>
                  </a:lnTo>
                  <a:lnTo>
                    <a:pt x="28427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" name="矩形 29"/>
            <p:cNvSpPr/>
            <p:nvPr/>
          </p:nvSpPr>
          <p:spPr>
            <a:xfrm>
              <a:off x="2895435" y="767888"/>
              <a:ext cx="3189107" cy="33394"/>
            </a:xfrm>
            <a:custGeom>
              <a:avLst/>
              <a:gdLst/>
              <a:ahLst/>
              <a:cxnLst/>
              <a:rect l="l" t="t" r="r" b="b"/>
              <a:pathLst>
                <a:path w="5650088" h="33394">
                  <a:moveTo>
                    <a:pt x="0" y="0"/>
                  </a:moveTo>
                  <a:lnTo>
                    <a:pt x="5650088" y="0"/>
                  </a:lnTo>
                  <a:lnTo>
                    <a:pt x="5650088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" name="矩形 4"/>
            <p:cNvSpPr/>
            <p:nvPr/>
          </p:nvSpPr>
          <p:spPr>
            <a:xfrm>
              <a:off x="5940087" y="767888"/>
              <a:ext cx="3204981" cy="3339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" name="矩形 114"/>
            <p:cNvSpPr/>
            <p:nvPr/>
          </p:nvSpPr>
          <p:spPr>
            <a:xfrm>
              <a:off x="0" y="767888"/>
              <a:ext cx="1042929" cy="33394"/>
            </a:xfrm>
            <a:custGeom>
              <a:avLst/>
              <a:gdLst/>
              <a:ahLst/>
              <a:cxnLst/>
              <a:rect l="l" t="t" r="r" b="b"/>
              <a:pathLst>
                <a:path w="1042592" h="33394">
                  <a:moveTo>
                    <a:pt x="0" y="0"/>
                  </a:moveTo>
                  <a:lnTo>
                    <a:pt x="1042592" y="0"/>
                  </a:lnTo>
                  <a:lnTo>
                    <a:pt x="10425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7" name="组合 11"/>
          <p:cNvGrpSpPr/>
          <p:nvPr userDrawn="1"/>
        </p:nvGrpSpPr>
        <p:grpSpPr bwMode="auto">
          <a:xfrm>
            <a:off x="415925" y="4841875"/>
            <a:ext cx="8312150" cy="7938"/>
            <a:chOff x="0" y="767888"/>
            <a:chExt cx="9145068" cy="33394"/>
          </a:xfrm>
        </p:grpSpPr>
        <p:sp>
          <p:nvSpPr>
            <p:cNvPr id="8" name="矩形 113"/>
            <p:cNvSpPr/>
            <p:nvPr/>
          </p:nvSpPr>
          <p:spPr>
            <a:xfrm>
              <a:off x="930925" y="767888"/>
              <a:ext cx="2136061" cy="33394"/>
            </a:xfrm>
            <a:custGeom>
              <a:avLst/>
              <a:gdLst/>
              <a:ahLst/>
              <a:cxnLst/>
              <a:rect l="l" t="t" r="r" b="b"/>
              <a:pathLst>
                <a:path w="2842792" h="33394">
                  <a:moveTo>
                    <a:pt x="0" y="0"/>
                  </a:moveTo>
                  <a:lnTo>
                    <a:pt x="2842792" y="0"/>
                  </a:lnTo>
                  <a:lnTo>
                    <a:pt x="28427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" name="矩形 29"/>
            <p:cNvSpPr/>
            <p:nvPr/>
          </p:nvSpPr>
          <p:spPr>
            <a:xfrm>
              <a:off x="2894076" y="767888"/>
              <a:ext cx="3189246" cy="33394"/>
            </a:xfrm>
            <a:custGeom>
              <a:avLst/>
              <a:gdLst/>
              <a:ahLst/>
              <a:cxnLst/>
              <a:rect l="l" t="t" r="r" b="b"/>
              <a:pathLst>
                <a:path w="5650088" h="33394">
                  <a:moveTo>
                    <a:pt x="0" y="0"/>
                  </a:moveTo>
                  <a:lnTo>
                    <a:pt x="5650088" y="0"/>
                  </a:lnTo>
                  <a:lnTo>
                    <a:pt x="5650088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5940103" y="767888"/>
              <a:ext cx="3204965" cy="3339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1" name="矩形 114"/>
            <p:cNvSpPr/>
            <p:nvPr/>
          </p:nvSpPr>
          <p:spPr>
            <a:xfrm>
              <a:off x="0" y="767888"/>
              <a:ext cx="1042706" cy="33394"/>
            </a:xfrm>
            <a:custGeom>
              <a:avLst/>
              <a:gdLst/>
              <a:ahLst/>
              <a:cxnLst/>
              <a:rect l="l" t="t" r="r" b="b"/>
              <a:pathLst>
                <a:path w="1042592" h="33394">
                  <a:moveTo>
                    <a:pt x="0" y="0"/>
                  </a:moveTo>
                  <a:lnTo>
                    <a:pt x="1042592" y="0"/>
                  </a:lnTo>
                  <a:lnTo>
                    <a:pt x="10425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13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4F90A2-7916-4982-9DEC-A278654F54DC}" type="datetimeFigureOut">
              <a:rPr lang="zh-CN" altLang="en-US"/>
            </a:fld>
            <a:endParaRPr lang="zh-CN" altLang="en-US"/>
          </a:p>
        </p:txBody>
      </p:sp>
      <p:sp>
        <p:nvSpPr>
          <p:cNvPr id="15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F0E5447-8B71-479A-99C8-5D1FC3191B1E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482FAA-F496-4EF7-A36F-0E7150E82A7F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8C0BB4-5556-4B1F-86FA-DCBFC4A2DCB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A06EB7-5BCF-4D76-978C-C12754688200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A92A35-6036-41CD-B45B-069BBC9E9F7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smtClean="0"/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AA401799-30A5-4DA9-8A7E-4914E3F23838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1B15B132-47FC-4120-9F47-98E7E44461E2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.emf"/><Relationship Id="rId1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6.jpeg"/><Relationship Id="rId8" Type="http://schemas.openxmlformats.org/officeDocument/2006/relationships/image" Target="../media/image15.png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4" Type="http://schemas.openxmlformats.org/officeDocument/2006/relationships/slideLayout" Target="../slideLayouts/slideLayout7.xml"/><Relationship Id="rId13" Type="http://schemas.openxmlformats.org/officeDocument/2006/relationships/image" Target="../media/image20.png"/><Relationship Id="rId12" Type="http://schemas.openxmlformats.org/officeDocument/2006/relationships/image" Target="../media/image19.png"/><Relationship Id="rId11" Type="http://schemas.openxmlformats.org/officeDocument/2006/relationships/image" Target="../media/image18.png"/><Relationship Id="rId10" Type="http://schemas.openxmlformats.org/officeDocument/2006/relationships/image" Target="../media/image17.jpeg"/><Relationship Id="rId1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29.png"/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image" Target="../media/image30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image" Target="../media/image33.jpeg"/></Relationships>
</file>

<file path=ppt/slides/_rels/slide2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7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6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2.emf"/><Relationship Id="rId1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76" descr="E:\迅雷下载\shutterstock_103328714.jpg"/>
          <p:cNvPicPr>
            <a:picLocks noChangeAspect="1" noChangeArrowheads="1"/>
          </p:cNvPicPr>
          <p:nvPr/>
        </p:nvPicPr>
        <p:blipFill rotWithShape="1">
          <a:blip r:embed="rId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31"/>
          <a:stretch>
            <a:fillRect/>
          </a:stretch>
        </p:blipFill>
        <p:spPr bwMode="auto">
          <a:xfrm>
            <a:off x="7909" y="0"/>
            <a:ext cx="9145069" cy="5173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1" name="TextBox 200"/>
          <p:cNvSpPr txBox="1">
            <a:spLocks noChangeArrowheads="1"/>
          </p:cNvSpPr>
          <p:nvPr/>
        </p:nvSpPr>
        <p:spPr bwMode="auto">
          <a:xfrm>
            <a:off x="1325563" y="708025"/>
            <a:ext cx="329723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dist" eaLnBrk="1" hangingPunct="1">
              <a:spcBef>
                <a:spcPct val="0"/>
              </a:spcBef>
              <a:buFontTx/>
              <a:buNone/>
            </a:pPr>
            <a:r>
              <a:rPr lang="en-US" altLang="zh-CN" sz="3600" b="1">
                <a:solidFill>
                  <a:srgbClr val="C00000"/>
                </a:solidFill>
                <a:latin typeface="Kozuka Gothic Pro H" panose="020B0800000000000000" pitchFamily="34" charset="-128"/>
                <a:ea typeface="Kozuka Gothic Pro H" panose="020B0800000000000000" pitchFamily="34" charset="-128"/>
              </a:rPr>
              <a:t>POWERPOINT</a:t>
            </a:r>
            <a:endParaRPr lang="zh-CN" altLang="en-US" sz="3600" b="1">
              <a:solidFill>
                <a:srgbClr val="C00000"/>
              </a:solidFill>
              <a:latin typeface="Kozuka Gothic Pro H" panose="020B0800000000000000" pitchFamily="34" charset="-128"/>
              <a:ea typeface="Kozuka Gothic Pro H" panose="020B0800000000000000" pitchFamily="34" charset="-128"/>
            </a:endParaRPr>
          </a:p>
        </p:txBody>
      </p:sp>
      <p:sp>
        <p:nvSpPr>
          <p:cNvPr id="6" name="任意多边形 5"/>
          <p:cNvSpPr/>
          <p:nvPr/>
        </p:nvSpPr>
        <p:spPr>
          <a:xfrm>
            <a:off x="607932" y="4692096"/>
            <a:ext cx="8521554" cy="417082"/>
          </a:xfrm>
          <a:custGeom>
            <a:avLst/>
            <a:gdLst>
              <a:gd name="connsiteX0" fmla="*/ 0 w 7132320"/>
              <a:gd name="connsiteY0" fmla="*/ 0 h 777240"/>
              <a:gd name="connsiteX1" fmla="*/ 7132320 w 7132320"/>
              <a:gd name="connsiteY1" fmla="*/ 205740 h 777240"/>
              <a:gd name="connsiteX2" fmla="*/ 7109460 w 7132320"/>
              <a:gd name="connsiteY2" fmla="*/ 731520 h 777240"/>
              <a:gd name="connsiteX3" fmla="*/ 114300 w 7132320"/>
              <a:gd name="connsiteY3" fmla="*/ 777240 h 777240"/>
              <a:gd name="connsiteX4" fmla="*/ 0 w 7132320"/>
              <a:gd name="connsiteY4" fmla="*/ 0 h 777240"/>
              <a:gd name="connsiteX0-1" fmla="*/ 0 w 7132320"/>
              <a:gd name="connsiteY0-2" fmla="*/ 0 h 852139"/>
              <a:gd name="connsiteX1-3" fmla="*/ 7132320 w 7132320"/>
              <a:gd name="connsiteY1-4" fmla="*/ 205740 h 852139"/>
              <a:gd name="connsiteX2-5" fmla="*/ 7130799 w 7132320"/>
              <a:gd name="connsiteY2-6" fmla="*/ 852139 h 852139"/>
              <a:gd name="connsiteX3-7" fmla="*/ 114300 w 7132320"/>
              <a:gd name="connsiteY3-8" fmla="*/ 777240 h 852139"/>
              <a:gd name="connsiteX4-9" fmla="*/ 0 w 7132320"/>
              <a:gd name="connsiteY4-10" fmla="*/ 0 h 852139"/>
              <a:gd name="connsiteX0-11" fmla="*/ 0 w 7152138"/>
              <a:gd name="connsiteY0-12" fmla="*/ 0 h 1066574"/>
              <a:gd name="connsiteX1-13" fmla="*/ 7132320 w 7152138"/>
              <a:gd name="connsiteY1-14" fmla="*/ 205740 h 1066574"/>
              <a:gd name="connsiteX2-15" fmla="*/ 7152138 w 7152138"/>
              <a:gd name="connsiteY2-16" fmla="*/ 1066574 h 1066574"/>
              <a:gd name="connsiteX3-17" fmla="*/ 114300 w 7152138"/>
              <a:gd name="connsiteY3-18" fmla="*/ 777240 h 1066574"/>
              <a:gd name="connsiteX4-19" fmla="*/ 0 w 7152138"/>
              <a:gd name="connsiteY4-20" fmla="*/ 0 h 1066574"/>
              <a:gd name="connsiteX0-21" fmla="*/ 0 w 7160771"/>
              <a:gd name="connsiteY0-22" fmla="*/ 0 h 1066574"/>
              <a:gd name="connsiteX1-23" fmla="*/ 7160771 w 7160771"/>
              <a:gd name="connsiteY1-24" fmla="*/ 581000 h 1066574"/>
              <a:gd name="connsiteX2-25" fmla="*/ 7152138 w 7160771"/>
              <a:gd name="connsiteY2-26" fmla="*/ 1066574 h 1066574"/>
              <a:gd name="connsiteX3-27" fmla="*/ 114300 w 7160771"/>
              <a:gd name="connsiteY3-28" fmla="*/ 777240 h 1066574"/>
              <a:gd name="connsiteX4-29" fmla="*/ 0 w 7160771"/>
              <a:gd name="connsiteY4-30" fmla="*/ 0 h 1066574"/>
              <a:gd name="connsiteX0-31" fmla="*/ 0 w 7096757"/>
              <a:gd name="connsiteY0-32" fmla="*/ 0 h 1629465"/>
              <a:gd name="connsiteX1-33" fmla="*/ 7096757 w 7096757"/>
              <a:gd name="connsiteY1-34" fmla="*/ 1143891 h 1629465"/>
              <a:gd name="connsiteX2-35" fmla="*/ 7088124 w 7096757"/>
              <a:gd name="connsiteY2-36" fmla="*/ 1629465 h 1629465"/>
              <a:gd name="connsiteX3-37" fmla="*/ 50286 w 7096757"/>
              <a:gd name="connsiteY3-38" fmla="*/ 1340131 h 1629465"/>
              <a:gd name="connsiteX4-39" fmla="*/ 0 w 7096757"/>
              <a:gd name="connsiteY4-40" fmla="*/ 0 h 1629465"/>
              <a:gd name="connsiteX0-41" fmla="*/ 0 w 7096757"/>
              <a:gd name="connsiteY0-42" fmla="*/ 0 h 1629465"/>
              <a:gd name="connsiteX1-43" fmla="*/ 7096757 w 7096757"/>
              <a:gd name="connsiteY1-44" fmla="*/ 1143891 h 1629465"/>
              <a:gd name="connsiteX2-45" fmla="*/ 7088124 w 7096757"/>
              <a:gd name="connsiteY2-46" fmla="*/ 1629465 h 1629465"/>
              <a:gd name="connsiteX3-47" fmla="*/ 55287 w 7096757"/>
              <a:gd name="connsiteY3-48" fmla="*/ 1358738 h 1629465"/>
              <a:gd name="connsiteX4-49" fmla="*/ 0 w 7096757"/>
              <a:gd name="connsiteY4-50" fmla="*/ 0 h 162946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7096757" h="1629465">
                <a:moveTo>
                  <a:pt x="0" y="0"/>
                </a:moveTo>
                <a:lnTo>
                  <a:pt x="7096757" y="1143891"/>
                </a:lnTo>
                <a:lnTo>
                  <a:pt x="7088124" y="1629465"/>
                </a:lnTo>
                <a:lnTo>
                  <a:pt x="55287" y="135873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920000"/>
              </a:gs>
              <a:gs pos="24000">
                <a:srgbClr val="4C0000"/>
              </a:gs>
              <a:gs pos="100000">
                <a:srgbClr val="786F44">
                  <a:alpha val="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" name="任意多边形 6"/>
          <p:cNvSpPr/>
          <p:nvPr/>
        </p:nvSpPr>
        <p:spPr>
          <a:xfrm>
            <a:off x="420688" y="3792538"/>
            <a:ext cx="2095500" cy="439737"/>
          </a:xfrm>
          <a:custGeom>
            <a:avLst/>
            <a:gdLst>
              <a:gd name="connsiteX0" fmla="*/ 388800 w 1872000"/>
              <a:gd name="connsiteY0" fmla="*/ 0 h 626400"/>
              <a:gd name="connsiteX1" fmla="*/ 1872000 w 1872000"/>
              <a:gd name="connsiteY1" fmla="*/ 100800 h 626400"/>
              <a:gd name="connsiteX2" fmla="*/ 396000 w 1872000"/>
              <a:gd name="connsiteY2" fmla="*/ 626400 h 626400"/>
              <a:gd name="connsiteX3" fmla="*/ 0 w 1872000"/>
              <a:gd name="connsiteY3" fmla="*/ 424800 h 626400"/>
              <a:gd name="connsiteX4" fmla="*/ 144000 w 1872000"/>
              <a:gd name="connsiteY4" fmla="*/ 7200 h 626400"/>
              <a:gd name="connsiteX5" fmla="*/ 388800 w 1872000"/>
              <a:gd name="connsiteY5" fmla="*/ 0 h 626400"/>
              <a:gd name="connsiteX0-1" fmla="*/ 388800 w 1872000"/>
              <a:gd name="connsiteY0-2" fmla="*/ 0 h 547200"/>
              <a:gd name="connsiteX1-3" fmla="*/ 1872000 w 1872000"/>
              <a:gd name="connsiteY1-4" fmla="*/ 100800 h 547200"/>
              <a:gd name="connsiteX2-5" fmla="*/ 547200 w 1872000"/>
              <a:gd name="connsiteY2-6" fmla="*/ 547200 h 547200"/>
              <a:gd name="connsiteX3-7" fmla="*/ 0 w 1872000"/>
              <a:gd name="connsiteY3-8" fmla="*/ 424800 h 547200"/>
              <a:gd name="connsiteX4-9" fmla="*/ 144000 w 1872000"/>
              <a:gd name="connsiteY4-10" fmla="*/ 7200 h 547200"/>
              <a:gd name="connsiteX5-11" fmla="*/ 388800 w 1872000"/>
              <a:gd name="connsiteY5-12" fmla="*/ 0 h 547200"/>
              <a:gd name="connsiteX0-13" fmla="*/ 388800 w 1872000"/>
              <a:gd name="connsiteY0-14" fmla="*/ 0 h 547902"/>
              <a:gd name="connsiteX1-15" fmla="*/ 1872000 w 1872000"/>
              <a:gd name="connsiteY1-16" fmla="*/ 100800 h 547902"/>
              <a:gd name="connsiteX2-17" fmla="*/ 547200 w 1872000"/>
              <a:gd name="connsiteY2-18" fmla="*/ 547200 h 547902"/>
              <a:gd name="connsiteX3-19" fmla="*/ 0 w 1872000"/>
              <a:gd name="connsiteY3-20" fmla="*/ 424800 h 547902"/>
              <a:gd name="connsiteX4-21" fmla="*/ 144000 w 1872000"/>
              <a:gd name="connsiteY4-22" fmla="*/ 7200 h 547902"/>
              <a:gd name="connsiteX5-23" fmla="*/ 388800 w 1872000"/>
              <a:gd name="connsiteY5-24" fmla="*/ 0 h 547902"/>
              <a:gd name="connsiteX0-25" fmla="*/ 388800 w 1872000"/>
              <a:gd name="connsiteY0-26" fmla="*/ 0 h 547200"/>
              <a:gd name="connsiteX1-27" fmla="*/ 1872000 w 1872000"/>
              <a:gd name="connsiteY1-28" fmla="*/ 100800 h 547200"/>
              <a:gd name="connsiteX2-29" fmla="*/ 547200 w 1872000"/>
              <a:gd name="connsiteY2-30" fmla="*/ 547200 h 547200"/>
              <a:gd name="connsiteX3-31" fmla="*/ 0 w 1872000"/>
              <a:gd name="connsiteY3-32" fmla="*/ 424800 h 547200"/>
              <a:gd name="connsiteX4-33" fmla="*/ 144000 w 1872000"/>
              <a:gd name="connsiteY4-34" fmla="*/ 7200 h 547200"/>
              <a:gd name="connsiteX5-35" fmla="*/ 388800 w 1872000"/>
              <a:gd name="connsiteY5-36" fmla="*/ 0 h 547200"/>
              <a:gd name="connsiteX0-37" fmla="*/ 388800 w 1872000"/>
              <a:gd name="connsiteY0-38" fmla="*/ 0 h 547200"/>
              <a:gd name="connsiteX1-39" fmla="*/ 1872000 w 1872000"/>
              <a:gd name="connsiteY1-40" fmla="*/ 100800 h 547200"/>
              <a:gd name="connsiteX2-41" fmla="*/ 547200 w 1872000"/>
              <a:gd name="connsiteY2-42" fmla="*/ 547200 h 547200"/>
              <a:gd name="connsiteX3-43" fmla="*/ 0 w 1872000"/>
              <a:gd name="connsiteY3-44" fmla="*/ 424800 h 547200"/>
              <a:gd name="connsiteX4-45" fmla="*/ 144000 w 1872000"/>
              <a:gd name="connsiteY4-46" fmla="*/ 7200 h 547200"/>
              <a:gd name="connsiteX5-47" fmla="*/ 388800 w 1872000"/>
              <a:gd name="connsiteY5-48" fmla="*/ 0 h 547200"/>
              <a:gd name="connsiteX0-49" fmla="*/ 522150 w 2005350"/>
              <a:gd name="connsiteY0-50" fmla="*/ 0 h 547200"/>
              <a:gd name="connsiteX1-51" fmla="*/ 2005350 w 2005350"/>
              <a:gd name="connsiteY1-52" fmla="*/ 100800 h 547200"/>
              <a:gd name="connsiteX2-53" fmla="*/ 680550 w 2005350"/>
              <a:gd name="connsiteY2-54" fmla="*/ 547200 h 547200"/>
              <a:gd name="connsiteX3-55" fmla="*/ 0 w 2005350"/>
              <a:gd name="connsiteY3-56" fmla="*/ 367650 h 547200"/>
              <a:gd name="connsiteX4-57" fmla="*/ 277350 w 2005350"/>
              <a:gd name="connsiteY4-58" fmla="*/ 7200 h 547200"/>
              <a:gd name="connsiteX5-59" fmla="*/ 522150 w 2005350"/>
              <a:gd name="connsiteY5-60" fmla="*/ 0 h 547200"/>
              <a:gd name="connsiteX0-61" fmla="*/ 603112 w 2086312"/>
              <a:gd name="connsiteY0-62" fmla="*/ 0 h 547200"/>
              <a:gd name="connsiteX1-63" fmla="*/ 2086312 w 2086312"/>
              <a:gd name="connsiteY1-64" fmla="*/ 100800 h 547200"/>
              <a:gd name="connsiteX2-65" fmla="*/ 761512 w 2086312"/>
              <a:gd name="connsiteY2-66" fmla="*/ 547200 h 547200"/>
              <a:gd name="connsiteX3-67" fmla="*/ 0 w 2086312"/>
              <a:gd name="connsiteY3-68" fmla="*/ 258113 h 547200"/>
              <a:gd name="connsiteX4-69" fmla="*/ 358312 w 2086312"/>
              <a:gd name="connsiteY4-70" fmla="*/ 7200 h 547200"/>
              <a:gd name="connsiteX5-71" fmla="*/ 603112 w 2086312"/>
              <a:gd name="connsiteY5-72" fmla="*/ 0 h 547200"/>
              <a:gd name="connsiteX0-73" fmla="*/ 603112 w 2086312"/>
              <a:gd name="connsiteY0-74" fmla="*/ 0 h 547200"/>
              <a:gd name="connsiteX1-75" fmla="*/ 2086312 w 2086312"/>
              <a:gd name="connsiteY1-76" fmla="*/ 100800 h 547200"/>
              <a:gd name="connsiteX2-77" fmla="*/ 761512 w 2086312"/>
              <a:gd name="connsiteY2-78" fmla="*/ 547200 h 547200"/>
              <a:gd name="connsiteX3-79" fmla="*/ 0 w 2086312"/>
              <a:gd name="connsiteY3-80" fmla="*/ 258113 h 547200"/>
              <a:gd name="connsiteX4-81" fmla="*/ 358312 w 2086312"/>
              <a:gd name="connsiteY4-82" fmla="*/ 7200 h 547200"/>
              <a:gd name="connsiteX5-83" fmla="*/ 603112 w 2086312"/>
              <a:gd name="connsiteY5-84" fmla="*/ 0 h 5472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086312" h="547200">
                <a:moveTo>
                  <a:pt x="603112" y="0"/>
                </a:moveTo>
                <a:lnTo>
                  <a:pt x="2086312" y="100800"/>
                </a:lnTo>
                <a:lnTo>
                  <a:pt x="761512" y="547200"/>
                </a:lnTo>
                <a:cubicBezTo>
                  <a:pt x="168712" y="470400"/>
                  <a:pt x="106087" y="401588"/>
                  <a:pt x="0" y="258113"/>
                </a:cubicBezTo>
                <a:lnTo>
                  <a:pt x="358312" y="7200"/>
                </a:lnTo>
                <a:lnTo>
                  <a:pt x="603112" y="0"/>
                </a:lnTo>
                <a:close/>
              </a:path>
            </a:pathLst>
          </a:custGeom>
          <a:solidFill>
            <a:srgbClr val="7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8" name="Freeform 203"/>
          <p:cNvSpPr/>
          <p:nvPr/>
        </p:nvSpPr>
        <p:spPr bwMode="auto">
          <a:xfrm>
            <a:off x="939800" y="3713163"/>
            <a:ext cx="2314575" cy="215900"/>
          </a:xfrm>
          <a:custGeom>
            <a:avLst/>
            <a:gdLst>
              <a:gd name="T0" fmla="*/ 15 w 614"/>
              <a:gd name="T1" fmla="*/ 13 h 72"/>
              <a:gd name="T2" fmla="*/ 399 w 614"/>
              <a:gd name="T3" fmla="*/ 24 h 72"/>
              <a:gd name="T4" fmla="*/ 614 w 614"/>
              <a:gd name="T5" fmla="*/ 0 h 72"/>
              <a:gd name="T6" fmla="*/ 606 w 614"/>
              <a:gd name="T7" fmla="*/ 19 h 72"/>
              <a:gd name="T8" fmla="*/ 0 w 614"/>
              <a:gd name="T9" fmla="*/ 20 h 72"/>
              <a:gd name="T10" fmla="*/ 15 w 614"/>
              <a:gd name="T11" fmla="*/ 13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4" h="72">
                <a:moveTo>
                  <a:pt x="15" y="13"/>
                </a:moveTo>
                <a:cubicBezTo>
                  <a:pt x="81" y="31"/>
                  <a:pt x="272" y="35"/>
                  <a:pt x="399" y="24"/>
                </a:cubicBezTo>
                <a:cubicBezTo>
                  <a:pt x="471" y="18"/>
                  <a:pt x="543" y="9"/>
                  <a:pt x="614" y="0"/>
                </a:cubicBezTo>
                <a:cubicBezTo>
                  <a:pt x="606" y="19"/>
                  <a:pt x="606" y="19"/>
                  <a:pt x="606" y="19"/>
                </a:cubicBezTo>
                <a:cubicBezTo>
                  <a:pt x="410" y="72"/>
                  <a:pt x="75" y="71"/>
                  <a:pt x="0" y="20"/>
                </a:cubicBezTo>
                <a:cubicBezTo>
                  <a:pt x="5" y="18"/>
                  <a:pt x="10" y="16"/>
                  <a:pt x="15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9" name="Freeform 206"/>
          <p:cNvSpPr/>
          <p:nvPr/>
        </p:nvSpPr>
        <p:spPr bwMode="auto">
          <a:xfrm>
            <a:off x="331788" y="4129088"/>
            <a:ext cx="3260725" cy="906462"/>
          </a:xfrm>
          <a:custGeom>
            <a:avLst/>
            <a:gdLst>
              <a:gd name="T0" fmla="*/ 2147483646 w 866"/>
              <a:gd name="T1" fmla="*/ 2147483646 h 301"/>
              <a:gd name="T2" fmla="*/ 2147483646 w 866"/>
              <a:gd name="T3" fmla="*/ 2147483646 h 301"/>
              <a:gd name="T4" fmla="*/ 2147483646 w 866"/>
              <a:gd name="T5" fmla="*/ 2147483646 h 301"/>
              <a:gd name="T6" fmla="*/ 2147483646 w 866"/>
              <a:gd name="T7" fmla="*/ 2147483646 h 301"/>
              <a:gd name="T8" fmla="*/ 2147483646 w 866"/>
              <a:gd name="T9" fmla="*/ 2147483646 h 301"/>
              <a:gd name="T10" fmla="*/ 2147483646 w 866"/>
              <a:gd name="T11" fmla="*/ 0 h 301"/>
              <a:gd name="T12" fmla="*/ 2147483646 w 866"/>
              <a:gd name="T13" fmla="*/ 2147483646 h 3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66" h="301">
                <a:moveTo>
                  <a:pt x="866" y="6"/>
                </a:moveTo>
                <a:cubicBezTo>
                  <a:pt x="840" y="25"/>
                  <a:pt x="799" y="57"/>
                  <a:pt x="787" y="63"/>
                </a:cubicBezTo>
                <a:cubicBezTo>
                  <a:pt x="576" y="168"/>
                  <a:pt x="79" y="278"/>
                  <a:pt x="88" y="301"/>
                </a:cubicBezTo>
                <a:cubicBezTo>
                  <a:pt x="62" y="294"/>
                  <a:pt x="2" y="278"/>
                  <a:pt x="2" y="274"/>
                </a:cubicBezTo>
                <a:cubicBezTo>
                  <a:pt x="0" y="257"/>
                  <a:pt x="308" y="165"/>
                  <a:pt x="461" y="121"/>
                </a:cubicBezTo>
                <a:cubicBezTo>
                  <a:pt x="592" y="84"/>
                  <a:pt x="722" y="40"/>
                  <a:pt x="852" y="0"/>
                </a:cubicBezTo>
                <a:cubicBezTo>
                  <a:pt x="857" y="2"/>
                  <a:pt x="861" y="4"/>
                  <a:pt x="866" y="6"/>
                </a:cubicBezTo>
                <a:close/>
              </a:path>
            </a:pathLst>
          </a:custGeom>
          <a:solidFill>
            <a:srgbClr val="92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1" name="Freeform 208"/>
          <p:cNvSpPr/>
          <p:nvPr/>
        </p:nvSpPr>
        <p:spPr bwMode="auto">
          <a:xfrm>
            <a:off x="38100" y="1912938"/>
            <a:ext cx="6775450" cy="2251075"/>
          </a:xfrm>
          <a:custGeom>
            <a:avLst/>
            <a:gdLst>
              <a:gd name="T0" fmla="*/ 2147483646 w 1799"/>
              <a:gd name="T1" fmla="*/ 2147483646 h 748"/>
              <a:gd name="T2" fmla="*/ 2147483646 w 1799"/>
              <a:gd name="T3" fmla="*/ 2147483646 h 748"/>
              <a:gd name="T4" fmla="*/ 2147483646 w 1799"/>
              <a:gd name="T5" fmla="*/ 0 h 748"/>
              <a:gd name="T6" fmla="*/ 2147483646 w 1799"/>
              <a:gd name="T7" fmla="*/ 0 h 748"/>
              <a:gd name="T8" fmla="*/ 2147483646 w 1799"/>
              <a:gd name="T9" fmla="*/ 2147483646 h 748"/>
              <a:gd name="T10" fmla="*/ 2147483646 w 1799"/>
              <a:gd name="T11" fmla="*/ 2147483646 h 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799" h="748">
                <a:moveTo>
                  <a:pt x="180" y="748"/>
                </a:moveTo>
                <a:cubicBezTo>
                  <a:pt x="140" y="708"/>
                  <a:pt x="244" y="596"/>
                  <a:pt x="504" y="564"/>
                </a:cubicBezTo>
                <a:cubicBezTo>
                  <a:pt x="1023" y="480"/>
                  <a:pt x="1739" y="476"/>
                  <a:pt x="1799" y="0"/>
                </a:cubicBezTo>
                <a:cubicBezTo>
                  <a:pt x="1791" y="0"/>
                  <a:pt x="1795" y="0"/>
                  <a:pt x="1783" y="0"/>
                </a:cubicBezTo>
                <a:cubicBezTo>
                  <a:pt x="1719" y="376"/>
                  <a:pt x="1315" y="412"/>
                  <a:pt x="456" y="520"/>
                </a:cubicBezTo>
                <a:cubicBezTo>
                  <a:pt x="120" y="568"/>
                  <a:pt x="0" y="704"/>
                  <a:pt x="180" y="748"/>
                </a:cubicBezTo>
                <a:close/>
              </a:path>
            </a:pathLst>
          </a:custGeom>
          <a:solidFill>
            <a:srgbClr val="92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80" name="TextBox 179"/>
          <p:cNvSpPr txBox="1">
            <a:spLocks noChangeArrowheads="1"/>
          </p:cNvSpPr>
          <p:nvPr/>
        </p:nvSpPr>
        <p:spPr bwMode="auto">
          <a:xfrm>
            <a:off x="6256338" y="762000"/>
            <a:ext cx="10001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400">
                <a:solidFill>
                  <a:srgbClr val="96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  <a:endParaRPr lang="zh-CN" altLang="en-US" sz="2400">
              <a:solidFill>
                <a:srgbClr val="96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6" name="TextBox 205"/>
          <p:cNvSpPr txBox="1"/>
          <p:nvPr/>
        </p:nvSpPr>
        <p:spPr>
          <a:xfrm rot="120000">
            <a:off x="2231316" y="4605483"/>
            <a:ext cx="2823689" cy="23584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  <a:scene3d>
              <a:camera prst="orthographicFront"/>
              <a:lightRig rig="threePt" dir="t"/>
            </a:scene3d>
            <a:sp3d prstMaterial="matte">
              <a:bevelB w="127000"/>
            </a:sp3d>
          </a:bodyPr>
          <a:lstStyle>
            <a:defPPr>
              <a:defRPr lang="zh-CN"/>
            </a:defPPr>
            <a:lvl1pPr algn="dist" fontAlgn="auto">
              <a:spcBef>
                <a:spcPts val="0"/>
              </a:spcBef>
              <a:spcAft>
                <a:spcPts val="0"/>
              </a:spcAft>
              <a:defRPr sz="1400" kern="1500">
                <a:ln w="9525">
                  <a:noFill/>
                </a:ln>
                <a:effectLst>
                  <a:glow>
                    <a:schemeClr val="bg1"/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仿宋简" pitchFamily="49" charset="-122"/>
              </a:defRPr>
            </a:lvl1pPr>
            <a:lvl2pPr marL="742950" indent="-285750"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defRPr/>
            </a:pPr>
            <a:r>
              <a:rPr lang="en-US" altLang="zh-CN" sz="700" spc="300" dirty="0">
                <a:solidFill>
                  <a:srgbClr val="700000"/>
                </a:solidFill>
              </a:rPr>
              <a:t>—</a:t>
            </a:r>
            <a:r>
              <a:rPr lang="zh-CN" altLang="en-US" sz="700" spc="300" dirty="0">
                <a:solidFill>
                  <a:srgbClr val="700000"/>
                </a:solidFill>
              </a:rPr>
              <a:t>适用于商务总结及相关类别演示</a:t>
            </a:r>
            <a:r>
              <a:rPr lang="en-US" altLang="zh-CN" sz="700" spc="300" dirty="0">
                <a:solidFill>
                  <a:srgbClr val="700000"/>
                </a:solidFill>
              </a:rPr>
              <a:t>—</a:t>
            </a:r>
            <a:endParaRPr lang="zh-CN" altLang="en-US" sz="700" spc="300" dirty="0">
              <a:solidFill>
                <a:srgbClr val="700000"/>
              </a:solidFill>
            </a:endParaRPr>
          </a:p>
        </p:txBody>
      </p:sp>
      <p:pic>
        <p:nvPicPr>
          <p:cNvPr id="6179" name="Picture 3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61175" y="3754438"/>
            <a:ext cx="1185863" cy="135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9" name="组合 238"/>
          <p:cNvGrpSpPr/>
          <p:nvPr/>
        </p:nvGrpSpPr>
        <p:grpSpPr bwMode="auto">
          <a:xfrm>
            <a:off x="398463" y="1130300"/>
            <a:ext cx="6596062" cy="2841625"/>
            <a:chOff x="398118" y="1130361"/>
            <a:chExt cx="6596591" cy="2841338"/>
          </a:xfrm>
        </p:grpSpPr>
        <p:sp>
          <p:nvSpPr>
            <p:cNvPr id="12" name="Freeform 209"/>
            <p:cNvSpPr/>
            <p:nvPr/>
          </p:nvSpPr>
          <p:spPr bwMode="auto">
            <a:xfrm>
              <a:off x="398118" y="1130361"/>
              <a:ext cx="6596591" cy="2841338"/>
            </a:xfrm>
            <a:custGeom>
              <a:avLst/>
              <a:gdLst>
                <a:gd name="T0" fmla="*/ 0 w 1751"/>
                <a:gd name="T1" fmla="*/ 944 h 944"/>
                <a:gd name="T2" fmla="*/ 1687 w 1751"/>
                <a:gd name="T3" fmla="*/ 260 h 944"/>
                <a:gd name="T4" fmla="*/ 1751 w 1751"/>
                <a:gd name="T5" fmla="*/ 264 h 944"/>
                <a:gd name="T6" fmla="*/ 1523 w 1751"/>
                <a:gd name="T7" fmla="*/ 0 h 944"/>
                <a:gd name="T8" fmla="*/ 1315 w 1751"/>
                <a:gd name="T9" fmla="*/ 216 h 944"/>
                <a:gd name="T10" fmla="*/ 1383 w 1751"/>
                <a:gd name="T11" fmla="*/ 224 h 944"/>
                <a:gd name="T12" fmla="*/ 64 w 1751"/>
                <a:gd name="T13" fmla="*/ 760 h 944"/>
                <a:gd name="T14" fmla="*/ 0 w 1751"/>
                <a:gd name="T15" fmla="*/ 944 h 944"/>
                <a:gd name="connsiteX0" fmla="*/ 0 w 10000"/>
                <a:gd name="connsiteY0" fmla="*/ 10000 h 10000"/>
                <a:gd name="connsiteX1" fmla="*/ 9634 w 10000"/>
                <a:gd name="connsiteY1" fmla="*/ 2754 h 10000"/>
                <a:gd name="connsiteX2" fmla="*/ 10000 w 10000"/>
                <a:gd name="connsiteY2" fmla="*/ 2797 h 10000"/>
                <a:gd name="connsiteX3" fmla="*/ 8698 w 10000"/>
                <a:gd name="connsiteY3" fmla="*/ 0 h 10000"/>
                <a:gd name="connsiteX4" fmla="*/ 7510 w 10000"/>
                <a:gd name="connsiteY4" fmla="*/ 2288 h 10000"/>
                <a:gd name="connsiteX5" fmla="*/ 7898 w 10000"/>
                <a:gd name="connsiteY5" fmla="*/ 2373 h 10000"/>
                <a:gd name="connsiteX6" fmla="*/ 366 w 10000"/>
                <a:gd name="connsiteY6" fmla="*/ 8051 h 10000"/>
                <a:gd name="connsiteX7" fmla="*/ 0 w 10000"/>
                <a:gd name="connsiteY7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617" y="6653"/>
                    <a:pt x="9155" y="9703"/>
                    <a:pt x="9634" y="2754"/>
                  </a:cubicBezTo>
                  <a:cubicBezTo>
                    <a:pt x="9772" y="2754"/>
                    <a:pt x="9863" y="2797"/>
                    <a:pt x="10000" y="2797"/>
                  </a:cubicBezTo>
                  <a:lnTo>
                    <a:pt x="8698" y="0"/>
                  </a:lnTo>
                  <a:lnTo>
                    <a:pt x="7510" y="2288"/>
                  </a:lnTo>
                  <a:lnTo>
                    <a:pt x="7898" y="2373"/>
                  </a:lnTo>
                  <a:cubicBezTo>
                    <a:pt x="8635" y="7795"/>
                    <a:pt x="1439" y="4831"/>
                    <a:pt x="366" y="8051"/>
                  </a:cubicBezTo>
                  <a:cubicBezTo>
                    <a:pt x="228" y="8771"/>
                    <a:pt x="23" y="9576"/>
                    <a:pt x="0" y="1000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6205" name="组合 6204"/>
            <p:cNvGrpSpPr/>
            <p:nvPr/>
          </p:nvGrpSpPr>
          <p:grpSpPr>
            <a:xfrm>
              <a:off x="545488" y="1712671"/>
              <a:ext cx="5585783" cy="1961361"/>
              <a:chOff x="560002" y="1731721"/>
              <a:chExt cx="5585783" cy="1961361"/>
            </a:xfrm>
            <a:gradFill>
              <a:gsLst>
                <a:gs pos="0">
                  <a:schemeClr val="bg1">
                    <a:alpha val="41000"/>
                  </a:schemeClr>
                </a:gs>
                <a:gs pos="100000">
                  <a:schemeClr val="bg1">
                    <a:alpha val="39000"/>
                  </a:schemeClr>
                </a:gs>
              </a:gsLst>
              <a:lin ang="0" scaled="1"/>
            </a:gradFill>
          </p:grpSpPr>
          <p:sp>
            <p:nvSpPr>
              <p:cNvPr id="249" name="任意多边形 248"/>
              <p:cNvSpPr/>
              <p:nvPr/>
            </p:nvSpPr>
            <p:spPr>
              <a:xfrm>
                <a:off x="560002" y="3296104"/>
                <a:ext cx="1146998" cy="396978"/>
              </a:xfrm>
              <a:custGeom>
                <a:avLst/>
                <a:gdLst>
                  <a:gd name="connsiteX0" fmla="*/ 1146998 w 5550979"/>
                  <a:gd name="connsiteY0" fmla="*/ 1514343 h 1951019"/>
                  <a:gd name="connsiteX1" fmla="*/ 1137636 w 5550979"/>
                  <a:gd name="connsiteY1" fmla="*/ 1563435 h 1951019"/>
                  <a:gd name="connsiteX2" fmla="*/ 990129 w 5550979"/>
                  <a:gd name="connsiteY2" fmla="*/ 1581970 h 1951019"/>
                  <a:gd name="connsiteX3" fmla="*/ 0 w 5550979"/>
                  <a:gd name="connsiteY3" fmla="*/ 1951019 h 1951019"/>
                  <a:gd name="connsiteX4" fmla="*/ 10729 w 5550979"/>
                  <a:gd name="connsiteY4" fmla="*/ 1905406 h 1951019"/>
                  <a:gd name="connsiteX5" fmla="*/ 1146998 w 5550979"/>
                  <a:gd name="connsiteY5" fmla="*/ 1514343 h 1951019"/>
                  <a:gd name="connsiteX6" fmla="*/ 2814666 w 5550979"/>
                  <a:gd name="connsiteY6" fmla="*/ 1370787 h 1951019"/>
                  <a:gd name="connsiteX7" fmla="*/ 2808008 w 5550979"/>
                  <a:gd name="connsiteY7" fmla="*/ 1418875 h 1951019"/>
                  <a:gd name="connsiteX8" fmla="*/ 1432776 w 5550979"/>
                  <a:gd name="connsiteY8" fmla="*/ 1533953 h 1951019"/>
                  <a:gd name="connsiteX9" fmla="*/ 1442411 w 5550979"/>
                  <a:gd name="connsiteY9" fmla="*/ 1483432 h 1951019"/>
                  <a:gd name="connsiteX10" fmla="*/ 2814666 w 5550979"/>
                  <a:gd name="connsiteY10" fmla="*/ 1370787 h 1951019"/>
                  <a:gd name="connsiteX11" fmla="*/ 4811635 w 5550979"/>
                  <a:gd name="connsiteY11" fmla="*/ 1035765 h 1951019"/>
                  <a:gd name="connsiteX12" fmla="*/ 4829298 w 5550979"/>
                  <a:gd name="connsiteY12" fmla="*/ 1073432 h 1951019"/>
                  <a:gd name="connsiteX13" fmla="*/ 4710439 w 5550979"/>
                  <a:gd name="connsiteY13" fmla="*/ 1117628 h 1951019"/>
                  <a:gd name="connsiteX14" fmla="*/ 3173047 w 5550979"/>
                  <a:gd name="connsiteY14" fmla="*/ 1384494 h 1951019"/>
                  <a:gd name="connsiteX15" fmla="*/ 3179658 w 5550979"/>
                  <a:gd name="connsiteY15" fmla="*/ 1336744 h 1951019"/>
                  <a:gd name="connsiteX16" fmla="*/ 4676307 w 5550979"/>
                  <a:gd name="connsiteY16" fmla="*/ 1087465 h 1951019"/>
                  <a:gd name="connsiteX17" fmla="*/ 4811635 w 5550979"/>
                  <a:gd name="connsiteY17" fmla="*/ 1035765 h 1951019"/>
                  <a:gd name="connsiteX18" fmla="*/ 5548579 w 5550979"/>
                  <a:gd name="connsiteY18" fmla="*/ 0 h 1951019"/>
                  <a:gd name="connsiteX19" fmla="*/ 4991247 w 5550979"/>
                  <a:gd name="connsiteY19" fmla="*/ 998509 h 1951019"/>
                  <a:gd name="connsiteX20" fmla="*/ 4972529 w 5550979"/>
                  <a:gd name="connsiteY20" fmla="*/ 958592 h 1951019"/>
                  <a:gd name="connsiteX21" fmla="*/ 5548579 w 5550979"/>
                  <a:gd name="connsiteY21" fmla="*/ 0 h 1951019"/>
                  <a:gd name="connsiteX0-1" fmla="*/ 1146998 w 4991247"/>
                  <a:gd name="connsiteY0-2" fmla="*/ 555751 h 992427"/>
                  <a:gd name="connsiteX1-3" fmla="*/ 1137636 w 4991247"/>
                  <a:gd name="connsiteY1-4" fmla="*/ 604843 h 992427"/>
                  <a:gd name="connsiteX2-5" fmla="*/ 990129 w 4991247"/>
                  <a:gd name="connsiteY2-6" fmla="*/ 623378 h 992427"/>
                  <a:gd name="connsiteX3-7" fmla="*/ 0 w 4991247"/>
                  <a:gd name="connsiteY3-8" fmla="*/ 992427 h 992427"/>
                  <a:gd name="connsiteX4-9" fmla="*/ 10729 w 4991247"/>
                  <a:gd name="connsiteY4-10" fmla="*/ 946814 h 992427"/>
                  <a:gd name="connsiteX5-11" fmla="*/ 1146998 w 4991247"/>
                  <a:gd name="connsiteY5-12" fmla="*/ 555751 h 992427"/>
                  <a:gd name="connsiteX6-13" fmla="*/ 2814666 w 4991247"/>
                  <a:gd name="connsiteY6-14" fmla="*/ 412195 h 992427"/>
                  <a:gd name="connsiteX7-15" fmla="*/ 2808008 w 4991247"/>
                  <a:gd name="connsiteY7-16" fmla="*/ 460283 h 992427"/>
                  <a:gd name="connsiteX8-17" fmla="*/ 1432776 w 4991247"/>
                  <a:gd name="connsiteY8-18" fmla="*/ 575361 h 992427"/>
                  <a:gd name="connsiteX9-19" fmla="*/ 1442411 w 4991247"/>
                  <a:gd name="connsiteY9-20" fmla="*/ 524840 h 992427"/>
                  <a:gd name="connsiteX10-21" fmla="*/ 2814666 w 4991247"/>
                  <a:gd name="connsiteY10-22" fmla="*/ 412195 h 992427"/>
                  <a:gd name="connsiteX11-23" fmla="*/ 4811635 w 4991247"/>
                  <a:gd name="connsiteY11-24" fmla="*/ 77173 h 992427"/>
                  <a:gd name="connsiteX12-25" fmla="*/ 4829298 w 4991247"/>
                  <a:gd name="connsiteY12-26" fmla="*/ 114840 h 992427"/>
                  <a:gd name="connsiteX13-27" fmla="*/ 4710439 w 4991247"/>
                  <a:gd name="connsiteY13-28" fmla="*/ 159036 h 992427"/>
                  <a:gd name="connsiteX14-29" fmla="*/ 3173047 w 4991247"/>
                  <a:gd name="connsiteY14-30" fmla="*/ 425902 h 992427"/>
                  <a:gd name="connsiteX15-31" fmla="*/ 3179658 w 4991247"/>
                  <a:gd name="connsiteY15-32" fmla="*/ 378152 h 992427"/>
                  <a:gd name="connsiteX16-33" fmla="*/ 4676307 w 4991247"/>
                  <a:gd name="connsiteY16-34" fmla="*/ 128873 h 992427"/>
                  <a:gd name="connsiteX17-35" fmla="*/ 4811635 w 4991247"/>
                  <a:gd name="connsiteY17-36" fmla="*/ 77173 h 992427"/>
                  <a:gd name="connsiteX18-37" fmla="*/ 4972529 w 4991247"/>
                  <a:gd name="connsiteY18-38" fmla="*/ 0 h 992427"/>
                  <a:gd name="connsiteX19-39" fmla="*/ 4991247 w 4991247"/>
                  <a:gd name="connsiteY19-40" fmla="*/ 39917 h 992427"/>
                  <a:gd name="connsiteX20-41" fmla="*/ 4972529 w 4991247"/>
                  <a:gd name="connsiteY20-42" fmla="*/ 0 h 992427"/>
                  <a:gd name="connsiteX0-43" fmla="*/ 1146998 w 4829298"/>
                  <a:gd name="connsiteY0-44" fmla="*/ 478578 h 915254"/>
                  <a:gd name="connsiteX1-45" fmla="*/ 1137636 w 4829298"/>
                  <a:gd name="connsiteY1-46" fmla="*/ 527670 h 915254"/>
                  <a:gd name="connsiteX2-47" fmla="*/ 990129 w 4829298"/>
                  <a:gd name="connsiteY2-48" fmla="*/ 546205 h 915254"/>
                  <a:gd name="connsiteX3-49" fmla="*/ 0 w 4829298"/>
                  <a:gd name="connsiteY3-50" fmla="*/ 915254 h 915254"/>
                  <a:gd name="connsiteX4-51" fmla="*/ 10729 w 4829298"/>
                  <a:gd name="connsiteY4-52" fmla="*/ 869641 h 915254"/>
                  <a:gd name="connsiteX5-53" fmla="*/ 1146998 w 4829298"/>
                  <a:gd name="connsiteY5-54" fmla="*/ 478578 h 915254"/>
                  <a:gd name="connsiteX6-55" fmla="*/ 2814666 w 4829298"/>
                  <a:gd name="connsiteY6-56" fmla="*/ 335022 h 915254"/>
                  <a:gd name="connsiteX7-57" fmla="*/ 2808008 w 4829298"/>
                  <a:gd name="connsiteY7-58" fmla="*/ 383110 h 915254"/>
                  <a:gd name="connsiteX8-59" fmla="*/ 1432776 w 4829298"/>
                  <a:gd name="connsiteY8-60" fmla="*/ 498188 h 915254"/>
                  <a:gd name="connsiteX9-61" fmla="*/ 1442411 w 4829298"/>
                  <a:gd name="connsiteY9-62" fmla="*/ 447667 h 915254"/>
                  <a:gd name="connsiteX10-63" fmla="*/ 2814666 w 4829298"/>
                  <a:gd name="connsiteY10-64" fmla="*/ 335022 h 915254"/>
                  <a:gd name="connsiteX11-65" fmla="*/ 4811635 w 4829298"/>
                  <a:gd name="connsiteY11-66" fmla="*/ 0 h 915254"/>
                  <a:gd name="connsiteX12-67" fmla="*/ 4829298 w 4829298"/>
                  <a:gd name="connsiteY12-68" fmla="*/ 37667 h 915254"/>
                  <a:gd name="connsiteX13-69" fmla="*/ 4710439 w 4829298"/>
                  <a:gd name="connsiteY13-70" fmla="*/ 81863 h 915254"/>
                  <a:gd name="connsiteX14-71" fmla="*/ 3173047 w 4829298"/>
                  <a:gd name="connsiteY14-72" fmla="*/ 348729 h 915254"/>
                  <a:gd name="connsiteX15-73" fmla="*/ 3179658 w 4829298"/>
                  <a:gd name="connsiteY15-74" fmla="*/ 300979 h 915254"/>
                  <a:gd name="connsiteX16-75" fmla="*/ 4676307 w 4829298"/>
                  <a:gd name="connsiteY16-76" fmla="*/ 51700 h 915254"/>
                  <a:gd name="connsiteX17-77" fmla="*/ 4811635 w 4829298"/>
                  <a:gd name="connsiteY17-78" fmla="*/ 0 h 915254"/>
                  <a:gd name="connsiteX0-79" fmla="*/ 1146998 w 4854002"/>
                  <a:gd name="connsiteY0-80" fmla="*/ 452447 h 889123"/>
                  <a:gd name="connsiteX1-81" fmla="*/ 1137636 w 4854002"/>
                  <a:gd name="connsiteY1-82" fmla="*/ 501539 h 889123"/>
                  <a:gd name="connsiteX2-83" fmla="*/ 990129 w 4854002"/>
                  <a:gd name="connsiteY2-84" fmla="*/ 520074 h 889123"/>
                  <a:gd name="connsiteX3-85" fmla="*/ 0 w 4854002"/>
                  <a:gd name="connsiteY3-86" fmla="*/ 889123 h 889123"/>
                  <a:gd name="connsiteX4-87" fmla="*/ 10729 w 4854002"/>
                  <a:gd name="connsiteY4-88" fmla="*/ 843510 h 889123"/>
                  <a:gd name="connsiteX5-89" fmla="*/ 1146998 w 4854002"/>
                  <a:gd name="connsiteY5-90" fmla="*/ 452447 h 889123"/>
                  <a:gd name="connsiteX6-91" fmla="*/ 2814666 w 4854002"/>
                  <a:gd name="connsiteY6-92" fmla="*/ 308891 h 889123"/>
                  <a:gd name="connsiteX7-93" fmla="*/ 2808008 w 4854002"/>
                  <a:gd name="connsiteY7-94" fmla="*/ 356979 h 889123"/>
                  <a:gd name="connsiteX8-95" fmla="*/ 1432776 w 4854002"/>
                  <a:gd name="connsiteY8-96" fmla="*/ 472057 h 889123"/>
                  <a:gd name="connsiteX9-97" fmla="*/ 1442411 w 4854002"/>
                  <a:gd name="connsiteY9-98" fmla="*/ 421536 h 889123"/>
                  <a:gd name="connsiteX10-99" fmla="*/ 2814666 w 4854002"/>
                  <a:gd name="connsiteY10-100" fmla="*/ 308891 h 889123"/>
                  <a:gd name="connsiteX11-101" fmla="*/ 4676307 w 4854002"/>
                  <a:gd name="connsiteY11-102" fmla="*/ 25569 h 889123"/>
                  <a:gd name="connsiteX12-103" fmla="*/ 4829298 w 4854002"/>
                  <a:gd name="connsiteY12-104" fmla="*/ 11536 h 889123"/>
                  <a:gd name="connsiteX13-105" fmla="*/ 4710439 w 4854002"/>
                  <a:gd name="connsiteY13-106" fmla="*/ 55732 h 889123"/>
                  <a:gd name="connsiteX14-107" fmla="*/ 3173047 w 4854002"/>
                  <a:gd name="connsiteY14-108" fmla="*/ 322598 h 889123"/>
                  <a:gd name="connsiteX15-109" fmla="*/ 3179658 w 4854002"/>
                  <a:gd name="connsiteY15-110" fmla="*/ 274848 h 889123"/>
                  <a:gd name="connsiteX16-111" fmla="*/ 4676307 w 4854002"/>
                  <a:gd name="connsiteY16-112" fmla="*/ 25569 h 889123"/>
                  <a:gd name="connsiteX0-113" fmla="*/ 1146998 w 4883750"/>
                  <a:gd name="connsiteY0-114" fmla="*/ 446445 h 883121"/>
                  <a:gd name="connsiteX1-115" fmla="*/ 1137636 w 4883750"/>
                  <a:gd name="connsiteY1-116" fmla="*/ 495537 h 883121"/>
                  <a:gd name="connsiteX2-117" fmla="*/ 990129 w 4883750"/>
                  <a:gd name="connsiteY2-118" fmla="*/ 514072 h 883121"/>
                  <a:gd name="connsiteX3-119" fmla="*/ 0 w 4883750"/>
                  <a:gd name="connsiteY3-120" fmla="*/ 883121 h 883121"/>
                  <a:gd name="connsiteX4-121" fmla="*/ 10729 w 4883750"/>
                  <a:gd name="connsiteY4-122" fmla="*/ 837508 h 883121"/>
                  <a:gd name="connsiteX5-123" fmla="*/ 1146998 w 4883750"/>
                  <a:gd name="connsiteY5-124" fmla="*/ 446445 h 883121"/>
                  <a:gd name="connsiteX6-125" fmla="*/ 2814666 w 4883750"/>
                  <a:gd name="connsiteY6-126" fmla="*/ 302889 h 883121"/>
                  <a:gd name="connsiteX7-127" fmla="*/ 2808008 w 4883750"/>
                  <a:gd name="connsiteY7-128" fmla="*/ 350977 h 883121"/>
                  <a:gd name="connsiteX8-129" fmla="*/ 1432776 w 4883750"/>
                  <a:gd name="connsiteY8-130" fmla="*/ 466055 h 883121"/>
                  <a:gd name="connsiteX9-131" fmla="*/ 1442411 w 4883750"/>
                  <a:gd name="connsiteY9-132" fmla="*/ 415534 h 883121"/>
                  <a:gd name="connsiteX10-133" fmla="*/ 2814666 w 4883750"/>
                  <a:gd name="connsiteY10-134" fmla="*/ 302889 h 883121"/>
                  <a:gd name="connsiteX11-135" fmla="*/ 4676307 w 4883750"/>
                  <a:gd name="connsiteY11-136" fmla="*/ 19567 h 883121"/>
                  <a:gd name="connsiteX12-137" fmla="*/ 4710439 w 4883750"/>
                  <a:gd name="connsiteY12-138" fmla="*/ 49730 h 883121"/>
                  <a:gd name="connsiteX13-139" fmla="*/ 3173047 w 4883750"/>
                  <a:gd name="connsiteY13-140" fmla="*/ 316596 h 883121"/>
                  <a:gd name="connsiteX14-141" fmla="*/ 3179658 w 4883750"/>
                  <a:gd name="connsiteY14-142" fmla="*/ 268846 h 883121"/>
                  <a:gd name="connsiteX15-143" fmla="*/ 4676307 w 4883750"/>
                  <a:gd name="connsiteY15-144" fmla="*/ 19567 h 883121"/>
                  <a:gd name="connsiteX0-145" fmla="*/ 1146998 w 4710439"/>
                  <a:gd name="connsiteY0-146" fmla="*/ 396968 h 833644"/>
                  <a:gd name="connsiteX1-147" fmla="*/ 1137636 w 4710439"/>
                  <a:gd name="connsiteY1-148" fmla="*/ 446060 h 833644"/>
                  <a:gd name="connsiteX2-149" fmla="*/ 990129 w 4710439"/>
                  <a:gd name="connsiteY2-150" fmla="*/ 464595 h 833644"/>
                  <a:gd name="connsiteX3-151" fmla="*/ 0 w 4710439"/>
                  <a:gd name="connsiteY3-152" fmla="*/ 833644 h 833644"/>
                  <a:gd name="connsiteX4-153" fmla="*/ 10729 w 4710439"/>
                  <a:gd name="connsiteY4-154" fmla="*/ 788031 h 833644"/>
                  <a:gd name="connsiteX5-155" fmla="*/ 1146998 w 4710439"/>
                  <a:gd name="connsiteY5-156" fmla="*/ 396968 h 833644"/>
                  <a:gd name="connsiteX6-157" fmla="*/ 2814666 w 4710439"/>
                  <a:gd name="connsiteY6-158" fmla="*/ 253412 h 833644"/>
                  <a:gd name="connsiteX7-159" fmla="*/ 2808008 w 4710439"/>
                  <a:gd name="connsiteY7-160" fmla="*/ 301500 h 833644"/>
                  <a:gd name="connsiteX8-161" fmla="*/ 1432776 w 4710439"/>
                  <a:gd name="connsiteY8-162" fmla="*/ 416578 h 833644"/>
                  <a:gd name="connsiteX9-163" fmla="*/ 1442411 w 4710439"/>
                  <a:gd name="connsiteY9-164" fmla="*/ 366057 h 833644"/>
                  <a:gd name="connsiteX10-165" fmla="*/ 2814666 w 4710439"/>
                  <a:gd name="connsiteY10-166" fmla="*/ 253412 h 833644"/>
                  <a:gd name="connsiteX11-167" fmla="*/ 3179658 w 4710439"/>
                  <a:gd name="connsiteY11-168" fmla="*/ 219369 h 833644"/>
                  <a:gd name="connsiteX12-169" fmla="*/ 4710439 w 4710439"/>
                  <a:gd name="connsiteY12-170" fmla="*/ 253 h 833644"/>
                  <a:gd name="connsiteX13-171" fmla="*/ 3173047 w 4710439"/>
                  <a:gd name="connsiteY13-172" fmla="*/ 267119 h 833644"/>
                  <a:gd name="connsiteX14-173" fmla="*/ 3179658 w 4710439"/>
                  <a:gd name="connsiteY14-174" fmla="*/ 219369 h 833644"/>
                  <a:gd name="connsiteX0-175" fmla="*/ 1146998 w 3179658"/>
                  <a:gd name="connsiteY0-176" fmla="*/ 177599 h 614275"/>
                  <a:gd name="connsiteX1-177" fmla="*/ 1137636 w 3179658"/>
                  <a:gd name="connsiteY1-178" fmla="*/ 226691 h 614275"/>
                  <a:gd name="connsiteX2-179" fmla="*/ 990129 w 3179658"/>
                  <a:gd name="connsiteY2-180" fmla="*/ 245226 h 614275"/>
                  <a:gd name="connsiteX3-181" fmla="*/ 0 w 3179658"/>
                  <a:gd name="connsiteY3-182" fmla="*/ 614275 h 614275"/>
                  <a:gd name="connsiteX4-183" fmla="*/ 10729 w 3179658"/>
                  <a:gd name="connsiteY4-184" fmla="*/ 568662 h 614275"/>
                  <a:gd name="connsiteX5-185" fmla="*/ 1146998 w 3179658"/>
                  <a:gd name="connsiteY5-186" fmla="*/ 177599 h 614275"/>
                  <a:gd name="connsiteX6-187" fmla="*/ 2814666 w 3179658"/>
                  <a:gd name="connsiteY6-188" fmla="*/ 34043 h 614275"/>
                  <a:gd name="connsiteX7-189" fmla="*/ 2808008 w 3179658"/>
                  <a:gd name="connsiteY7-190" fmla="*/ 82131 h 614275"/>
                  <a:gd name="connsiteX8-191" fmla="*/ 1432776 w 3179658"/>
                  <a:gd name="connsiteY8-192" fmla="*/ 197209 h 614275"/>
                  <a:gd name="connsiteX9-193" fmla="*/ 1442411 w 3179658"/>
                  <a:gd name="connsiteY9-194" fmla="*/ 146688 h 614275"/>
                  <a:gd name="connsiteX10-195" fmla="*/ 2814666 w 3179658"/>
                  <a:gd name="connsiteY10-196" fmla="*/ 34043 h 614275"/>
                  <a:gd name="connsiteX11-197" fmla="*/ 3179658 w 3179658"/>
                  <a:gd name="connsiteY11-198" fmla="*/ 0 h 614275"/>
                  <a:gd name="connsiteX12-199" fmla="*/ 3173047 w 3179658"/>
                  <a:gd name="connsiteY12-200" fmla="*/ 47750 h 614275"/>
                  <a:gd name="connsiteX13-201" fmla="*/ 3179658 w 3179658"/>
                  <a:gd name="connsiteY13-202" fmla="*/ 0 h 614275"/>
                  <a:gd name="connsiteX0-203" fmla="*/ 1146998 w 2814666"/>
                  <a:gd name="connsiteY0-204" fmla="*/ 143556 h 580232"/>
                  <a:gd name="connsiteX1-205" fmla="*/ 1137636 w 2814666"/>
                  <a:gd name="connsiteY1-206" fmla="*/ 192648 h 580232"/>
                  <a:gd name="connsiteX2-207" fmla="*/ 990129 w 2814666"/>
                  <a:gd name="connsiteY2-208" fmla="*/ 211183 h 580232"/>
                  <a:gd name="connsiteX3-209" fmla="*/ 0 w 2814666"/>
                  <a:gd name="connsiteY3-210" fmla="*/ 580232 h 580232"/>
                  <a:gd name="connsiteX4-211" fmla="*/ 10729 w 2814666"/>
                  <a:gd name="connsiteY4-212" fmla="*/ 534619 h 580232"/>
                  <a:gd name="connsiteX5-213" fmla="*/ 1146998 w 2814666"/>
                  <a:gd name="connsiteY5-214" fmla="*/ 143556 h 580232"/>
                  <a:gd name="connsiteX6-215" fmla="*/ 2814666 w 2814666"/>
                  <a:gd name="connsiteY6-216" fmla="*/ 0 h 580232"/>
                  <a:gd name="connsiteX7-217" fmla="*/ 2808008 w 2814666"/>
                  <a:gd name="connsiteY7-218" fmla="*/ 48088 h 580232"/>
                  <a:gd name="connsiteX8-219" fmla="*/ 1432776 w 2814666"/>
                  <a:gd name="connsiteY8-220" fmla="*/ 163166 h 580232"/>
                  <a:gd name="connsiteX9-221" fmla="*/ 1442411 w 2814666"/>
                  <a:gd name="connsiteY9-222" fmla="*/ 112645 h 580232"/>
                  <a:gd name="connsiteX10-223" fmla="*/ 2814666 w 2814666"/>
                  <a:gd name="connsiteY10-224" fmla="*/ 0 h 580232"/>
                  <a:gd name="connsiteX0-225" fmla="*/ 1146998 w 2808008"/>
                  <a:gd name="connsiteY0-226" fmla="*/ 95468 h 532144"/>
                  <a:gd name="connsiteX1-227" fmla="*/ 1137636 w 2808008"/>
                  <a:gd name="connsiteY1-228" fmla="*/ 144560 h 532144"/>
                  <a:gd name="connsiteX2-229" fmla="*/ 990129 w 2808008"/>
                  <a:gd name="connsiteY2-230" fmla="*/ 163095 h 532144"/>
                  <a:gd name="connsiteX3-231" fmla="*/ 0 w 2808008"/>
                  <a:gd name="connsiteY3-232" fmla="*/ 532144 h 532144"/>
                  <a:gd name="connsiteX4-233" fmla="*/ 10729 w 2808008"/>
                  <a:gd name="connsiteY4-234" fmla="*/ 486531 h 532144"/>
                  <a:gd name="connsiteX5-235" fmla="*/ 1146998 w 2808008"/>
                  <a:gd name="connsiteY5-236" fmla="*/ 95468 h 532144"/>
                  <a:gd name="connsiteX6-237" fmla="*/ 1442411 w 2808008"/>
                  <a:gd name="connsiteY6-238" fmla="*/ 64557 h 532144"/>
                  <a:gd name="connsiteX7-239" fmla="*/ 2808008 w 2808008"/>
                  <a:gd name="connsiteY7-240" fmla="*/ 0 h 532144"/>
                  <a:gd name="connsiteX8-241" fmla="*/ 1432776 w 2808008"/>
                  <a:gd name="connsiteY8-242" fmla="*/ 115078 h 532144"/>
                  <a:gd name="connsiteX9-243" fmla="*/ 1442411 w 2808008"/>
                  <a:gd name="connsiteY9-244" fmla="*/ 64557 h 532144"/>
                  <a:gd name="connsiteX0-245" fmla="*/ 1146998 w 1442411"/>
                  <a:gd name="connsiteY0-246" fmla="*/ 30911 h 467587"/>
                  <a:gd name="connsiteX1-247" fmla="*/ 1137636 w 1442411"/>
                  <a:gd name="connsiteY1-248" fmla="*/ 80003 h 467587"/>
                  <a:gd name="connsiteX2-249" fmla="*/ 990129 w 1442411"/>
                  <a:gd name="connsiteY2-250" fmla="*/ 98538 h 467587"/>
                  <a:gd name="connsiteX3-251" fmla="*/ 0 w 1442411"/>
                  <a:gd name="connsiteY3-252" fmla="*/ 467587 h 467587"/>
                  <a:gd name="connsiteX4-253" fmla="*/ 10729 w 1442411"/>
                  <a:gd name="connsiteY4-254" fmla="*/ 421974 h 467587"/>
                  <a:gd name="connsiteX5-255" fmla="*/ 1146998 w 1442411"/>
                  <a:gd name="connsiteY5-256" fmla="*/ 30911 h 467587"/>
                  <a:gd name="connsiteX6-257" fmla="*/ 1442411 w 1442411"/>
                  <a:gd name="connsiteY6-258" fmla="*/ 0 h 467587"/>
                  <a:gd name="connsiteX7-259" fmla="*/ 1432776 w 1442411"/>
                  <a:gd name="connsiteY7-260" fmla="*/ 50521 h 467587"/>
                  <a:gd name="connsiteX8-261" fmla="*/ 1442411 w 1442411"/>
                  <a:gd name="connsiteY8-262" fmla="*/ 0 h 467587"/>
                  <a:gd name="connsiteX0-263" fmla="*/ 1146998 w 1146998"/>
                  <a:gd name="connsiteY0-264" fmla="*/ 0 h 436676"/>
                  <a:gd name="connsiteX1-265" fmla="*/ 1137636 w 1146998"/>
                  <a:gd name="connsiteY1-266" fmla="*/ 49092 h 436676"/>
                  <a:gd name="connsiteX2-267" fmla="*/ 990129 w 1146998"/>
                  <a:gd name="connsiteY2-268" fmla="*/ 67627 h 436676"/>
                  <a:gd name="connsiteX3-269" fmla="*/ 0 w 1146998"/>
                  <a:gd name="connsiteY3-270" fmla="*/ 436676 h 436676"/>
                  <a:gd name="connsiteX4-271" fmla="*/ 10729 w 1146998"/>
                  <a:gd name="connsiteY4-272" fmla="*/ 391063 h 436676"/>
                  <a:gd name="connsiteX5-273" fmla="*/ 1146998 w 1146998"/>
                  <a:gd name="connsiteY5-274" fmla="*/ 0 h 4366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</a:cxnLst>
                <a:rect l="l" t="t" r="r" b="b"/>
                <a:pathLst>
                  <a:path w="1146998" h="436676">
                    <a:moveTo>
                      <a:pt x="1146998" y="0"/>
                    </a:moveTo>
                    <a:lnTo>
                      <a:pt x="1137636" y="49092"/>
                    </a:lnTo>
                    <a:cubicBezTo>
                      <a:pt x="1084121" y="55133"/>
                      <a:pt x="1034773" y="61316"/>
                      <a:pt x="990129" y="67627"/>
                    </a:cubicBezTo>
                    <a:cubicBezTo>
                      <a:pt x="468586" y="130553"/>
                      <a:pt x="91002" y="357246"/>
                      <a:pt x="0" y="436676"/>
                    </a:cubicBezTo>
                    <a:cubicBezTo>
                      <a:pt x="402" y="418297"/>
                      <a:pt x="10327" y="409442"/>
                      <a:pt x="10729" y="391063"/>
                    </a:cubicBezTo>
                    <a:cubicBezTo>
                      <a:pt x="86171" y="318791"/>
                      <a:pt x="304860" y="108715"/>
                      <a:pt x="114699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56" name="任意多边形 255"/>
              <p:cNvSpPr/>
              <p:nvPr/>
            </p:nvSpPr>
            <p:spPr>
              <a:xfrm>
                <a:off x="2117615" y="3144637"/>
                <a:ext cx="1381890" cy="163166"/>
              </a:xfrm>
              <a:custGeom>
                <a:avLst/>
                <a:gdLst>
                  <a:gd name="connsiteX0" fmla="*/ 1146998 w 5550979"/>
                  <a:gd name="connsiteY0" fmla="*/ 1514343 h 1951019"/>
                  <a:gd name="connsiteX1" fmla="*/ 1137636 w 5550979"/>
                  <a:gd name="connsiteY1" fmla="*/ 1563435 h 1951019"/>
                  <a:gd name="connsiteX2" fmla="*/ 990129 w 5550979"/>
                  <a:gd name="connsiteY2" fmla="*/ 1581970 h 1951019"/>
                  <a:gd name="connsiteX3" fmla="*/ 0 w 5550979"/>
                  <a:gd name="connsiteY3" fmla="*/ 1951019 h 1951019"/>
                  <a:gd name="connsiteX4" fmla="*/ 10729 w 5550979"/>
                  <a:gd name="connsiteY4" fmla="*/ 1905406 h 1951019"/>
                  <a:gd name="connsiteX5" fmla="*/ 1146998 w 5550979"/>
                  <a:gd name="connsiteY5" fmla="*/ 1514343 h 1951019"/>
                  <a:gd name="connsiteX6" fmla="*/ 2814666 w 5550979"/>
                  <a:gd name="connsiteY6" fmla="*/ 1370787 h 1951019"/>
                  <a:gd name="connsiteX7" fmla="*/ 2808008 w 5550979"/>
                  <a:gd name="connsiteY7" fmla="*/ 1418875 h 1951019"/>
                  <a:gd name="connsiteX8" fmla="*/ 1432776 w 5550979"/>
                  <a:gd name="connsiteY8" fmla="*/ 1533953 h 1951019"/>
                  <a:gd name="connsiteX9" fmla="*/ 1442411 w 5550979"/>
                  <a:gd name="connsiteY9" fmla="*/ 1483432 h 1951019"/>
                  <a:gd name="connsiteX10" fmla="*/ 2814666 w 5550979"/>
                  <a:gd name="connsiteY10" fmla="*/ 1370787 h 1951019"/>
                  <a:gd name="connsiteX11" fmla="*/ 4811635 w 5550979"/>
                  <a:gd name="connsiteY11" fmla="*/ 1035765 h 1951019"/>
                  <a:gd name="connsiteX12" fmla="*/ 4829298 w 5550979"/>
                  <a:gd name="connsiteY12" fmla="*/ 1073432 h 1951019"/>
                  <a:gd name="connsiteX13" fmla="*/ 4710439 w 5550979"/>
                  <a:gd name="connsiteY13" fmla="*/ 1117628 h 1951019"/>
                  <a:gd name="connsiteX14" fmla="*/ 3173047 w 5550979"/>
                  <a:gd name="connsiteY14" fmla="*/ 1384494 h 1951019"/>
                  <a:gd name="connsiteX15" fmla="*/ 3179658 w 5550979"/>
                  <a:gd name="connsiteY15" fmla="*/ 1336744 h 1951019"/>
                  <a:gd name="connsiteX16" fmla="*/ 4676307 w 5550979"/>
                  <a:gd name="connsiteY16" fmla="*/ 1087465 h 1951019"/>
                  <a:gd name="connsiteX17" fmla="*/ 4811635 w 5550979"/>
                  <a:gd name="connsiteY17" fmla="*/ 1035765 h 1951019"/>
                  <a:gd name="connsiteX18" fmla="*/ 5548579 w 5550979"/>
                  <a:gd name="connsiteY18" fmla="*/ 0 h 1951019"/>
                  <a:gd name="connsiteX19" fmla="*/ 4991247 w 5550979"/>
                  <a:gd name="connsiteY19" fmla="*/ 998509 h 1951019"/>
                  <a:gd name="connsiteX20" fmla="*/ 4972529 w 5550979"/>
                  <a:gd name="connsiteY20" fmla="*/ 958592 h 1951019"/>
                  <a:gd name="connsiteX21" fmla="*/ 5548579 w 5550979"/>
                  <a:gd name="connsiteY21" fmla="*/ 0 h 1951019"/>
                  <a:gd name="connsiteX0-1" fmla="*/ 1146998 w 4991247"/>
                  <a:gd name="connsiteY0-2" fmla="*/ 555751 h 992427"/>
                  <a:gd name="connsiteX1-3" fmla="*/ 1137636 w 4991247"/>
                  <a:gd name="connsiteY1-4" fmla="*/ 604843 h 992427"/>
                  <a:gd name="connsiteX2-5" fmla="*/ 990129 w 4991247"/>
                  <a:gd name="connsiteY2-6" fmla="*/ 623378 h 992427"/>
                  <a:gd name="connsiteX3-7" fmla="*/ 0 w 4991247"/>
                  <a:gd name="connsiteY3-8" fmla="*/ 992427 h 992427"/>
                  <a:gd name="connsiteX4-9" fmla="*/ 10729 w 4991247"/>
                  <a:gd name="connsiteY4-10" fmla="*/ 946814 h 992427"/>
                  <a:gd name="connsiteX5-11" fmla="*/ 1146998 w 4991247"/>
                  <a:gd name="connsiteY5-12" fmla="*/ 555751 h 992427"/>
                  <a:gd name="connsiteX6-13" fmla="*/ 2814666 w 4991247"/>
                  <a:gd name="connsiteY6-14" fmla="*/ 412195 h 992427"/>
                  <a:gd name="connsiteX7-15" fmla="*/ 2808008 w 4991247"/>
                  <a:gd name="connsiteY7-16" fmla="*/ 460283 h 992427"/>
                  <a:gd name="connsiteX8-17" fmla="*/ 1432776 w 4991247"/>
                  <a:gd name="connsiteY8-18" fmla="*/ 575361 h 992427"/>
                  <a:gd name="connsiteX9-19" fmla="*/ 1442411 w 4991247"/>
                  <a:gd name="connsiteY9-20" fmla="*/ 524840 h 992427"/>
                  <a:gd name="connsiteX10-21" fmla="*/ 2814666 w 4991247"/>
                  <a:gd name="connsiteY10-22" fmla="*/ 412195 h 992427"/>
                  <a:gd name="connsiteX11-23" fmla="*/ 4811635 w 4991247"/>
                  <a:gd name="connsiteY11-24" fmla="*/ 77173 h 992427"/>
                  <a:gd name="connsiteX12-25" fmla="*/ 4829298 w 4991247"/>
                  <a:gd name="connsiteY12-26" fmla="*/ 114840 h 992427"/>
                  <a:gd name="connsiteX13-27" fmla="*/ 4710439 w 4991247"/>
                  <a:gd name="connsiteY13-28" fmla="*/ 159036 h 992427"/>
                  <a:gd name="connsiteX14-29" fmla="*/ 3173047 w 4991247"/>
                  <a:gd name="connsiteY14-30" fmla="*/ 425902 h 992427"/>
                  <a:gd name="connsiteX15-31" fmla="*/ 3179658 w 4991247"/>
                  <a:gd name="connsiteY15-32" fmla="*/ 378152 h 992427"/>
                  <a:gd name="connsiteX16-33" fmla="*/ 4676307 w 4991247"/>
                  <a:gd name="connsiteY16-34" fmla="*/ 128873 h 992427"/>
                  <a:gd name="connsiteX17-35" fmla="*/ 4811635 w 4991247"/>
                  <a:gd name="connsiteY17-36" fmla="*/ 77173 h 992427"/>
                  <a:gd name="connsiteX18-37" fmla="*/ 4972529 w 4991247"/>
                  <a:gd name="connsiteY18-38" fmla="*/ 0 h 992427"/>
                  <a:gd name="connsiteX19-39" fmla="*/ 4991247 w 4991247"/>
                  <a:gd name="connsiteY19-40" fmla="*/ 39917 h 992427"/>
                  <a:gd name="connsiteX20-41" fmla="*/ 4972529 w 4991247"/>
                  <a:gd name="connsiteY20-42" fmla="*/ 0 h 992427"/>
                  <a:gd name="connsiteX0-43" fmla="*/ 1146998 w 4829298"/>
                  <a:gd name="connsiteY0-44" fmla="*/ 478578 h 915254"/>
                  <a:gd name="connsiteX1-45" fmla="*/ 1137636 w 4829298"/>
                  <a:gd name="connsiteY1-46" fmla="*/ 527670 h 915254"/>
                  <a:gd name="connsiteX2-47" fmla="*/ 990129 w 4829298"/>
                  <a:gd name="connsiteY2-48" fmla="*/ 546205 h 915254"/>
                  <a:gd name="connsiteX3-49" fmla="*/ 0 w 4829298"/>
                  <a:gd name="connsiteY3-50" fmla="*/ 915254 h 915254"/>
                  <a:gd name="connsiteX4-51" fmla="*/ 10729 w 4829298"/>
                  <a:gd name="connsiteY4-52" fmla="*/ 869641 h 915254"/>
                  <a:gd name="connsiteX5-53" fmla="*/ 1146998 w 4829298"/>
                  <a:gd name="connsiteY5-54" fmla="*/ 478578 h 915254"/>
                  <a:gd name="connsiteX6-55" fmla="*/ 2814666 w 4829298"/>
                  <a:gd name="connsiteY6-56" fmla="*/ 335022 h 915254"/>
                  <a:gd name="connsiteX7-57" fmla="*/ 2808008 w 4829298"/>
                  <a:gd name="connsiteY7-58" fmla="*/ 383110 h 915254"/>
                  <a:gd name="connsiteX8-59" fmla="*/ 1432776 w 4829298"/>
                  <a:gd name="connsiteY8-60" fmla="*/ 498188 h 915254"/>
                  <a:gd name="connsiteX9-61" fmla="*/ 1442411 w 4829298"/>
                  <a:gd name="connsiteY9-62" fmla="*/ 447667 h 915254"/>
                  <a:gd name="connsiteX10-63" fmla="*/ 2814666 w 4829298"/>
                  <a:gd name="connsiteY10-64" fmla="*/ 335022 h 915254"/>
                  <a:gd name="connsiteX11-65" fmla="*/ 4811635 w 4829298"/>
                  <a:gd name="connsiteY11-66" fmla="*/ 0 h 915254"/>
                  <a:gd name="connsiteX12-67" fmla="*/ 4829298 w 4829298"/>
                  <a:gd name="connsiteY12-68" fmla="*/ 37667 h 915254"/>
                  <a:gd name="connsiteX13-69" fmla="*/ 4710439 w 4829298"/>
                  <a:gd name="connsiteY13-70" fmla="*/ 81863 h 915254"/>
                  <a:gd name="connsiteX14-71" fmla="*/ 3173047 w 4829298"/>
                  <a:gd name="connsiteY14-72" fmla="*/ 348729 h 915254"/>
                  <a:gd name="connsiteX15-73" fmla="*/ 3179658 w 4829298"/>
                  <a:gd name="connsiteY15-74" fmla="*/ 300979 h 915254"/>
                  <a:gd name="connsiteX16-75" fmla="*/ 4676307 w 4829298"/>
                  <a:gd name="connsiteY16-76" fmla="*/ 51700 h 915254"/>
                  <a:gd name="connsiteX17-77" fmla="*/ 4811635 w 4829298"/>
                  <a:gd name="connsiteY17-78" fmla="*/ 0 h 915254"/>
                  <a:gd name="connsiteX0-79" fmla="*/ 1146998 w 4854002"/>
                  <a:gd name="connsiteY0-80" fmla="*/ 452447 h 889123"/>
                  <a:gd name="connsiteX1-81" fmla="*/ 1137636 w 4854002"/>
                  <a:gd name="connsiteY1-82" fmla="*/ 501539 h 889123"/>
                  <a:gd name="connsiteX2-83" fmla="*/ 990129 w 4854002"/>
                  <a:gd name="connsiteY2-84" fmla="*/ 520074 h 889123"/>
                  <a:gd name="connsiteX3-85" fmla="*/ 0 w 4854002"/>
                  <a:gd name="connsiteY3-86" fmla="*/ 889123 h 889123"/>
                  <a:gd name="connsiteX4-87" fmla="*/ 10729 w 4854002"/>
                  <a:gd name="connsiteY4-88" fmla="*/ 843510 h 889123"/>
                  <a:gd name="connsiteX5-89" fmla="*/ 1146998 w 4854002"/>
                  <a:gd name="connsiteY5-90" fmla="*/ 452447 h 889123"/>
                  <a:gd name="connsiteX6-91" fmla="*/ 2814666 w 4854002"/>
                  <a:gd name="connsiteY6-92" fmla="*/ 308891 h 889123"/>
                  <a:gd name="connsiteX7-93" fmla="*/ 2808008 w 4854002"/>
                  <a:gd name="connsiteY7-94" fmla="*/ 356979 h 889123"/>
                  <a:gd name="connsiteX8-95" fmla="*/ 1432776 w 4854002"/>
                  <a:gd name="connsiteY8-96" fmla="*/ 472057 h 889123"/>
                  <a:gd name="connsiteX9-97" fmla="*/ 1442411 w 4854002"/>
                  <a:gd name="connsiteY9-98" fmla="*/ 421536 h 889123"/>
                  <a:gd name="connsiteX10-99" fmla="*/ 2814666 w 4854002"/>
                  <a:gd name="connsiteY10-100" fmla="*/ 308891 h 889123"/>
                  <a:gd name="connsiteX11-101" fmla="*/ 4676307 w 4854002"/>
                  <a:gd name="connsiteY11-102" fmla="*/ 25569 h 889123"/>
                  <a:gd name="connsiteX12-103" fmla="*/ 4829298 w 4854002"/>
                  <a:gd name="connsiteY12-104" fmla="*/ 11536 h 889123"/>
                  <a:gd name="connsiteX13-105" fmla="*/ 4710439 w 4854002"/>
                  <a:gd name="connsiteY13-106" fmla="*/ 55732 h 889123"/>
                  <a:gd name="connsiteX14-107" fmla="*/ 3173047 w 4854002"/>
                  <a:gd name="connsiteY14-108" fmla="*/ 322598 h 889123"/>
                  <a:gd name="connsiteX15-109" fmla="*/ 3179658 w 4854002"/>
                  <a:gd name="connsiteY15-110" fmla="*/ 274848 h 889123"/>
                  <a:gd name="connsiteX16-111" fmla="*/ 4676307 w 4854002"/>
                  <a:gd name="connsiteY16-112" fmla="*/ 25569 h 889123"/>
                  <a:gd name="connsiteX0-113" fmla="*/ 1146998 w 4883750"/>
                  <a:gd name="connsiteY0-114" fmla="*/ 446445 h 883121"/>
                  <a:gd name="connsiteX1-115" fmla="*/ 1137636 w 4883750"/>
                  <a:gd name="connsiteY1-116" fmla="*/ 495537 h 883121"/>
                  <a:gd name="connsiteX2-117" fmla="*/ 990129 w 4883750"/>
                  <a:gd name="connsiteY2-118" fmla="*/ 514072 h 883121"/>
                  <a:gd name="connsiteX3-119" fmla="*/ 0 w 4883750"/>
                  <a:gd name="connsiteY3-120" fmla="*/ 883121 h 883121"/>
                  <a:gd name="connsiteX4-121" fmla="*/ 10729 w 4883750"/>
                  <a:gd name="connsiteY4-122" fmla="*/ 837508 h 883121"/>
                  <a:gd name="connsiteX5-123" fmla="*/ 1146998 w 4883750"/>
                  <a:gd name="connsiteY5-124" fmla="*/ 446445 h 883121"/>
                  <a:gd name="connsiteX6-125" fmla="*/ 2814666 w 4883750"/>
                  <a:gd name="connsiteY6-126" fmla="*/ 302889 h 883121"/>
                  <a:gd name="connsiteX7-127" fmla="*/ 2808008 w 4883750"/>
                  <a:gd name="connsiteY7-128" fmla="*/ 350977 h 883121"/>
                  <a:gd name="connsiteX8-129" fmla="*/ 1432776 w 4883750"/>
                  <a:gd name="connsiteY8-130" fmla="*/ 466055 h 883121"/>
                  <a:gd name="connsiteX9-131" fmla="*/ 1442411 w 4883750"/>
                  <a:gd name="connsiteY9-132" fmla="*/ 415534 h 883121"/>
                  <a:gd name="connsiteX10-133" fmla="*/ 2814666 w 4883750"/>
                  <a:gd name="connsiteY10-134" fmla="*/ 302889 h 883121"/>
                  <a:gd name="connsiteX11-135" fmla="*/ 4676307 w 4883750"/>
                  <a:gd name="connsiteY11-136" fmla="*/ 19567 h 883121"/>
                  <a:gd name="connsiteX12-137" fmla="*/ 4710439 w 4883750"/>
                  <a:gd name="connsiteY12-138" fmla="*/ 49730 h 883121"/>
                  <a:gd name="connsiteX13-139" fmla="*/ 3173047 w 4883750"/>
                  <a:gd name="connsiteY13-140" fmla="*/ 316596 h 883121"/>
                  <a:gd name="connsiteX14-141" fmla="*/ 3179658 w 4883750"/>
                  <a:gd name="connsiteY14-142" fmla="*/ 268846 h 883121"/>
                  <a:gd name="connsiteX15-143" fmla="*/ 4676307 w 4883750"/>
                  <a:gd name="connsiteY15-144" fmla="*/ 19567 h 883121"/>
                  <a:gd name="connsiteX0-145" fmla="*/ 1146998 w 4710439"/>
                  <a:gd name="connsiteY0-146" fmla="*/ 396968 h 833644"/>
                  <a:gd name="connsiteX1-147" fmla="*/ 1137636 w 4710439"/>
                  <a:gd name="connsiteY1-148" fmla="*/ 446060 h 833644"/>
                  <a:gd name="connsiteX2-149" fmla="*/ 990129 w 4710439"/>
                  <a:gd name="connsiteY2-150" fmla="*/ 464595 h 833644"/>
                  <a:gd name="connsiteX3-151" fmla="*/ 0 w 4710439"/>
                  <a:gd name="connsiteY3-152" fmla="*/ 833644 h 833644"/>
                  <a:gd name="connsiteX4-153" fmla="*/ 10729 w 4710439"/>
                  <a:gd name="connsiteY4-154" fmla="*/ 788031 h 833644"/>
                  <a:gd name="connsiteX5-155" fmla="*/ 1146998 w 4710439"/>
                  <a:gd name="connsiteY5-156" fmla="*/ 396968 h 833644"/>
                  <a:gd name="connsiteX6-157" fmla="*/ 2814666 w 4710439"/>
                  <a:gd name="connsiteY6-158" fmla="*/ 253412 h 833644"/>
                  <a:gd name="connsiteX7-159" fmla="*/ 2808008 w 4710439"/>
                  <a:gd name="connsiteY7-160" fmla="*/ 301500 h 833644"/>
                  <a:gd name="connsiteX8-161" fmla="*/ 1432776 w 4710439"/>
                  <a:gd name="connsiteY8-162" fmla="*/ 416578 h 833644"/>
                  <a:gd name="connsiteX9-163" fmla="*/ 1442411 w 4710439"/>
                  <a:gd name="connsiteY9-164" fmla="*/ 366057 h 833644"/>
                  <a:gd name="connsiteX10-165" fmla="*/ 2814666 w 4710439"/>
                  <a:gd name="connsiteY10-166" fmla="*/ 253412 h 833644"/>
                  <a:gd name="connsiteX11-167" fmla="*/ 3179658 w 4710439"/>
                  <a:gd name="connsiteY11-168" fmla="*/ 219369 h 833644"/>
                  <a:gd name="connsiteX12-169" fmla="*/ 4710439 w 4710439"/>
                  <a:gd name="connsiteY12-170" fmla="*/ 253 h 833644"/>
                  <a:gd name="connsiteX13-171" fmla="*/ 3173047 w 4710439"/>
                  <a:gd name="connsiteY13-172" fmla="*/ 267119 h 833644"/>
                  <a:gd name="connsiteX14-173" fmla="*/ 3179658 w 4710439"/>
                  <a:gd name="connsiteY14-174" fmla="*/ 219369 h 833644"/>
                  <a:gd name="connsiteX0-175" fmla="*/ 1146998 w 3179658"/>
                  <a:gd name="connsiteY0-176" fmla="*/ 177599 h 614275"/>
                  <a:gd name="connsiteX1-177" fmla="*/ 1137636 w 3179658"/>
                  <a:gd name="connsiteY1-178" fmla="*/ 226691 h 614275"/>
                  <a:gd name="connsiteX2-179" fmla="*/ 990129 w 3179658"/>
                  <a:gd name="connsiteY2-180" fmla="*/ 245226 h 614275"/>
                  <a:gd name="connsiteX3-181" fmla="*/ 0 w 3179658"/>
                  <a:gd name="connsiteY3-182" fmla="*/ 614275 h 614275"/>
                  <a:gd name="connsiteX4-183" fmla="*/ 10729 w 3179658"/>
                  <a:gd name="connsiteY4-184" fmla="*/ 568662 h 614275"/>
                  <a:gd name="connsiteX5-185" fmla="*/ 1146998 w 3179658"/>
                  <a:gd name="connsiteY5-186" fmla="*/ 177599 h 614275"/>
                  <a:gd name="connsiteX6-187" fmla="*/ 2814666 w 3179658"/>
                  <a:gd name="connsiteY6-188" fmla="*/ 34043 h 614275"/>
                  <a:gd name="connsiteX7-189" fmla="*/ 2808008 w 3179658"/>
                  <a:gd name="connsiteY7-190" fmla="*/ 82131 h 614275"/>
                  <a:gd name="connsiteX8-191" fmla="*/ 1432776 w 3179658"/>
                  <a:gd name="connsiteY8-192" fmla="*/ 197209 h 614275"/>
                  <a:gd name="connsiteX9-193" fmla="*/ 1442411 w 3179658"/>
                  <a:gd name="connsiteY9-194" fmla="*/ 146688 h 614275"/>
                  <a:gd name="connsiteX10-195" fmla="*/ 2814666 w 3179658"/>
                  <a:gd name="connsiteY10-196" fmla="*/ 34043 h 614275"/>
                  <a:gd name="connsiteX11-197" fmla="*/ 3179658 w 3179658"/>
                  <a:gd name="connsiteY11-198" fmla="*/ 0 h 614275"/>
                  <a:gd name="connsiteX12-199" fmla="*/ 3173047 w 3179658"/>
                  <a:gd name="connsiteY12-200" fmla="*/ 47750 h 614275"/>
                  <a:gd name="connsiteX13-201" fmla="*/ 3179658 w 3179658"/>
                  <a:gd name="connsiteY13-202" fmla="*/ 0 h 614275"/>
                  <a:gd name="connsiteX0-203" fmla="*/ 1146998 w 2814666"/>
                  <a:gd name="connsiteY0-204" fmla="*/ 143556 h 580232"/>
                  <a:gd name="connsiteX1-205" fmla="*/ 1137636 w 2814666"/>
                  <a:gd name="connsiteY1-206" fmla="*/ 192648 h 580232"/>
                  <a:gd name="connsiteX2-207" fmla="*/ 990129 w 2814666"/>
                  <a:gd name="connsiteY2-208" fmla="*/ 211183 h 580232"/>
                  <a:gd name="connsiteX3-209" fmla="*/ 0 w 2814666"/>
                  <a:gd name="connsiteY3-210" fmla="*/ 580232 h 580232"/>
                  <a:gd name="connsiteX4-211" fmla="*/ 10729 w 2814666"/>
                  <a:gd name="connsiteY4-212" fmla="*/ 534619 h 580232"/>
                  <a:gd name="connsiteX5-213" fmla="*/ 1146998 w 2814666"/>
                  <a:gd name="connsiteY5-214" fmla="*/ 143556 h 580232"/>
                  <a:gd name="connsiteX6-215" fmla="*/ 2814666 w 2814666"/>
                  <a:gd name="connsiteY6-216" fmla="*/ 0 h 580232"/>
                  <a:gd name="connsiteX7-217" fmla="*/ 2808008 w 2814666"/>
                  <a:gd name="connsiteY7-218" fmla="*/ 48088 h 580232"/>
                  <a:gd name="connsiteX8-219" fmla="*/ 1432776 w 2814666"/>
                  <a:gd name="connsiteY8-220" fmla="*/ 163166 h 580232"/>
                  <a:gd name="connsiteX9-221" fmla="*/ 1442411 w 2814666"/>
                  <a:gd name="connsiteY9-222" fmla="*/ 112645 h 580232"/>
                  <a:gd name="connsiteX10-223" fmla="*/ 2814666 w 2814666"/>
                  <a:gd name="connsiteY10-224" fmla="*/ 0 h 580232"/>
                  <a:gd name="connsiteX0-225" fmla="*/ 1136883 w 2804551"/>
                  <a:gd name="connsiteY0-226" fmla="*/ 143556 h 534952"/>
                  <a:gd name="connsiteX1-227" fmla="*/ 1127521 w 2804551"/>
                  <a:gd name="connsiteY1-228" fmla="*/ 192648 h 534952"/>
                  <a:gd name="connsiteX2-229" fmla="*/ 980014 w 2804551"/>
                  <a:gd name="connsiteY2-230" fmla="*/ 211183 h 534952"/>
                  <a:gd name="connsiteX3-231" fmla="*/ 614 w 2804551"/>
                  <a:gd name="connsiteY3-232" fmla="*/ 534619 h 534952"/>
                  <a:gd name="connsiteX4-233" fmla="*/ 1136883 w 2804551"/>
                  <a:gd name="connsiteY4-234" fmla="*/ 143556 h 534952"/>
                  <a:gd name="connsiteX5-235" fmla="*/ 2804551 w 2804551"/>
                  <a:gd name="connsiteY5-236" fmla="*/ 0 h 534952"/>
                  <a:gd name="connsiteX6-237" fmla="*/ 2797893 w 2804551"/>
                  <a:gd name="connsiteY6-238" fmla="*/ 48088 h 534952"/>
                  <a:gd name="connsiteX7-239" fmla="*/ 1422661 w 2804551"/>
                  <a:gd name="connsiteY7-240" fmla="*/ 163166 h 534952"/>
                  <a:gd name="connsiteX8-241" fmla="*/ 1432296 w 2804551"/>
                  <a:gd name="connsiteY8-242" fmla="*/ 112645 h 534952"/>
                  <a:gd name="connsiteX9-243" fmla="*/ 2804551 w 2804551"/>
                  <a:gd name="connsiteY9-244" fmla="*/ 0 h 534952"/>
                  <a:gd name="connsiteX0-245" fmla="*/ 156888 w 1824556"/>
                  <a:gd name="connsiteY0-246" fmla="*/ 143556 h 213072"/>
                  <a:gd name="connsiteX1-247" fmla="*/ 147526 w 1824556"/>
                  <a:gd name="connsiteY1-248" fmla="*/ 192648 h 213072"/>
                  <a:gd name="connsiteX2-249" fmla="*/ 19 w 1824556"/>
                  <a:gd name="connsiteY2-250" fmla="*/ 211183 h 213072"/>
                  <a:gd name="connsiteX3-251" fmla="*/ 156888 w 1824556"/>
                  <a:gd name="connsiteY3-252" fmla="*/ 143556 h 213072"/>
                  <a:gd name="connsiteX4-253" fmla="*/ 1824556 w 1824556"/>
                  <a:gd name="connsiteY4-254" fmla="*/ 0 h 213072"/>
                  <a:gd name="connsiteX5-255" fmla="*/ 1817898 w 1824556"/>
                  <a:gd name="connsiteY5-256" fmla="*/ 48088 h 213072"/>
                  <a:gd name="connsiteX6-257" fmla="*/ 442666 w 1824556"/>
                  <a:gd name="connsiteY6-258" fmla="*/ 163166 h 213072"/>
                  <a:gd name="connsiteX7-259" fmla="*/ 452301 w 1824556"/>
                  <a:gd name="connsiteY7-260" fmla="*/ 112645 h 213072"/>
                  <a:gd name="connsiteX8-261" fmla="*/ 1824556 w 1824556"/>
                  <a:gd name="connsiteY8-262" fmla="*/ 0 h 213072"/>
                  <a:gd name="connsiteX0-263" fmla="*/ 9362 w 1677030"/>
                  <a:gd name="connsiteY0-264" fmla="*/ 143556 h 192648"/>
                  <a:gd name="connsiteX1-265" fmla="*/ 0 w 1677030"/>
                  <a:gd name="connsiteY1-266" fmla="*/ 192648 h 192648"/>
                  <a:gd name="connsiteX2-267" fmla="*/ 9362 w 1677030"/>
                  <a:gd name="connsiteY2-268" fmla="*/ 143556 h 192648"/>
                  <a:gd name="connsiteX3-269" fmla="*/ 1677030 w 1677030"/>
                  <a:gd name="connsiteY3-270" fmla="*/ 0 h 192648"/>
                  <a:gd name="connsiteX4-271" fmla="*/ 1670372 w 1677030"/>
                  <a:gd name="connsiteY4-272" fmla="*/ 48088 h 192648"/>
                  <a:gd name="connsiteX5-273" fmla="*/ 295140 w 1677030"/>
                  <a:gd name="connsiteY5-274" fmla="*/ 163166 h 192648"/>
                  <a:gd name="connsiteX6-275" fmla="*/ 304775 w 1677030"/>
                  <a:gd name="connsiteY6-276" fmla="*/ 112645 h 192648"/>
                  <a:gd name="connsiteX7-277" fmla="*/ 1677030 w 1677030"/>
                  <a:gd name="connsiteY7-278" fmla="*/ 0 h 192648"/>
                  <a:gd name="connsiteX0-279" fmla="*/ 1381890 w 1381890"/>
                  <a:gd name="connsiteY0-280" fmla="*/ 0 h 163166"/>
                  <a:gd name="connsiteX1-281" fmla="*/ 1375232 w 1381890"/>
                  <a:gd name="connsiteY1-282" fmla="*/ 48088 h 163166"/>
                  <a:gd name="connsiteX2-283" fmla="*/ 0 w 1381890"/>
                  <a:gd name="connsiteY2-284" fmla="*/ 163166 h 163166"/>
                  <a:gd name="connsiteX3-285" fmla="*/ 9635 w 1381890"/>
                  <a:gd name="connsiteY3-286" fmla="*/ 112645 h 163166"/>
                  <a:gd name="connsiteX4-287" fmla="*/ 1381890 w 1381890"/>
                  <a:gd name="connsiteY4-288" fmla="*/ 0 h 16316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381890" h="163166">
                    <a:moveTo>
                      <a:pt x="1381890" y="0"/>
                    </a:moveTo>
                    <a:lnTo>
                      <a:pt x="1375232" y="48088"/>
                    </a:lnTo>
                    <a:lnTo>
                      <a:pt x="0" y="163166"/>
                    </a:lnTo>
                    <a:lnTo>
                      <a:pt x="9635" y="112645"/>
                    </a:lnTo>
                    <a:lnTo>
                      <a:pt x="138189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57" name="任意多边形 256"/>
              <p:cNvSpPr/>
              <p:nvPr/>
            </p:nvSpPr>
            <p:spPr>
              <a:xfrm rot="21425118">
                <a:off x="3857887" y="2818298"/>
                <a:ext cx="1656251" cy="288205"/>
              </a:xfrm>
              <a:custGeom>
                <a:avLst/>
                <a:gdLst>
                  <a:gd name="connsiteX0" fmla="*/ 1146998 w 5592038"/>
                  <a:gd name="connsiteY0" fmla="*/ 1514343 h 1951019"/>
                  <a:gd name="connsiteX1" fmla="*/ 1137636 w 5592038"/>
                  <a:gd name="connsiteY1" fmla="*/ 1563435 h 1951019"/>
                  <a:gd name="connsiteX2" fmla="*/ 990129 w 5592038"/>
                  <a:gd name="connsiteY2" fmla="*/ 1581970 h 1951019"/>
                  <a:gd name="connsiteX3" fmla="*/ 0 w 5592038"/>
                  <a:gd name="connsiteY3" fmla="*/ 1951019 h 1951019"/>
                  <a:gd name="connsiteX4" fmla="*/ 1146998 w 5592038"/>
                  <a:gd name="connsiteY4" fmla="*/ 1514343 h 1951019"/>
                  <a:gd name="connsiteX5" fmla="*/ 2814666 w 5592038"/>
                  <a:gd name="connsiteY5" fmla="*/ 1370787 h 1951019"/>
                  <a:gd name="connsiteX6" fmla="*/ 2808008 w 5592038"/>
                  <a:gd name="connsiteY6" fmla="*/ 1418875 h 1951019"/>
                  <a:gd name="connsiteX7" fmla="*/ 1432776 w 5592038"/>
                  <a:gd name="connsiteY7" fmla="*/ 1533953 h 1951019"/>
                  <a:gd name="connsiteX8" fmla="*/ 1442411 w 5592038"/>
                  <a:gd name="connsiteY8" fmla="*/ 1483432 h 1951019"/>
                  <a:gd name="connsiteX9" fmla="*/ 2814666 w 5592038"/>
                  <a:gd name="connsiteY9" fmla="*/ 1370787 h 1951019"/>
                  <a:gd name="connsiteX10" fmla="*/ 4811635 w 5592038"/>
                  <a:gd name="connsiteY10" fmla="*/ 1035765 h 1951019"/>
                  <a:gd name="connsiteX11" fmla="*/ 4829298 w 5592038"/>
                  <a:gd name="connsiteY11" fmla="*/ 1073432 h 1951019"/>
                  <a:gd name="connsiteX12" fmla="*/ 4710439 w 5592038"/>
                  <a:gd name="connsiteY12" fmla="*/ 1117628 h 1951019"/>
                  <a:gd name="connsiteX13" fmla="*/ 3173047 w 5592038"/>
                  <a:gd name="connsiteY13" fmla="*/ 1384494 h 1951019"/>
                  <a:gd name="connsiteX14" fmla="*/ 3179658 w 5592038"/>
                  <a:gd name="connsiteY14" fmla="*/ 1336744 h 1951019"/>
                  <a:gd name="connsiteX15" fmla="*/ 4676307 w 5592038"/>
                  <a:gd name="connsiteY15" fmla="*/ 1087465 h 1951019"/>
                  <a:gd name="connsiteX16" fmla="*/ 4811635 w 5592038"/>
                  <a:gd name="connsiteY16" fmla="*/ 1035765 h 1951019"/>
                  <a:gd name="connsiteX17" fmla="*/ 5548579 w 5592038"/>
                  <a:gd name="connsiteY17" fmla="*/ 0 h 1951019"/>
                  <a:gd name="connsiteX18" fmla="*/ 5586741 w 5592038"/>
                  <a:gd name="connsiteY18" fmla="*/ 820 h 1951019"/>
                  <a:gd name="connsiteX19" fmla="*/ 4991247 w 5592038"/>
                  <a:gd name="connsiteY19" fmla="*/ 998509 h 1951019"/>
                  <a:gd name="connsiteX20" fmla="*/ 4972529 w 5592038"/>
                  <a:gd name="connsiteY20" fmla="*/ 958592 h 1951019"/>
                  <a:gd name="connsiteX21" fmla="*/ 5548579 w 5592038"/>
                  <a:gd name="connsiteY21" fmla="*/ 0 h 1951019"/>
                  <a:gd name="connsiteX0-1" fmla="*/ 1146999 w 5592039"/>
                  <a:gd name="connsiteY0-2" fmla="*/ 1514343 h 1951171"/>
                  <a:gd name="connsiteX1-3" fmla="*/ 1137637 w 5592039"/>
                  <a:gd name="connsiteY1-4" fmla="*/ 1563435 h 1951171"/>
                  <a:gd name="connsiteX2-5" fmla="*/ 1 w 5592039"/>
                  <a:gd name="connsiteY2-6" fmla="*/ 1951019 h 1951171"/>
                  <a:gd name="connsiteX3-7" fmla="*/ 1146999 w 5592039"/>
                  <a:gd name="connsiteY3-8" fmla="*/ 1514343 h 1951171"/>
                  <a:gd name="connsiteX4-9" fmla="*/ 2814667 w 5592039"/>
                  <a:gd name="connsiteY4-10" fmla="*/ 1370787 h 1951171"/>
                  <a:gd name="connsiteX5-11" fmla="*/ 2808009 w 5592039"/>
                  <a:gd name="connsiteY5-12" fmla="*/ 1418875 h 1951171"/>
                  <a:gd name="connsiteX6-13" fmla="*/ 1432777 w 5592039"/>
                  <a:gd name="connsiteY6-14" fmla="*/ 1533953 h 1951171"/>
                  <a:gd name="connsiteX7-15" fmla="*/ 1442412 w 5592039"/>
                  <a:gd name="connsiteY7-16" fmla="*/ 1483432 h 1951171"/>
                  <a:gd name="connsiteX8-17" fmla="*/ 2814667 w 5592039"/>
                  <a:gd name="connsiteY8-18" fmla="*/ 1370787 h 1951171"/>
                  <a:gd name="connsiteX9-19" fmla="*/ 4811636 w 5592039"/>
                  <a:gd name="connsiteY9-20" fmla="*/ 1035765 h 1951171"/>
                  <a:gd name="connsiteX10-21" fmla="*/ 4829299 w 5592039"/>
                  <a:gd name="connsiteY10-22" fmla="*/ 1073432 h 1951171"/>
                  <a:gd name="connsiteX11-23" fmla="*/ 4710440 w 5592039"/>
                  <a:gd name="connsiteY11-24" fmla="*/ 1117628 h 1951171"/>
                  <a:gd name="connsiteX12-25" fmla="*/ 3173048 w 5592039"/>
                  <a:gd name="connsiteY12-26" fmla="*/ 1384494 h 1951171"/>
                  <a:gd name="connsiteX13-27" fmla="*/ 3179659 w 5592039"/>
                  <a:gd name="connsiteY13-28" fmla="*/ 1336744 h 1951171"/>
                  <a:gd name="connsiteX14-29" fmla="*/ 4676308 w 5592039"/>
                  <a:gd name="connsiteY14-30" fmla="*/ 1087465 h 1951171"/>
                  <a:gd name="connsiteX15-31" fmla="*/ 4811636 w 5592039"/>
                  <a:gd name="connsiteY15-32" fmla="*/ 1035765 h 1951171"/>
                  <a:gd name="connsiteX16-33" fmla="*/ 5548580 w 5592039"/>
                  <a:gd name="connsiteY16-34" fmla="*/ 0 h 1951171"/>
                  <a:gd name="connsiteX17-35" fmla="*/ 5586742 w 5592039"/>
                  <a:gd name="connsiteY17-36" fmla="*/ 820 h 1951171"/>
                  <a:gd name="connsiteX18-37" fmla="*/ 4991248 w 5592039"/>
                  <a:gd name="connsiteY18-38" fmla="*/ 998509 h 1951171"/>
                  <a:gd name="connsiteX19-39" fmla="*/ 4972530 w 5592039"/>
                  <a:gd name="connsiteY19-40" fmla="*/ 958592 h 1951171"/>
                  <a:gd name="connsiteX20-41" fmla="*/ 5548580 w 5592039"/>
                  <a:gd name="connsiteY20-42" fmla="*/ 0 h 1951171"/>
                  <a:gd name="connsiteX0-43" fmla="*/ 1273861 w 5718901"/>
                  <a:gd name="connsiteY0-44" fmla="*/ 1514343 h 1998995"/>
                  <a:gd name="connsiteX1-45" fmla="*/ 1264499 w 5718901"/>
                  <a:gd name="connsiteY1-46" fmla="*/ 1563435 h 1998995"/>
                  <a:gd name="connsiteX2-47" fmla="*/ 126863 w 5718901"/>
                  <a:gd name="connsiteY2-48" fmla="*/ 1951019 h 1998995"/>
                  <a:gd name="connsiteX3-49" fmla="*/ 156399 w 5718901"/>
                  <a:gd name="connsiteY3-50" fmla="*/ 1944713 h 1998995"/>
                  <a:gd name="connsiteX4-51" fmla="*/ 1273861 w 5718901"/>
                  <a:gd name="connsiteY4-52" fmla="*/ 1514343 h 1998995"/>
                  <a:gd name="connsiteX5-53" fmla="*/ 2941529 w 5718901"/>
                  <a:gd name="connsiteY5-54" fmla="*/ 1370787 h 1998995"/>
                  <a:gd name="connsiteX6-55" fmla="*/ 2934871 w 5718901"/>
                  <a:gd name="connsiteY6-56" fmla="*/ 1418875 h 1998995"/>
                  <a:gd name="connsiteX7-57" fmla="*/ 1559639 w 5718901"/>
                  <a:gd name="connsiteY7-58" fmla="*/ 1533953 h 1998995"/>
                  <a:gd name="connsiteX8-59" fmla="*/ 1569274 w 5718901"/>
                  <a:gd name="connsiteY8-60" fmla="*/ 1483432 h 1998995"/>
                  <a:gd name="connsiteX9-61" fmla="*/ 2941529 w 5718901"/>
                  <a:gd name="connsiteY9-62" fmla="*/ 1370787 h 1998995"/>
                  <a:gd name="connsiteX10-63" fmla="*/ 4938498 w 5718901"/>
                  <a:gd name="connsiteY10-64" fmla="*/ 1035765 h 1998995"/>
                  <a:gd name="connsiteX11-65" fmla="*/ 4956161 w 5718901"/>
                  <a:gd name="connsiteY11-66" fmla="*/ 1073432 h 1998995"/>
                  <a:gd name="connsiteX12-67" fmla="*/ 4837302 w 5718901"/>
                  <a:gd name="connsiteY12-68" fmla="*/ 1117628 h 1998995"/>
                  <a:gd name="connsiteX13-69" fmla="*/ 3299910 w 5718901"/>
                  <a:gd name="connsiteY13-70" fmla="*/ 1384494 h 1998995"/>
                  <a:gd name="connsiteX14-71" fmla="*/ 3306521 w 5718901"/>
                  <a:gd name="connsiteY14-72" fmla="*/ 1336744 h 1998995"/>
                  <a:gd name="connsiteX15-73" fmla="*/ 4803170 w 5718901"/>
                  <a:gd name="connsiteY15-74" fmla="*/ 1087465 h 1998995"/>
                  <a:gd name="connsiteX16-75" fmla="*/ 4938498 w 5718901"/>
                  <a:gd name="connsiteY16-76" fmla="*/ 1035765 h 1998995"/>
                  <a:gd name="connsiteX17-77" fmla="*/ 5675442 w 5718901"/>
                  <a:gd name="connsiteY17-78" fmla="*/ 0 h 1998995"/>
                  <a:gd name="connsiteX18-79" fmla="*/ 5713604 w 5718901"/>
                  <a:gd name="connsiteY18-80" fmla="*/ 820 h 1998995"/>
                  <a:gd name="connsiteX19-81" fmla="*/ 5118110 w 5718901"/>
                  <a:gd name="connsiteY19-82" fmla="*/ 998509 h 1998995"/>
                  <a:gd name="connsiteX20-83" fmla="*/ 5099392 w 5718901"/>
                  <a:gd name="connsiteY20-84" fmla="*/ 958592 h 1998995"/>
                  <a:gd name="connsiteX21-85" fmla="*/ 5675442 w 5718901"/>
                  <a:gd name="connsiteY21-86" fmla="*/ 0 h 1998995"/>
                  <a:gd name="connsiteX0-87" fmla="*/ 1117464 w 5562504"/>
                  <a:gd name="connsiteY0-88" fmla="*/ 1514343 h 1944868"/>
                  <a:gd name="connsiteX1-89" fmla="*/ 1108102 w 5562504"/>
                  <a:gd name="connsiteY1-90" fmla="*/ 1563435 h 1944868"/>
                  <a:gd name="connsiteX2-91" fmla="*/ 2 w 5562504"/>
                  <a:gd name="connsiteY2-92" fmla="*/ 1944713 h 1944868"/>
                  <a:gd name="connsiteX3-93" fmla="*/ 1117464 w 5562504"/>
                  <a:gd name="connsiteY3-94" fmla="*/ 1514343 h 1944868"/>
                  <a:gd name="connsiteX4-95" fmla="*/ 2785132 w 5562504"/>
                  <a:gd name="connsiteY4-96" fmla="*/ 1370787 h 1944868"/>
                  <a:gd name="connsiteX5-97" fmla="*/ 2778474 w 5562504"/>
                  <a:gd name="connsiteY5-98" fmla="*/ 1418875 h 1944868"/>
                  <a:gd name="connsiteX6-99" fmla="*/ 1403242 w 5562504"/>
                  <a:gd name="connsiteY6-100" fmla="*/ 1533953 h 1944868"/>
                  <a:gd name="connsiteX7-101" fmla="*/ 1412877 w 5562504"/>
                  <a:gd name="connsiteY7-102" fmla="*/ 1483432 h 1944868"/>
                  <a:gd name="connsiteX8-103" fmla="*/ 2785132 w 5562504"/>
                  <a:gd name="connsiteY8-104" fmla="*/ 1370787 h 1944868"/>
                  <a:gd name="connsiteX9-105" fmla="*/ 4782101 w 5562504"/>
                  <a:gd name="connsiteY9-106" fmla="*/ 1035765 h 1944868"/>
                  <a:gd name="connsiteX10-107" fmla="*/ 4799764 w 5562504"/>
                  <a:gd name="connsiteY10-108" fmla="*/ 1073432 h 1944868"/>
                  <a:gd name="connsiteX11-109" fmla="*/ 4680905 w 5562504"/>
                  <a:gd name="connsiteY11-110" fmla="*/ 1117628 h 1944868"/>
                  <a:gd name="connsiteX12-111" fmla="*/ 3143513 w 5562504"/>
                  <a:gd name="connsiteY12-112" fmla="*/ 1384494 h 1944868"/>
                  <a:gd name="connsiteX13-113" fmla="*/ 3150124 w 5562504"/>
                  <a:gd name="connsiteY13-114" fmla="*/ 1336744 h 1944868"/>
                  <a:gd name="connsiteX14-115" fmla="*/ 4646773 w 5562504"/>
                  <a:gd name="connsiteY14-116" fmla="*/ 1087465 h 1944868"/>
                  <a:gd name="connsiteX15-117" fmla="*/ 4782101 w 5562504"/>
                  <a:gd name="connsiteY15-118" fmla="*/ 1035765 h 1944868"/>
                  <a:gd name="connsiteX16-119" fmla="*/ 5519045 w 5562504"/>
                  <a:gd name="connsiteY16-120" fmla="*/ 0 h 1944868"/>
                  <a:gd name="connsiteX17-121" fmla="*/ 5557207 w 5562504"/>
                  <a:gd name="connsiteY17-122" fmla="*/ 820 h 1944868"/>
                  <a:gd name="connsiteX18-123" fmla="*/ 4961713 w 5562504"/>
                  <a:gd name="connsiteY18-124" fmla="*/ 998509 h 1944868"/>
                  <a:gd name="connsiteX19-125" fmla="*/ 4942995 w 5562504"/>
                  <a:gd name="connsiteY19-126" fmla="*/ 958592 h 1944868"/>
                  <a:gd name="connsiteX20-127" fmla="*/ 5519045 w 5562504"/>
                  <a:gd name="connsiteY20-128" fmla="*/ 0 h 1944868"/>
                  <a:gd name="connsiteX0-129" fmla="*/ 9362 w 4454402"/>
                  <a:gd name="connsiteY0-130" fmla="*/ 1514343 h 1563435"/>
                  <a:gd name="connsiteX1-131" fmla="*/ 0 w 4454402"/>
                  <a:gd name="connsiteY1-132" fmla="*/ 1563435 h 1563435"/>
                  <a:gd name="connsiteX2-133" fmla="*/ 9362 w 4454402"/>
                  <a:gd name="connsiteY2-134" fmla="*/ 1514343 h 1563435"/>
                  <a:gd name="connsiteX3-135" fmla="*/ 1677030 w 4454402"/>
                  <a:gd name="connsiteY3-136" fmla="*/ 1370787 h 1563435"/>
                  <a:gd name="connsiteX4-137" fmla="*/ 1670372 w 4454402"/>
                  <a:gd name="connsiteY4-138" fmla="*/ 1418875 h 1563435"/>
                  <a:gd name="connsiteX5-139" fmla="*/ 295140 w 4454402"/>
                  <a:gd name="connsiteY5-140" fmla="*/ 1533953 h 1563435"/>
                  <a:gd name="connsiteX6-141" fmla="*/ 304775 w 4454402"/>
                  <a:gd name="connsiteY6-142" fmla="*/ 1483432 h 1563435"/>
                  <a:gd name="connsiteX7-143" fmla="*/ 1677030 w 4454402"/>
                  <a:gd name="connsiteY7-144" fmla="*/ 1370787 h 1563435"/>
                  <a:gd name="connsiteX8-145" fmla="*/ 3673999 w 4454402"/>
                  <a:gd name="connsiteY8-146" fmla="*/ 1035765 h 1563435"/>
                  <a:gd name="connsiteX9-147" fmla="*/ 3691662 w 4454402"/>
                  <a:gd name="connsiteY9-148" fmla="*/ 1073432 h 1563435"/>
                  <a:gd name="connsiteX10-149" fmla="*/ 3572803 w 4454402"/>
                  <a:gd name="connsiteY10-150" fmla="*/ 1117628 h 1563435"/>
                  <a:gd name="connsiteX11-151" fmla="*/ 2035411 w 4454402"/>
                  <a:gd name="connsiteY11-152" fmla="*/ 1384494 h 1563435"/>
                  <a:gd name="connsiteX12-153" fmla="*/ 2042022 w 4454402"/>
                  <a:gd name="connsiteY12-154" fmla="*/ 1336744 h 1563435"/>
                  <a:gd name="connsiteX13-155" fmla="*/ 3538671 w 4454402"/>
                  <a:gd name="connsiteY13-156" fmla="*/ 1087465 h 1563435"/>
                  <a:gd name="connsiteX14-157" fmla="*/ 3673999 w 4454402"/>
                  <a:gd name="connsiteY14-158" fmla="*/ 1035765 h 1563435"/>
                  <a:gd name="connsiteX15-159" fmla="*/ 4410943 w 4454402"/>
                  <a:gd name="connsiteY15-160" fmla="*/ 0 h 1563435"/>
                  <a:gd name="connsiteX16-161" fmla="*/ 4449105 w 4454402"/>
                  <a:gd name="connsiteY16-162" fmla="*/ 820 h 1563435"/>
                  <a:gd name="connsiteX17-163" fmla="*/ 3853611 w 4454402"/>
                  <a:gd name="connsiteY17-164" fmla="*/ 998509 h 1563435"/>
                  <a:gd name="connsiteX18-165" fmla="*/ 3834893 w 4454402"/>
                  <a:gd name="connsiteY18-166" fmla="*/ 958592 h 1563435"/>
                  <a:gd name="connsiteX19-167" fmla="*/ 4410943 w 4454402"/>
                  <a:gd name="connsiteY19-168" fmla="*/ 0 h 1563435"/>
                  <a:gd name="connsiteX0-169" fmla="*/ 1381890 w 4159262"/>
                  <a:gd name="connsiteY0-170" fmla="*/ 1370787 h 1533953"/>
                  <a:gd name="connsiteX1-171" fmla="*/ 1375232 w 4159262"/>
                  <a:gd name="connsiteY1-172" fmla="*/ 1418875 h 1533953"/>
                  <a:gd name="connsiteX2-173" fmla="*/ 0 w 4159262"/>
                  <a:gd name="connsiteY2-174" fmla="*/ 1533953 h 1533953"/>
                  <a:gd name="connsiteX3-175" fmla="*/ 9635 w 4159262"/>
                  <a:gd name="connsiteY3-176" fmla="*/ 1483432 h 1533953"/>
                  <a:gd name="connsiteX4-177" fmla="*/ 1381890 w 4159262"/>
                  <a:gd name="connsiteY4-178" fmla="*/ 1370787 h 1533953"/>
                  <a:gd name="connsiteX5-179" fmla="*/ 3378859 w 4159262"/>
                  <a:gd name="connsiteY5-180" fmla="*/ 1035765 h 1533953"/>
                  <a:gd name="connsiteX6-181" fmla="*/ 3396522 w 4159262"/>
                  <a:gd name="connsiteY6-182" fmla="*/ 1073432 h 1533953"/>
                  <a:gd name="connsiteX7-183" fmla="*/ 3277663 w 4159262"/>
                  <a:gd name="connsiteY7-184" fmla="*/ 1117628 h 1533953"/>
                  <a:gd name="connsiteX8-185" fmla="*/ 1740271 w 4159262"/>
                  <a:gd name="connsiteY8-186" fmla="*/ 1384494 h 1533953"/>
                  <a:gd name="connsiteX9-187" fmla="*/ 1746882 w 4159262"/>
                  <a:gd name="connsiteY9-188" fmla="*/ 1336744 h 1533953"/>
                  <a:gd name="connsiteX10-189" fmla="*/ 3243531 w 4159262"/>
                  <a:gd name="connsiteY10-190" fmla="*/ 1087465 h 1533953"/>
                  <a:gd name="connsiteX11-191" fmla="*/ 3378859 w 4159262"/>
                  <a:gd name="connsiteY11-192" fmla="*/ 1035765 h 1533953"/>
                  <a:gd name="connsiteX12-193" fmla="*/ 4115803 w 4159262"/>
                  <a:gd name="connsiteY12-194" fmla="*/ 0 h 1533953"/>
                  <a:gd name="connsiteX13-195" fmla="*/ 4153965 w 4159262"/>
                  <a:gd name="connsiteY13-196" fmla="*/ 820 h 1533953"/>
                  <a:gd name="connsiteX14-197" fmla="*/ 3558471 w 4159262"/>
                  <a:gd name="connsiteY14-198" fmla="*/ 998509 h 1533953"/>
                  <a:gd name="connsiteX15-199" fmla="*/ 3539753 w 4159262"/>
                  <a:gd name="connsiteY15-200" fmla="*/ 958592 h 1533953"/>
                  <a:gd name="connsiteX16-201" fmla="*/ 4115803 w 4159262"/>
                  <a:gd name="connsiteY16-202" fmla="*/ 0 h 1533953"/>
                  <a:gd name="connsiteX0-203" fmla="*/ 1381890 w 4159262"/>
                  <a:gd name="connsiteY0-204" fmla="*/ 1370787 h 1533953"/>
                  <a:gd name="connsiteX1-205" fmla="*/ 1375232 w 4159262"/>
                  <a:gd name="connsiteY1-206" fmla="*/ 1418875 h 1533953"/>
                  <a:gd name="connsiteX2-207" fmla="*/ 0 w 4159262"/>
                  <a:gd name="connsiteY2-208" fmla="*/ 1533953 h 1533953"/>
                  <a:gd name="connsiteX3-209" fmla="*/ 1381890 w 4159262"/>
                  <a:gd name="connsiteY3-210" fmla="*/ 1370787 h 1533953"/>
                  <a:gd name="connsiteX4-211" fmla="*/ 3378859 w 4159262"/>
                  <a:gd name="connsiteY4-212" fmla="*/ 1035765 h 1533953"/>
                  <a:gd name="connsiteX5-213" fmla="*/ 3396522 w 4159262"/>
                  <a:gd name="connsiteY5-214" fmla="*/ 1073432 h 1533953"/>
                  <a:gd name="connsiteX6-215" fmla="*/ 3277663 w 4159262"/>
                  <a:gd name="connsiteY6-216" fmla="*/ 1117628 h 1533953"/>
                  <a:gd name="connsiteX7-217" fmla="*/ 1740271 w 4159262"/>
                  <a:gd name="connsiteY7-218" fmla="*/ 1384494 h 1533953"/>
                  <a:gd name="connsiteX8-219" fmla="*/ 1746882 w 4159262"/>
                  <a:gd name="connsiteY8-220" fmla="*/ 1336744 h 1533953"/>
                  <a:gd name="connsiteX9-221" fmla="*/ 3243531 w 4159262"/>
                  <a:gd name="connsiteY9-222" fmla="*/ 1087465 h 1533953"/>
                  <a:gd name="connsiteX10-223" fmla="*/ 3378859 w 4159262"/>
                  <a:gd name="connsiteY10-224" fmla="*/ 1035765 h 1533953"/>
                  <a:gd name="connsiteX11-225" fmla="*/ 4115803 w 4159262"/>
                  <a:gd name="connsiteY11-226" fmla="*/ 0 h 1533953"/>
                  <a:gd name="connsiteX12-227" fmla="*/ 4153965 w 4159262"/>
                  <a:gd name="connsiteY12-228" fmla="*/ 820 h 1533953"/>
                  <a:gd name="connsiteX13-229" fmla="*/ 3558471 w 4159262"/>
                  <a:gd name="connsiteY13-230" fmla="*/ 998509 h 1533953"/>
                  <a:gd name="connsiteX14-231" fmla="*/ 3539753 w 4159262"/>
                  <a:gd name="connsiteY14-232" fmla="*/ 958592 h 1533953"/>
                  <a:gd name="connsiteX15-233" fmla="*/ 4115803 w 4159262"/>
                  <a:gd name="connsiteY15-234" fmla="*/ 0 h 1533953"/>
                  <a:gd name="connsiteX0-235" fmla="*/ 6658 w 2784030"/>
                  <a:gd name="connsiteY0-236" fmla="*/ 1370787 h 1418875"/>
                  <a:gd name="connsiteX1-237" fmla="*/ 0 w 2784030"/>
                  <a:gd name="connsiteY1-238" fmla="*/ 1418875 h 1418875"/>
                  <a:gd name="connsiteX2-239" fmla="*/ 6658 w 2784030"/>
                  <a:gd name="connsiteY2-240" fmla="*/ 1370787 h 1418875"/>
                  <a:gd name="connsiteX3-241" fmla="*/ 2003627 w 2784030"/>
                  <a:gd name="connsiteY3-242" fmla="*/ 1035765 h 1418875"/>
                  <a:gd name="connsiteX4-243" fmla="*/ 2021290 w 2784030"/>
                  <a:gd name="connsiteY4-244" fmla="*/ 1073432 h 1418875"/>
                  <a:gd name="connsiteX5-245" fmla="*/ 1902431 w 2784030"/>
                  <a:gd name="connsiteY5-246" fmla="*/ 1117628 h 1418875"/>
                  <a:gd name="connsiteX6-247" fmla="*/ 365039 w 2784030"/>
                  <a:gd name="connsiteY6-248" fmla="*/ 1384494 h 1418875"/>
                  <a:gd name="connsiteX7-249" fmla="*/ 371650 w 2784030"/>
                  <a:gd name="connsiteY7-250" fmla="*/ 1336744 h 1418875"/>
                  <a:gd name="connsiteX8-251" fmla="*/ 1868299 w 2784030"/>
                  <a:gd name="connsiteY8-252" fmla="*/ 1087465 h 1418875"/>
                  <a:gd name="connsiteX9-253" fmla="*/ 2003627 w 2784030"/>
                  <a:gd name="connsiteY9-254" fmla="*/ 1035765 h 1418875"/>
                  <a:gd name="connsiteX10-255" fmla="*/ 2740571 w 2784030"/>
                  <a:gd name="connsiteY10-256" fmla="*/ 0 h 1418875"/>
                  <a:gd name="connsiteX11-257" fmla="*/ 2778733 w 2784030"/>
                  <a:gd name="connsiteY11-258" fmla="*/ 820 h 1418875"/>
                  <a:gd name="connsiteX12-259" fmla="*/ 2183239 w 2784030"/>
                  <a:gd name="connsiteY12-260" fmla="*/ 998509 h 1418875"/>
                  <a:gd name="connsiteX13-261" fmla="*/ 2164521 w 2784030"/>
                  <a:gd name="connsiteY13-262" fmla="*/ 958592 h 1418875"/>
                  <a:gd name="connsiteX14-263" fmla="*/ 2740571 w 2784030"/>
                  <a:gd name="connsiteY14-264" fmla="*/ 0 h 1418875"/>
                  <a:gd name="connsiteX0-265" fmla="*/ 1638588 w 2418991"/>
                  <a:gd name="connsiteY0-266" fmla="*/ 1035765 h 1384494"/>
                  <a:gd name="connsiteX1-267" fmla="*/ 1656251 w 2418991"/>
                  <a:gd name="connsiteY1-268" fmla="*/ 1073432 h 1384494"/>
                  <a:gd name="connsiteX2-269" fmla="*/ 1537392 w 2418991"/>
                  <a:gd name="connsiteY2-270" fmla="*/ 1117628 h 1384494"/>
                  <a:gd name="connsiteX3-271" fmla="*/ 0 w 2418991"/>
                  <a:gd name="connsiteY3-272" fmla="*/ 1384494 h 1384494"/>
                  <a:gd name="connsiteX4-273" fmla="*/ 6611 w 2418991"/>
                  <a:gd name="connsiteY4-274" fmla="*/ 1336744 h 1384494"/>
                  <a:gd name="connsiteX5-275" fmla="*/ 1503260 w 2418991"/>
                  <a:gd name="connsiteY5-276" fmla="*/ 1087465 h 1384494"/>
                  <a:gd name="connsiteX6-277" fmla="*/ 1638588 w 2418991"/>
                  <a:gd name="connsiteY6-278" fmla="*/ 1035765 h 1384494"/>
                  <a:gd name="connsiteX7-279" fmla="*/ 2375532 w 2418991"/>
                  <a:gd name="connsiteY7-280" fmla="*/ 0 h 1384494"/>
                  <a:gd name="connsiteX8-281" fmla="*/ 2413694 w 2418991"/>
                  <a:gd name="connsiteY8-282" fmla="*/ 820 h 1384494"/>
                  <a:gd name="connsiteX9-283" fmla="*/ 1818200 w 2418991"/>
                  <a:gd name="connsiteY9-284" fmla="*/ 998509 h 1384494"/>
                  <a:gd name="connsiteX10-285" fmla="*/ 1799482 w 2418991"/>
                  <a:gd name="connsiteY10-286" fmla="*/ 958592 h 1384494"/>
                  <a:gd name="connsiteX11-287" fmla="*/ 2375532 w 2418991"/>
                  <a:gd name="connsiteY11-288" fmla="*/ 0 h 1384494"/>
                  <a:gd name="connsiteX0-289" fmla="*/ 1638588 w 2377932"/>
                  <a:gd name="connsiteY0-290" fmla="*/ 1035765 h 1384494"/>
                  <a:gd name="connsiteX1-291" fmla="*/ 1656251 w 2377932"/>
                  <a:gd name="connsiteY1-292" fmla="*/ 1073432 h 1384494"/>
                  <a:gd name="connsiteX2-293" fmla="*/ 1537392 w 2377932"/>
                  <a:gd name="connsiteY2-294" fmla="*/ 1117628 h 1384494"/>
                  <a:gd name="connsiteX3-295" fmla="*/ 0 w 2377932"/>
                  <a:gd name="connsiteY3-296" fmla="*/ 1384494 h 1384494"/>
                  <a:gd name="connsiteX4-297" fmla="*/ 6611 w 2377932"/>
                  <a:gd name="connsiteY4-298" fmla="*/ 1336744 h 1384494"/>
                  <a:gd name="connsiteX5-299" fmla="*/ 1503260 w 2377932"/>
                  <a:gd name="connsiteY5-300" fmla="*/ 1087465 h 1384494"/>
                  <a:gd name="connsiteX6-301" fmla="*/ 1638588 w 2377932"/>
                  <a:gd name="connsiteY6-302" fmla="*/ 1035765 h 1384494"/>
                  <a:gd name="connsiteX7-303" fmla="*/ 2375532 w 2377932"/>
                  <a:gd name="connsiteY7-304" fmla="*/ 0 h 1384494"/>
                  <a:gd name="connsiteX8-305" fmla="*/ 1818200 w 2377932"/>
                  <a:gd name="connsiteY8-306" fmla="*/ 998509 h 1384494"/>
                  <a:gd name="connsiteX9-307" fmla="*/ 1799482 w 2377932"/>
                  <a:gd name="connsiteY9-308" fmla="*/ 958592 h 1384494"/>
                  <a:gd name="connsiteX10-309" fmla="*/ 2375532 w 2377932"/>
                  <a:gd name="connsiteY10-310" fmla="*/ 0 h 1384494"/>
                  <a:gd name="connsiteX0-311" fmla="*/ 1638588 w 1818200"/>
                  <a:gd name="connsiteY0-312" fmla="*/ 77173 h 425902"/>
                  <a:gd name="connsiteX1-313" fmla="*/ 1656251 w 1818200"/>
                  <a:gd name="connsiteY1-314" fmla="*/ 114840 h 425902"/>
                  <a:gd name="connsiteX2-315" fmla="*/ 1537392 w 1818200"/>
                  <a:gd name="connsiteY2-316" fmla="*/ 159036 h 425902"/>
                  <a:gd name="connsiteX3-317" fmla="*/ 0 w 1818200"/>
                  <a:gd name="connsiteY3-318" fmla="*/ 425902 h 425902"/>
                  <a:gd name="connsiteX4-319" fmla="*/ 6611 w 1818200"/>
                  <a:gd name="connsiteY4-320" fmla="*/ 378152 h 425902"/>
                  <a:gd name="connsiteX5-321" fmla="*/ 1503260 w 1818200"/>
                  <a:gd name="connsiteY5-322" fmla="*/ 128873 h 425902"/>
                  <a:gd name="connsiteX6-323" fmla="*/ 1638588 w 1818200"/>
                  <a:gd name="connsiteY6-324" fmla="*/ 77173 h 425902"/>
                  <a:gd name="connsiteX7-325" fmla="*/ 1799482 w 1818200"/>
                  <a:gd name="connsiteY7-326" fmla="*/ 0 h 425902"/>
                  <a:gd name="connsiteX8-327" fmla="*/ 1818200 w 1818200"/>
                  <a:gd name="connsiteY8-328" fmla="*/ 39917 h 425902"/>
                  <a:gd name="connsiteX9-329" fmla="*/ 1799482 w 1818200"/>
                  <a:gd name="connsiteY9-330" fmla="*/ 0 h 425902"/>
                  <a:gd name="connsiteX0-331" fmla="*/ 1638588 w 1656251"/>
                  <a:gd name="connsiteY0-332" fmla="*/ 0 h 348729"/>
                  <a:gd name="connsiteX1-333" fmla="*/ 1656251 w 1656251"/>
                  <a:gd name="connsiteY1-334" fmla="*/ 37667 h 348729"/>
                  <a:gd name="connsiteX2-335" fmla="*/ 1537392 w 1656251"/>
                  <a:gd name="connsiteY2-336" fmla="*/ 81863 h 348729"/>
                  <a:gd name="connsiteX3-337" fmla="*/ 0 w 1656251"/>
                  <a:gd name="connsiteY3-338" fmla="*/ 348729 h 348729"/>
                  <a:gd name="connsiteX4-339" fmla="*/ 6611 w 1656251"/>
                  <a:gd name="connsiteY4-340" fmla="*/ 300979 h 348729"/>
                  <a:gd name="connsiteX5-341" fmla="*/ 1503260 w 1656251"/>
                  <a:gd name="connsiteY5-342" fmla="*/ 51700 h 348729"/>
                  <a:gd name="connsiteX6-343" fmla="*/ 1638588 w 1656251"/>
                  <a:gd name="connsiteY6-344" fmla="*/ 0 h 34872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</a:cxnLst>
                <a:rect l="l" t="t" r="r" b="b"/>
                <a:pathLst>
                  <a:path w="1656251" h="348729">
                    <a:moveTo>
                      <a:pt x="1638588" y="0"/>
                    </a:moveTo>
                    <a:lnTo>
                      <a:pt x="1656251" y="37667"/>
                    </a:lnTo>
                    <a:cubicBezTo>
                      <a:pt x="1618349" y="53206"/>
                      <a:pt x="1578715" y="67876"/>
                      <a:pt x="1537392" y="81863"/>
                    </a:cubicBezTo>
                    <a:cubicBezTo>
                      <a:pt x="1206300" y="203204"/>
                      <a:pt x="621630" y="285668"/>
                      <a:pt x="0" y="348729"/>
                    </a:cubicBezTo>
                    <a:lnTo>
                      <a:pt x="6611" y="300979"/>
                    </a:lnTo>
                    <a:cubicBezTo>
                      <a:pt x="618076" y="239595"/>
                      <a:pt x="1198045" y="160172"/>
                      <a:pt x="1503260" y="51700"/>
                    </a:cubicBezTo>
                    <a:cubicBezTo>
                      <a:pt x="1550649" y="35451"/>
                      <a:pt x="1595780" y="18311"/>
                      <a:pt x="163858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58" name="任意多边形 257"/>
              <p:cNvSpPr/>
              <p:nvPr/>
            </p:nvSpPr>
            <p:spPr>
              <a:xfrm>
                <a:off x="5633794" y="1731721"/>
                <a:ext cx="511991" cy="998509"/>
              </a:xfrm>
              <a:custGeom>
                <a:avLst/>
                <a:gdLst>
                  <a:gd name="connsiteX0" fmla="*/ 1146998 w 5592038"/>
                  <a:gd name="connsiteY0" fmla="*/ 1514343 h 1951019"/>
                  <a:gd name="connsiteX1" fmla="*/ 1137636 w 5592038"/>
                  <a:gd name="connsiteY1" fmla="*/ 1563435 h 1951019"/>
                  <a:gd name="connsiteX2" fmla="*/ 990129 w 5592038"/>
                  <a:gd name="connsiteY2" fmla="*/ 1581970 h 1951019"/>
                  <a:gd name="connsiteX3" fmla="*/ 0 w 5592038"/>
                  <a:gd name="connsiteY3" fmla="*/ 1951019 h 1951019"/>
                  <a:gd name="connsiteX4" fmla="*/ 1146998 w 5592038"/>
                  <a:gd name="connsiteY4" fmla="*/ 1514343 h 1951019"/>
                  <a:gd name="connsiteX5" fmla="*/ 2814666 w 5592038"/>
                  <a:gd name="connsiteY5" fmla="*/ 1370787 h 1951019"/>
                  <a:gd name="connsiteX6" fmla="*/ 2808008 w 5592038"/>
                  <a:gd name="connsiteY6" fmla="*/ 1418875 h 1951019"/>
                  <a:gd name="connsiteX7" fmla="*/ 1432776 w 5592038"/>
                  <a:gd name="connsiteY7" fmla="*/ 1533953 h 1951019"/>
                  <a:gd name="connsiteX8" fmla="*/ 1442411 w 5592038"/>
                  <a:gd name="connsiteY8" fmla="*/ 1483432 h 1951019"/>
                  <a:gd name="connsiteX9" fmla="*/ 2814666 w 5592038"/>
                  <a:gd name="connsiteY9" fmla="*/ 1370787 h 1951019"/>
                  <a:gd name="connsiteX10" fmla="*/ 4811635 w 5592038"/>
                  <a:gd name="connsiteY10" fmla="*/ 1035765 h 1951019"/>
                  <a:gd name="connsiteX11" fmla="*/ 4829298 w 5592038"/>
                  <a:gd name="connsiteY11" fmla="*/ 1073432 h 1951019"/>
                  <a:gd name="connsiteX12" fmla="*/ 4710439 w 5592038"/>
                  <a:gd name="connsiteY12" fmla="*/ 1117628 h 1951019"/>
                  <a:gd name="connsiteX13" fmla="*/ 3173047 w 5592038"/>
                  <a:gd name="connsiteY13" fmla="*/ 1384494 h 1951019"/>
                  <a:gd name="connsiteX14" fmla="*/ 3179658 w 5592038"/>
                  <a:gd name="connsiteY14" fmla="*/ 1336744 h 1951019"/>
                  <a:gd name="connsiteX15" fmla="*/ 4676307 w 5592038"/>
                  <a:gd name="connsiteY15" fmla="*/ 1087465 h 1951019"/>
                  <a:gd name="connsiteX16" fmla="*/ 4811635 w 5592038"/>
                  <a:gd name="connsiteY16" fmla="*/ 1035765 h 1951019"/>
                  <a:gd name="connsiteX17" fmla="*/ 5548579 w 5592038"/>
                  <a:gd name="connsiteY17" fmla="*/ 0 h 1951019"/>
                  <a:gd name="connsiteX18" fmla="*/ 5586741 w 5592038"/>
                  <a:gd name="connsiteY18" fmla="*/ 820 h 1951019"/>
                  <a:gd name="connsiteX19" fmla="*/ 4991247 w 5592038"/>
                  <a:gd name="connsiteY19" fmla="*/ 998509 h 1951019"/>
                  <a:gd name="connsiteX20" fmla="*/ 4972529 w 5592038"/>
                  <a:gd name="connsiteY20" fmla="*/ 958592 h 1951019"/>
                  <a:gd name="connsiteX21" fmla="*/ 5548579 w 5592038"/>
                  <a:gd name="connsiteY21" fmla="*/ 0 h 1951019"/>
                  <a:gd name="connsiteX0-1" fmla="*/ 156888 w 4601928"/>
                  <a:gd name="connsiteY0-2" fmla="*/ 1514343 h 1583859"/>
                  <a:gd name="connsiteX1-3" fmla="*/ 147526 w 4601928"/>
                  <a:gd name="connsiteY1-4" fmla="*/ 1563435 h 1583859"/>
                  <a:gd name="connsiteX2-5" fmla="*/ 19 w 4601928"/>
                  <a:gd name="connsiteY2-6" fmla="*/ 1581970 h 1583859"/>
                  <a:gd name="connsiteX3-7" fmla="*/ 156888 w 4601928"/>
                  <a:gd name="connsiteY3-8" fmla="*/ 1514343 h 1583859"/>
                  <a:gd name="connsiteX4-9" fmla="*/ 1824556 w 4601928"/>
                  <a:gd name="connsiteY4-10" fmla="*/ 1370787 h 1583859"/>
                  <a:gd name="connsiteX5-11" fmla="*/ 1817898 w 4601928"/>
                  <a:gd name="connsiteY5-12" fmla="*/ 1418875 h 1583859"/>
                  <a:gd name="connsiteX6-13" fmla="*/ 442666 w 4601928"/>
                  <a:gd name="connsiteY6-14" fmla="*/ 1533953 h 1583859"/>
                  <a:gd name="connsiteX7-15" fmla="*/ 452301 w 4601928"/>
                  <a:gd name="connsiteY7-16" fmla="*/ 1483432 h 1583859"/>
                  <a:gd name="connsiteX8-17" fmla="*/ 1824556 w 4601928"/>
                  <a:gd name="connsiteY8-18" fmla="*/ 1370787 h 1583859"/>
                  <a:gd name="connsiteX9-19" fmla="*/ 3821525 w 4601928"/>
                  <a:gd name="connsiteY9-20" fmla="*/ 1035765 h 1583859"/>
                  <a:gd name="connsiteX10-21" fmla="*/ 3839188 w 4601928"/>
                  <a:gd name="connsiteY10-22" fmla="*/ 1073432 h 1583859"/>
                  <a:gd name="connsiteX11-23" fmla="*/ 3720329 w 4601928"/>
                  <a:gd name="connsiteY11-24" fmla="*/ 1117628 h 1583859"/>
                  <a:gd name="connsiteX12-25" fmla="*/ 2182937 w 4601928"/>
                  <a:gd name="connsiteY12-26" fmla="*/ 1384494 h 1583859"/>
                  <a:gd name="connsiteX13-27" fmla="*/ 2189548 w 4601928"/>
                  <a:gd name="connsiteY13-28" fmla="*/ 1336744 h 1583859"/>
                  <a:gd name="connsiteX14-29" fmla="*/ 3686197 w 4601928"/>
                  <a:gd name="connsiteY14-30" fmla="*/ 1087465 h 1583859"/>
                  <a:gd name="connsiteX15-31" fmla="*/ 3821525 w 4601928"/>
                  <a:gd name="connsiteY15-32" fmla="*/ 1035765 h 1583859"/>
                  <a:gd name="connsiteX16-33" fmla="*/ 4558469 w 4601928"/>
                  <a:gd name="connsiteY16-34" fmla="*/ 0 h 1583859"/>
                  <a:gd name="connsiteX17-35" fmla="*/ 4596631 w 4601928"/>
                  <a:gd name="connsiteY17-36" fmla="*/ 820 h 1583859"/>
                  <a:gd name="connsiteX18-37" fmla="*/ 4001137 w 4601928"/>
                  <a:gd name="connsiteY18-38" fmla="*/ 998509 h 1583859"/>
                  <a:gd name="connsiteX19-39" fmla="*/ 3982419 w 4601928"/>
                  <a:gd name="connsiteY19-40" fmla="*/ 958592 h 1583859"/>
                  <a:gd name="connsiteX20-41" fmla="*/ 4558469 w 4601928"/>
                  <a:gd name="connsiteY20-42" fmla="*/ 0 h 1583859"/>
                  <a:gd name="connsiteX0-43" fmla="*/ 9362 w 4454402"/>
                  <a:gd name="connsiteY0-44" fmla="*/ 1514343 h 1563435"/>
                  <a:gd name="connsiteX1-45" fmla="*/ 0 w 4454402"/>
                  <a:gd name="connsiteY1-46" fmla="*/ 1563435 h 1563435"/>
                  <a:gd name="connsiteX2-47" fmla="*/ 9362 w 4454402"/>
                  <a:gd name="connsiteY2-48" fmla="*/ 1514343 h 1563435"/>
                  <a:gd name="connsiteX3-49" fmla="*/ 1677030 w 4454402"/>
                  <a:gd name="connsiteY3-50" fmla="*/ 1370787 h 1563435"/>
                  <a:gd name="connsiteX4-51" fmla="*/ 1670372 w 4454402"/>
                  <a:gd name="connsiteY4-52" fmla="*/ 1418875 h 1563435"/>
                  <a:gd name="connsiteX5-53" fmla="*/ 295140 w 4454402"/>
                  <a:gd name="connsiteY5-54" fmla="*/ 1533953 h 1563435"/>
                  <a:gd name="connsiteX6-55" fmla="*/ 304775 w 4454402"/>
                  <a:gd name="connsiteY6-56" fmla="*/ 1483432 h 1563435"/>
                  <a:gd name="connsiteX7-57" fmla="*/ 1677030 w 4454402"/>
                  <a:gd name="connsiteY7-58" fmla="*/ 1370787 h 1563435"/>
                  <a:gd name="connsiteX8-59" fmla="*/ 3673999 w 4454402"/>
                  <a:gd name="connsiteY8-60" fmla="*/ 1035765 h 1563435"/>
                  <a:gd name="connsiteX9-61" fmla="*/ 3691662 w 4454402"/>
                  <a:gd name="connsiteY9-62" fmla="*/ 1073432 h 1563435"/>
                  <a:gd name="connsiteX10-63" fmla="*/ 3572803 w 4454402"/>
                  <a:gd name="connsiteY10-64" fmla="*/ 1117628 h 1563435"/>
                  <a:gd name="connsiteX11-65" fmla="*/ 2035411 w 4454402"/>
                  <a:gd name="connsiteY11-66" fmla="*/ 1384494 h 1563435"/>
                  <a:gd name="connsiteX12-67" fmla="*/ 2042022 w 4454402"/>
                  <a:gd name="connsiteY12-68" fmla="*/ 1336744 h 1563435"/>
                  <a:gd name="connsiteX13-69" fmla="*/ 3538671 w 4454402"/>
                  <a:gd name="connsiteY13-70" fmla="*/ 1087465 h 1563435"/>
                  <a:gd name="connsiteX14-71" fmla="*/ 3673999 w 4454402"/>
                  <a:gd name="connsiteY14-72" fmla="*/ 1035765 h 1563435"/>
                  <a:gd name="connsiteX15-73" fmla="*/ 4410943 w 4454402"/>
                  <a:gd name="connsiteY15-74" fmla="*/ 0 h 1563435"/>
                  <a:gd name="connsiteX16-75" fmla="*/ 4449105 w 4454402"/>
                  <a:gd name="connsiteY16-76" fmla="*/ 820 h 1563435"/>
                  <a:gd name="connsiteX17-77" fmla="*/ 3853611 w 4454402"/>
                  <a:gd name="connsiteY17-78" fmla="*/ 998509 h 1563435"/>
                  <a:gd name="connsiteX18-79" fmla="*/ 3834893 w 4454402"/>
                  <a:gd name="connsiteY18-80" fmla="*/ 958592 h 1563435"/>
                  <a:gd name="connsiteX19-81" fmla="*/ 4410943 w 4454402"/>
                  <a:gd name="connsiteY19-82" fmla="*/ 0 h 1563435"/>
                  <a:gd name="connsiteX0-83" fmla="*/ 1381890 w 4159262"/>
                  <a:gd name="connsiteY0-84" fmla="*/ 1370787 h 1533953"/>
                  <a:gd name="connsiteX1-85" fmla="*/ 1375232 w 4159262"/>
                  <a:gd name="connsiteY1-86" fmla="*/ 1418875 h 1533953"/>
                  <a:gd name="connsiteX2-87" fmla="*/ 0 w 4159262"/>
                  <a:gd name="connsiteY2-88" fmla="*/ 1533953 h 1533953"/>
                  <a:gd name="connsiteX3-89" fmla="*/ 9635 w 4159262"/>
                  <a:gd name="connsiteY3-90" fmla="*/ 1483432 h 1533953"/>
                  <a:gd name="connsiteX4-91" fmla="*/ 1381890 w 4159262"/>
                  <a:gd name="connsiteY4-92" fmla="*/ 1370787 h 1533953"/>
                  <a:gd name="connsiteX5-93" fmla="*/ 3378859 w 4159262"/>
                  <a:gd name="connsiteY5-94" fmla="*/ 1035765 h 1533953"/>
                  <a:gd name="connsiteX6-95" fmla="*/ 3396522 w 4159262"/>
                  <a:gd name="connsiteY6-96" fmla="*/ 1073432 h 1533953"/>
                  <a:gd name="connsiteX7-97" fmla="*/ 3277663 w 4159262"/>
                  <a:gd name="connsiteY7-98" fmla="*/ 1117628 h 1533953"/>
                  <a:gd name="connsiteX8-99" fmla="*/ 1740271 w 4159262"/>
                  <a:gd name="connsiteY8-100" fmla="*/ 1384494 h 1533953"/>
                  <a:gd name="connsiteX9-101" fmla="*/ 1746882 w 4159262"/>
                  <a:gd name="connsiteY9-102" fmla="*/ 1336744 h 1533953"/>
                  <a:gd name="connsiteX10-103" fmla="*/ 3243531 w 4159262"/>
                  <a:gd name="connsiteY10-104" fmla="*/ 1087465 h 1533953"/>
                  <a:gd name="connsiteX11-105" fmla="*/ 3378859 w 4159262"/>
                  <a:gd name="connsiteY11-106" fmla="*/ 1035765 h 1533953"/>
                  <a:gd name="connsiteX12-107" fmla="*/ 4115803 w 4159262"/>
                  <a:gd name="connsiteY12-108" fmla="*/ 0 h 1533953"/>
                  <a:gd name="connsiteX13-109" fmla="*/ 4153965 w 4159262"/>
                  <a:gd name="connsiteY13-110" fmla="*/ 820 h 1533953"/>
                  <a:gd name="connsiteX14-111" fmla="*/ 3558471 w 4159262"/>
                  <a:gd name="connsiteY14-112" fmla="*/ 998509 h 1533953"/>
                  <a:gd name="connsiteX15-113" fmla="*/ 3539753 w 4159262"/>
                  <a:gd name="connsiteY15-114" fmla="*/ 958592 h 1533953"/>
                  <a:gd name="connsiteX16-115" fmla="*/ 4115803 w 4159262"/>
                  <a:gd name="connsiteY16-116" fmla="*/ 0 h 1533953"/>
                  <a:gd name="connsiteX0-117" fmla="*/ 1381890 w 4159262"/>
                  <a:gd name="connsiteY0-118" fmla="*/ 1370787 h 1533953"/>
                  <a:gd name="connsiteX1-119" fmla="*/ 1375232 w 4159262"/>
                  <a:gd name="connsiteY1-120" fmla="*/ 1418875 h 1533953"/>
                  <a:gd name="connsiteX2-121" fmla="*/ 0 w 4159262"/>
                  <a:gd name="connsiteY2-122" fmla="*/ 1533953 h 1533953"/>
                  <a:gd name="connsiteX3-123" fmla="*/ 1381890 w 4159262"/>
                  <a:gd name="connsiteY3-124" fmla="*/ 1370787 h 1533953"/>
                  <a:gd name="connsiteX4-125" fmla="*/ 3378859 w 4159262"/>
                  <a:gd name="connsiteY4-126" fmla="*/ 1035765 h 1533953"/>
                  <a:gd name="connsiteX5-127" fmla="*/ 3396522 w 4159262"/>
                  <a:gd name="connsiteY5-128" fmla="*/ 1073432 h 1533953"/>
                  <a:gd name="connsiteX6-129" fmla="*/ 3277663 w 4159262"/>
                  <a:gd name="connsiteY6-130" fmla="*/ 1117628 h 1533953"/>
                  <a:gd name="connsiteX7-131" fmla="*/ 1740271 w 4159262"/>
                  <a:gd name="connsiteY7-132" fmla="*/ 1384494 h 1533953"/>
                  <a:gd name="connsiteX8-133" fmla="*/ 1746882 w 4159262"/>
                  <a:gd name="connsiteY8-134" fmla="*/ 1336744 h 1533953"/>
                  <a:gd name="connsiteX9-135" fmla="*/ 3243531 w 4159262"/>
                  <a:gd name="connsiteY9-136" fmla="*/ 1087465 h 1533953"/>
                  <a:gd name="connsiteX10-137" fmla="*/ 3378859 w 4159262"/>
                  <a:gd name="connsiteY10-138" fmla="*/ 1035765 h 1533953"/>
                  <a:gd name="connsiteX11-139" fmla="*/ 4115803 w 4159262"/>
                  <a:gd name="connsiteY11-140" fmla="*/ 0 h 1533953"/>
                  <a:gd name="connsiteX12-141" fmla="*/ 4153965 w 4159262"/>
                  <a:gd name="connsiteY12-142" fmla="*/ 820 h 1533953"/>
                  <a:gd name="connsiteX13-143" fmla="*/ 3558471 w 4159262"/>
                  <a:gd name="connsiteY13-144" fmla="*/ 998509 h 1533953"/>
                  <a:gd name="connsiteX14-145" fmla="*/ 3539753 w 4159262"/>
                  <a:gd name="connsiteY14-146" fmla="*/ 958592 h 1533953"/>
                  <a:gd name="connsiteX15-147" fmla="*/ 4115803 w 4159262"/>
                  <a:gd name="connsiteY15-148" fmla="*/ 0 h 1533953"/>
                  <a:gd name="connsiteX0-149" fmla="*/ 6658 w 2784030"/>
                  <a:gd name="connsiteY0-150" fmla="*/ 1370787 h 1418875"/>
                  <a:gd name="connsiteX1-151" fmla="*/ 0 w 2784030"/>
                  <a:gd name="connsiteY1-152" fmla="*/ 1418875 h 1418875"/>
                  <a:gd name="connsiteX2-153" fmla="*/ 6658 w 2784030"/>
                  <a:gd name="connsiteY2-154" fmla="*/ 1370787 h 1418875"/>
                  <a:gd name="connsiteX3-155" fmla="*/ 2003627 w 2784030"/>
                  <a:gd name="connsiteY3-156" fmla="*/ 1035765 h 1418875"/>
                  <a:gd name="connsiteX4-157" fmla="*/ 2021290 w 2784030"/>
                  <a:gd name="connsiteY4-158" fmla="*/ 1073432 h 1418875"/>
                  <a:gd name="connsiteX5-159" fmla="*/ 1902431 w 2784030"/>
                  <a:gd name="connsiteY5-160" fmla="*/ 1117628 h 1418875"/>
                  <a:gd name="connsiteX6-161" fmla="*/ 365039 w 2784030"/>
                  <a:gd name="connsiteY6-162" fmla="*/ 1384494 h 1418875"/>
                  <a:gd name="connsiteX7-163" fmla="*/ 371650 w 2784030"/>
                  <a:gd name="connsiteY7-164" fmla="*/ 1336744 h 1418875"/>
                  <a:gd name="connsiteX8-165" fmla="*/ 1868299 w 2784030"/>
                  <a:gd name="connsiteY8-166" fmla="*/ 1087465 h 1418875"/>
                  <a:gd name="connsiteX9-167" fmla="*/ 2003627 w 2784030"/>
                  <a:gd name="connsiteY9-168" fmla="*/ 1035765 h 1418875"/>
                  <a:gd name="connsiteX10-169" fmla="*/ 2740571 w 2784030"/>
                  <a:gd name="connsiteY10-170" fmla="*/ 0 h 1418875"/>
                  <a:gd name="connsiteX11-171" fmla="*/ 2778733 w 2784030"/>
                  <a:gd name="connsiteY11-172" fmla="*/ 820 h 1418875"/>
                  <a:gd name="connsiteX12-173" fmla="*/ 2183239 w 2784030"/>
                  <a:gd name="connsiteY12-174" fmla="*/ 998509 h 1418875"/>
                  <a:gd name="connsiteX13-175" fmla="*/ 2164521 w 2784030"/>
                  <a:gd name="connsiteY13-176" fmla="*/ 958592 h 1418875"/>
                  <a:gd name="connsiteX14-177" fmla="*/ 2740571 w 2784030"/>
                  <a:gd name="connsiteY14-178" fmla="*/ 0 h 1418875"/>
                  <a:gd name="connsiteX0-179" fmla="*/ 1638588 w 2418991"/>
                  <a:gd name="connsiteY0-180" fmla="*/ 1035765 h 1384494"/>
                  <a:gd name="connsiteX1-181" fmla="*/ 1656251 w 2418991"/>
                  <a:gd name="connsiteY1-182" fmla="*/ 1073432 h 1384494"/>
                  <a:gd name="connsiteX2-183" fmla="*/ 1537392 w 2418991"/>
                  <a:gd name="connsiteY2-184" fmla="*/ 1117628 h 1384494"/>
                  <a:gd name="connsiteX3-185" fmla="*/ 0 w 2418991"/>
                  <a:gd name="connsiteY3-186" fmla="*/ 1384494 h 1384494"/>
                  <a:gd name="connsiteX4-187" fmla="*/ 6611 w 2418991"/>
                  <a:gd name="connsiteY4-188" fmla="*/ 1336744 h 1384494"/>
                  <a:gd name="connsiteX5-189" fmla="*/ 1503260 w 2418991"/>
                  <a:gd name="connsiteY5-190" fmla="*/ 1087465 h 1384494"/>
                  <a:gd name="connsiteX6-191" fmla="*/ 1638588 w 2418991"/>
                  <a:gd name="connsiteY6-192" fmla="*/ 1035765 h 1384494"/>
                  <a:gd name="connsiteX7-193" fmla="*/ 2375532 w 2418991"/>
                  <a:gd name="connsiteY7-194" fmla="*/ 0 h 1384494"/>
                  <a:gd name="connsiteX8-195" fmla="*/ 2413694 w 2418991"/>
                  <a:gd name="connsiteY8-196" fmla="*/ 820 h 1384494"/>
                  <a:gd name="connsiteX9-197" fmla="*/ 1818200 w 2418991"/>
                  <a:gd name="connsiteY9-198" fmla="*/ 998509 h 1384494"/>
                  <a:gd name="connsiteX10-199" fmla="*/ 1799482 w 2418991"/>
                  <a:gd name="connsiteY10-200" fmla="*/ 958592 h 1384494"/>
                  <a:gd name="connsiteX11-201" fmla="*/ 2375532 w 2418991"/>
                  <a:gd name="connsiteY11-202" fmla="*/ 0 h 1384494"/>
                  <a:gd name="connsiteX0-203" fmla="*/ 1638588 w 2418991"/>
                  <a:gd name="connsiteY0-204" fmla="*/ 1035765 h 1384494"/>
                  <a:gd name="connsiteX1-205" fmla="*/ 1656251 w 2418991"/>
                  <a:gd name="connsiteY1-206" fmla="*/ 1073432 h 1384494"/>
                  <a:gd name="connsiteX2-207" fmla="*/ 1537392 w 2418991"/>
                  <a:gd name="connsiteY2-208" fmla="*/ 1117628 h 1384494"/>
                  <a:gd name="connsiteX3-209" fmla="*/ 0 w 2418991"/>
                  <a:gd name="connsiteY3-210" fmla="*/ 1384494 h 1384494"/>
                  <a:gd name="connsiteX4-211" fmla="*/ 1503260 w 2418991"/>
                  <a:gd name="connsiteY4-212" fmla="*/ 1087465 h 1384494"/>
                  <a:gd name="connsiteX5-213" fmla="*/ 1638588 w 2418991"/>
                  <a:gd name="connsiteY5-214" fmla="*/ 1035765 h 1384494"/>
                  <a:gd name="connsiteX6-215" fmla="*/ 2375532 w 2418991"/>
                  <a:gd name="connsiteY6-216" fmla="*/ 0 h 1384494"/>
                  <a:gd name="connsiteX7-217" fmla="*/ 2413694 w 2418991"/>
                  <a:gd name="connsiteY7-218" fmla="*/ 820 h 1384494"/>
                  <a:gd name="connsiteX8-219" fmla="*/ 1818200 w 2418991"/>
                  <a:gd name="connsiteY8-220" fmla="*/ 998509 h 1384494"/>
                  <a:gd name="connsiteX9-221" fmla="*/ 1799482 w 2418991"/>
                  <a:gd name="connsiteY9-222" fmla="*/ 958592 h 1384494"/>
                  <a:gd name="connsiteX10-223" fmla="*/ 2375532 w 2418991"/>
                  <a:gd name="connsiteY10-224" fmla="*/ 0 h 1384494"/>
                  <a:gd name="connsiteX0-225" fmla="*/ 140761 w 921164"/>
                  <a:gd name="connsiteY0-226" fmla="*/ 1035765 h 1117826"/>
                  <a:gd name="connsiteX1-227" fmla="*/ 158424 w 921164"/>
                  <a:gd name="connsiteY1-228" fmla="*/ 1073432 h 1117826"/>
                  <a:gd name="connsiteX2-229" fmla="*/ 39565 w 921164"/>
                  <a:gd name="connsiteY2-230" fmla="*/ 1117628 h 1117826"/>
                  <a:gd name="connsiteX3-231" fmla="*/ 5433 w 921164"/>
                  <a:gd name="connsiteY3-232" fmla="*/ 1087465 h 1117826"/>
                  <a:gd name="connsiteX4-233" fmla="*/ 140761 w 921164"/>
                  <a:gd name="connsiteY4-234" fmla="*/ 1035765 h 1117826"/>
                  <a:gd name="connsiteX5-235" fmla="*/ 877705 w 921164"/>
                  <a:gd name="connsiteY5-236" fmla="*/ 0 h 1117826"/>
                  <a:gd name="connsiteX6-237" fmla="*/ 915867 w 921164"/>
                  <a:gd name="connsiteY6-238" fmla="*/ 820 h 1117826"/>
                  <a:gd name="connsiteX7-239" fmla="*/ 320373 w 921164"/>
                  <a:gd name="connsiteY7-240" fmla="*/ 998509 h 1117826"/>
                  <a:gd name="connsiteX8-241" fmla="*/ 301655 w 921164"/>
                  <a:gd name="connsiteY8-242" fmla="*/ 958592 h 1117826"/>
                  <a:gd name="connsiteX9-243" fmla="*/ 877705 w 921164"/>
                  <a:gd name="connsiteY9-244" fmla="*/ 0 h 1117826"/>
                  <a:gd name="connsiteX0-245" fmla="*/ 101272 w 881675"/>
                  <a:gd name="connsiteY0-246" fmla="*/ 1035765 h 1118374"/>
                  <a:gd name="connsiteX1-247" fmla="*/ 118935 w 881675"/>
                  <a:gd name="connsiteY1-248" fmla="*/ 1073432 h 1118374"/>
                  <a:gd name="connsiteX2-249" fmla="*/ 76 w 881675"/>
                  <a:gd name="connsiteY2-250" fmla="*/ 1117628 h 1118374"/>
                  <a:gd name="connsiteX3-251" fmla="*/ 101272 w 881675"/>
                  <a:gd name="connsiteY3-252" fmla="*/ 1035765 h 1118374"/>
                  <a:gd name="connsiteX4-253" fmla="*/ 838216 w 881675"/>
                  <a:gd name="connsiteY4-254" fmla="*/ 0 h 1118374"/>
                  <a:gd name="connsiteX5-255" fmla="*/ 876378 w 881675"/>
                  <a:gd name="connsiteY5-256" fmla="*/ 820 h 1118374"/>
                  <a:gd name="connsiteX6-257" fmla="*/ 280884 w 881675"/>
                  <a:gd name="connsiteY6-258" fmla="*/ 998509 h 1118374"/>
                  <a:gd name="connsiteX7-259" fmla="*/ 262166 w 881675"/>
                  <a:gd name="connsiteY7-260" fmla="*/ 958592 h 1118374"/>
                  <a:gd name="connsiteX8-261" fmla="*/ 838216 w 881675"/>
                  <a:gd name="connsiteY8-262" fmla="*/ 0 h 1118374"/>
                  <a:gd name="connsiteX0-263" fmla="*/ 0 w 780403"/>
                  <a:gd name="connsiteY0-264" fmla="*/ 1035765 h 1073432"/>
                  <a:gd name="connsiteX1-265" fmla="*/ 17663 w 780403"/>
                  <a:gd name="connsiteY1-266" fmla="*/ 1073432 h 1073432"/>
                  <a:gd name="connsiteX2-267" fmla="*/ 0 w 780403"/>
                  <a:gd name="connsiteY2-268" fmla="*/ 1035765 h 1073432"/>
                  <a:gd name="connsiteX3-269" fmla="*/ 736944 w 780403"/>
                  <a:gd name="connsiteY3-270" fmla="*/ 0 h 1073432"/>
                  <a:gd name="connsiteX4-271" fmla="*/ 775106 w 780403"/>
                  <a:gd name="connsiteY4-272" fmla="*/ 820 h 1073432"/>
                  <a:gd name="connsiteX5-273" fmla="*/ 179612 w 780403"/>
                  <a:gd name="connsiteY5-274" fmla="*/ 998509 h 1073432"/>
                  <a:gd name="connsiteX6-275" fmla="*/ 160894 w 780403"/>
                  <a:gd name="connsiteY6-276" fmla="*/ 958592 h 1073432"/>
                  <a:gd name="connsiteX7-277" fmla="*/ 736944 w 780403"/>
                  <a:gd name="connsiteY7-278" fmla="*/ 0 h 1073432"/>
                  <a:gd name="connsiteX0-279" fmla="*/ 576050 w 619509"/>
                  <a:gd name="connsiteY0-280" fmla="*/ 0 h 998509"/>
                  <a:gd name="connsiteX1-281" fmla="*/ 614212 w 619509"/>
                  <a:gd name="connsiteY1-282" fmla="*/ 820 h 998509"/>
                  <a:gd name="connsiteX2-283" fmla="*/ 18718 w 619509"/>
                  <a:gd name="connsiteY2-284" fmla="*/ 998509 h 998509"/>
                  <a:gd name="connsiteX3-285" fmla="*/ 0 w 619509"/>
                  <a:gd name="connsiteY3-286" fmla="*/ 958592 h 998509"/>
                  <a:gd name="connsiteX4-287" fmla="*/ 576050 w 619509"/>
                  <a:gd name="connsiteY4-288" fmla="*/ 0 h 99850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619509" h="998509">
                    <a:moveTo>
                      <a:pt x="576050" y="0"/>
                    </a:moveTo>
                    <a:lnTo>
                      <a:pt x="614212" y="820"/>
                    </a:lnTo>
                    <a:cubicBezTo>
                      <a:pt x="650912" y="375129"/>
                      <a:pt x="501646" y="749052"/>
                      <a:pt x="18718" y="998509"/>
                    </a:cubicBezTo>
                    <a:lnTo>
                      <a:pt x="0" y="958592"/>
                    </a:lnTo>
                    <a:cubicBezTo>
                      <a:pt x="454171" y="714681"/>
                      <a:pt x="599510" y="358560"/>
                      <a:pt x="57605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grpSp>
        <p:nvGrpSpPr>
          <p:cNvPr id="238" name="组合 237"/>
          <p:cNvGrpSpPr/>
          <p:nvPr/>
        </p:nvGrpSpPr>
        <p:grpSpPr bwMode="auto">
          <a:xfrm>
            <a:off x="339725" y="3713163"/>
            <a:ext cx="3287713" cy="1239837"/>
            <a:chOff x="339120" y="3712931"/>
            <a:chExt cx="3287931" cy="1240297"/>
          </a:xfrm>
        </p:grpSpPr>
        <p:sp>
          <p:nvSpPr>
            <p:cNvPr id="10" name="Freeform 207"/>
            <p:cNvSpPr/>
            <p:nvPr/>
          </p:nvSpPr>
          <p:spPr bwMode="auto">
            <a:xfrm>
              <a:off x="339120" y="3712931"/>
              <a:ext cx="3287931" cy="1240297"/>
            </a:xfrm>
            <a:custGeom>
              <a:avLst/>
              <a:gdLst>
                <a:gd name="T0" fmla="*/ 66 w 873"/>
                <a:gd name="T1" fmla="*/ 235 h 412"/>
                <a:gd name="T2" fmla="*/ 0 w 873"/>
                <a:gd name="T3" fmla="*/ 412 h 412"/>
                <a:gd name="T4" fmla="*/ 472 w 873"/>
                <a:gd name="T5" fmla="*/ 270 h 412"/>
                <a:gd name="T6" fmla="*/ 872 w 873"/>
                <a:gd name="T7" fmla="*/ 134 h 412"/>
                <a:gd name="T8" fmla="*/ 774 w 873"/>
                <a:gd name="T9" fmla="*/ 0 h 412"/>
                <a:gd name="T10" fmla="*/ 66 w 873"/>
                <a:gd name="T11" fmla="*/ 235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412">
                  <a:moveTo>
                    <a:pt x="66" y="235"/>
                  </a:moveTo>
                  <a:cubicBezTo>
                    <a:pt x="44" y="294"/>
                    <a:pt x="22" y="353"/>
                    <a:pt x="0" y="412"/>
                  </a:cubicBezTo>
                  <a:cubicBezTo>
                    <a:pt x="17" y="390"/>
                    <a:pt x="314" y="316"/>
                    <a:pt x="472" y="270"/>
                  </a:cubicBezTo>
                  <a:cubicBezTo>
                    <a:pt x="607" y="230"/>
                    <a:pt x="873" y="159"/>
                    <a:pt x="872" y="134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557" y="46"/>
                    <a:pt x="90" y="171"/>
                    <a:pt x="66" y="23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/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230" name="组合 229"/>
            <p:cNvGrpSpPr/>
            <p:nvPr/>
          </p:nvGrpSpPr>
          <p:grpSpPr>
            <a:xfrm>
              <a:off x="558269" y="3979073"/>
              <a:ext cx="2806579" cy="691913"/>
              <a:chOff x="572783" y="3979073"/>
              <a:chExt cx="2806579" cy="691913"/>
            </a:xfrm>
            <a:solidFill>
              <a:schemeClr val="bg1">
                <a:alpha val="50000"/>
              </a:schemeClr>
            </a:solidFill>
          </p:grpSpPr>
          <p:sp>
            <p:nvSpPr>
              <p:cNvPr id="6188" name="任意多边形 6187"/>
              <p:cNvSpPr/>
              <p:nvPr/>
            </p:nvSpPr>
            <p:spPr>
              <a:xfrm>
                <a:off x="572783" y="4476936"/>
                <a:ext cx="562257" cy="194050"/>
              </a:xfrm>
              <a:custGeom>
                <a:avLst/>
                <a:gdLst>
                  <a:gd name="connsiteX0" fmla="*/ 562257 w 2806577"/>
                  <a:gd name="connsiteY0" fmla="*/ 456702 h 650752"/>
                  <a:gd name="connsiteX1" fmla="*/ 549222 w 2806577"/>
                  <a:gd name="connsiteY1" fmla="*/ 500171 h 650752"/>
                  <a:gd name="connsiteX2" fmla="*/ 0 w 2806577"/>
                  <a:gd name="connsiteY2" fmla="*/ 650752 h 650752"/>
                  <a:gd name="connsiteX3" fmla="*/ 28594 w 2806577"/>
                  <a:gd name="connsiteY3" fmla="*/ 616424 h 650752"/>
                  <a:gd name="connsiteX4" fmla="*/ 562257 w 2806577"/>
                  <a:gd name="connsiteY4" fmla="*/ 456702 h 650752"/>
                  <a:gd name="connsiteX5" fmla="*/ 1743267 w 2806577"/>
                  <a:gd name="connsiteY5" fmla="*/ 156702 h 650752"/>
                  <a:gd name="connsiteX6" fmla="*/ 1734308 w 2806577"/>
                  <a:gd name="connsiteY6" fmla="*/ 214070 h 650752"/>
                  <a:gd name="connsiteX7" fmla="*/ 696035 w 2806577"/>
                  <a:gd name="connsiteY7" fmla="*/ 461586 h 650752"/>
                  <a:gd name="connsiteX8" fmla="*/ 710100 w 2806577"/>
                  <a:gd name="connsiteY8" fmla="*/ 414678 h 650752"/>
                  <a:gd name="connsiteX9" fmla="*/ 1743267 w 2806577"/>
                  <a:gd name="connsiteY9" fmla="*/ 156702 h 650752"/>
                  <a:gd name="connsiteX10" fmla="*/ 2063008 w 2806577"/>
                  <a:gd name="connsiteY10" fmla="*/ 89648 h 650752"/>
                  <a:gd name="connsiteX11" fmla="*/ 2806575 w 2806577"/>
                  <a:gd name="connsiteY11" fmla="*/ 788 h 650752"/>
                  <a:gd name="connsiteX12" fmla="*/ 2054383 w 2806577"/>
                  <a:gd name="connsiteY12" fmla="*/ 144877 h 650752"/>
                  <a:gd name="connsiteX13" fmla="*/ 2063008 w 2806577"/>
                  <a:gd name="connsiteY13" fmla="*/ 89648 h 650752"/>
                  <a:gd name="connsiteX0-1" fmla="*/ 562257 w 2063008"/>
                  <a:gd name="connsiteY0-2" fmla="*/ 367054 h 561104"/>
                  <a:gd name="connsiteX1-3" fmla="*/ 549222 w 2063008"/>
                  <a:gd name="connsiteY1-4" fmla="*/ 410523 h 561104"/>
                  <a:gd name="connsiteX2-5" fmla="*/ 0 w 2063008"/>
                  <a:gd name="connsiteY2-6" fmla="*/ 561104 h 561104"/>
                  <a:gd name="connsiteX3-7" fmla="*/ 28594 w 2063008"/>
                  <a:gd name="connsiteY3-8" fmla="*/ 526776 h 561104"/>
                  <a:gd name="connsiteX4-9" fmla="*/ 562257 w 2063008"/>
                  <a:gd name="connsiteY4-10" fmla="*/ 367054 h 561104"/>
                  <a:gd name="connsiteX5-11" fmla="*/ 1743267 w 2063008"/>
                  <a:gd name="connsiteY5-12" fmla="*/ 67054 h 561104"/>
                  <a:gd name="connsiteX6-13" fmla="*/ 1734308 w 2063008"/>
                  <a:gd name="connsiteY6-14" fmla="*/ 124422 h 561104"/>
                  <a:gd name="connsiteX7-15" fmla="*/ 696035 w 2063008"/>
                  <a:gd name="connsiteY7-16" fmla="*/ 371938 h 561104"/>
                  <a:gd name="connsiteX8-17" fmla="*/ 710100 w 2063008"/>
                  <a:gd name="connsiteY8-18" fmla="*/ 325030 h 561104"/>
                  <a:gd name="connsiteX9-19" fmla="*/ 1743267 w 2063008"/>
                  <a:gd name="connsiteY9-20" fmla="*/ 67054 h 561104"/>
                  <a:gd name="connsiteX10-21" fmla="*/ 2063008 w 2063008"/>
                  <a:gd name="connsiteY10-22" fmla="*/ 0 h 561104"/>
                  <a:gd name="connsiteX11-23" fmla="*/ 2054383 w 2063008"/>
                  <a:gd name="connsiteY11-24" fmla="*/ 55229 h 561104"/>
                  <a:gd name="connsiteX12-25" fmla="*/ 2063008 w 2063008"/>
                  <a:gd name="connsiteY12-26" fmla="*/ 0 h 561104"/>
                  <a:gd name="connsiteX0-27" fmla="*/ 562257 w 1743267"/>
                  <a:gd name="connsiteY0-28" fmla="*/ 300000 h 494050"/>
                  <a:gd name="connsiteX1-29" fmla="*/ 549222 w 1743267"/>
                  <a:gd name="connsiteY1-30" fmla="*/ 343469 h 494050"/>
                  <a:gd name="connsiteX2-31" fmla="*/ 0 w 1743267"/>
                  <a:gd name="connsiteY2-32" fmla="*/ 494050 h 494050"/>
                  <a:gd name="connsiteX3-33" fmla="*/ 28594 w 1743267"/>
                  <a:gd name="connsiteY3-34" fmla="*/ 459722 h 494050"/>
                  <a:gd name="connsiteX4-35" fmla="*/ 562257 w 1743267"/>
                  <a:gd name="connsiteY4-36" fmla="*/ 300000 h 494050"/>
                  <a:gd name="connsiteX5-37" fmla="*/ 1743267 w 1743267"/>
                  <a:gd name="connsiteY5-38" fmla="*/ 0 h 494050"/>
                  <a:gd name="connsiteX6-39" fmla="*/ 1734308 w 1743267"/>
                  <a:gd name="connsiteY6-40" fmla="*/ 57368 h 494050"/>
                  <a:gd name="connsiteX7-41" fmla="*/ 696035 w 1743267"/>
                  <a:gd name="connsiteY7-42" fmla="*/ 304884 h 494050"/>
                  <a:gd name="connsiteX8-43" fmla="*/ 710100 w 1743267"/>
                  <a:gd name="connsiteY8-44" fmla="*/ 257976 h 494050"/>
                  <a:gd name="connsiteX9-45" fmla="*/ 1743267 w 1743267"/>
                  <a:gd name="connsiteY9-46" fmla="*/ 0 h 494050"/>
                  <a:gd name="connsiteX0-47" fmla="*/ 562257 w 1734312"/>
                  <a:gd name="connsiteY0-48" fmla="*/ 242898 h 436948"/>
                  <a:gd name="connsiteX1-49" fmla="*/ 549222 w 1734312"/>
                  <a:gd name="connsiteY1-50" fmla="*/ 286367 h 436948"/>
                  <a:gd name="connsiteX2-51" fmla="*/ 0 w 1734312"/>
                  <a:gd name="connsiteY2-52" fmla="*/ 436948 h 436948"/>
                  <a:gd name="connsiteX3-53" fmla="*/ 28594 w 1734312"/>
                  <a:gd name="connsiteY3-54" fmla="*/ 402620 h 436948"/>
                  <a:gd name="connsiteX4-55" fmla="*/ 562257 w 1734312"/>
                  <a:gd name="connsiteY4-56" fmla="*/ 242898 h 436948"/>
                  <a:gd name="connsiteX5-57" fmla="*/ 710100 w 1734312"/>
                  <a:gd name="connsiteY5-58" fmla="*/ 200874 h 436948"/>
                  <a:gd name="connsiteX6-59" fmla="*/ 1734308 w 1734312"/>
                  <a:gd name="connsiteY6-60" fmla="*/ 266 h 436948"/>
                  <a:gd name="connsiteX7-61" fmla="*/ 696035 w 1734312"/>
                  <a:gd name="connsiteY7-62" fmla="*/ 247782 h 436948"/>
                  <a:gd name="connsiteX8-63" fmla="*/ 710100 w 1734312"/>
                  <a:gd name="connsiteY8-64" fmla="*/ 200874 h 436948"/>
                  <a:gd name="connsiteX0-65" fmla="*/ 562257 w 710100"/>
                  <a:gd name="connsiteY0-66" fmla="*/ 42024 h 236074"/>
                  <a:gd name="connsiteX1-67" fmla="*/ 549222 w 710100"/>
                  <a:gd name="connsiteY1-68" fmla="*/ 85493 h 236074"/>
                  <a:gd name="connsiteX2-69" fmla="*/ 0 w 710100"/>
                  <a:gd name="connsiteY2-70" fmla="*/ 236074 h 236074"/>
                  <a:gd name="connsiteX3-71" fmla="*/ 28594 w 710100"/>
                  <a:gd name="connsiteY3-72" fmla="*/ 201746 h 236074"/>
                  <a:gd name="connsiteX4-73" fmla="*/ 562257 w 710100"/>
                  <a:gd name="connsiteY4-74" fmla="*/ 42024 h 236074"/>
                  <a:gd name="connsiteX5-75" fmla="*/ 710100 w 710100"/>
                  <a:gd name="connsiteY5-76" fmla="*/ 0 h 236074"/>
                  <a:gd name="connsiteX6-77" fmla="*/ 696035 w 710100"/>
                  <a:gd name="connsiteY6-78" fmla="*/ 46908 h 236074"/>
                  <a:gd name="connsiteX7-79" fmla="*/ 710100 w 710100"/>
                  <a:gd name="connsiteY7-80" fmla="*/ 0 h 236074"/>
                  <a:gd name="connsiteX0-81" fmla="*/ 562257 w 562257"/>
                  <a:gd name="connsiteY0-82" fmla="*/ 0 h 194050"/>
                  <a:gd name="connsiteX1-83" fmla="*/ 549222 w 562257"/>
                  <a:gd name="connsiteY1-84" fmla="*/ 43469 h 194050"/>
                  <a:gd name="connsiteX2-85" fmla="*/ 0 w 562257"/>
                  <a:gd name="connsiteY2-86" fmla="*/ 194050 h 194050"/>
                  <a:gd name="connsiteX3-87" fmla="*/ 28594 w 562257"/>
                  <a:gd name="connsiteY3-88" fmla="*/ 159722 h 194050"/>
                  <a:gd name="connsiteX4-89" fmla="*/ 562257 w 562257"/>
                  <a:gd name="connsiteY4-90" fmla="*/ 0 h 1940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562257" h="194050">
                    <a:moveTo>
                      <a:pt x="562257" y="0"/>
                    </a:moveTo>
                    <a:lnTo>
                      <a:pt x="549222" y="43469"/>
                    </a:lnTo>
                    <a:cubicBezTo>
                      <a:pt x="358085" y="92872"/>
                      <a:pt x="172951" y="143722"/>
                      <a:pt x="0" y="194050"/>
                    </a:cubicBezTo>
                    <a:lnTo>
                      <a:pt x="28594" y="159722"/>
                    </a:lnTo>
                    <a:cubicBezTo>
                      <a:pt x="201243" y="104955"/>
                      <a:pt x="379683" y="51305"/>
                      <a:pt x="56225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59" name="任意多边形 258"/>
              <p:cNvSpPr/>
              <p:nvPr/>
            </p:nvSpPr>
            <p:spPr>
              <a:xfrm>
                <a:off x="2627170" y="3979073"/>
                <a:ext cx="752192" cy="186036"/>
              </a:xfrm>
              <a:custGeom>
                <a:avLst/>
                <a:gdLst>
                  <a:gd name="connsiteX0" fmla="*/ 562257 w 2806575"/>
                  <a:gd name="connsiteY0" fmla="*/ 497861 h 691911"/>
                  <a:gd name="connsiteX1" fmla="*/ 549222 w 2806575"/>
                  <a:gd name="connsiteY1" fmla="*/ 541330 h 691911"/>
                  <a:gd name="connsiteX2" fmla="*/ 0 w 2806575"/>
                  <a:gd name="connsiteY2" fmla="*/ 691911 h 691911"/>
                  <a:gd name="connsiteX3" fmla="*/ 562257 w 2806575"/>
                  <a:gd name="connsiteY3" fmla="*/ 497861 h 691911"/>
                  <a:gd name="connsiteX4" fmla="*/ 1743267 w 2806575"/>
                  <a:gd name="connsiteY4" fmla="*/ 197861 h 691911"/>
                  <a:gd name="connsiteX5" fmla="*/ 1734308 w 2806575"/>
                  <a:gd name="connsiteY5" fmla="*/ 255229 h 691911"/>
                  <a:gd name="connsiteX6" fmla="*/ 696035 w 2806575"/>
                  <a:gd name="connsiteY6" fmla="*/ 502745 h 691911"/>
                  <a:gd name="connsiteX7" fmla="*/ 710100 w 2806575"/>
                  <a:gd name="connsiteY7" fmla="*/ 455837 h 691911"/>
                  <a:gd name="connsiteX8" fmla="*/ 1743267 w 2806575"/>
                  <a:gd name="connsiteY8" fmla="*/ 197861 h 691911"/>
                  <a:gd name="connsiteX9" fmla="*/ 2757007 w 2806575"/>
                  <a:gd name="connsiteY9" fmla="*/ 0 h 691911"/>
                  <a:gd name="connsiteX10" fmla="*/ 2806575 w 2806575"/>
                  <a:gd name="connsiteY10" fmla="*/ 41947 h 691911"/>
                  <a:gd name="connsiteX11" fmla="*/ 2054383 w 2806575"/>
                  <a:gd name="connsiteY11" fmla="*/ 186036 h 691911"/>
                  <a:gd name="connsiteX12" fmla="*/ 2063008 w 2806575"/>
                  <a:gd name="connsiteY12" fmla="*/ 130807 h 691911"/>
                  <a:gd name="connsiteX13" fmla="*/ 2757007 w 2806575"/>
                  <a:gd name="connsiteY13" fmla="*/ 0 h 691911"/>
                  <a:gd name="connsiteX0-1" fmla="*/ 13035 w 2257353"/>
                  <a:gd name="connsiteY0-2" fmla="*/ 497861 h 541330"/>
                  <a:gd name="connsiteX1-3" fmla="*/ 0 w 2257353"/>
                  <a:gd name="connsiteY1-4" fmla="*/ 541330 h 541330"/>
                  <a:gd name="connsiteX2-5" fmla="*/ 13035 w 2257353"/>
                  <a:gd name="connsiteY2-6" fmla="*/ 497861 h 541330"/>
                  <a:gd name="connsiteX3-7" fmla="*/ 1194045 w 2257353"/>
                  <a:gd name="connsiteY3-8" fmla="*/ 197861 h 541330"/>
                  <a:gd name="connsiteX4-9" fmla="*/ 1185086 w 2257353"/>
                  <a:gd name="connsiteY4-10" fmla="*/ 255229 h 541330"/>
                  <a:gd name="connsiteX5-11" fmla="*/ 146813 w 2257353"/>
                  <a:gd name="connsiteY5-12" fmla="*/ 502745 h 541330"/>
                  <a:gd name="connsiteX6-13" fmla="*/ 160878 w 2257353"/>
                  <a:gd name="connsiteY6-14" fmla="*/ 455837 h 541330"/>
                  <a:gd name="connsiteX7-15" fmla="*/ 1194045 w 2257353"/>
                  <a:gd name="connsiteY7-16" fmla="*/ 197861 h 541330"/>
                  <a:gd name="connsiteX8-17" fmla="*/ 2207785 w 2257353"/>
                  <a:gd name="connsiteY8-18" fmla="*/ 0 h 541330"/>
                  <a:gd name="connsiteX9-19" fmla="*/ 2257353 w 2257353"/>
                  <a:gd name="connsiteY9-20" fmla="*/ 41947 h 541330"/>
                  <a:gd name="connsiteX10-21" fmla="*/ 1505161 w 2257353"/>
                  <a:gd name="connsiteY10-22" fmla="*/ 186036 h 541330"/>
                  <a:gd name="connsiteX11-23" fmla="*/ 1513786 w 2257353"/>
                  <a:gd name="connsiteY11-24" fmla="*/ 130807 h 541330"/>
                  <a:gd name="connsiteX12-25" fmla="*/ 2207785 w 2257353"/>
                  <a:gd name="connsiteY12-26" fmla="*/ 0 h 541330"/>
                  <a:gd name="connsiteX0-27" fmla="*/ 1047232 w 2110540"/>
                  <a:gd name="connsiteY0-28" fmla="*/ 197861 h 502745"/>
                  <a:gd name="connsiteX1-29" fmla="*/ 1038273 w 2110540"/>
                  <a:gd name="connsiteY1-30" fmla="*/ 255229 h 502745"/>
                  <a:gd name="connsiteX2-31" fmla="*/ 0 w 2110540"/>
                  <a:gd name="connsiteY2-32" fmla="*/ 502745 h 502745"/>
                  <a:gd name="connsiteX3-33" fmla="*/ 14065 w 2110540"/>
                  <a:gd name="connsiteY3-34" fmla="*/ 455837 h 502745"/>
                  <a:gd name="connsiteX4-35" fmla="*/ 1047232 w 2110540"/>
                  <a:gd name="connsiteY4-36" fmla="*/ 197861 h 502745"/>
                  <a:gd name="connsiteX5-37" fmla="*/ 2060972 w 2110540"/>
                  <a:gd name="connsiteY5-38" fmla="*/ 0 h 502745"/>
                  <a:gd name="connsiteX6-39" fmla="*/ 2110540 w 2110540"/>
                  <a:gd name="connsiteY6-40" fmla="*/ 41947 h 502745"/>
                  <a:gd name="connsiteX7-41" fmla="*/ 1358348 w 2110540"/>
                  <a:gd name="connsiteY7-42" fmla="*/ 186036 h 502745"/>
                  <a:gd name="connsiteX8-43" fmla="*/ 1366973 w 2110540"/>
                  <a:gd name="connsiteY8-44" fmla="*/ 130807 h 502745"/>
                  <a:gd name="connsiteX9-45" fmla="*/ 2060972 w 2110540"/>
                  <a:gd name="connsiteY9-46" fmla="*/ 0 h 502745"/>
                  <a:gd name="connsiteX0-47" fmla="*/ 1047232 w 2110540"/>
                  <a:gd name="connsiteY0-48" fmla="*/ 197861 h 502745"/>
                  <a:gd name="connsiteX1-49" fmla="*/ 1038273 w 2110540"/>
                  <a:gd name="connsiteY1-50" fmla="*/ 255229 h 502745"/>
                  <a:gd name="connsiteX2-51" fmla="*/ 0 w 2110540"/>
                  <a:gd name="connsiteY2-52" fmla="*/ 502745 h 502745"/>
                  <a:gd name="connsiteX3-53" fmla="*/ 1047232 w 2110540"/>
                  <a:gd name="connsiteY3-54" fmla="*/ 197861 h 502745"/>
                  <a:gd name="connsiteX4-55" fmla="*/ 2060972 w 2110540"/>
                  <a:gd name="connsiteY4-56" fmla="*/ 0 h 502745"/>
                  <a:gd name="connsiteX5-57" fmla="*/ 2110540 w 2110540"/>
                  <a:gd name="connsiteY5-58" fmla="*/ 41947 h 502745"/>
                  <a:gd name="connsiteX6-59" fmla="*/ 1358348 w 2110540"/>
                  <a:gd name="connsiteY6-60" fmla="*/ 186036 h 502745"/>
                  <a:gd name="connsiteX7-61" fmla="*/ 1366973 w 2110540"/>
                  <a:gd name="connsiteY7-62" fmla="*/ 130807 h 502745"/>
                  <a:gd name="connsiteX8-63" fmla="*/ 2060972 w 2110540"/>
                  <a:gd name="connsiteY8-64" fmla="*/ 0 h 502745"/>
                  <a:gd name="connsiteX0-65" fmla="*/ 8959 w 1072267"/>
                  <a:gd name="connsiteY0-66" fmla="*/ 197861 h 255229"/>
                  <a:gd name="connsiteX1-67" fmla="*/ 0 w 1072267"/>
                  <a:gd name="connsiteY1-68" fmla="*/ 255229 h 255229"/>
                  <a:gd name="connsiteX2-69" fmla="*/ 8959 w 1072267"/>
                  <a:gd name="connsiteY2-70" fmla="*/ 197861 h 255229"/>
                  <a:gd name="connsiteX3-71" fmla="*/ 1022699 w 1072267"/>
                  <a:gd name="connsiteY3-72" fmla="*/ 0 h 255229"/>
                  <a:gd name="connsiteX4-73" fmla="*/ 1072267 w 1072267"/>
                  <a:gd name="connsiteY4-74" fmla="*/ 41947 h 255229"/>
                  <a:gd name="connsiteX5-75" fmla="*/ 320075 w 1072267"/>
                  <a:gd name="connsiteY5-76" fmla="*/ 186036 h 255229"/>
                  <a:gd name="connsiteX6-77" fmla="*/ 328700 w 1072267"/>
                  <a:gd name="connsiteY6-78" fmla="*/ 130807 h 255229"/>
                  <a:gd name="connsiteX7-79" fmla="*/ 1022699 w 1072267"/>
                  <a:gd name="connsiteY7-80" fmla="*/ 0 h 255229"/>
                  <a:gd name="connsiteX0-81" fmla="*/ 702624 w 752192"/>
                  <a:gd name="connsiteY0-82" fmla="*/ 0 h 186036"/>
                  <a:gd name="connsiteX1-83" fmla="*/ 752192 w 752192"/>
                  <a:gd name="connsiteY1-84" fmla="*/ 41947 h 186036"/>
                  <a:gd name="connsiteX2-85" fmla="*/ 0 w 752192"/>
                  <a:gd name="connsiteY2-86" fmla="*/ 186036 h 186036"/>
                  <a:gd name="connsiteX3-87" fmla="*/ 8625 w 752192"/>
                  <a:gd name="connsiteY3-88" fmla="*/ 130807 h 186036"/>
                  <a:gd name="connsiteX4-89" fmla="*/ 702624 w 752192"/>
                  <a:gd name="connsiteY4-90" fmla="*/ 0 h 18603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752192" h="186036">
                    <a:moveTo>
                      <a:pt x="702624" y="0"/>
                    </a:moveTo>
                    <a:lnTo>
                      <a:pt x="752192" y="41947"/>
                    </a:lnTo>
                    <a:cubicBezTo>
                      <a:pt x="547935" y="75478"/>
                      <a:pt x="288161" y="125236"/>
                      <a:pt x="0" y="186036"/>
                    </a:cubicBezTo>
                    <a:lnTo>
                      <a:pt x="8625" y="130807"/>
                    </a:lnTo>
                    <a:cubicBezTo>
                      <a:pt x="242339" y="81026"/>
                      <a:pt x="474929" y="37613"/>
                      <a:pt x="70262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60" name="任意多边形 259"/>
              <p:cNvSpPr/>
              <p:nvPr/>
            </p:nvSpPr>
            <p:spPr>
              <a:xfrm>
                <a:off x="1268820" y="4176935"/>
                <a:ext cx="1047232" cy="304884"/>
              </a:xfrm>
              <a:custGeom>
                <a:avLst/>
                <a:gdLst>
                  <a:gd name="connsiteX0" fmla="*/ 562257 w 2757007"/>
                  <a:gd name="connsiteY0" fmla="*/ 497861 h 691911"/>
                  <a:gd name="connsiteX1" fmla="*/ 549222 w 2757007"/>
                  <a:gd name="connsiteY1" fmla="*/ 541330 h 691911"/>
                  <a:gd name="connsiteX2" fmla="*/ 0 w 2757007"/>
                  <a:gd name="connsiteY2" fmla="*/ 691911 h 691911"/>
                  <a:gd name="connsiteX3" fmla="*/ 28594 w 2757007"/>
                  <a:gd name="connsiteY3" fmla="*/ 657583 h 691911"/>
                  <a:gd name="connsiteX4" fmla="*/ 562257 w 2757007"/>
                  <a:gd name="connsiteY4" fmla="*/ 497861 h 691911"/>
                  <a:gd name="connsiteX5" fmla="*/ 1743267 w 2757007"/>
                  <a:gd name="connsiteY5" fmla="*/ 197861 h 691911"/>
                  <a:gd name="connsiteX6" fmla="*/ 1734308 w 2757007"/>
                  <a:gd name="connsiteY6" fmla="*/ 255229 h 691911"/>
                  <a:gd name="connsiteX7" fmla="*/ 696035 w 2757007"/>
                  <a:gd name="connsiteY7" fmla="*/ 502745 h 691911"/>
                  <a:gd name="connsiteX8" fmla="*/ 710100 w 2757007"/>
                  <a:gd name="connsiteY8" fmla="*/ 455837 h 691911"/>
                  <a:gd name="connsiteX9" fmla="*/ 1743267 w 2757007"/>
                  <a:gd name="connsiteY9" fmla="*/ 197861 h 691911"/>
                  <a:gd name="connsiteX10" fmla="*/ 2757007 w 2757007"/>
                  <a:gd name="connsiteY10" fmla="*/ 0 h 691911"/>
                  <a:gd name="connsiteX11" fmla="*/ 2054383 w 2757007"/>
                  <a:gd name="connsiteY11" fmla="*/ 186036 h 691911"/>
                  <a:gd name="connsiteX12" fmla="*/ 2063008 w 2757007"/>
                  <a:gd name="connsiteY12" fmla="*/ 130807 h 691911"/>
                  <a:gd name="connsiteX13" fmla="*/ 2757007 w 2757007"/>
                  <a:gd name="connsiteY13" fmla="*/ 0 h 691911"/>
                  <a:gd name="connsiteX0-1" fmla="*/ 562257 w 2063008"/>
                  <a:gd name="connsiteY0-2" fmla="*/ 367054 h 561104"/>
                  <a:gd name="connsiteX1-3" fmla="*/ 549222 w 2063008"/>
                  <a:gd name="connsiteY1-4" fmla="*/ 410523 h 561104"/>
                  <a:gd name="connsiteX2-5" fmla="*/ 0 w 2063008"/>
                  <a:gd name="connsiteY2-6" fmla="*/ 561104 h 561104"/>
                  <a:gd name="connsiteX3-7" fmla="*/ 28594 w 2063008"/>
                  <a:gd name="connsiteY3-8" fmla="*/ 526776 h 561104"/>
                  <a:gd name="connsiteX4-9" fmla="*/ 562257 w 2063008"/>
                  <a:gd name="connsiteY4-10" fmla="*/ 367054 h 561104"/>
                  <a:gd name="connsiteX5-11" fmla="*/ 1743267 w 2063008"/>
                  <a:gd name="connsiteY5-12" fmla="*/ 67054 h 561104"/>
                  <a:gd name="connsiteX6-13" fmla="*/ 1734308 w 2063008"/>
                  <a:gd name="connsiteY6-14" fmla="*/ 124422 h 561104"/>
                  <a:gd name="connsiteX7-15" fmla="*/ 696035 w 2063008"/>
                  <a:gd name="connsiteY7-16" fmla="*/ 371938 h 561104"/>
                  <a:gd name="connsiteX8-17" fmla="*/ 710100 w 2063008"/>
                  <a:gd name="connsiteY8-18" fmla="*/ 325030 h 561104"/>
                  <a:gd name="connsiteX9-19" fmla="*/ 1743267 w 2063008"/>
                  <a:gd name="connsiteY9-20" fmla="*/ 67054 h 561104"/>
                  <a:gd name="connsiteX10-21" fmla="*/ 2063008 w 2063008"/>
                  <a:gd name="connsiteY10-22" fmla="*/ 0 h 561104"/>
                  <a:gd name="connsiteX11-23" fmla="*/ 2054383 w 2063008"/>
                  <a:gd name="connsiteY11-24" fmla="*/ 55229 h 561104"/>
                  <a:gd name="connsiteX12-25" fmla="*/ 2063008 w 2063008"/>
                  <a:gd name="connsiteY12-26" fmla="*/ 0 h 561104"/>
                  <a:gd name="connsiteX0-27" fmla="*/ 562257 w 1743267"/>
                  <a:gd name="connsiteY0-28" fmla="*/ 300000 h 494050"/>
                  <a:gd name="connsiteX1-29" fmla="*/ 549222 w 1743267"/>
                  <a:gd name="connsiteY1-30" fmla="*/ 343469 h 494050"/>
                  <a:gd name="connsiteX2-31" fmla="*/ 0 w 1743267"/>
                  <a:gd name="connsiteY2-32" fmla="*/ 494050 h 494050"/>
                  <a:gd name="connsiteX3-33" fmla="*/ 28594 w 1743267"/>
                  <a:gd name="connsiteY3-34" fmla="*/ 459722 h 494050"/>
                  <a:gd name="connsiteX4-35" fmla="*/ 562257 w 1743267"/>
                  <a:gd name="connsiteY4-36" fmla="*/ 300000 h 494050"/>
                  <a:gd name="connsiteX5-37" fmla="*/ 1743267 w 1743267"/>
                  <a:gd name="connsiteY5-38" fmla="*/ 0 h 494050"/>
                  <a:gd name="connsiteX6-39" fmla="*/ 1734308 w 1743267"/>
                  <a:gd name="connsiteY6-40" fmla="*/ 57368 h 494050"/>
                  <a:gd name="connsiteX7-41" fmla="*/ 696035 w 1743267"/>
                  <a:gd name="connsiteY7-42" fmla="*/ 304884 h 494050"/>
                  <a:gd name="connsiteX8-43" fmla="*/ 710100 w 1743267"/>
                  <a:gd name="connsiteY8-44" fmla="*/ 257976 h 494050"/>
                  <a:gd name="connsiteX9-45" fmla="*/ 1743267 w 1743267"/>
                  <a:gd name="connsiteY9-46" fmla="*/ 0 h 494050"/>
                  <a:gd name="connsiteX0-47" fmla="*/ 562257 w 1743267"/>
                  <a:gd name="connsiteY0-48" fmla="*/ 300000 h 494050"/>
                  <a:gd name="connsiteX1-49" fmla="*/ 549222 w 1743267"/>
                  <a:gd name="connsiteY1-50" fmla="*/ 343469 h 494050"/>
                  <a:gd name="connsiteX2-51" fmla="*/ 0 w 1743267"/>
                  <a:gd name="connsiteY2-52" fmla="*/ 494050 h 494050"/>
                  <a:gd name="connsiteX3-53" fmla="*/ 562257 w 1743267"/>
                  <a:gd name="connsiteY3-54" fmla="*/ 300000 h 494050"/>
                  <a:gd name="connsiteX4-55" fmla="*/ 1743267 w 1743267"/>
                  <a:gd name="connsiteY4-56" fmla="*/ 0 h 494050"/>
                  <a:gd name="connsiteX5-57" fmla="*/ 1734308 w 1743267"/>
                  <a:gd name="connsiteY5-58" fmla="*/ 57368 h 494050"/>
                  <a:gd name="connsiteX6-59" fmla="*/ 696035 w 1743267"/>
                  <a:gd name="connsiteY6-60" fmla="*/ 304884 h 494050"/>
                  <a:gd name="connsiteX7-61" fmla="*/ 710100 w 1743267"/>
                  <a:gd name="connsiteY7-62" fmla="*/ 257976 h 494050"/>
                  <a:gd name="connsiteX8-63" fmla="*/ 1743267 w 1743267"/>
                  <a:gd name="connsiteY8-64" fmla="*/ 0 h 494050"/>
                  <a:gd name="connsiteX0-65" fmla="*/ 13035 w 1194045"/>
                  <a:gd name="connsiteY0-66" fmla="*/ 300000 h 343469"/>
                  <a:gd name="connsiteX1-67" fmla="*/ 0 w 1194045"/>
                  <a:gd name="connsiteY1-68" fmla="*/ 343469 h 343469"/>
                  <a:gd name="connsiteX2-69" fmla="*/ 13035 w 1194045"/>
                  <a:gd name="connsiteY2-70" fmla="*/ 300000 h 343469"/>
                  <a:gd name="connsiteX3-71" fmla="*/ 1194045 w 1194045"/>
                  <a:gd name="connsiteY3-72" fmla="*/ 0 h 343469"/>
                  <a:gd name="connsiteX4-73" fmla="*/ 1185086 w 1194045"/>
                  <a:gd name="connsiteY4-74" fmla="*/ 57368 h 343469"/>
                  <a:gd name="connsiteX5-75" fmla="*/ 146813 w 1194045"/>
                  <a:gd name="connsiteY5-76" fmla="*/ 304884 h 343469"/>
                  <a:gd name="connsiteX6-77" fmla="*/ 160878 w 1194045"/>
                  <a:gd name="connsiteY6-78" fmla="*/ 257976 h 343469"/>
                  <a:gd name="connsiteX7-79" fmla="*/ 1194045 w 1194045"/>
                  <a:gd name="connsiteY7-80" fmla="*/ 0 h 343469"/>
                  <a:gd name="connsiteX0-81" fmla="*/ 1047232 w 1047232"/>
                  <a:gd name="connsiteY0-82" fmla="*/ 0 h 304884"/>
                  <a:gd name="connsiteX1-83" fmla="*/ 1038273 w 1047232"/>
                  <a:gd name="connsiteY1-84" fmla="*/ 57368 h 304884"/>
                  <a:gd name="connsiteX2-85" fmla="*/ 0 w 1047232"/>
                  <a:gd name="connsiteY2-86" fmla="*/ 304884 h 304884"/>
                  <a:gd name="connsiteX3-87" fmla="*/ 14065 w 1047232"/>
                  <a:gd name="connsiteY3-88" fmla="*/ 257976 h 304884"/>
                  <a:gd name="connsiteX4-89" fmla="*/ 1047232 w 1047232"/>
                  <a:gd name="connsiteY4-90" fmla="*/ 0 h 30488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047232" h="304884">
                    <a:moveTo>
                      <a:pt x="1047232" y="0"/>
                    </a:moveTo>
                    <a:lnTo>
                      <a:pt x="1038273" y="57368"/>
                    </a:lnTo>
                    <a:cubicBezTo>
                      <a:pt x="702769" y="131378"/>
                      <a:pt x="344711" y="216390"/>
                      <a:pt x="0" y="304884"/>
                    </a:cubicBezTo>
                    <a:lnTo>
                      <a:pt x="14065" y="257976"/>
                    </a:lnTo>
                    <a:cubicBezTo>
                      <a:pt x="350694" y="164683"/>
                      <a:pt x="698826" y="77525"/>
                      <a:pt x="10472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grpSp>
        <p:nvGrpSpPr>
          <p:cNvPr id="245" name="组合 244"/>
          <p:cNvGrpSpPr/>
          <p:nvPr/>
        </p:nvGrpSpPr>
        <p:grpSpPr bwMode="auto">
          <a:xfrm>
            <a:off x="1927225" y="1281113"/>
            <a:ext cx="2671763" cy="434975"/>
            <a:chOff x="1927150" y="1281791"/>
            <a:chExt cx="2671110" cy="434371"/>
          </a:xfrm>
        </p:grpSpPr>
        <p:grpSp>
          <p:nvGrpSpPr>
            <p:cNvPr id="5266" name="组合 243"/>
            <p:cNvGrpSpPr/>
            <p:nvPr/>
          </p:nvGrpSpPr>
          <p:grpSpPr bwMode="auto">
            <a:xfrm>
              <a:off x="1938557" y="1281791"/>
              <a:ext cx="2659703" cy="434371"/>
              <a:chOff x="1938557" y="1281791"/>
              <a:chExt cx="2659703" cy="434371"/>
            </a:xfrm>
          </p:grpSpPr>
          <p:sp>
            <p:nvSpPr>
              <p:cNvPr id="198" name="TextBox 22"/>
              <p:cNvSpPr txBox="1">
                <a:spLocks noChangeArrowheads="1"/>
              </p:cNvSpPr>
              <p:nvPr/>
            </p:nvSpPr>
            <p:spPr bwMode="auto">
              <a:xfrm>
                <a:off x="1938557" y="1281791"/>
                <a:ext cx="2659703" cy="276999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>
                <a:spAutoFit/>
                <a:scene3d>
                  <a:camera prst="orthographicFront"/>
                  <a:lightRig rig="threePt" dir="t"/>
                </a:scene3d>
                <a:sp3d prstMaterial="matte">
                  <a:bevelB w="127000"/>
                </a:sp3d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kern="1500" dirty="0">
                    <a:ln w="9525">
                      <a:noFill/>
                    </a:ln>
                    <a:solidFill>
                      <a:srgbClr val="700000"/>
                    </a:solidFill>
                    <a:effectLst>
                      <a:glow>
                        <a:schemeClr val="bg1"/>
                      </a:glo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经典仿宋简" pitchFamily="49" charset="-122"/>
                  </a:rPr>
                  <a:t>上海锐普广告有限公司</a:t>
                </a:r>
                <a:endParaRPr lang="en-US" altLang="zh-CN" sz="1200" kern="1500" dirty="0">
                  <a:ln w="9525">
                    <a:noFill/>
                  </a:ln>
                  <a:solidFill>
                    <a:srgbClr val="700000"/>
                  </a:solidFill>
                  <a:effectLst>
                    <a:glow>
                      <a:schemeClr val="bg1"/>
                    </a:glo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经典仿宋简" pitchFamily="49" charset="-122"/>
                </a:endParaRPr>
              </a:p>
            </p:txBody>
          </p:sp>
          <p:sp>
            <p:nvSpPr>
              <p:cNvPr id="5269" name="矩形 7"/>
              <p:cNvSpPr>
                <a:spLocks noChangeArrowheads="1"/>
              </p:cNvSpPr>
              <p:nvPr/>
            </p:nvSpPr>
            <p:spPr bwMode="auto">
              <a:xfrm>
                <a:off x="1959407" y="1505335"/>
                <a:ext cx="2618002" cy="210827"/>
              </a:xfrm>
              <a:prstGeom prst="rect">
                <a:avLst/>
              </a:prstGeom>
              <a:noFill/>
              <a:ln w="3175">
                <a:solidFill>
                  <a:srgbClr val="FFFFFF">
                    <a:alpha val="30196"/>
                  </a:srgbClr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dist" eaLnBrk="1" hangingPunct="1">
                  <a:lnSpc>
                    <a:spcPct val="11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700">
                    <a:solidFill>
                      <a:srgbClr val="7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SHANGHAI RAPIDESIGN ADVERTISING CO.,LTD </a:t>
                </a:r>
                <a:endParaRPr lang="en-US" altLang="zh-CN" sz="700">
                  <a:solidFill>
                    <a:srgbClr val="700000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</p:grpSp>
        <p:cxnSp>
          <p:nvCxnSpPr>
            <p:cNvPr id="236" name="直接连接符 235"/>
            <p:cNvCxnSpPr/>
            <p:nvPr/>
          </p:nvCxnSpPr>
          <p:spPr>
            <a:xfrm>
              <a:off x="1927150" y="1354715"/>
              <a:ext cx="0" cy="279012"/>
            </a:xfrm>
            <a:prstGeom prst="line">
              <a:avLst/>
            </a:prstGeom>
            <a:ln w="12700">
              <a:solidFill>
                <a:srgbClr val="7A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Freeform 210"/>
          <p:cNvSpPr/>
          <p:nvPr/>
        </p:nvSpPr>
        <p:spPr bwMode="auto">
          <a:xfrm>
            <a:off x="6135688" y="1130300"/>
            <a:ext cx="982662" cy="793750"/>
          </a:xfrm>
          <a:custGeom>
            <a:avLst/>
            <a:gdLst>
              <a:gd name="T0" fmla="*/ 0 w 617"/>
              <a:gd name="T1" fmla="*/ 0 h 623"/>
              <a:gd name="T2" fmla="*/ 94 w 617"/>
              <a:gd name="T3" fmla="*/ 28 h 623"/>
              <a:gd name="T4" fmla="*/ 617 w 617"/>
              <a:gd name="T5" fmla="*/ 597 h 623"/>
              <a:gd name="T6" fmla="*/ 539 w 617"/>
              <a:gd name="T7" fmla="*/ 623 h 623"/>
              <a:gd name="T8" fmla="*/ 0 w 617"/>
              <a:gd name="T9" fmla="*/ 0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7" h="623">
                <a:moveTo>
                  <a:pt x="0" y="0"/>
                </a:moveTo>
                <a:lnTo>
                  <a:pt x="94" y="28"/>
                </a:lnTo>
                <a:lnTo>
                  <a:pt x="617" y="597"/>
                </a:lnTo>
                <a:lnTo>
                  <a:pt x="539" y="623"/>
                </a:lnTo>
                <a:lnTo>
                  <a:pt x="0" y="0"/>
                </a:lnTo>
                <a:close/>
              </a:path>
            </a:pathLst>
          </a:custGeom>
          <a:solidFill>
            <a:srgbClr val="9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97" name="圆角矩形 196"/>
          <p:cNvSpPr/>
          <p:nvPr/>
        </p:nvSpPr>
        <p:spPr>
          <a:xfrm>
            <a:off x="6130925" y="915988"/>
            <a:ext cx="117475" cy="12858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243" name="组合 242"/>
          <p:cNvGrpSpPr/>
          <p:nvPr/>
        </p:nvGrpSpPr>
        <p:grpSpPr bwMode="auto">
          <a:xfrm>
            <a:off x="3467100" y="1216025"/>
            <a:ext cx="3048000" cy="1250950"/>
            <a:chOff x="3466345" y="1216136"/>
            <a:chExt cx="3049373" cy="1250327"/>
          </a:xfrm>
        </p:grpSpPr>
        <p:sp>
          <p:nvSpPr>
            <p:cNvPr id="205" name="任意多边形 204"/>
            <p:cNvSpPr/>
            <p:nvPr/>
          </p:nvSpPr>
          <p:spPr>
            <a:xfrm>
              <a:off x="5896314" y="1216136"/>
              <a:ext cx="619404" cy="352249"/>
            </a:xfrm>
            <a:custGeom>
              <a:avLst/>
              <a:gdLst>
                <a:gd name="connsiteX0" fmla="*/ 166687 w 666750"/>
                <a:gd name="connsiteY0" fmla="*/ 0 h 366713"/>
                <a:gd name="connsiteX1" fmla="*/ 114300 w 666750"/>
                <a:gd name="connsiteY1" fmla="*/ 4763 h 366713"/>
                <a:gd name="connsiteX2" fmla="*/ 90487 w 666750"/>
                <a:gd name="connsiteY2" fmla="*/ 28575 h 366713"/>
                <a:gd name="connsiteX3" fmla="*/ 76200 w 666750"/>
                <a:gd name="connsiteY3" fmla="*/ 42863 h 366713"/>
                <a:gd name="connsiteX4" fmla="*/ 61912 w 666750"/>
                <a:gd name="connsiteY4" fmla="*/ 71438 h 366713"/>
                <a:gd name="connsiteX5" fmla="*/ 57150 w 666750"/>
                <a:gd name="connsiteY5" fmla="*/ 85725 h 366713"/>
                <a:gd name="connsiteX6" fmla="*/ 47625 w 666750"/>
                <a:gd name="connsiteY6" fmla="*/ 100013 h 366713"/>
                <a:gd name="connsiteX7" fmla="*/ 38100 w 666750"/>
                <a:gd name="connsiteY7" fmla="*/ 128588 h 366713"/>
                <a:gd name="connsiteX8" fmla="*/ 28575 w 666750"/>
                <a:gd name="connsiteY8" fmla="*/ 157163 h 366713"/>
                <a:gd name="connsiteX9" fmla="*/ 4762 w 666750"/>
                <a:gd name="connsiteY9" fmla="*/ 228600 h 366713"/>
                <a:gd name="connsiteX10" fmla="*/ 0 w 666750"/>
                <a:gd name="connsiteY10" fmla="*/ 247650 h 366713"/>
                <a:gd name="connsiteX11" fmla="*/ 14287 w 666750"/>
                <a:gd name="connsiteY11" fmla="*/ 333375 h 366713"/>
                <a:gd name="connsiteX12" fmla="*/ 28575 w 666750"/>
                <a:gd name="connsiteY12" fmla="*/ 361950 h 366713"/>
                <a:gd name="connsiteX13" fmla="*/ 42862 w 666750"/>
                <a:gd name="connsiteY13" fmla="*/ 366713 h 366713"/>
                <a:gd name="connsiteX14" fmla="*/ 176212 w 666750"/>
                <a:gd name="connsiteY14" fmla="*/ 357188 h 366713"/>
                <a:gd name="connsiteX15" fmla="*/ 233362 w 666750"/>
                <a:gd name="connsiteY15" fmla="*/ 347663 h 366713"/>
                <a:gd name="connsiteX16" fmla="*/ 261937 w 666750"/>
                <a:gd name="connsiteY16" fmla="*/ 338138 h 366713"/>
                <a:gd name="connsiteX17" fmla="*/ 276225 w 666750"/>
                <a:gd name="connsiteY17" fmla="*/ 328613 h 366713"/>
                <a:gd name="connsiteX18" fmla="*/ 304800 w 666750"/>
                <a:gd name="connsiteY18" fmla="*/ 319088 h 366713"/>
                <a:gd name="connsiteX19" fmla="*/ 347662 w 666750"/>
                <a:gd name="connsiteY19" fmla="*/ 304800 h 366713"/>
                <a:gd name="connsiteX20" fmla="*/ 361950 w 666750"/>
                <a:gd name="connsiteY20" fmla="*/ 295275 h 366713"/>
                <a:gd name="connsiteX21" fmla="*/ 390525 w 666750"/>
                <a:gd name="connsiteY21" fmla="*/ 285750 h 366713"/>
                <a:gd name="connsiteX22" fmla="*/ 433387 w 666750"/>
                <a:gd name="connsiteY22" fmla="*/ 271463 h 366713"/>
                <a:gd name="connsiteX23" fmla="*/ 447675 w 666750"/>
                <a:gd name="connsiteY23" fmla="*/ 266700 h 366713"/>
                <a:gd name="connsiteX24" fmla="*/ 461962 w 666750"/>
                <a:gd name="connsiteY24" fmla="*/ 257175 h 366713"/>
                <a:gd name="connsiteX25" fmla="*/ 485775 w 666750"/>
                <a:gd name="connsiteY25" fmla="*/ 252413 h 366713"/>
                <a:gd name="connsiteX26" fmla="*/ 528637 w 666750"/>
                <a:gd name="connsiteY26" fmla="*/ 238125 h 366713"/>
                <a:gd name="connsiteX27" fmla="*/ 542925 w 666750"/>
                <a:gd name="connsiteY27" fmla="*/ 228600 h 366713"/>
                <a:gd name="connsiteX28" fmla="*/ 571500 w 666750"/>
                <a:gd name="connsiteY28" fmla="*/ 219075 h 366713"/>
                <a:gd name="connsiteX29" fmla="*/ 585787 w 666750"/>
                <a:gd name="connsiteY29" fmla="*/ 214313 h 366713"/>
                <a:gd name="connsiteX30" fmla="*/ 614362 w 666750"/>
                <a:gd name="connsiteY30" fmla="*/ 200025 h 366713"/>
                <a:gd name="connsiteX31" fmla="*/ 642937 w 666750"/>
                <a:gd name="connsiteY31" fmla="*/ 185738 h 366713"/>
                <a:gd name="connsiteX32" fmla="*/ 661987 w 666750"/>
                <a:gd name="connsiteY32" fmla="*/ 157163 h 366713"/>
                <a:gd name="connsiteX33" fmla="*/ 666750 w 666750"/>
                <a:gd name="connsiteY33" fmla="*/ 142875 h 36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66750" h="366713">
                  <a:moveTo>
                    <a:pt x="166687" y="0"/>
                  </a:moveTo>
                  <a:cubicBezTo>
                    <a:pt x="149225" y="1588"/>
                    <a:pt x="131445" y="1089"/>
                    <a:pt x="114300" y="4763"/>
                  </a:cubicBezTo>
                  <a:cubicBezTo>
                    <a:pt x="100127" y="7800"/>
                    <a:pt x="98310" y="19188"/>
                    <a:pt x="90487" y="28575"/>
                  </a:cubicBezTo>
                  <a:cubicBezTo>
                    <a:pt x="86175" y="33749"/>
                    <a:pt x="80962" y="38100"/>
                    <a:pt x="76200" y="42863"/>
                  </a:cubicBezTo>
                  <a:cubicBezTo>
                    <a:pt x="64226" y="78780"/>
                    <a:pt x="80380" y="34502"/>
                    <a:pt x="61912" y="71438"/>
                  </a:cubicBezTo>
                  <a:cubicBezTo>
                    <a:pt x="59667" y="75928"/>
                    <a:pt x="59395" y="81235"/>
                    <a:pt x="57150" y="85725"/>
                  </a:cubicBezTo>
                  <a:cubicBezTo>
                    <a:pt x="54590" y="90845"/>
                    <a:pt x="49950" y="94782"/>
                    <a:pt x="47625" y="100013"/>
                  </a:cubicBezTo>
                  <a:cubicBezTo>
                    <a:pt x="43547" y="109188"/>
                    <a:pt x="41275" y="119063"/>
                    <a:pt x="38100" y="128588"/>
                  </a:cubicBezTo>
                  <a:lnTo>
                    <a:pt x="28575" y="157163"/>
                  </a:lnTo>
                  <a:lnTo>
                    <a:pt x="4762" y="228600"/>
                  </a:lnTo>
                  <a:cubicBezTo>
                    <a:pt x="2692" y="234809"/>
                    <a:pt x="1587" y="241300"/>
                    <a:pt x="0" y="247650"/>
                  </a:cubicBezTo>
                  <a:cubicBezTo>
                    <a:pt x="5595" y="314803"/>
                    <a:pt x="-1283" y="286666"/>
                    <a:pt x="14287" y="333375"/>
                  </a:cubicBezTo>
                  <a:cubicBezTo>
                    <a:pt x="17424" y="342787"/>
                    <a:pt x="20182" y="355236"/>
                    <a:pt x="28575" y="361950"/>
                  </a:cubicBezTo>
                  <a:cubicBezTo>
                    <a:pt x="32495" y="365086"/>
                    <a:pt x="38100" y="365125"/>
                    <a:pt x="42862" y="366713"/>
                  </a:cubicBezTo>
                  <a:cubicBezTo>
                    <a:pt x="233328" y="358431"/>
                    <a:pt x="100430" y="369818"/>
                    <a:pt x="176212" y="357188"/>
                  </a:cubicBezTo>
                  <a:cubicBezTo>
                    <a:pt x="193723" y="354269"/>
                    <a:pt x="215733" y="352471"/>
                    <a:pt x="233362" y="347663"/>
                  </a:cubicBezTo>
                  <a:cubicBezTo>
                    <a:pt x="243048" y="345021"/>
                    <a:pt x="261937" y="338138"/>
                    <a:pt x="261937" y="338138"/>
                  </a:cubicBezTo>
                  <a:cubicBezTo>
                    <a:pt x="266700" y="334963"/>
                    <a:pt x="270994" y="330938"/>
                    <a:pt x="276225" y="328613"/>
                  </a:cubicBezTo>
                  <a:cubicBezTo>
                    <a:pt x="285400" y="324535"/>
                    <a:pt x="295275" y="322263"/>
                    <a:pt x="304800" y="319088"/>
                  </a:cubicBezTo>
                  <a:lnTo>
                    <a:pt x="347662" y="304800"/>
                  </a:lnTo>
                  <a:cubicBezTo>
                    <a:pt x="353092" y="302990"/>
                    <a:pt x="356719" y="297600"/>
                    <a:pt x="361950" y="295275"/>
                  </a:cubicBezTo>
                  <a:cubicBezTo>
                    <a:pt x="371125" y="291197"/>
                    <a:pt x="381000" y="288925"/>
                    <a:pt x="390525" y="285750"/>
                  </a:cubicBezTo>
                  <a:lnTo>
                    <a:pt x="433387" y="271463"/>
                  </a:lnTo>
                  <a:cubicBezTo>
                    <a:pt x="438150" y="269875"/>
                    <a:pt x="443498" y="269485"/>
                    <a:pt x="447675" y="266700"/>
                  </a:cubicBezTo>
                  <a:cubicBezTo>
                    <a:pt x="452437" y="263525"/>
                    <a:pt x="456603" y="259185"/>
                    <a:pt x="461962" y="257175"/>
                  </a:cubicBezTo>
                  <a:cubicBezTo>
                    <a:pt x="469541" y="254333"/>
                    <a:pt x="477965" y="254543"/>
                    <a:pt x="485775" y="252413"/>
                  </a:cubicBezTo>
                  <a:cubicBezTo>
                    <a:pt x="485801" y="252406"/>
                    <a:pt x="521481" y="240511"/>
                    <a:pt x="528637" y="238125"/>
                  </a:cubicBezTo>
                  <a:cubicBezTo>
                    <a:pt x="534067" y="236315"/>
                    <a:pt x="537694" y="230925"/>
                    <a:pt x="542925" y="228600"/>
                  </a:cubicBezTo>
                  <a:cubicBezTo>
                    <a:pt x="552100" y="224522"/>
                    <a:pt x="561975" y="222250"/>
                    <a:pt x="571500" y="219075"/>
                  </a:cubicBezTo>
                  <a:lnTo>
                    <a:pt x="585787" y="214313"/>
                  </a:lnTo>
                  <a:cubicBezTo>
                    <a:pt x="626736" y="187015"/>
                    <a:pt x="574926" y="219744"/>
                    <a:pt x="614362" y="200025"/>
                  </a:cubicBezTo>
                  <a:cubicBezTo>
                    <a:pt x="651283" y="181564"/>
                    <a:pt x="607034" y="197705"/>
                    <a:pt x="642937" y="185738"/>
                  </a:cubicBezTo>
                  <a:cubicBezTo>
                    <a:pt x="649287" y="176213"/>
                    <a:pt x="658367" y="168023"/>
                    <a:pt x="661987" y="157163"/>
                  </a:cubicBezTo>
                  <a:lnTo>
                    <a:pt x="666750" y="142875"/>
                  </a:ln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5" name="任意多边形 64"/>
            <p:cNvSpPr/>
            <p:nvPr/>
          </p:nvSpPr>
          <p:spPr>
            <a:xfrm>
              <a:off x="3466345" y="1562039"/>
              <a:ext cx="2450616" cy="904424"/>
            </a:xfrm>
            <a:custGeom>
              <a:avLst/>
              <a:gdLst>
                <a:gd name="connsiteX0" fmla="*/ 0 w 2052637"/>
                <a:gd name="connsiteY0" fmla="*/ 928687 h 928687"/>
                <a:gd name="connsiteX1" fmla="*/ 23812 w 2052637"/>
                <a:gd name="connsiteY1" fmla="*/ 919162 h 928687"/>
                <a:gd name="connsiteX2" fmla="*/ 66675 w 2052637"/>
                <a:gd name="connsiteY2" fmla="*/ 895350 h 928687"/>
                <a:gd name="connsiteX3" fmla="*/ 95250 w 2052637"/>
                <a:gd name="connsiteY3" fmla="*/ 881062 h 928687"/>
                <a:gd name="connsiteX4" fmla="*/ 123825 w 2052637"/>
                <a:gd name="connsiteY4" fmla="*/ 866775 h 928687"/>
                <a:gd name="connsiteX5" fmla="*/ 161925 w 2052637"/>
                <a:gd name="connsiteY5" fmla="*/ 842962 h 928687"/>
                <a:gd name="connsiteX6" fmla="*/ 204787 w 2052637"/>
                <a:gd name="connsiteY6" fmla="*/ 819150 h 928687"/>
                <a:gd name="connsiteX7" fmla="*/ 233362 w 2052637"/>
                <a:gd name="connsiteY7" fmla="*/ 800100 h 928687"/>
                <a:gd name="connsiteX8" fmla="*/ 247650 w 2052637"/>
                <a:gd name="connsiteY8" fmla="*/ 795337 h 928687"/>
                <a:gd name="connsiteX9" fmla="*/ 261937 w 2052637"/>
                <a:gd name="connsiteY9" fmla="*/ 785812 h 928687"/>
                <a:gd name="connsiteX10" fmla="*/ 295275 w 2052637"/>
                <a:gd name="connsiteY10" fmla="*/ 776287 h 928687"/>
                <a:gd name="connsiteX11" fmla="*/ 309562 w 2052637"/>
                <a:gd name="connsiteY11" fmla="*/ 766762 h 928687"/>
                <a:gd name="connsiteX12" fmla="*/ 338137 w 2052637"/>
                <a:gd name="connsiteY12" fmla="*/ 757237 h 928687"/>
                <a:gd name="connsiteX13" fmla="*/ 366712 w 2052637"/>
                <a:gd name="connsiteY13" fmla="*/ 747712 h 928687"/>
                <a:gd name="connsiteX14" fmla="*/ 381000 w 2052637"/>
                <a:gd name="connsiteY14" fmla="*/ 738187 h 928687"/>
                <a:gd name="connsiteX15" fmla="*/ 395287 w 2052637"/>
                <a:gd name="connsiteY15" fmla="*/ 733425 h 928687"/>
                <a:gd name="connsiteX16" fmla="*/ 438150 w 2052637"/>
                <a:gd name="connsiteY16" fmla="*/ 714375 h 928687"/>
                <a:gd name="connsiteX17" fmla="*/ 452437 w 2052637"/>
                <a:gd name="connsiteY17" fmla="*/ 709612 h 928687"/>
                <a:gd name="connsiteX18" fmla="*/ 466725 w 2052637"/>
                <a:gd name="connsiteY18" fmla="*/ 704850 h 928687"/>
                <a:gd name="connsiteX19" fmla="*/ 509587 w 2052637"/>
                <a:gd name="connsiteY19" fmla="*/ 681037 h 928687"/>
                <a:gd name="connsiteX20" fmla="*/ 519112 w 2052637"/>
                <a:gd name="connsiteY20" fmla="*/ 666750 h 928687"/>
                <a:gd name="connsiteX21" fmla="*/ 533400 w 2052637"/>
                <a:gd name="connsiteY21" fmla="*/ 661987 h 928687"/>
                <a:gd name="connsiteX22" fmla="*/ 561975 w 2052637"/>
                <a:gd name="connsiteY22" fmla="*/ 647700 h 928687"/>
                <a:gd name="connsiteX23" fmla="*/ 590550 w 2052637"/>
                <a:gd name="connsiteY23" fmla="*/ 633412 h 928687"/>
                <a:gd name="connsiteX24" fmla="*/ 604837 w 2052637"/>
                <a:gd name="connsiteY24" fmla="*/ 623887 h 928687"/>
                <a:gd name="connsiteX25" fmla="*/ 633412 w 2052637"/>
                <a:gd name="connsiteY25" fmla="*/ 614362 h 928687"/>
                <a:gd name="connsiteX26" fmla="*/ 661987 w 2052637"/>
                <a:gd name="connsiteY26" fmla="*/ 604837 h 928687"/>
                <a:gd name="connsiteX27" fmla="*/ 690562 w 2052637"/>
                <a:gd name="connsiteY27" fmla="*/ 585787 h 928687"/>
                <a:gd name="connsiteX28" fmla="*/ 704850 w 2052637"/>
                <a:gd name="connsiteY28" fmla="*/ 581025 h 928687"/>
                <a:gd name="connsiteX29" fmla="*/ 719137 w 2052637"/>
                <a:gd name="connsiteY29" fmla="*/ 571500 h 928687"/>
                <a:gd name="connsiteX30" fmla="*/ 747712 w 2052637"/>
                <a:gd name="connsiteY30" fmla="*/ 561975 h 928687"/>
                <a:gd name="connsiteX31" fmla="*/ 762000 w 2052637"/>
                <a:gd name="connsiteY31" fmla="*/ 557212 h 928687"/>
                <a:gd name="connsiteX32" fmla="*/ 776287 w 2052637"/>
                <a:gd name="connsiteY32" fmla="*/ 547687 h 928687"/>
                <a:gd name="connsiteX33" fmla="*/ 790575 w 2052637"/>
                <a:gd name="connsiteY33" fmla="*/ 542925 h 928687"/>
                <a:gd name="connsiteX34" fmla="*/ 833437 w 2052637"/>
                <a:gd name="connsiteY34" fmla="*/ 523875 h 928687"/>
                <a:gd name="connsiteX35" fmla="*/ 847725 w 2052637"/>
                <a:gd name="connsiteY35" fmla="*/ 519112 h 928687"/>
                <a:gd name="connsiteX36" fmla="*/ 862012 w 2052637"/>
                <a:gd name="connsiteY36" fmla="*/ 514350 h 928687"/>
                <a:gd name="connsiteX37" fmla="*/ 876300 w 2052637"/>
                <a:gd name="connsiteY37" fmla="*/ 504825 h 928687"/>
                <a:gd name="connsiteX38" fmla="*/ 904875 w 2052637"/>
                <a:gd name="connsiteY38" fmla="*/ 495300 h 928687"/>
                <a:gd name="connsiteX39" fmla="*/ 947737 w 2052637"/>
                <a:gd name="connsiteY39" fmla="*/ 481012 h 928687"/>
                <a:gd name="connsiteX40" fmla="*/ 962025 w 2052637"/>
                <a:gd name="connsiteY40" fmla="*/ 471487 h 928687"/>
                <a:gd name="connsiteX41" fmla="*/ 990600 w 2052637"/>
                <a:gd name="connsiteY41" fmla="*/ 461962 h 928687"/>
                <a:gd name="connsiteX42" fmla="*/ 1004887 w 2052637"/>
                <a:gd name="connsiteY42" fmla="*/ 457200 h 928687"/>
                <a:gd name="connsiteX43" fmla="*/ 1047750 w 2052637"/>
                <a:gd name="connsiteY43" fmla="*/ 438150 h 928687"/>
                <a:gd name="connsiteX44" fmla="*/ 1062037 w 2052637"/>
                <a:gd name="connsiteY44" fmla="*/ 433387 h 928687"/>
                <a:gd name="connsiteX45" fmla="*/ 1076325 w 2052637"/>
                <a:gd name="connsiteY45" fmla="*/ 428625 h 928687"/>
                <a:gd name="connsiteX46" fmla="*/ 1119187 w 2052637"/>
                <a:gd name="connsiteY46" fmla="*/ 409575 h 928687"/>
                <a:gd name="connsiteX47" fmla="*/ 1133475 w 2052637"/>
                <a:gd name="connsiteY47" fmla="*/ 404812 h 928687"/>
                <a:gd name="connsiteX48" fmla="*/ 1176337 w 2052637"/>
                <a:gd name="connsiteY48" fmla="*/ 385762 h 928687"/>
                <a:gd name="connsiteX49" fmla="*/ 1204912 w 2052637"/>
                <a:gd name="connsiteY49" fmla="*/ 376237 h 928687"/>
                <a:gd name="connsiteX50" fmla="*/ 1219200 w 2052637"/>
                <a:gd name="connsiteY50" fmla="*/ 371475 h 928687"/>
                <a:gd name="connsiteX51" fmla="*/ 1252537 w 2052637"/>
                <a:gd name="connsiteY51" fmla="*/ 357187 h 928687"/>
                <a:gd name="connsiteX52" fmla="*/ 1266825 w 2052637"/>
                <a:gd name="connsiteY52" fmla="*/ 347662 h 928687"/>
                <a:gd name="connsiteX53" fmla="*/ 1285875 w 2052637"/>
                <a:gd name="connsiteY53" fmla="*/ 342900 h 928687"/>
                <a:gd name="connsiteX54" fmla="*/ 1314450 w 2052637"/>
                <a:gd name="connsiteY54" fmla="*/ 333375 h 928687"/>
                <a:gd name="connsiteX55" fmla="*/ 1328737 w 2052637"/>
                <a:gd name="connsiteY55" fmla="*/ 323850 h 928687"/>
                <a:gd name="connsiteX56" fmla="*/ 1376362 w 2052637"/>
                <a:gd name="connsiteY56" fmla="*/ 309562 h 928687"/>
                <a:gd name="connsiteX57" fmla="*/ 1390650 w 2052637"/>
                <a:gd name="connsiteY57" fmla="*/ 304800 h 928687"/>
                <a:gd name="connsiteX58" fmla="*/ 1433512 w 2052637"/>
                <a:gd name="connsiteY58" fmla="*/ 285750 h 928687"/>
                <a:gd name="connsiteX59" fmla="*/ 1447800 w 2052637"/>
                <a:gd name="connsiteY59" fmla="*/ 280987 h 928687"/>
                <a:gd name="connsiteX60" fmla="*/ 1462087 w 2052637"/>
                <a:gd name="connsiteY60" fmla="*/ 271462 h 928687"/>
                <a:gd name="connsiteX61" fmla="*/ 1490662 w 2052637"/>
                <a:gd name="connsiteY61" fmla="*/ 261937 h 928687"/>
                <a:gd name="connsiteX62" fmla="*/ 1519237 w 2052637"/>
                <a:gd name="connsiteY62" fmla="*/ 252412 h 928687"/>
                <a:gd name="connsiteX63" fmla="*/ 1533525 w 2052637"/>
                <a:gd name="connsiteY63" fmla="*/ 242887 h 928687"/>
                <a:gd name="connsiteX64" fmla="*/ 1562100 w 2052637"/>
                <a:gd name="connsiteY64" fmla="*/ 233362 h 928687"/>
                <a:gd name="connsiteX65" fmla="*/ 1590675 w 2052637"/>
                <a:gd name="connsiteY65" fmla="*/ 223837 h 928687"/>
                <a:gd name="connsiteX66" fmla="*/ 1604962 w 2052637"/>
                <a:gd name="connsiteY66" fmla="*/ 214312 h 928687"/>
                <a:gd name="connsiteX67" fmla="*/ 1633537 w 2052637"/>
                <a:gd name="connsiteY67" fmla="*/ 204787 h 928687"/>
                <a:gd name="connsiteX68" fmla="*/ 1647825 w 2052637"/>
                <a:gd name="connsiteY68" fmla="*/ 200025 h 928687"/>
                <a:gd name="connsiteX69" fmla="*/ 1676400 w 2052637"/>
                <a:gd name="connsiteY69" fmla="*/ 185737 h 928687"/>
                <a:gd name="connsiteX70" fmla="*/ 1690687 w 2052637"/>
                <a:gd name="connsiteY70" fmla="*/ 176212 h 928687"/>
                <a:gd name="connsiteX71" fmla="*/ 1719262 w 2052637"/>
                <a:gd name="connsiteY71" fmla="*/ 166687 h 928687"/>
                <a:gd name="connsiteX72" fmla="*/ 1733550 w 2052637"/>
                <a:gd name="connsiteY72" fmla="*/ 161925 h 928687"/>
                <a:gd name="connsiteX73" fmla="*/ 1757362 w 2052637"/>
                <a:gd name="connsiteY73" fmla="*/ 142875 h 928687"/>
                <a:gd name="connsiteX74" fmla="*/ 1785937 w 2052637"/>
                <a:gd name="connsiteY74" fmla="*/ 123825 h 928687"/>
                <a:gd name="connsiteX75" fmla="*/ 1800225 w 2052637"/>
                <a:gd name="connsiteY75" fmla="*/ 119062 h 928687"/>
                <a:gd name="connsiteX76" fmla="*/ 1814512 w 2052637"/>
                <a:gd name="connsiteY76" fmla="*/ 109537 h 928687"/>
                <a:gd name="connsiteX77" fmla="*/ 1843087 w 2052637"/>
                <a:gd name="connsiteY77" fmla="*/ 100012 h 928687"/>
                <a:gd name="connsiteX78" fmla="*/ 1857375 w 2052637"/>
                <a:gd name="connsiteY78" fmla="*/ 95250 h 928687"/>
                <a:gd name="connsiteX79" fmla="*/ 1871662 w 2052637"/>
                <a:gd name="connsiteY79" fmla="*/ 85725 h 928687"/>
                <a:gd name="connsiteX80" fmla="*/ 1905000 w 2052637"/>
                <a:gd name="connsiteY80" fmla="*/ 76200 h 928687"/>
                <a:gd name="connsiteX81" fmla="*/ 1919287 w 2052637"/>
                <a:gd name="connsiteY81" fmla="*/ 66675 h 928687"/>
                <a:gd name="connsiteX82" fmla="*/ 1933575 w 2052637"/>
                <a:gd name="connsiteY82" fmla="*/ 61912 h 928687"/>
                <a:gd name="connsiteX83" fmla="*/ 1962150 w 2052637"/>
                <a:gd name="connsiteY83" fmla="*/ 42862 h 928687"/>
                <a:gd name="connsiteX84" fmla="*/ 1990725 w 2052637"/>
                <a:gd name="connsiteY84" fmla="*/ 23812 h 928687"/>
                <a:gd name="connsiteX85" fmla="*/ 2033587 w 2052637"/>
                <a:gd name="connsiteY85" fmla="*/ 9525 h 928687"/>
                <a:gd name="connsiteX86" fmla="*/ 2052637 w 2052637"/>
                <a:gd name="connsiteY86" fmla="*/ 0 h 928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052637" h="928687">
                  <a:moveTo>
                    <a:pt x="0" y="928687"/>
                  </a:moveTo>
                  <a:cubicBezTo>
                    <a:pt x="7937" y="925512"/>
                    <a:pt x="16307" y="923256"/>
                    <a:pt x="23812" y="919162"/>
                  </a:cubicBezTo>
                  <a:cubicBezTo>
                    <a:pt x="75274" y="891091"/>
                    <a:pt x="33322" y="906466"/>
                    <a:pt x="66675" y="895350"/>
                  </a:cubicBezTo>
                  <a:cubicBezTo>
                    <a:pt x="107618" y="868054"/>
                    <a:pt x="55816" y="900780"/>
                    <a:pt x="95250" y="881062"/>
                  </a:cubicBezTo>
                  <a:cubicBezTo>
                    <a:pt x="132172" y="862601"/>
                    <a:pt x="87918" y="878742"/>
                    <a:pt x="123825" y="866775"/>
                  </a:cubicBezTo>
                  <a:cubicBezTo>
                    <a:pt x="146673" y="832501"/>
                    <a:pt x="114319" y="874700"/>
                    <a:pt x="161925" y="842962"/>
                  </a:cubicBezTo>
                  <a:cubicBezTo>
                    <a:pt x="194677" y="821127"/>
                    <a:pt x="179640" y="827532"/>
                    <a:pt x="204787" y="819150"/>
                  </a:cubicBezTo>
                  <a:cubicBezTo>
                    <a:pt x="214312" y="812800"/>
                    <a:pt x="222502" y="803720"/>
                    <a:pt x="233362" y="800100"/>
                  </a:cubicBezTo>
                  <a:cubicBezTo>
                    <a:pt x="238125" y="798512"/>
                    <a:pt x="243160" y="797582"/>
                    <a:pt x="247650" y="795337"/>
                  </a:cubicBezTo>
                  <a:cubicBezTo>
                    <a:pt x="252769" y="792777"/>
                    <a:pt x="256818" y="788372"/>
                    <a:pt x="261937" y="785812"/>
                  </a:cubicBezTo>
                  <a:cubicBezTo>
                    <a:pt x="268765" y="782398"/>
                    <a:pt x="289178" y="777811"/>
                    <a:pt x="295275" y="776287"/>
                  </a:cubicBezTo>
                  <a:cubicBezTo>
                    <a:pt x="300037" y="773112"/>
                    <a:pt x="304332" y="769087"/>
                    <a:pt x="309562" y="766762"/>
                  </a:cubicBezTo>
                  <a:cubicBezTo>
                    <a:pt x="318737" y="762684"/>
                    <a:pt x="328612" y="760412"/>
                    <a:pt x="338137" y="757237"/>
                  </a:cubicBezTo>
                  <a:lnTo>
                    <a:pt x="366712" y="747712"/>
                  </a:lnTo>
                  <a:cubicBezTo>
                    <a:pt x="372142" y="745902"/>
                    <a:pt x="375880" y="740747"/>
                    <a:pt x="381000" y="738187"/>
                  </a:cubicBezTo>
                  <a:cubicBezTo>
                    <a:pt x="385490" y="735942"/>
                    <a:pt x="390525" y="735012"/>
                    <a:pt x="395287" y="733425"/>
                  </a:cubicBezTo>
                  <a:cubicBezTo>
                    <a:pt x="417930" y="718330"/>
                    <a:pt x="404143" y="725711"/>
                    <a:pt x="438150" y="714375"/>
                  </a:cubicBezTo>
                  <a:lnTo>
                    <a:pt x="452437" y="709612"/>
                  </a:lnTo>
                  <a:lnTo>
                    <a:pt x="466725" y="704850"/>
                  </a:lnTo>
                  <a:cubicBezTo>
                    <a:pt x="499477" y="683015"/>
                    <a:pt x="484440" y="689421"/>
                    <a:pt x="509587" y="681037"/>
                  </a:cubicBezTo>
                  <a:cubicBezTo>
                    <a:pt x="512762" y="676275"/>
                    <a:pt x="514643" y="670326"/>
                    <a:pt x="519112" y="666750"/>
                  </a:cubicBezTo>
                  <a:cubicBezTo>
                    <a:pt x="523032" y="663614"/>
                    <a:pt x="528910" y="664232"/>
                    <a:pt x="533400" y="661987"/>
                  </a:cubicBezTo>
                  <a:cubicBezTo>
                    <a:pt x="570322" y="643526"/>
                    <a:pt x="526068" y="659667"/>
                    <a:pt x="561975" y="647700"/>
                  </a:cubicBezTo>
                  <a:cubicBezTo>
                    <a:pt x="602918" y="620404"/>
                    <a:pt x="551116" y="653130"/>
                    <a:pt x="590550" y="633412"/>
                  </a:cubicBezTo>
                  <a:cubicBezTo>
                    <a:pt x="595669" y="630852"/>
                    <a:pt x="599607" y="626212"/>
                    <a:pt x="604837" y="623887"/>
                  </a:cubicBezTo>
                  <a:cubicBezTo>
                    <a:pt x="614012" y="619809"/>
                    <a:pt x="623887" y="617537"/>
                    <a:pt x="633412" y="614362"/>
                  </a:cubicBezTo>
                  <a:lnTo>
                    <a:pt x="661987" y="604837"/>
                  </a:lnTo>
                  <a:cubicBezTo>
                    <a:pt x="672847" y="601216"/>
                    <a:pt x="681037" y="592137"/>
                    <a:pt x="690562" y="585787"/>
                  </a:cubicBezTo>
                  <a:cubicBezTo>
                    <a:pt x="694739" y="583002"/>
                    <a:pt x="700087" y="582612"/>
                    <a:pt x="704850" y="581025"/>
                  </a:cubicBezTo>
                  <a:cubicBezTo>
                    <a:pt x="709612" y="577850"/>
                    <a:pt x="713907" y="573825"/>
                    <a:pt x="719137" y="571500"/>
                  </a:cubicBezTo>
                  <a:cubicBezTo>
                    <a:pt x="728312" y="567422"/>
                    <a:pt x="738187" y="565150"/>
                    <a:pt x="747712" y="561975"/>
                  </a:cubicBezTo>
                  <a:lnTo>
                    <a:pt x="762000" y="557212"/>
                  </a:lnTo>
                  <a:cubicBezTo>
                    <a:pt x="767430" y="555402"/>
                    <a:pt x="771168" y="550247"/>
                    <a:pt x="776287" y="547687"/>
                  </a:cubicBezTo>
                  <a:cubicBezTo>
                    <a:pt x="780777" y="545442"/>
                    <a:pt x="785812" y="544512"/>
                    <a:pt x="790575" y="542925"/>
                  </a:cubicBezTo>
                  <a:cubicBezTo>
                    <a:pt x="813216" y="527830"/>
                    <a:pt x="799431" y="535211"/>
                    <a:pt x="833437" y="523875"/>
                  </a:cubicBezTo>
                  <a:lnTo>
                    <a:pt x="847725" y="519112"/>
                  </a:lnTo>
                  <a:lnTo>
                    <a:pt x="862012" y="514350"/>
                  </a:lnTo>
                  <a:cubicBezTo>
                    <a:pt x="866775" y="511175"/>
                    <a:pt x="871069" y="507150"/>
                    <a:pt x="876300" y="504825"/>
                  </a:cubicBezTo>
                  <a:cubicBezTo>
                    <a:pt x="885475" y="500747"/>
                    <a:pt x="895350" y="498475"/>
                    <a:pt x="904875" y="495300"/>
                  </a:cubicBezTo>
                  <a:lnTo>
                    <a:pt x="947737" y="481012"/>
                  </a:lnTo>
                  <a:cubicBezTo>
                    <a:pt x="953167" y="479202"/>
                    <a:pt x="956794" y="473812"/>
                    <a:pt x="962025" y="471487"/>
                  </a:cubicBezTo>
                  <a:cubicBezTo>
                    <a:pt x="971200" y="467409"/>
                    <a:pt x="981075" y="465137"/>
                    <a:pt x="990600" y="461962"/>
                  </a:cubicBezTo>
                  <a:lnTo>
                    <a:pt x="1004887" y="457200"/>
                  </a:lnTo>
                  <a:cubicBezTo>
                    <a:pt x="1027530" y="442105"/>
                    <a:pt x="1013743" y="449486"/>
                    <a:pt x="1047750" y="438150"/>
                  </a:cubicBezTo>
                  <a:lnTo>
                    <a:pt x="1062037" y="433387"/>
                  </a:lnTo>
                  <a:lnTo>
                    <a:pt x="1076325" y="428625"/>
                  </a:lnTo>
                  <a:cubicBezTo>
                    <a:pt x="1098966" y="413530"/>
                    <a:pt x="1085181" y="420911"/>
                    <a:pt x="1119187" y="409575"/>
                  </a:cubicBezTo>
                  <a:cubicBezTo>
                    <a:pt x="1123950" y="407987"/>
                    <a:pt x="1129298" y="407597"/>
                    <a:pt x="1133475" y="404812"/>
                  </a:cubicBezTo>
                  <a:cubicBezTo>
                    <a:pt x="1156115" y="389718"/>
                    <a:pt x="1142334" y="397096"/>
                    <a:pt x="1176337" y="385762"/>
                  </a:cubicBezTo>
                  <a:lnTo>
                    <a:pt x="1204912" y="376237"/>
                  </a:lnTo>
                  <a:lnTo>
                    <a:pt x="1219200" y="371475"/>
                  </a:lnTo>
                  <a:cubicBezTo>
                    <a:pt x="1255066" y="347564"/>
                    <a:pt x="1209485" y="375638"/>
                    <a:pt x="1252537" y="357187"/>
                  </a:cubicBezTo>
                  <a:cubicBezTo>
                    <a:pt x="1257798" y="354932"/>
                    <a:pt x="1261564" y="349917"/>
                    <a:pt x="1266825" y="347662"/>
                  </a:cubicBezTo>
                  <a:cubicBezTo>
                    <a:pt x="1272841" y="345084"/>
                    <a:pt x="1279606" y="344781"/>
                    <a:pt x="1285875" y="342900"/>
                  </a:cubicBezTo>
                  <a:cubicBezTo>
                    <a:pt x="1295492" y="340015"/>
                    <a:pt x="1314450" y="333375"/>
                    <a:pt x="1314450" y="333375"/>
                  </a:cubicBezTo>
                  <a:cubicBezTo>
                    <a:pt x="1319212" y="330200"/>
                    <a:pt x="1323507" y="326175"/>
                    <a:pt x="1328737" y="323850"/>
                  </a:cubicBezTo>
                  <a:cubicBezTo>
                    <a:pt x="1349100" y="314800"/>
                    <a:pt x="1356973" y="315102"/>
                    <a:pt x="1376362" y="309562"/>
                  </a:cubicBezTo>
                  <a:cubicBezTo>
                    <a:pt x="1381189" y="308183"/>
                    <a:pt x="1385887" y="306387"/>
                    <a:pt x="1390650" y="304800"/>
                  </a:cubicBezTo>
                  <a:cubicBezTo>
                    <a:pt x="1413291" y="289705"/>
                    <a:pt x="1399506" y="297086"/>
                    <a:pt x="1433512" y="285750"/>
                  </a:cubicBezTo>
                  <a:cubicBezTo>
                    <a:pt x="1438275" y="284162"/>
                    <a:pt x="1443623" y="283772"/>
                    <a:pt x="1447800" y="280987"/>
                  </a:cubicBezTo>
                  <a:cubicBezTo>
                    <a:pt x="1452562" y="277812"/>
                    <a:pt x="1456857" y="273787"/>
                    <a:pt x="1462087" y="271462"/>
                  </a:cubicBezTo>
                  <a:cubicBezTo>
                    <a:pt x="1471262" y="267384"/>
                    <a:pt x="1481137" y="265112"/>
                    <a:pt x="1490662" y="261937"/>
                  </a:cubicBezTo>
                  <a:lnTo>
                    <a:pt x="1519237" y="252412"/>
                  </a:lnTo>
                  <a:cubicBezTo>
                    <a:pt x="1524667" y="250602"/>
                    <a:pt x="1528294" y="245212"/>
                    <a:pt x="1533525" y="242887"/>
                  </a:cubicBezTo>
                  <a:cubicBezTo>
                    <a:pt x="1542700" y="238809"/>
                    <a:pt x="1552575" y="236537"/>
                    <a:pt x="1562100" y="233362"/>
                  </a:cubicBezTo>
                  <a:cubicBezTo>
                    <a:pt x="1562104" y="233361"/>
                    <a:pt x="1590672" y="223839"/>
                    <a:pt x="1590675" y="223837"/>
                  </a:cubicBezTo>
                  <a:cubicBezTo>
                    <a:pt x="1595437" y="220662"/>
                    <a:pt x="1599732" y="216637"/>
                    <a:pt x="1604962" y="214312"/>
                  </a:cubicBezTo>
                  <a:cubicBezTo>
                    <a:pt x="1614137" y="210234"/>
                    <a:pt x="1624012" y="207962"/>
                    <a:pt x="1633537" y="204787"/>
                  </a:cubicBezTo>
                  <a:lnTo>
                    <a:pt x="1647825" y="200025"/>
                  </a:lnTo>
                  <a:cubicBezTo>
                    <a:pt x="1688768" y="172729"/>
                    <a:pt x="1636966" y="205455"/>
                    <a:pt x="1676400" y="185737"/>
                  </a:cubicBezTo>
                  <a:cubicBezTo>
                    <a:pt x="1681519" y="183177"/>
                    <a:pt x="1685457" y="178537"/>
                    <a:pt x="1690687" y="176212"/>
                  </a:cubicBezTo>
                  <a:cubicBezTo>
                    <a:pt x="1699862" y="172134"/>
                    <a:pt x="1709737" y="169862"/>
                    <a:pt x="1719262" y="166687"/>
                  </a:cubicBezTo>
                  <a:lnTo>
                    <a:pt x="1733550" y="161925"/>
                  </a:lnTo>
                  <a:cubicBezTo>
                    <a:pt x="1751150" y="135525"/>
                    <a:pt x="1733005" y="156406"/>
                    <a:pt x="1757362" y="142875"/>
                  </a:cubicBezTo>
                  <a:cubicBezTo>
                    <a:pt x="1767369" y="137316"/>
                    <a:pt x="1775077" y="127445"/>
                    <a:pt x="1785937" y="123825"/>
                  </a:cubicBezTo>
                  <a:cubicBezTo>
                    <a:pt x="1790700" y="122237"/>
                    <a:pt x="1795735" y="121307"/>
                    <a:pt x="1800225" y="119062"/>
                  </a:cubicBezTo>
                  <a:cubicBezTo>
                    <a:pt x="1805344" y="116502"/>
                    <a:pt x="1809282" y="111862"/>
                    <a:pt x="1814512" y="109537"/>
                  </a:cubicBezTo>
                  <a:cubicBezTo>
                    <a:pt x="1823687" y="105459"/>
                    <a:pt x="1833562" y="103187"/>
                    <a:pt x="1843087" y="100012"/>
                  </a:cubicBezTo>
                  <a:lnTo>
                    <a:pt x="1857375" y="95250"/>
                  </a:lnTo>
                  <a:cubicBezTo>
                    <a:pt x="1862137" y="92075"/>
                    <a:pt x="1866543" y="88285"/>
                    <a:pt x="1871662" y="85725"/>
                  </a:cubicBezTo>
                  <a:cubicBezTo>
                    <a:pt x="1878497" y="82307"/>
                    <a:pt x="1898892" y="77727"/>
                    <a:pt x="1905000" y="76200"/>
                  </a:cubicBezTo>
                  <a:cubicBezTo>
                    <a:pt x="1909762" y="73025"/>
                    <a:pt x="1914168" y="69235"/>
                    <a:pt x="1919287" y="66675"/>
                  </a:cubicBezTo>
                  <a:cubicBezTo>
                    <a:pt x="1923777" y="64430"/>
                    <a:pt x="1929186" y="64350"/>
                    <a:pt x="1933575" y="61912"/>
                  </a:cubicBezTo>
                  <a:cubicBezTo>
                    <a:pt x="1943582" y="56353"/>
                    <a:pt x="1952625" y="49212"/>
                    <a:pt x="1962150" y="42862"/>
                  </a:cubicBezTo>
                  <a:lnTo>
                    <a:pt x="1990725" y="23812"/>
                  </a:lnTo>
                  <a:cubicBezTo>
                    <a:pt x="1990728" y="23810"/>
                    <a:pt x="2026441" y="11907"/>
                    <a:pt x="2033587" y="9525"/>
                  </a:cubicBezTo>
                  <a:cubicBezTo>
                    <a:pt x="2050004" y="4053"/>
                    <a:pt x="2044325" y="8312"/>
                    <a:pt x="2052637" y="0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94" name="组合 193"/>
          <p:cNvGrpSpPr/>
          <p:nvPr/>
        </p:nvGrpSpPr>
        <p:grpSpPr bwMode="auto">
          <a:xfrm>
            <a:off x="3757613" y="1892300"/>
            <a:ext cx="849312" cy="1243013"/>
            <a:chOff x="4904156" y="1711202"/>
            <a:chExt cx="915395" cy="1340050"/>
          </a:xfrm>
        </p:grpSpPr>
        <p:sp>
          <p:nvSpPr>
            <p:cNvPr id="5209" name="Freeform 280"/>
            <p:cNvSpPr>
              <a:spLocks noEditPoints="1"/>
            </p:cNvSpPr>
            <p:nvPr/>
          </p:nvSpPr>
          <p:spPr bwMode="auto">
            <a:xfrm rot="521357">
              <a:off x="4904156" y="1897373"/>
              <a:ext cx="400416" cy="547607"/>
            </a:xfrm>
            <a:custGeom>
              <a:avLst/>
              <a:gdLst>
                <a:gd name="T0" fmla="*/ 2147483646 w 100"/>
                <a:gd name="T1" fmla="*/ 2147483646 h 131"/>
                <a:gd name="T2" fmla="*/ 2147483646 w 100"/>
                <a:gd name="T3" fmla="*/ 0 h 131"/>
                <a:gd name="T4" fmla="*/ 2147483646 w 100"/>
                <a:gd name="T5" fmla="*/ 2147483646 h 131"/>
                <a:gd name="T6" fmla="*/ 2147483646 w 100"/>
                <a:gd name="T7" fmla="*/ 2147483646 h 131"/>
                <a:gd name="T8" fmla="*/ 2147483646 w 100"/>
                <a:gd name="T9" fmla="*/ 2147483646 h 131"/>
                <a:gd name="T10" fmla="*/ 2147483646 w 100"/>
                <a:gd name="T11" fmla="*/ 2147483646 h 131"/>
                <a:gd name="T12" fmla="*/ 2147483646 w 100"/>
                <a:gd name="T13" fmla="*/ 2147483646 h 131"/>
                <a:gd name="T14" fmla="*/ 2147483646 w 100"/>
                <a:gd name="T15" fmla="*/ 2147483646 h 131"/>
                <a:gd name="T16" fmla="*/ 2147483646 w 100"/>
                <a:gd name="T17" fmla="*/ 2147483646 h 131"/>
                <a:gd name="T18" fmla="*/ 2147483646 w 100"/>
                <a:gd name="T19" fmla="*/ 2147483646 h 131"/>
                <a:gd name="T20" fmla="*/ 2147483646 w 100"/>
                <a:gd name="T21" fmla="*/ 2147483646 h 131"/>
                <a:gd name="T22" fmla="*/ 2147483646 w 100"/>
                <a:gd name="T23" fmla="*/ 2147483646 h 131"/>
                <a:gd name="T24" fmla="*/ 2147483646 w 100"/>
                <a:gd name="T25" fmla="*/ 2147483646 h 131"/>
                <a:gd name="T26" fmla="*/ 2147483646 w 100"/>
                <a:gd name="T27" fmla="*/ 2147483646 h 131"/>
                <a:gd name="T28" fmla="*/ 2147483646 w 100"/>
                <a:gd name="T29" fmla="*/ 2147483646 h 131"/>
                <a:gd name="T30" fmla="*/ 2147483646 w 100"/>
                <a:gd name="T31" fmla="*/ 2147483646 h 131"/>
                <a:gd name="T32" fmla="*/ 2147483646 w 100"/>
                <a:gd name="T33" fmla="*/ 2147483646 h 131"/>
                <a:gd name="T34" fmla="*/ 2147483646 w 100"/>
                <a:gd name="T35" fmla="*/ 2147483646 h 131"/>
                <a:gd name="T36" fmla="*/ 2147483646 w 100"/>
                <a:gd name="T37" fmla="*/ 2147483646 h 131"/>
                <a:gd name="T38" fmla="*/ 2147483646 w 100"/>
                <a:gd name="T39" fmla="*/ 2147483646 h 131"/>
                <a:gd name="T40" fmla="*/ 2147483646 w 100"/>
                <a:gd name="T41" fmla="*/ 2147483646 h 131"/>
                <a:gd name="T42" fmla="*/ 2147483646 w 100"/>
                <a:gd name="T43" fmla="*/ 2147483646 h 131"/>
                <a:gd name="T44" fmla="*/ 2147483646 w 100"/>
                <a:gd name="T45" fmla="*/ 2147483646 h 131"/>
                <a:gd name="T46" fmla="*/ 2147483646 w 100"/>
                <a:gd name="T47" fmla="*/ 2147483646 h 131"/>
                <a:gd name="T48" fmla="*/ 2147483646 w 100"/>
                <a:gd name="T49" fmla="*/ 2147483646 h 131"/>
                <a:gd name="T50" fmla="*/ 2147483646 w 100"/>
                <a:gd name="T51" fmla="*/ 2147483646 h 131"/>
                <a:gd name="T52" fmla="*/ 2147483646 w 100"/>
                <a:gd name="T53" fmla="*/ 2147483646 h 131"/>
                <a:gd name="T54" fmla="*/ 2147483646 w 100"/>
                <a:gd name="T55" fmla="*/ 2147483646 h 131"/>
                <a:gd name="T56" fmla="*/ 2147483646 w 100"/>
                <a:gd name="T57" fmla="*/ 2147483646 h 131"/>
                <a:gd name="T58" fmla="*/ 2147483646 w 100"/>
                <a:gd name="T59" fmla="*/ 2147483646 h 131"/>
                <a:gd name="T60" fmla="*/ 2147483646 w 100"/>
                <a:gd name="T61" fmla="*/ 2147483646 h 131"/>
                <a:gd name="T62" fmla="*/ 2147483646 w 100"/>
                <a:gd name="T63" fmla="*/ 2147483646 h 131"/>
                <a:gd name="T64" fmla="*/ 2147483646 w 100"/>
                <a:gd name="T65" fmla="*/ 2147483646 h 131"/>
                <a:gd name="T66" fmla="*/ 2147483646 w 100"/>
                <a:gd name="T67" fmla="*/ 2147483646 h 131"/>
                <a:gd name="T68" fmla="*/ 2147483646 w 100"/>
                <a:gd name="T69" fmla="*/ 2147483646 h 131"/>
                <a:gd name="T70" fmla="*/ 2147483646 w 100"/>
                <a:gd name="T71" fmla="*/ 2147483646 h 131"/>
                <a:gd name="T72" fmla="*/ 2147483646 w 100"/>
                <a:gd name="T73" fmla="*/ 2147483646 h 131"/>
                <a:gd name="T74" fmla="*/ 2147483646 w 100"/>
                <a:gd name="T75" fmla="*/ 2147483646 h 131"/>
                <a:gd name="T76" fmla="*/ 2147483646 w 100"/>
                <a:gd name="T77" fmla="*/ 2147483646 h 131"/>
                <a:gd name="T78" fmla="*/ 2147483646 w 100"/>
                <a:gd name="T79" fmla="*/ 2147483646 h 131"/>
                <a:gd name="T80" fmla="*/ 2147483646 w 100"/>
                <a:gd name="T81" fmla="*/ 2147483646 h 131"/>
                <a:gd name="T82" fmla="*/ 2147483646 w 100"/>
                <a:gd name="T83" fmla="*/ 2147483646 h 131"/>
                <a:gd name="T84" fmla="*/ 2147483646 w 100"/>
                <a:gd name="T85" fmla="*/ 2147483646 h 131"/>
                <a:gd name="T86" fmla="*/ 2147483646 w 100"/>
                <a:gd name="T87" fmla="*/ 2147483646 h 131"/>
                <a:gd name="T88" fmla="*/ 2147483646 w 100"/>
                <a:gd name="T89" fmla="*/ 2147483646 h 131"/>
                <a:gd name="T90" fmla="*/ 2147483646 w 100"/>
                <a:gd name="T91" fmla="*/ 2147483646 h 131"/>
                <a:gd name="T92" fmla="*/ 2147483646 w 100"/>
                <a:gd name="T93" fmla="*/ 2147483646 h 131"/>
                <a:gd name="T94" fmla="*/ 2147483646 w 100"/>
                <a:gd name="T95" fmla="*/ 2147483646 h 131"/>
                <a:gd name="T96" fmla="*/ 2147483646 w 100"/>
                <a:gd name="T97" fmla="*/ 2147483646 h 131"/>
                <a:gd name="T98" fmla="*/ 2147483646 w 100"/>
                <a:gd name="T99" fmla="*/ 2147483646 h 131"/>
                <a:gd name="T100" fmla="*/ 2147483646 w 100"/>
                <a:gd name="T101" fmla="*/ 2147483646 h 131"/>
                <a:gd name="T102" fmla="*/ 2147483646 w 100"/>
                <a:gd name="T103" fmla="*/ 2147483646 h 131"/>
                <a:gd name="T104" fmla="*/ 2147483646 w 100"/>
                <a:gd name="T105" fmla="*/ 2147483646 h 131"/>
                <a:gd name="T106" fmla="*/ 2147483646 w 100"/>
                <a:gd name="T107" fmla="*/ 2147483646 h 131"/>
                <a:gd name="T108" fmla="*/ 2147483646 w 100"/>
                <a:gd name="T109" fmla="*/ 2147483646 h 131"/>
                <a:gd name="T110" fmla="*/ 2147483646 w 100"/>
                <a:gd name="T111" fmla="*/ 2147483646 h 131"/>
                <a:gd name="T112" fmla="*/ 2147483646 w 100"/>
                <a:gd name="T113" fmla="*/ 2147483646 h 131"/>
                <a:gd name="T114" fmla="*/ 2147483646 w 100"/>
                <a:gd name="T115" fmla="*/ 2147483646 h 131"/>
                <a:gd name="T116" fmla="*/ 2147483646 w 100"/>
                <a:gd name="T117" fmla="*/ 2147483646 h 131"/>
                <a:gd name="T118" fmla="*/ 2147483646 w 100"/>
                <a:gd name="T119" fmla="*/ 2147483646 h 131"/>
                <a:gd name="T120" fmla="*/ 2147483646 w 100"/>
                <a:gd name="T121" fmla="*/ 2147483646 h 1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0" h="131">
                  <a:moveTo>
                    <a:pt x="31" y="4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6" y="28"/>
                    <a:pt x="55" y="35"/>
                    <a:pt x="64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1" y="35"/>
                    <a:pt x="43" y="28"/>
                    <a:pt x="36" y="20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3" y="9"/>
                    <a:pt x="8" y="16"/>
                    <a:pt x="5" y="23"/>
                  </a:cubicBezTo>
                  <a:cubicBezTo>
                    <a:pt x="0" y="29"/>
                    <a:pt x="6" y="39"/>
                    <a:pt x="21" y="55"/>
                  </a:cubicBezTo>
                  <a:cubicBezTo>
                    <a:pt x="22" y="56"/>
                    <a:pt x="24" y="57"/>
                    <a:pt x="25" y="58"/>
                  </a:cubicBezTo>
                  <a:cubicBezTo>
                    <a:pt x="29" y="68"/>
                    <a:pt x="35" y="76"/>
                    <a:pt x="43" y="84"/>
                  </a:cubicBezTo>
                  <a:cubicBezTo>
                    <a:pt x="43" y="90"/>
                    <a:pt x="45" y="97"/>
                    <a:pt x="50" y="103"/>
                  </a:cubicBezTo>
                  <a:cubicBezTo>
                    <a:pt x="55" y="129"/>
                    <a:pt x="55" y="129"/>
                    <a:pt x="55" y="129"/>
                  </a:cubicBezTo>
                  <a:cubicBezTo>
                    <a:pt x="63" y="131"/>
                    <a:pt x="70" y="130"/>
                    <a:pt x="76" y="129"/>
                  </a:cubicBezTo>
                  <a:cubicBezTo>
                    <a:pt x="83" y="127"/>
                    <a:pt x="89" y="124"/>
                    <a:pt x="95" y="119"/>
                  </a:cubicBezTo>
                  <a:cubicBezTo>
                    <a:pt x="99" y="109"/>
                    <a:pt x="100" y="99"/>
                    <a:pt x="99" y="90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75" y="62"/>
                    <a:pt x="66" y="67"/>
                    <a:pt x="56" y="71"/>
                  </a:cubicBezTo>
                  <a:cubicBezTo>
                    <a:pt x="50" y="71"/>
                    <a:pt x="45" y="70"/>
                    <a:pt x="39" y="67"/>
                  </a:cubicBezTo>
                  <a:cubicBezTo>
                    <a:pt x="55" y="62"/>
                    <a:pt x="78" y="51"/>
                    <a:pt x="92" y="40"/>
                  </a:cubicBezTo>
                  <a:cubicBezTo>
                    <a:pt x="88" y="38"/>
                    <a:pt x="79" y="36"/>
                    <a:pt x="76" y="33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4" y="37"/>
                    <a:pt x="62" y="35"/>
                    <a:pt x="59" y="32"/>
                  </a:cubicBezTo>
                  <a:cubicBezTo>
                    <a:pt x="58" y="31"/>
                    <a:pt x="57" y="30"/>
                    <a:pt x="56" y="29"/>
                  </a:cubicBezTo>
                  <a:cubicBezTo>
                    <a:pt x="54" y="27"/>
                    <a:pt x="52" y="24"/>
                    <a:pt x="50" y="20"/>
                  </a:cubicBezTo>
                  <a:cubicBezTo>
                    <a:pt x="49" y="19"/>
                    <a:pt x="49" y="18"/>
                    <a:pt x="48" y="17"/>
                  </a:cubicBezTo>
                  <a:cubicBezTo>
                    <a:pt x="47" y="16"/>
                    <a:pt x="47" y="15"/>
                    <a:pt x="46" y="1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lose/>
                  <a:moveTo>
                    <a:pt x="72" y="39"/>
                  </a:moveTo>
                  <a:cubicBezTo>
                    <a:pt x="73" y="42"/>
                    <a:pt x="73" y="42"/>
                    <a:pt x="73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6" y="29"/>
                  </a:moveTo>
                  <a:cubicBezTo>
                    <a:pt x="7" y="19"/>
                    <a:pt x="12" y="12"/>
                    <a:pt x="20" y="6"/>
                  </a:cubicBezTo>
                  <a:cubicBezTo>
                    <a:pt x="14" y="14"/>
                    <a:pt x="10" y="22"/>
                    <a:pt x="9" y="28"/>
                  </a:cubicBezTo>
                  <a:cubicBezTo>
                    <a:pt x="11" y="43"/>
                    <a:pt x="21" y="54"/>
                    <a:pt x="40" y="64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22" y="56"/>
                    <a:pt x="11" y="44"/>
                    <a:pt x="6" y="29"/>
                  </a:cubicBezTo>
                  <a:close/>
                  <a:moveTo>
                    <a:pt x="44" y="82"/>
                  </a:moveTo>
                  <a:cubicBezTo>
                    <a:pt x="38" y="77"/>
                    <a:pt x="33" y="72"/>
                    <a:pt x="30" y="65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7" y="72"/>
                    <a:pt x="41" y="77"/>
                    <a:pt x="47" y="82"/>
                  </a:cubicBezTo>
                  <a:cubicBezTo>
                    <a:pt x="47" y="88"/>
                    <a:pt x="49" y="95"/>
                    <a:pt x="53" y="102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47" y="97"/>
                    <a:pt x="45" y="91"/>
                    <a:pt x="44" y="82"/>
                  </a:cubicBezTo>
                  <a:close/>
                  <a:moveTo>
                    <a:pt x="36" y="24"/>
                  </a:moveTo>
                  <a:cubicBezTo>
                    <a:pt x="56" y="41"/>
                    <a:pt x="56" y="41"/>
                    <a:pt x="56" y="4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36" y="24"/>
                    <a:pt x="36" y="24"/>
                    <a:pt x="36" y="24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5210" name="组合 192"/>
            <p:cNvGrpSpPr/>
            <p:nvPr/>
          </p:nvGrpSpPr>
          <p:grpSpPr bwMode="auto">
            <a:xfrm>
              <a:off x="4945495" y="1711202"/>
              <a:ext cx="874056" cy="1340050"/>
              <a:chOff x="4945495" y="1711202"/>
              <a:chExt cx="874056" cy="1340050"/>
            </a:xfrm>
          </p:grpSpPr>
          <p:sp>
            <p:nvSpPr>
              <p:cNvPr id="5211" name="Freeform 267"/>
              <p:cNvSpPr/>
              <p:nvPr/>
            </p:nvSpPr>
            <p:spPr bwMode="auto">
              <a:xfrm rot="521357">
                <a:off x="4945495" y="2926195"/>
                <a:ext cx="152701" cy="77725"/>
              </a:xfrm>
              <a:custGeom>
                <a:avLst/>
                <a:gdLst>
                  <a:gd name="T0" fmla="*/ 2147483646 w 38"/>
                  <a:gd name="T1" fmla="*/ 2147483646 h 19"/>
                  <a:gd name="T2" fmla="*/ 0 w 38"/>
                  <a:gd name="T3" fmla="*/ 0 h 19"/>
                  <a:gd name="T4" fmla="*/ 2147483646 w 38"/>
                  <a:gd name="T5" fmla="*/ 2147483646 h 19"/>
                  <a:gd name="T6" fmla="*/ 2147483646 w 38"/>
                  <a:gd name="T7" fmla="*/ 2147483646 h 19"/>
                  <a:gd name="T8" fmla="*/ 2147483646 w 38"/>
                  <a:gd name="T9" fmla="*/ 2147483646 h 19"/>
                  <a:gd name="T10" fmla="*/ 2147483646 w 38"/>
                  <a:gd name="T11" fmla="*/ 2147483646 h 19"/>
                  <a:gd name="T12" fmla="*/ 2147483646 w 38"/>
                  <a:gd name="T13" fmla="*/ 2147483646 h 19"/>
                  <a:gd name="T14" fmla="*/ 2147483646 w 38"/>
                  <a:gd name="T15" fmla="*/ 2147483646 h 19"/>
                  <a:gd name="T16" fmla="*/ 2147483646 w 38"/>
                  <a:gd name="T17" fmla="*/ 2147483646 h 19"/>
                  <a:gd name="T18" fmla="*/ 2147483646 w 38"/>
                  <a:gd name="T19" fmla="*/ 2147483646 h 19"/>
                  <a:gd name="T20" fmla="*/ 2147483646 w 38"/>
                  <a:gd name="T21" fmla="*/ 2147483646 h 19"/>
                  <a:gd name="T22" fmla="*/ 2147483646 w 38"/>
                  <a:gd name="T23" fmla="*/ 2147483646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8" h="19">
                    <a:moveTo>
                      <a:pt x="8" y="13"/>
                    </a:moveTo>
                    <a:cubicBezTo>
                      <a:pt x="3" y="11"/>
                      <a:pt x="1" y="6"/>
                      <a:pt x="0" y="0"/>
                    </a:cubicBezTo>
                    <a:cubicBezTo>
                      <a:pt x="7" y="2"/>
                      <a:pt x="13" y="5"/>
                      <a:pt x="19" y="11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6"/>
                      <a:pt x="33" y="7"/>
                      <a:pt x="36" y="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4" y="16"/>
                      <a:pt x="28" y="18"/>
                      <a:pt x="21" y="19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8" y="13"/>
                      <a:pt x="8" y="13"/>
                      <a:pt x="8" y="1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2" name="Freeform 268"/>
              <p:cNvSpPr>
                <a:spLocks noEditPoints="1"/>
              </p:cNvSpPr>
              <p:nvPr/>
            </p:nvSpPr>
            <p:spPr bwMode="auto">
              <a:xfrm rot="521357">
                <a:off x="4993080" y="1711202"/>
                <a:ext cx="130644" cy="162515"/>
              </a:xfrm>
              <a:custGeom>
                <a:avLst/>
                <a:gdLst>
                  <a:gd name="T0" fmla="*/ 2147483646 w 33"/>
                  <a:gd name="T1" fmla="*/ 2147483646 h 39"/>
                  <a:gd name="T2" fmla="*/ 2147483646 w 33"/>
                  <a:gd name="T3" fmla="*/ 2147483646 h 39"/>
                  <a:gd name="T4" fmla="*/ 0 w 33"/>
                  <a:gd name="T5" fmla="*/ 2147483646 h 39"/>
                  <a:gd name="T6" fmla="*/ 2147483646 w 33"/>
                  <a:gd name="T7" fmla="*/ 2147483646 h 39"/>
                  <a:gd name="T8" fmla="*/ 2147483646 w 33"/>
                  <a:gd name="T9" fmla="*/ 2147483646 h 39"/>
                  <a:gd name="T10" fmla="*/ 2147483646 w 33"/>
                  <a:gd name="T11" fmla="*/ 2147483646 h 39"/>
                  <a:gd name="T12" fmla="*/ 2147483646 w 33"/>
                  <a:gd name="T13" fmla="*/ 2147483646 h 39"/>
                  <a:gd name="T14" fmla="*/ 2147483646 w 33"/>
                  <a:gd name="T15" fmla="*/ 2147483646 h 39"/>
                  <a:gd name="T16" fmla="*/ 2147483646 w 33"/>
                  <a:gd name="T17" fmla="*/ 2147483646 h 39"/>
                  <a:gd name="T18" fmla="*/ 2147483646 w 33"/>
                  <a:gd name="T19" fmla="*/ 2147483646 h 39"/>
                  <a:gd name="T20" fmla="*/ 2147483646 w 33"/>
                  <a:gd name="T21" fmla="*/ 2147483646 h 39"/>
                  <a:gd name="T22" fmla="*/ 2147483646 w 33"/>
                  <a:gd name="T23" fmla="*/ 2147483646 h 39"/>
                  <a:gd name="T24" fmla="*/ 2147483646 w 33"/>
                  <a:gd name="T25" fmla="*/ 2147483646 h 39"/>
                  <a:gd name="T26" fmla="*/ 2147483646 w 33"/>
                  <a:gd name="T27" fmla="*/ 2147483646 h 39"/>
                  <a:gd name="T28" fmla="*/ 2147483646 w 33"/>
                  <a:gd name="T29" fmla="*/ 2147483646 h 39"/>
                  <a:gd name="T30" fmla="*/ 2147483646 w 33"/>
                  <a:gd name="T31" fmla="*/ 2147483646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3" h="39">
                    <a:moveTo>
                      <a:pt x="11" y="1"/>
                    </a:moveTo>
                    <a:cubicBezTo>
                      <a:pt x="7" y="2"/>
                      <a:pt x="5" y="6"/>
                      <a:pt x="3" y="1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5"/>
                      <a:pt x="3" y="30"/>
                      <a:pt x="9" y="35"/>
                    </a:cubicBezTo>
                    <a:cubicBezTo>
                      <a:pt x="10" y="35"/>
                      <a:pt x="11" y="35"/>
                      <a:pt x="12" y="35"/>
                    </a:cubicBezTo>
                    <a:cubicBezTo>
                      <a:pt x="14" y="35"/>
                      <a:pt x="16" y="36"/>
                      <a:pt x="18" y="39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4" y="24"/>
                      <a:pt x="16" y="17"/>
                      <a:pt x="21" y="11"/>
                    </a:cubicBezTo>
                    <a:cubicBezTo>
                      <a:pt x="26" y="12"/>
                      <a:pt x="30" y="11"/>
                      <a:pt x="33" y="9"/>
                    </a:cubicBezTo>
                    <a:cubicBezTo>
                      <a:pt x="27" y="3"/>
                      <a:pt x="20" y="0"/>
                      <a:pt x="11" y="1"/>
                    </a:cubicBezTo>
                    <a:close/>
                    <a:moveTo>
                      <a:pt x="11" y="3"/>
                    </a:moveTo>
                    <a:cubicBezTo>
                      <a:pt x="7" y="6"/>
                      <a:pt x="5" y="12"/>
                      <a:pt x="5" y="21"/>
                    </a:cubicBezTo>
                    <a:cubicBezTo>
                      <a:pt x="4" y="25"/>
                      <a:pt x="5" y="29"/>
                      <a:pt x="9" y="33"/>
                    </a:cubicBezTo>
                    <a:cubicBezTo>
                      <a:pt x="4" y="30"/>
                      <a:pt x="2" y="26"/>
                      <a:pt x="2" y="21"/>
                    </a:cubicBezTo>
                    <a:cubicBezTo>
                      <a:pt x="3" y="11"/>
                      <a:pt x="6" y="5"/>
                      <a:pt x="11" y="3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3" name="Freeform 269"/>
              <p:cNvSpPr/>
              <p:nvPr/>
            </p:nvSpPr>
            <p:spPr bwMode="auto">
              <a:xfrm rot="521357">
                <a:off x="5001259" y="1717614"/>
                <a:ext cx="37326" cy="125421"/>
              </a:xfrm>
              <a:custGeom>
                <a:avLst/>
                <a:gdLst>
                  <a:gd name="T0" fmla="*/ 2147483646 w 9"/>
                  <a:gd name="T1" fmla="*/ 2147483646 h 30"/>
                  <a:gd name="T2" fmla="*/ 2147483646 w 9"/>
                  <a:gd name="T3" fmla="*/ 0 h 30"/>
                  <a:gd name="T4" fmla="*/ 0 w 9"/>
                  <a:gd name="T5" fmla="*/ 2147483646 h 30"/>
                  <a:gd name="T6" fmla="*/ 2147483646 w 9"/>
                  <a:gd name="T7" fmla="*/ 2147483646 h 30"/>
                  <a:gd name="T8" fmla="*/ 2147483646 w 9"/>
                  <a:gd name="T9" fmla="*/ 2147483646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30">
                    <a:moveTo>
                      <a:pt x="3" y="18"/>
                    </a:moveTo>
                    <a:cubicBezTo>
                      <a:pt x="3" y="9"/>
                      <a:pt x="5" y="3"/>
                      <a:pt x="9" y="0"/>
                    </a:cubicBezTo>
                    <a:cubicBezTo>
                      <a:pt x="4" y="2"/>
                      <a:pt x="1" y="8"/>
                      <a:pt x="0" y="18"/>
                    </a:cubicBezTo>
                    <a:cubicBezTo>
                      <a:pt x="0" y="23"/>
                      <a:pt x="2" y="27"/>
                      <a:pt x="7" y="30"/>
                    </a:cubicBezTo>
                    <a:cubicBezTo>
                      <a:pt x="3" y="26"/>
                      <a:pt x="2" y="22"/>
                      <a:pt x="3" y="18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4" name="Freeform 270"/>
              <p:cNvSpPr/>
              <p:nvPr/>
            </p:nvSpPr>
            <p:spPr bwMode="auto">
              <a:xfrm rot="521357">
                <a:off x="5031740" y="1785261"/>
                <a:ext cx="135734" cy="137785"/>
              </a:xfrm>
              <a:custGeom>
                <a:avLst/>
                <a:gdLst>
                  <a:gd name="T0" fmla="*/ 2147483646 w 34"/>
                  <a:gd name="T1" fmla="*/ 2147483646 h 33"/>
                  <a:gd name="T2" fmla="*/ 0 w 34"/>
                  <a:gd name="T3" fmla="*/ 2147483646 h 33"/>
                  <a:gd name="T4" fmla="*/ 2147483646 w 34"/>
                  <a:gd name="T5" fmla="*/ 2147483646 h 33"/>
                  <a:gd name="T6" fmla="*/ 2147483646 w 34"/>
                  <a:gd name="T7" fmla="*/ 2147483646 h 33"/>
                  <a:gd name="T8" fmla="*/ 2147483646 w 34"/>
                  <a:gd name="T9" fmla="*/ 2147483646 h 33"/>
                  <a:gd name="T10" fmla="*/ 2147483646 w 34"/>
                  <a:gd name="T11" fmla="*/ 2147483646 h 33"/>
                  <a:gd name="T12" fmla="*/ 2147483646 w 34"/>
                  <a:gd name="T13" fmla="*/ 2147483646 h 33"/>
                  <a:gd name="T14" fmla="*/ 2147483646 w 34"/>
                  <a:gd name="T15" fmla="*/ 2147483646 h 33"/>
                  <a:gd name="T16" fmla="*/ 2147483646 w 34"/>
                  <a:gd name="T17" fmla="*/ 2147483646 h 33"/>
                  <a:gd name="T18" fmla="*/ 2147483646 w 34"/>
                  <a:gd name="T19" fmla="*/ 2147483646 h 33"/>
                  <a:gd name="T20" fmla="*/ 2147483646 w 34"/>
                  <a:gd name="T21" fmla="*/ 2147483646 h 33"/>
                  <a:gd name="T22" fmla="*/ 2147483646 w 34"/>
                  <a:gd name="T23" fmla="*/ 0 h 33"/>
                  <a:gd name="T24" fmla="*/ 2147483646 w 34"/>
                  <a:gd name="T25" fmla="*/ 2147483646 h 33"/>
                  <a:gd name="T26" fmla="*/ 2147483646 w 34"/>
                  <a:gd name="T27" fmla="*/ 2147483646 h 33"/>
                  <a:gd name="T28" fmla="*/ 2147483646 w 34"/>
                  <a:gd name="T29" fmla="*/ 2147483646 h 33"/>
                  <a:gd name="T30" fmla="*/ 2147483646 w 34"/>
                  <a:gd name="T31" fmla="*/ 2147483646 h 33"/>
                  <a:gd name="T32" fmla="*/ 2147483646 w 34"/>
                  <a:gd name="T33" fmla="*/ 2147483646 h 33"/>
                  <a:gd name="T34" fmla="*/ 2147483646 w 34"/>
                  <a:gd name="T35" fmla="*/ 2147483646 h 33"/>
                  <a:gd name="T36" fmla="*/ 2147483646 w 34"/>
                  <a:gd name="T37" fmla="*/ 2147483646 h 3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33">
                    <a:moveTo>
                      <a:pt x="6" y="23"/>
                    </a:moveTo>
                    <a:cubicBezTo>
                      <a:pt x="4" y="20"/>
                      <a:pt x="2" y="19"/>
                      <a:pt x="0" y="19"/>
                    </a:cubicBezTo>
                    <a:cubicBezTo>
                      <a:pt x="0" y="22"/>
                      <a:pt x="2" y="24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2" y="30"/>
                      <a:pt x="13" y="31"/>
                      <a:pt x="14" y="31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4" y="30"/>
                      <a:pt x="17" y="31"/>
                      <a:pt x="19" y="32"/>
                    </a:cubicBezTo>
                    <a:cubicBezTo>
                      <a:pt x="25" y="33"/>
                      <a:pt x="30" y="31"/>
                      <a:pt x="32" y="26"/>
                    </a:cubicBezTo>
                    <a:cubicBezTo>
                      <a:pt x="34" y="22"/>
                      <a:pt x="33" y="18"/>
                      <a:pt x="31" y="14"/>
                    </a:cubicBezTo>
                    <a:cubicBezTo>
                      <a:pt x="28" y="11"/>
                      <a:pt x="27" y="8"/>
                      <a:pt x="28" y="4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3" y="2"/>
                      <a:pt x="10" y="4"/>
                      <a:pt x="8" y="7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5" name="Freeform 271"/>
              <p:cNvSpPr/>
              <p:nvPr/>
            </p:nvSpPr>
            <p:spPr bwMode="auto">
              <a:xfrm rot="521357">
                <a:off x="5037092" y="1712559"/>
                <a:ext cx="106891" cy="166049"/>
              </a:xfrm>
              <a:custGeom>
                <a:avLst/>
                <a:gdLst>
                  <a:gd name="T0" fmla="*/ 2147483646 w 27"/>
                  <a:gd name="T1" fmla="*/ 2147483646 h 40"/>
                  <a:gd name="T2" fmla="*/ 2147483646 w 27"/>
                  <a:gd name="T3" fmla="*/ 2147483646 h 40"/>
                  <a:gd name="T4" fmla="*/ 2147483646 w 27"/>
                  <a:gd name="T5" fmla="*/ 2147483646 h 40"/>
                  <a:gd name="T6" fmla="*/ 2147483646 w 27"/>
                  <a:gd name="T7" fmla="*/ 2147483646 h 40"/>
                  <a:gd name="T8" fmla="*/ 2147483646 w 27"/>
                  <a:gd name="T9" fmla="*/ 2147483646 h 40"/>
                  <a:gd name="T10" fmla="*/ 2147483646 w 27"/>
                  <a:gd name="T11" fmla="*/ 2147483646 h 40"/>
                  <a:gd name="T12" fmla="*/ 2147483646 w 27"/>
                  <a:gd name="T13" fmla="*/ 2147483646 h 40"/>
                  <a:gd name="T14" fmla="*/ 2147483646 w 27"/>
                  <a:gd name="T15" fmla="*/ 2147483646 h 40"/>
                  <a:gd name="T16" fmla="*/ 2147483646 w 27"/>
                  <a:gd name="T17" fmla="*/ 2147483646 h 40"/>
                  <a:gd name="T18" fmla="*/ 0 w 27"/>
                  <a:gd name="T19" fmla="*/ 2147483646 h 40"/>
                  <a:gd name="T20" fmla="*/ 2147483646 w 27"/>
                  <a:gd name="T21" fmla="*/ 2147483646 h 40"/>
                  <a:gd name="T22" fmla="*/ 2147483646 w 27"/>
                  <a:gd name="T23" fmla="*/ 2147483646 h 40"/>
                  <a:gd name="T24" fmla="*/ 2147483646 w 27"/>
                  <a:gd name="T25" fmla="*/ 2147483646 h 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" h="40">
                    <a:moveTo>
                      <a:pt x="3" y="32"/>
                    </a:moveTo>
                    <a:cubicBezTo>
                      <a:pt x="7" y="40"/>
                      <a:pt x="7" y="40"/>
                      <a:pt x="7" y="40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3"/>
                      <a:pt x="8" y="20"/>
                      <a:pt x="13" y="17"/>
                    </a:cubicBezTo>
                    <a:cubicBezTo>
                      <a:pt x="18" y="17"/>
                      <a:pt x="22" y="16"/>
                      <a:pt x="26" y="13"/>
                    </a:cubicBezTo>
                    <a:cubicBezTo>
                      <a:pt x="26" y="13"/>
                      <a:pt x="27" y="12"/>
                      <a:pt x="27" y="12"/>
                    </a:cubicBezTo>
                    <a:cubicBezTo>
                      <a:pt x="24" y="7"/>
                      <a:pt x="20" y="3"/>
                      <a:pt x="13" y="1"/>
                    </a:cubicBezTo>
                    <a:cubicBezTo>
                      <a:pt x="8" y="0"/>
                      <a:pt x="4" y="0"/>
                      <a:pt x="0" y="2"/>
                    </a:cubicBezTo>
                    <a:cubicBezTo>
                      <a:pt x="9" y="1"/>
                      <a:pt x="16" y="4"/>
                      <a:pt x="22" y="10"/>
                    </a:cubicBezTo>
                    <a:cubicBezTo>
                      <a:pt x="19" y="12"/>
                      <a:pt x="15" y="13"/>
                      <a:pt x="10" y="12"/>
                    </a:cubicBezTo>
                    <a:cubicBezTo>
                      <a:pt x="5" y="18"/>
                      <a:pt x="3" y="25"/>
                      <a:pt x="3" y="3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6" name="Freeform 272"/>
              <p:cNvSpPr/>
              <p:nvPr/>
            </p:nvSpPr>
            <p:spPr bwMode="auto">
              <a:xfrm rot="521357">
                <a:off x="5047941" y="1769472"/>
                <a:ext cx="128947" cy="158982"/>
              </a:xfrm>
              <a:custGeom>
                <a:avLst/>
                <a:gdLst>
                  <a:gd name="T0" fmla="*/ 0 w 32"/>
                  <a:gd name="T1" fmla="*/ 2147483646 h 38"/>
                  <a:gd name="T2" fmla="*/ 2147483646 w 32"/>
                  <a:gd name="T3" fmla="*/ 2147483646 h 38"/>
                  <a:gd name="T4" fmla="*/ 2147483646 w 32"/>
                  <a:gd name="T5" fmla="*/ 2147483646 h 38"/>
                  <a:gd name="T6" fmla="*/ 2147483646 w 32"/>
                  <a:gd name="T7" fmla="*/ 2147483646 h 38"/>
                  <a:gd name="T8" fmla="*/ 2147483646 w 32"/>
                  <a:gd name="T9" fmla="*/ 2147483646 h 38"/>
                  <a:gd name="T10" fmla="*/ 2147483646 w 32"/>
                  <a:gd name="T11" fmla="*/ 2147483646 h 38"/>
                  <a:gd name="T12" fmla="*/ 2147483646 w 32"/>
                  <a:gd name="T13" fmla="*/ 2147483646 h 38"/>
                  <a:gd name="T14" fmla="*/ 2147483646 w 32"/>
                  <a:gd name="T15" fmla="*/ 2147483646 h 38"/>
                  <a:gd name="T16" fmla="*/ 2147483646 w 32"/>
                  <a:gd name="T17" fmla="*/ 2147483646 h 38"/>
                  <a:gd name="T18" fmla="*/ 2147483646 w 32"/>
                  <a:gd name="T19" fmla="*/ 2147483646 h 38"/>
                  <a:gd name="T20" fmla="*/ 2147483646 w 32"/>
                  <a:gd name="T21" fmla="*/ 2147483646 h 38"/>
                  <a:gd name="T22" fmla="*/ 2147483646 w 32"/>
                  <a:gd name="T23" fmla="*/ 2147483646 h 38"/>
                  <a:gd name="T24" fmla="*/ 2147483646 w 32"/>
                  <a:gd name="T25" fmla="*/ 2147483646 h 38"/>
                  <a:gd name="T26" fmla="*/ 2147483646 w 32"/>
                  <a:gd name="T27" fmla="*/ 2147483646 h 38"/>
                  <a:gd name="T28" fmla="*/ 2147483646 w 32"/>
                  <a:gd name="T29" fmla="*/ 2147483646 h 38"/>
                  <a:gd name="T30" fmla="*/ 2147483646 w 32"/>
                  <a:gd name="T31" fmla="*/ 2147483646 h 38"/>
                  <a:gd name="T32" fmla="*/ 2147483646 w 32"/>
                  <a:gd name="T33" fmla="*/ 2147483646 h 38"/>
                  <a:gd name="T34" fmla="*/ 2147483646 w 32"/>
                  <a:gd name="T35" fmla="*/ 2147483646 h 38"/>
                  <a:gd name="T36" fmla="*/ 2147483646 w 32"/>
                  <a:gd name="T37" fmla="*/ 2147483646 h 38"/>
                  <a:gd name="T38" fmla="*/ 2147483646 w 32"/>
                  <a:gd name="T39" fmla="*/ 2147483646 h 38"/>
                  <a:gd name="T40" fmla="*/ 2147483646 w 32"/>
                  <a:gd name="T41" fmla="*/ 2147483646 h 38"/>
                  <a:gd name="T42" fmla="*/ 2147483646 w 32"/>
                  <a:gd name="T43" fmla="*/ 2147483646 h 38"/>
                  <a:gd name="T44" fmla="*/ 2147483646 w 32"/>
                  <a:gd name="T45" fmla="*/ 2147483646 h 38"/>
                  <a:gd name="T46" fmla="*/ 2147483646 w 32"/>
                  <a:gd name="T47" fmla="*/ 2147483646 h 38"/>
                  <a:gd name="T48" fmla="*/ 2147483646 w 32"/>
                  <a:gd name="T49" fmla="*/ 2147483646 h 38"/>
                  <a:gd name="T50" fmla="*/ 2147483646 w 32"/>
                  <a:gd name="T51" fmla="*/ 0 h 38"/>
                  <a:gd name="T52" fmla="*/ 2147483646 w 32"/>
                  <a:gd name="T53" fmla="*/ 2147483646 h 38"/>
                  <a:gd name="T54" fmla="*/ 2147483646 w 32"/>
                  <a:gd name="T55" fmla="*/ 2147483646 h 38"/>
                  <a:gd name="T56" fmla="*/ 0 w 32"/>
                  <a:gd name="T57" fmla="*/ 2147483646 h 3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2" h="38">
                    <a:moveTo>
                      <a:pt x="0" y="19"/>
                    </a:moveTo>
                    <a:cubicBezTo>
                      <a:pt x="3" y="26"/>
                      <a:pt x="3" y="26"/>
                      <a:pt x="3" y="26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6" y="8"/>
                      <a:pt x="9" y="6"/>
                      <a:pt x="1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3" y="12"/>
                      <a:pt x="24" y="15"/>
                      <a:pt x="27" y="18"/>
                    </a:cubicBezTo>
                    <a:cubicBezTo>
                      <a:pt x="29" y="22"/>
                      <a:pt x="30" y="26"/>
                      <a:pt x="28" y="30"/>
                    </a:cubicBezTo>
                    <a:cubicBezTo>
                      <a:pt x="26" y="35"/>
                      <a:pt x="21" y="37"/>
                      <a:pt x="15" y="36"/>
                    </a:cubicBezTo>
                    <a:cubicBezTo>
                      <a:pt x="13" y="35"/>
                      <a:pt x="10" y="34"/>
                      <a:pt x="8" y="31"/>
                    </a:cubicBezTo>
                    <a:cubicBezTo>
                      <a:pt x="10" y="35"/>
                      <a:pt x="10" y="35"/>
                      <a:pt x="10" y="35"/>
                    </a:cubicBezTo>
                    <a:cubicBezTo>
                      <a:pt x="12" y="36"/>
                      <a:pt x="15" y="37"/>
                      <a:pt x="18" y="37"/>
                    </a:cubicBezTo>
                    <a:cubicBezTo>
                      <a:pt x="18" y="38"/>
                      <a:pt x="18" y="38"/>
                      <a:pt x="19" y="38"/>
                    </a:cubicBezTo>
                    <a:cubicBezTo>
                      <a:pt x="20" y="38"/>
                      <a:pt x="21" y="38"/>
                      <a:pt x="23" y="38"/>
                    </a:cubicBezTo>
                    <a:cubicBezTo>
                      <a:pt x="23" y="38"/>
                      <a:pt x="24" y="38"/>
                      <a:pt x="25" y="37"/>
                    </a:cubicBezTo>
                    <a:cubicBezTo>
                      <a:pt x="25" y="37"/>
                      <a:pt x="26" y="37"/>
                      <a:pt x="26" y="37"/>
                    </a:cubicBezTo>
                    <a:cubicBezTo>
                      <a:pt x="27" y="36"/>
                      <a:pt x="28" y="36"/>
                      <a:pt x="29" y="35"/>
                    </a:cubicBezTo>
                    <a:cubicBezTo>
                      <a:pt x="30" y="34"/>
                      <a:pt x="31" y="33"/>
                      <a:pt x="31" y="32"/>
                    </a:cubicBezTo>
                    <a:cubicBezTo>
                      <a:pt x="32" y="30"/>
                      <a:pt x="32" y="29"/>
                      <a:pt x="32" y="27"/>
                    </a:cubicBezTo>
                    <a:cubicBezTo>
                      <a:pt x="32" y="26"/>
                      <a:pt x="32" y="26"/>
                      <a:pt x="32" y="25"/>
                    </a:cubicBezTo>
                    <a:cubicBezTo>
                      <a:pt x="32" y="23"/>
                      <a:pt x="31" y="20"/>
                      <a:pt x="30" y="18"/>
                    </a:cubicBezTo>
                    <a:cubicBezTo>
                      <a:pt x="29" y="17"/>
                      <a:pt x="29" y="16"/>
                      <a:pt x="28" y="15"/>
                    </a:cubicBezTo>
                    <a:cubicBezTo>
                      <a:pt x="26" y="13"/>
                      <a:pt x="25" y="11"/>
                      <a:pt x="25" y="8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3"/>
                      <a:pt x="13" y="4"/>
                      <a:pt x="8" y="4"/>
                    </a:cubicBezTo>
                    <a:cubicBezTo>
                      <a:pt x="3" y="7"/>
                      <a:pt x="1" y="10"/>
                      <a:pt x="1" y="13"/>
                    </a:cubicBezTo>
                    <a:cubicBezTo>
                      <a:pt x="0" y="19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7" name="Freeform 273"/>
              <p:cNvSpPr>
                <a:spLocks noEditPoints="1"/>
              </p:cNvSpPr>
              <p:nvPr/>
            </p:nvSpPr>
            <p:spPr bwMode="auto">
              <a:xfrm rot="521357">
                <a:off x="5155790" y="1859572"/>
                <a:ext cx="412293" cy="183713"/>
              </a:xfrm>
              <a:custGeom>
                <a:avLst/>
                <a:gdLst>
                  <a:gd name="T0" fmla="*/ 2147483646 w 103"/>
                  <a:gd name="T1" fmla="*/ 2147483646 h 44"/>
                  <a:gd name="T2" fmla="*/ 2147483646 w 103"/>
                  <a:gd name="T3" fmla="*/ 2147483646 h 44"/>
                  <a:gd name="T4" fmla="*/ 0 w 103"/>
                  <a:gd name="T5" fmla="*/ 2147483646 h 44"/>
                  <a:gd name="T6" fmla="*/ 2147483646 w 103"/>
                  <a:gd name="T7" fmla="*/ 2147483646 h 44"/>
                  <a:gd name="T8" fmla="*/ 2147483646 w 103"/>
                  <a:gd name="T9" fmla="*/ 2147483646 h 44"/>
                  <a:gd name="T10" fmla="*/ 2147483646 w 103"/>
                  <a:gd name="T11" fmla="*/ 2147483646 h 44"/>
                  <a:gd name="T12" fmla="*/ 2147483646 w 103"/>
                  <a:gd name="T13" fmla="*/ 2147483646 h 44"/>
                  <a:gd name="T14" fmla="*/ 2147483646 w 103"/>
                  <a:gd name="T15" fmla="*/ 2147483646 h 44"/>
                  <a:gd name="T16" fmla="*/ 2147483646 w 103"/>
                  <a:gd name="T17" fmla="*/ 2147483646 h 44"/>
                  <a:gd name="T18" fmla="*/ 2147483646 w 103"/>
                  <a:gd name="T19" fmla="*/ 2147483646 h 44"/>
                  <a:gd name="T20" fmla="*/ 2147483646 w 103"/>
                  <a:gd name="T21" fmla="*/ 2147483646 h 44"/>
                  <a:gd name="T22" fmla="*/ 2147483646 w 103"/>
                  <a:gd name="T23" fmla="*/ 2147483646 h 44"/>
                  <a:gd name="T24" fmla="*/ 2147483646 w 103"/>
                  <a:gd name="T25" fmla="*/ 2147483646 h 44"/>
                  <a:gd name="T26" fmla="*/ 2147483646 w 103"/>
                  <a:gd name="T27" fmla="*/ 2147483646 h 44"/>
                  <a:gd name="T28" fmla="*/ 2147483646 w 103"/>
                  <a:gd name="T29" fmla="*/ 2147483646 h 44"/>
                  <a:gd name="T30" fmla="*/ 2147483646 w 103"/>
                  <a:gd name="T31" fmla="*/ 2147483646 h 44"/>
                  <a:gd name="T32" fmla="*/ 2147483646 w 103"/>
                  <a:gd name="T33" fmla="*/ 2147483646 h 44"/>
                  <a:gd name="T34" fmla="*/ 2147483646 w 103"/>
                  <a:gd name="T35" fmla="*/ 2147483646 h 44"/>
                  <a:gd name="T36" fmla="*/ 2147483646 w 103"/>
                  <a:gd name="T37" fmla="*/ 2147483646 h 44"/>
                  <a:gd name="T38" fmla="*/ 2147483646 w 103"/>
                  <a:gd name="T39" fmla="*/ 2147483646 h 44"/>
                  <a:gd name="T40" fmla="*/ 2147483646 w 103"/>
                  <a:gd name="T41" fmla="*/ 2147483646 h 44"/>
                  <a:gd name="T42" fmla="*/ 2147483646 w 103"/>
                  <a:gd name="T43" fmla="*/ 2147483646 h 44"/>
                  <a:gd name="T44" fmla="*/ 2147483646 w 103"/>
                  <a:gd name="T45" fmla="*/ 2147483646 h 44"/>
                  <a:gd name="T46" fmla="*/ 2147483646 w 103"/>
                  <a:gd name="T47" fmla="*/ 2147483646 h 44"/>
                  <a:gd name="T48" fmla="*/ 2147483646 w 103"/>
                  <a:gd name="T49" fmla="*/ 2147483646 h 44"/>
                  <a:gd name="T50" fmla="*/ 2147483646 w 103"/>
                  <a:gd name="T51" fmla="*/ 2147483646 h 44"/>
                  <a:gd name="T52" fmla="*/ 2147483646 w 103"/>
                  <a:gd name="T53" fmla="*/ 2147483646 h 44"/>
                  <a:gd name="T54" fmla="*/ 2147483646 w 103"/>
                  <a:gd name="T55" fmla="*/ 2147483646 h 4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03" h="44">
                    <a:moveTo>
                      <a:pt x="30" y="10"/>
                    </a:moveTo>
                    <a:cubicBezTo>
                      <a:pt x="27" y="3"/>
                      <a:pt x="23" y="0"/>
                      <a:pt x="18" y="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8"/>
                      <a:pt x="2" y="11"/>
                      <a:pt x="2" y="13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9" y="27"/>
                      <a:pt x="22" y="35"/>
                      <a:pt x="24" y="44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103" y="13"/>
                      <a:pt x="103" y="13"/>
                      <a:pt x="103" y="13"/>
                    </a:cubicBezTo>
                    <a:cubicBezTo>
                      <a:pt x="103" y="10"/>
                      <a:pt x="103" y="10"/>
                      <a:pt x="103" y="10"/>
                    </a:cubicBezTo>
                    <a:cubicBezTo>
                      <a:pt x="103" y="2"/>
                      <a:pt x="103" y="2"/>
                      <a:pt x="103" y="2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65" y="12"/>
                      <a:pt x="60" y="12"/>
                      <a:pt x="53" y="14"/>
                    </a:cubicBezTo>
                    <a:cubicBezTo>
                      <a:pt x="30" y="10"/>
                      <a:pt x="30" y="10"/>
                      <a:pt x="30" y="10"/>
                    </a:cubicBezTo>
                    <a:close/>
                    <a:moveTo>
                      <a:pt x="28" y="11"/>
                    </a:moveTo>
                    <a:cubicBezTo>
                      <a:pt x="29" y="12"/>
                      <a:pt x="29" y="12"/>
                      <a:pt x="29" y="12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59" y="14"/>
                      <a:pt x="64" y="14"/>
                      <a:pt x="68" y="15"/>
                    </a:cubicBezTo>
                    <a:cubicBezTo>
                      <a:pt x="101" y="4"/>
                      <a:pt x="101" y="4"/>
                      <a:pt x="101" y="4"/>
                    </a:cubicBezTo>
                    <a:cubicBezTo>
                      <a:pt x="101" y="8"/>
                      <a:pt x="101" y="8"/>
                      <a:pt x="101" y="8"/>
                    </a:cubicBezTo>
                    <a:cubicBezTo>
                      <a:pt x="68" y="17"/>
                      <a:pt x="68" y="17"/>
                      <a:pt x="68" y="17"/>
                    </a:cubicBezTo>
                    <a:cubicBezTo>
                      <a:pt x="64" y="17"/>
                      <a:pt x="59" y="17"/>
                      <a:pt x="53" y="19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4" y="7"/>
                      <a:pt x="15" y="5"/>
                      <a:pt x="3" y="9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6" y="1"/>
                      <a:pt x="25" y="3"/>
                      <a:pt x="28" y="11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8" name="Freeform 274"/>
              <p:cNvSpPr/>
              <p:nvPr/>
            </p:nvSpPr>
            <p:spPr bwMode="auto">
              <a:xfrm rot="521357">
                <a:off x="5172001" y="1863821"/>
                <a:ext cx="397022" cy="74192"/>
              </a:xfrm>
              <a:custGeom>
                <a:avLst/>
                <a:gdLst>
                  <a:gd name="T0" fmla="*/ 2147483646 w 99"/>
                  <a:gd name="T1" fmla="*/ 2147483646 h 18"/>
                  <a:gd name="T2" fmla="*/ 2147483646 w 99"/>
                  <a:gd name="T3" fmla="*/ 2147483646 h 18"/>
                  <a:gd name="T4" fmla="*/ 0 w 99"/>
                  <a:gd name="T5" fmla="*/ 2147483646 h 18"/>
                  <a:gd name="T6" fmla="*/ 2147483646 w 99"/>
                  <a:gd name="T7" fmla="*/ 2147483646 h 18"/>
                  <a:gd name="T8" fmla="*/ 2147483646 w 99"/>
                  <a:gd name="T9" fmla="*/ 2147483646 h 18"/>
                  <a:gd name="T10" fmla="*/ 2147483646 w 99"/>
                  <a:gd name="T11" fmla="*/ 2147483646 h 18"/>
                  <a:gd name="T12" fmla="*/ 2147483646 w 99"/>
                  <a:gd name="T13" fmla="*/ 2147483646 h 18"/>
                  <a:gd name="T14" fmla="*/ 2147483646 w 99"/>
                  <a:gd name="T15" fmla="*/ 2147483646 h 18"/>
                  <a:gd name="T16" fmla="*/ 2147483646 w 99"/>
                  <a:gd name="T17" fmla="*/ 2147483646 h 18"/>
                  <a:gd name="T18" fmla="*/ 2147483646 w 99"/>
                  <a:gd name="T19" fmla="*/ 2147483646 h 18"/>
                  <a:gd name="T20" fmla="*/ 2147483646 w 99"/>
                  <a:gd name="T21" fmla="*/ 2147483646 h 18"/>
                  <a:gd name="T22" fmla="*/ 2147483646 w 99"/>
                  <a:gd name="T23" fmla="*/ 2147483646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99" h="18">
                    <a:moveTo>
                      <a:pt x="27" y="11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3" y="2"/>
                      <a:pt x="14" y="0"/>
                      <a:pt x="0" y="6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3" y="4"/>
                      <a:pt x="22" y="6"/>
                      <a:pt x="26" y="1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57" y="16"/>
                      <a:pt x="62" y="16"/>
                      <a:pt x="66" y="16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2" y="13"/>
                      <a:pt x="57" y="13"/>
                      <a:pt x="51" y="15"/>
                    </a:cubicBezTo>
                    <a:cubicBezTo>
                      <a:pt x="27" y="11"/>
                      <a:pt x="27" y="11"/>
                      <a:pt x="27" y="11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9" name="Freeform 275"/>
              <p:cNvSpPr/>
              <p:nvPr/>
            </p:nvSpPr>
            <p:spPr bwMode="auto">
              <a:xfrm rot="521357">
                <a:off x="5126512" y="1927473"/>
                <a:ext cx="100105" cy="137785"/>
              </a:xfrm>
              <a:custGeom>
                <a:avLst/>
                <a:gdLst>
                  <a:gd name="T0" fmla="*/ 2147483646 w 25"/>
                  <a:gd name="T1" fmla="*/ 2147483646 h 33"/>
                  <a:gd name="T2" fmla="*/ 0 w 25"/>
                  <a:gd name="T3" fmla="*/ 2147483646 h 33"/>
                  <a:gd name="T4" fmla="*/ 2147483646 w 25"/>
                  <a:gd name="T5" fmla="*/ 2147483646 h 33"/>
                  <a:gd name="T6" fmla="*/ 2147483646 w 25"/>
                  <a:gd name="T7" fmla="*/ 2147483646 h 33"/>
                  <a:gd name="T8" fmla="*/ 2147483646 w 25"/>
                  <a:gd name="T9" fmla="*/ 2147483646 h 33"/>
                  <a:gd name="T10" fmla="*/ 2147483646 w 25"/>
                  <a:gd name="T11" fmla="*/ 2147483646 h 33"/>
                  <a:gd name="T12" fmla="*/ 2147483646 w 25"/>
                  <a:gd name="T13" fmla="*/ 2147483646 h 33"/>
                  <a:gd name="T14" fmla="*/ 2147483646 w 25"/>
                  <a:gd name="T15" fmla="*/ 2147483646 h 33"/>
                  <a:gd name="T16" fmla="*/ 2147483646 w 25"/>
                  <a:gd name="T17" fmla="*/ 2147483646 h 33"/>
                  <a:gd name="T18" fmla="*/ 2147483646 w 25"/>
                  <a:gd name="T19" fmla="*/ 2147483646 h 33"/>
                  <a:gd name="T20" fmla="*/ 2147483646 w 25"/>
                  <a:gd name="T21" fmla="*/ 2147483646 h 33"/>
                  <a:gd name="T22" fmla="*/ 2147483646 w 25"/>
                  <a:gd name="T23" fmla="*/ 2147483646 h 33"/>
                  <a:gd name="T24" fmla="*/ 2147483646 w 25"/>
                  <a:gd name="T25" fmla="*/ 0 h 33"/>
                  <a:gd name="T26" fmla="*/ 2147483646 w 25"/>
                  <a:gd name="T27" fmla="*/ 2147483646 h 3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5" h="33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5" y="28"/>
                      <a:pt x="25" y="28"/>
                      <a:pt x="24" y="24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rgbClr val="7F19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0" name="Freeform 276"/>
              <p:cNvSpPr/>
              <p:nvPr/>
            </p:nvSpPr>
            <p:spPr bwMode="auto">
              <a:xfrm rot="521357">
                <a:off x="5169628" y="1913618"/>
                <a:ext cx="391933" cy="162515"/>
              </a:xfrm>
              <a:custGeom>
                <a:avLst/>
                <a:gdLst>
                  <a:gd name="T0" fmla="*/ 2147483646 w 98"/>
                  <a:gd name="T1" fmla="*/ 2147483646 h 39"/>
                  <a:gd name="T2" fmla="*/ 0 w 98"/>
                  <a:gd name="T3" fmla="*/ 2147483646 h 39"/>
                  <a:gd name="T4" fmla="*/ 2147483646 w 98"/>
                  <a:gd name="T5" fmla="*/ 2147483646 h 39"/>
                  <a:gd name="T6" fmla="*/ 2147483646 w 98"/>
                  <a:gd name="T7" fmla="*/ 2147483646 h 39"/>
                  <a:gd name="T8" fmla="*/ 2147483646 w 98"/>
                  <a:gd name="T9" fmla="*/ 2147483646 h 39"/>
                  <a:gd name="T10" fmla="*/ 2147483646 w 98"/>
                  <a:gd name="T11" fmla="*/ 2147483646 h 39"/>
                  <a:gd name="T12" fmla="*/ 2147483646 w 98"/>
                  <a:gd name="T13" fmla="*/ 2147483646 h 39"/>
                  <a:gd name="T14" fmla="*/ 2147483646 w 98"/>
                  <a:gd name="T15" fmla="*/ 2147483646 h 39"/>
                  <a:gd name="T16" fmla="*/ 2147483646 w 98"/>
                  <a:gd name="T17" fmla="*/ 2147483646 h 39"/>
                  <a:gd name="T18" fmla="*/ 2147483646 w 98"/>
                  <a:gd name="T19" fmla="*/ 2147483646 h 39"/>
                  <a:gd name="T20" fmla="*/ 2147483646 w 98"/>
                  <a:gd name="T21" fmla="*/ 0 h 39"/>
                  <a:gd name="T22" fmla="*/ 2147483646 w 98"/>
                  <a:gd name="T23" fmla="*/ 2147483646 h 39"/>
                  <a:gd name="T24" fmla="*/ 2147483646 w 98"/>
                  <a:gd name="T25" fmla="*/ 2147483646 h 39"/>
                  <a:gd name="T26" fmla="*/ 2147483646 w 98"/>
                  <a:gd name="T27" fmla="*/ 2147483646 h 39"/>
                  <a:gd name="T28" fmla="*/ 2147483646 w 98"/>
                  <a:gd name="T29" fmla="*/ 2147483646 h 39"/>
                  <a:gd name="T30" fmla="*/ 2147483646 w 98"/>
                  <a:gd name="T31" fmla="*/ 2147483646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98" h="39">
                    <a:moveTo>
                      <a:pt x="3" y="6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12" y="19"/>
                      <a:pt x="15" y="26"/>
                      <a:pt x="15" y="33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22"/>
                      <a:pt x="51" y="20"/>
                      <a:pt x="52" y="22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7" y="22"/>
                      <a:pt x="14" y="14"/>
                      <a:pt x="8" y="9"/>
                    </a:cubicBezTo>
                    <a:cubicBezTo>
                      <a:pt x="3" y="6"/>
                      <a:pt x="3" y="6"/>
                      <a:pt x="3" y="6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1" name="Freeform 277"/>
              <p:cNvSpPr/>
              <p:nvPr/>
            </p:nvSpPr>
            <p:spPr bwMode="auto">
              <a:xfrm rot="521357">
                <a:off x="5157153" y="1896237"/>
                <a:ext cx="74654" cy="134252"/>
              </a:xfrm>
              <a:custGeom>
                <a:avLst/>
                <a:gdLst>
                  <a:gd name="T0" fmla="*/ 2147483646 w 19"/>
                  <a:gd name="T1" fmla="*/ 2147483646 h 32"/>
                  <a:gd name="T2" fmla="*/ 2147483646 w 19"/>
                  <a:gd name="T3" fmla="*/ 2147483646 h 32"/>
                  <a:gd name="T4" fmla="*/ 2147483646 w 19"/>
                  <a:gd name="T5" fmla="*/ 0 h 32"/>
                  <a:gd name="T6" fmla="*/ 0 w 19"/>
                  <a:gd name="T7" fmla="*/ 2147483646 h 32"/>
                  <a:gd name="T8" fmla="*/ 2147483646 w 19"/>
                  <a:gd name="T9" fmla="*/ 2147483646 h 32"/>
                  <a:gd name="T10" fmla="*/ 2147483646 w 19"/>
                  <a:gd name="T11" fmla="*/ 2147483646 h 32"/>
                  <a:gd name="T12" fmla="*/ 2147483646 w 19"/>
                  <a:gd name="T13" fmla="*/ 2147483646 h 32"/>
                  <a:gd name="T14" fmla="*/ 2147483646 w 19"/>
                  <a:gd name="T15" fmla="*/ 2147483646 h 32"/>
                  <a:gd name="T16" fmla="*/ 2147483646 w 19"/>
                  <a:gd name="T17" fmla="*/ 2147483646 h 32"/>
                  <a:gd name="T18" fmla="*/ 2147483646 w 19"/>
                  <a:gd name="T19" fmla="*/ 2147483646 h 32"/>
                  <a:gd name="T20" fmla="*/ 2147483646 w 19"/>
                  <a:gd name="T21" fmla="*/ 2147483646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9" h="32">
                    <a:moveTo>
                      <a:pt x="4" y="6"/>
                    </a:moveTo>
                    <a:cubicBezTo>
                      <a:pt x="7" y="4"/>
                      <a:pt x="7" y="4"/>
                      <a:pt x="7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1" y="3"/>
                      <a:pt x="0" y="5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9" y="24"/>
                      <a:pt x="16" y="17"/>
                      <a:pt x="10" y="8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2" name="Freeform 278"/>
              <p:cNvSpPr/>
              <p:nvPr/>
            </p:nvSpPr>
            <p:spPr bwMode="auto">
              <a:xfrm rot="521357">
                <a:off x="5170310" y="1886084"/>
                <a:ext cx="40720" cy="24731"/>
              </a:xfrm>
              <a:custGeom>
                <a:avLst/>
                <a:gdLst>
                  <a:gd name="T0" fmla="*/ 0 w 10"/>
                  <a:gd name="T1" fmla="*/ 2147483646 h 6"/>
                  <a:gd name="T2" fmla="*/ 2147483646 w 10"/>
                  <a:gd name="T3" fmla="*/ 2147483646 h 6"/>
                  <a:gd name="T4" fmla="*/ 2147483646 w 10"/>
                  <a:gd name="T5" fmla="*/ 2147483646 h 6"/>
                  <a:gd name="T6" fmla="*/ 0 w 10"/>
                  <a:gd name="T7" fmla="*/ 0 h 6"/>
                  <a:gd name="T8" fmla="*/ 0 w 10"/>
                  <a:gd name="T9" fmla="*/ 214748364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2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3" name="Freeform 279"/>
              <p:cNvSpPr/>
              <p:nvPr/>
            </p:nvSpPr>
            <p:spPr bwMode="auto">
              <a:xfrm rot="521357">
                <a:off x="5153845" y="1912929"/>
                <a:ext cx="27147" cy="28264"/>
              </a:xfrm>
              <a:custGeom>
                <a:avLst/>
                <a:gdLst>
                  <a:gd name="T0" fmla="*/ 2147483646 w 7"/>
                  <a:gd name="T1" fmla="*/ 0 h 7"/>
                  <a:gd name="T2" fmla="*/ 0 w 7"/>
                  <a:gd name="T3" fmla="*/ 2147483646 h 7"/>
                  <a:gd name="T4" fmla="*/ 2147483646 w 7"/>
                  <a:gd name="T5" fmla="*/ 2147483646 h 7"/>
                  <a:gd name="T6" fmla="*/ 2147483646 w 7"/>
                  <a:gd name="T7" fmla="*/ 2147483646 h 7"/>
                  <a:gd name="T8" fmla="*/ 2147483646 w 7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4" name="Freeform 281"/>
              <p:cNvSpPr/>
              <p:nvPr/>
            </p:nvSpPr>
            <p:spPr bwMode="auto">
              <a:xfrm rot="521357">
                <a:off x="5084463" y="2065339"/>
                <a:ext cx="123858" cy="54762"/>
              </a:xfrm>
              <a:custGeom>
                <a:avLst/>
                <a:gdLst>
                  <a:gd name="T0" fmla="*/ 2147483646 w 73"/>
                  <a:gd name="T1" fmla="*/ 2147483646 h 31"/>
                  <a:gd name="T2" fmla="*/ 2147483646 w 73"/>
                  <a:gd name="T3" fmla="*/ 0 h 31"/>
                  <a:gd name="T4" fmla="*/ 2147483646 w 73"/>
                  <a:gd name="T5" fmla="*/ 2147483646 h 31"/>
                  <a:gd name="T6" fmla="*/ 2147483646 w 73"/>
                  <a:gd name="T7" fmla="*/ 2147483646 h 31"/>
                  <a:gd name="T8" fmla="*/ 0 w 73"/>
                  <a:gd name="T9" fmla="*/ 2147483646 h 31"/>
                  <a:gd name="T10" fmla="*/ 2147483646 w 73"/>
                  <a:gd name="T11" fmla="*/ 2147483646 h 31"/>
                  <a:gd name="T12" fmla="*/ 2147483646 w 73"/>
                  <a:gd name="T13" fmla="*/ 2147483646 h 31"/>
                  <a:gd name="T14" fmla="*/ 2147483646 w 73"/>
                  <a:gd name="T15" fmla="*/ 2147483646 h 3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3" h="31">
                    <a:moveTo>
                      <a:pt x="73" y="7"/>
                    </a:moveTo>
                    <a:lnTo>
                      <a:pt x="71" y="0"/>
                    </a:lnTo>
                    <a:lnTo>
                      <a:pt x="33" y="10"/>
                    </a:lnTo>
                    <a:lnTo>
                      <a:pt x="14" y="19"/>
                    </a:lnTo>
                    <a:lnTo>
                      <a:pt x="0" y="31"/>
                    </a:lnTo>
                    <a:lnTo>
                      <a:pt x="33" y="17"/>
                    </a:lnTo>
                    <a:lnTo>
                      <a:pt x="73" y="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5" name="Freeform 282"/>
              <p:cNvSpPr/>
              <p:nvPr/>
            </p:nvSpPr>
            <p:spPr bwMode="auto">
              <a:xfrm rot="521357">
                <a:off x="4948104" y="1907138"/>
                <a:ext cx="135734" cy="247307"/>
              </a:xfrm>
              <a:custGeom>
                <a:avLst/>
                <a:gdLst>
                  <a:gd name="T0" fmla="*/ 2147483646 w 34"/>
                  <a:gd name="T1" fmla="*/ 0 h 59"/>
                  <a:gd name="T2" fmla="*/ 0 w 34"/>
                  <a:gd name="T3" fmla="*/ 2147483646 h 59"/>
                  <a:gd name="T4" fmla="*/ 2147483646 w 34"/>
                  <a:gd name="T5" fmla="*/ 2147483646 h 59"/>
                  <a:gd name="T6" fmla="*/ 2147483646 w 34"/>
                  <a:gd name="T7" fmla="*/ 2147483646 h 59"/>
                  <a:gd name="T8" fmla="*/ 2147483646 w 34"/>
                  <a:gd name="T9" fmla="*/ 2147483646 h 59"/>
                  <a:gd name="T10" fmla="*/ 2147483646 w 34"/>
                  <a:gd name="T11" fmla="*/ 0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" h="59">
                    <a:moveTo>
                      <a:pt x="14" y="0"/>
                    </a:moveTo>
                    <a:cubicBezTo>
                      <a:pt x="6" y="6"/>
                      <a:pt x="1" y="13"/>
                      <a:pt x="0" y="23"/>
                    </a:cubicBezTo>
                    <a:cubicBezTo>
                      <a:pt x="5" y="38"/>
                      <a:pt x="16" y="50"/>
                      <a:pt x="32" y="59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15" y="48"/>
                      <a:pt x="5" y="37"/>
                      <a:pt x="3" y="22"/>
                    </a:cubicBezTo>
                    <a:cubicBezTo>
                      <a:pt x="4" y="16"/>
                      <a:pt x="8" y="8"/>
                      <a:pt x="14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6" name="Freeform 283"/>
              <p:cNvSpPr/>
              <p:nvPr/>
            </p:nvSpPr>
            <p:spPr bwMode="auto">
              <a:xfrm rot="521357">
                <a:off x="5003685" y="2164727"/>
                <a:ext cx="120465" cy="261438"/>
              </a:xfrm>
              <a:custGeom>
                <a:avLst/>
                <a:gdLst>
                  <a:gd name="T0" fmla="*/ 0 w 30"/>
                  <a:gd name="T1" fmla="*/ 0 h 63"/>
                  <a:gd name="T2" fmla="*/ 2147483646 w 30"/>
                  <a:gd name="T3" fmla="*/ 2147483646 h 63"/>
                  <a:gd name="T4" fmla="*/ 2147483646 w 30"/>
                  <a:gd name="T5" fmla="*/ 2147483646 h 63"/>
                  <a:gd name="T6" fmla="*/ 2147483646 w 30"/>
                  <a:gd name="T7" fmla="*/ 2147483646 h 63"/>
                  <a:gd name="T8" fmla="*/ 2147483646 w 30"/>
                  <a:gd name="T9" fmla="*/ 2147483646 h 63"/>
                  <a:gd name="T10" fmla="*/ 2147483646 w 30"/>
                  <a:gd name="T11" fmla="*/ 2147483646 h 63"/>
                  <a:gd name="T12" fmla="*/ 2147483646 w 30"/>
                  <a:gd name="T13" fmla="*/ 2147483646 h 63"/>
                  <a:gd name="T14" fmla="*/ 2147483646 w 30"/>
                  <a:gd name="T15" fmla="*/ 2147483646 h 63"/>
                  <a:gd name="T16" fmla="*/ 0 w 30"/>
                  <a:gd name="T17" fmla="*/ 0 h 6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0" h="63">
                    <a:moveTo>
                      <a:pt x="0" y="0"/>
                    </a:moveTo>
                    <a:cubicBezTo>
                      <a:pt x="3" y="7"/>
                      <a:pt x="8" y="12"/>
                      <a:pt x="14" y="17"/>
                    </a:cubicBezTo>
                    <a:cubicBezTo>
                      <a:pt x="15" y="26"/>
                      <a:pt x="17" y="32"/>
                      <a:pt x="22" y="37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30" y="63"/>
                      <a:pt x="30" y="63"/>
                      <a:pt x="30" y="63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19" y="30"/>
                      <a:pt x="17" y="23"/>
                      <a:pt x="17" y="17"/>
                    </a:cubicBezTo>
                    <a:cubicBezTo>
                      <a:pt x="11" y="12"/>
                      <a:pt x="7" y="7"/>
                      <a:pt x="4" y="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7" name="Freeform 284"/>
              <p:cNvSpPr/>
              <p:nvPr/>
            </p:nvSpPr>
            <p:spPr bwMode="auto">
              <a:xfrm rot="521357">
                <a:off x="5066840" y="1997016"/>
                <a:ext cx="79744" cy="104223"/>
              </a:xfrm>
              <a:custGeom>
                <a:avLst/>
                <a:gdLst>
                  <a:gd name="T0" fmla="*/ 2147483646 w 47"/>
                  <a:gd name="T1" fmla="*/ 2147483646 h 59"/>
                  <a:gd name="T2" fmla="*/ 0 w 47"/>
                  <a:gd name="T3" fmla="*/ 0 h 59"/>
                  <a:gd name="T4" fmla="*/ 2147483646 w 47"/>
                  <a:gd name="T5" fmla="*/ 2147483646 h 59"/>
                  <a:gd name="T6" fmla="*/ 2147483646 w 47"/>
                  <a:gd name="T7" fmla="*/ 2147483646 h 59"/>
                  <a:gd name="T8" fmla="*/ 2147483646 w 47"/>
                  <a:gd name="T9" fmla="*/ 2147483646 h 59"/>
                  <a:gd name="T10" fmla="*/ 2147483646 w 47"/>
                  <a:gd name="T11" fmla="*/ 2147483646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7" h="59">
                    <a:moveTo>
                      <a:pt x="47" y="40"/>
                    </a:moveTo>
                    <a:lnTo>
                      <a:pt x="0" y="0"/>
                    </a:lnTo>
                    <a:lnTo>
                      <a:pt x="33" y="40"/>
                    </a:lnTo>
                    <a:lnTo>
                      <a:pt x="14" y="59"/>
                    </a:lnTo>
                    <a:lnTo>
                      <a:pt x="47" y="40"/>
                    </a:ln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8" name="Freeform 285"/>
              <p:cNvSpPr/>
              <p:nvPr/>
            </p:nvSpPr>
            <p:spPr bwMode="auto">
              <a:xfrm rot="521357">
                <a:off x="5064108" y="1911594"/>
                <a:ext cx="71260" cy="40629"/>
              </a:xfrm>
              <a:custGeom>
                <a:avLst/>
                <a:gdLst>
                  <a:gd name="T0" fmla="*/ 2147483646 w 18"/>
                  <a:gd name="T1" fmla="*/ 2147483646 h 10"/>
                  <a:gd name="T2" fmla="*/ 0 w 18"/>
                  <a:gd name="T3" fmla="*/ 0 h 10"/>
                  <a:gd name="T4" fmla="*/ 2147483646 w 18"/>
                  <a:gd name="T5" fmla="*/ 2147483646 h 10"/>
                  <a:gd name="T6" fmla="*/ 2147483646 w 18"/>
                  <a:gd name="T7" fmla="*/ 2147483646 h 10"/>
                  <a:gd name="T8" fmla="*/ 2147483646 w 18"/>
                  <a:gd name="T9" fmla="*/ 2147483646 h 10"/>
                  <a:gd name="T10" fmla="*/ 2147483646 w 18"/>
                  <a:gd name="T11" fmla="*/ 2147483646 h 10"/>
                  <a:gd name="T12" fmla="*/ 2147483646 w 18"/>
                  <a:gd name="T13" fmla="*/ 2147483646 h 10"/>
                  <a:gd name="T14" fmla="*/ 2147483646 w 18"/>
                  <a:gd name="T15" fmla="*/ 2147483646 h 10"/>
                  <a:gd name="T16" fmla="*/ 2147483646 w 18"/>
                  <a:gd name="T17" fmla="*/ 2147483646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0">
                    <a:moveTo>
                      <a:pt x="3" y="1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7" y="4"/>
                      <a:pt x="16" y="4"/>
                      <a:pt x="16" y="4"/>
                    </a:cubicBezTo>
                    <a:cubicBezTo>
                      <a:pt x="14" y="4"/>
                      <a:pt x="13" y="4"/>
                      <a:pt x="12" y="4"/>
                    </a:cubicBezTo>
                    <a:cubicBezTo>
                      <a:pt x="11" y="4"/>
                      <a:pt x="11" y="4"/>
                      <a:pt x="11" y="3"/>
                    </a:cubicBezTo>
                    <a:cubicBezTo>
                      <a:pt x="8" y="3"/>
                      <a:pt x="5" y="2"/>
                      <a:pt x="3" y="1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9" name="Freeform 286"/>
              <p:cNvSpPr/>
              <p:nvPr/>
            </p:nvSpPr>
            <p:spPr bwMode="auto">
              <a:xfrm rot="521357">
                <a:off x="5012291" y="1903464"/>
                <a:ext cx="176454" cy="158982"/>
              </a:xfrm>
              <a:custGeom>
                <a:avLst/>
                <a:gdLst>
                  <a:gd name="T0" fmla="*/ 2147483646 w 44"/>
                  <a:gd name="T1" fmla="*/ 2147483646 h 38"/>
                  <a:gd name="T2" fmla="*/ 2147483646 w 44"/>
                  <a:gd name="T3" fmla="*/ 2147483646 h 38"/>
                  <a:gd name="T4" fmla="*/ 2147483646 w 44"/>
                  <a:gd name="T5" fmla="*/ 0 h 38"/>
                  <a:gd name="T6" fmla="*/ 0 w 44"/>
                  <a:gd name="T7" fmla="*/ 2147483646 h 38"/>
                  <a:gd name="T8" fmla="*/ 2147483646 w 44"/>
                  <a:gd name="T9" fmla="*/ 2147483646 h 38"/>
                  <a:gd name="T10" fmla="*/ 2147483646 w 44"/>
                  <a:gd name="T11" fmla="*/ 2147483646 h 38"/>
                  <a:gd name="T12" fmla="*/ 2147483646 w 44"/>
                  <a:gd name="T13" fmla="*/ 2147483646 h 38"/>
                  <a:gd name="T14" fmla="*/ 2147483646 w 44"/>
                  <a:gd name="T15" fmla="*/ 2147483646 h 38"/>
                  <a:gd name="T16" fmla="*/ 2147483646 w 44"/>
                  <a:gd name="T17" fmla="*/ 2147483646 h 38"/>
                  <a:gd name="T18" fmla="*/ 2147483646 w 44"/>
                  <a:gd name="T19" fmla="*/ 2147483646 h 38"/>
                  <a:gd name="T20" fmla="*/ 2147483646 w 44"/>
                  <a:gd name="T21" fmla="*/ 2147483646 h 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4" h="38">
                    <a:moveTo>
                      <a:pt x="18" y="11"/>
                    </a:moveTo>
                    <a:cubicBezTo>
                      <a:pt x="14" y="13"/>
                      <a:pt x="14" y="13"/>
                      <a:pt x="14" y="1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2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23" y="26"/>
                      <a:pt x="31" y="33"/>
                      <a:pt x="40" y="38"/>
                    </a:cubicBezTo>
                    <a:cubicBezTo>
                      <a:pt x="44" y="37"/>
                      <a:pt x="44" y="37"/>
                      <a:pt x="44" y="37"/>
                    </a:cubicBezTo>
                    <a:cubicBezTo>
                      <a:pt x="35" y="33"/>
                      <a:pt x="26" y="26"/>
                      <a:pt x="18" y="16"/>
                    </a:cubicBezTo>
                    <a:cubicBezTo>
                      <a:pt x="18" y="11"/>
                      <a:pt x="18" y="11"/>
                      <a:pt x="18" y="11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0" name="Freeform 287"/>
              <p:cNvSpPr/>
              <p:nvPr/>
            </p:nvSpPr>
            <p:spPr bwMode="auto">
              <a:xfrm rot="521357">
                <a:off x="5120033" y="1944750"/>
                <a:ext cx="20360" cy="24731"/>
              </a:xfrm>
              <a:custGeom>
                <a:avLst/>
                <a:gdLst>
                  <a:gd name="T0" fmla="*/ 2147483646 w 5"/>
                  <a:gd name="T1" fmla="*/ 0 h 6"/>
                  <a:gd name="T2" fmla="*/ 0 w 5"/>
                  <a:gd name="T3" fmla="*/ 2147483646 h 6"/>
                  <a:gd name="T4" fmla="*/ 2147483646 w 5"/>
                  <a:gd name="T5" fmla="*/ 2147483646 h 6"/>
                  <a:gd name="T6" fmla="*/ 2147483646 w 5"/>
                  <a:gd name="T7" fmla="*/ 2147483646 h 6"/>
                  <a:gd name="T8" fmla="*/ 2147483646 w 5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4"/>
                      <a:pt x="1" y="5"/>
                      <a:pt x="2" y="6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1" name="Freeform 288"/>
              <p:cNvSpPr/>
              <p:nvPr/>
            </p:nvSpPr>
            <p:spPr bwMode="auto">
              <a:xfrm rot="521357">
                <a:off x="5123213" y="1950974"/>
                <a:ext cx="44113" cy="84790"/>
              </a:xfrm>
              <a:custGeom>
                <a:avLst/>
                <a:gdLst>
                  <a:gd name="T0" fmla="*/ 0 w 11"/>
                  <a:gd name="T1" fmla="*/ 2147483646 h 20"/>
                  <a:gd name="T2" fmla="*/ 2147483646 w 11"/>
                  <a:gd name="T3" fmla="*/ 2147483646 h 20"/>
                  <a:gd name="T4" fmla="*/ 2147483646 w 11"/>
                  <a:gd name="T5" fmla="*/ 2147483646 h 20"/>
                  <a:gd name="T6" fmla="*/ 2147483646 w 11"/>
                  <a:gd name="T7" fmla="*/ 2147483646 h 20"/>
                  <a:gd name="T8" fmla="*/ 2147483646 w 11"/>
                  <a:gd name="T9" fmla="*/ 2147483646 h 20"/>
                  <a:gd name="T10" fmla="*/ 2147483646 w 11"/>
                  <a:gd name="T11" fmla="*/ 0 h 20"/>
                  <a:gd name="T12" fmla="*/ 0 w 11"/>
                  <a:gd name="T13" fmla="*/ 2147483646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5"/>
                    </a:moveTo>
                    <a:cubicBezTo>
                      <a:pt x="1" y="6"/>
                      <a:pt x="1" y="7"/>
                      <a:pt x="2" y="8"/>
                    </a:cubicBezTo>
                    <a:cubicBezTo>
                      <a:pt x="4" y="12"/>
                      <a:pt x="6" y="15"/>
                      <a:pt x="8" y="17"/>
                    </a:cubicBezTo>
                    <a:cubicBezTo>
                      <a:pt x="9" y="18"/>
                      <a:pt x="10" y="19"/>
                      <a:pt x="11" y="20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2" name="Freeform 289"/>
              <p:cNvSpPr/>
              <p:nvPr/>
            </p:nvSpPr>
            <p:spPr bwMode="auto">
              <a:xfrm rot="521357">
                <a:off x="5166022" y="1935954"/>
                <a:ext cx="23753" cy="24731"/>
              </a:xfrm>
              <a:custGeom>
                <a:avLst/>
                <a:gdLst>
                  <a:gd name="T0" fmla="*/ 2147483646 w 14"/>
                  <a:gd name="T1" fmla="*/ 2147483646 h 14"/>
                  <a:gd name="T2" fmla="*/ 2147483646 w 14"/>
                  <a:gd name="T3" fmla="*/ 2147483646 h 14"/>
                  <a:gd name="T4" fmla="*/ 0 w 14"/>
                  <a:gd name="T5" fmla="*/ 0 h 14"/>
                  <a:gd name="T6" fmla="*/ 0 w 14"/>
                  <a:gd name="T7" fmla="*/ 2147483646 h 14"/>
                  <a:gd name="T8" fmla="*/ 2147483646 w 14"/>
                  <a:gd name="T9" fmla="*/ 2147483646 h 14"/>
                  <a:gd name="T10" fmla="*/ 2147483646 w 14"/>
                  <a:gd name="T11" fmla="*/ 214748364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4">
                    <a:moveTo>
                      <a:pt x="14" y="14"/>
                    </a:moveTo>
                    <a:lnTo>
                      <a:pt x="7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4" y="14"/>
                    </a:ln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3" name="Freeform 290"/>
              <p:cNvSpPr/>
              <p:nvPr/>
            </p:nvSpPr>
            <p:spPr bwMode="auto">
              <a:xfrm rot="521357">
                <a:off x="5130536" y="1930551"/>
                <a:ext cx="23753" cy="28264"/>
              </a:xfrm>
              <a:custGeom>
                <a:avLst/>
                <a:gdLst>
                  <a:gd name="T0" fmla="*/ 2147483646 w 14"/>
                  <a:gd name="T1" fmla="*/ 2147483646 h 16"/>
                  <a:gd name="T2" fmla="*/ 2147483646 w 14"/>
                  <a:gd name="T3" fmla="*/ 2147483646 h 16"/>
                  <a:gd name="T4" fmla="*/ 2147483646 w 14"/>
                  <a:gd name="T5" fmla="*/ 0 h 16"/>
                  <a:gd name="T6" fmla="*/ 0 w 14"/>
                  <a:gd name="T7" fmla="*/ 2147483646 h 16"/>
                  <a:gd name="T8" fmla="*/ 2147483646 w 14"/>
                  <a:gd name="T9" fmla="*/ 2147483646 h 16"/>
                  <a:gd name="T10" fmla="*/ 2147483646 w 14"/>
                  <a:gd name="T11" fmla="*/ 2147483646 h 16"/>
                  <a:gd name="T12" fmla="*/ 2147483646 w 14"/>
                  <a:gd name="T13" fmla="*/ 2147483646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16">
                    <a:moveTo>
                      <a:pt x="14" y="16"/>
                    </a:moveTo>
                    <a:lnTo>
                      <a:pt x="14" y="2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7" y="11"/>
                    </a:lnTo>
                    <a:lnTo>
                      <a:pt x="14" y="16"/>
                    </a:lnTo>
                    <a:close/>
                  </a:path>
                </a:pathLst>
              </a:custGeom>
              <a:solidFill>
                <a:srgbClr val="BD1A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4" name="Freeform 291"/>
              <p:cNvSpPr/>
              <p:nvPr/>
            </p:nvSpPr>
            <p:spPr bwMode="auto">
              <a:xfrm rot="521357">
                <a:off x="5162836" y="1944326"/>
                <a:ext cx="44113" cy="51229"/>
              </a:xfrm>
              <a:custGeom>
                <a:avLst/>
                <a:gdLst>
                  <a:gd name="T0" fmla="*/ 0 w 26"/>
                  <a:gd name="T1" fmla="*/ 0 h 29"/>
                  <a:gd name="T2" fmla="*/ 0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2147483646 h 29"/>
                  <a:gd name="T8" fmla="*/ 0 w 26"/>
                  <a:gd name="T9" fmla="*/ 0 h 29"/>
                  <a:gd name="T10" fmla="*/ 0 w 26"/>
                  <a:gd name="T11" fmla="*/ 0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29">
                    <a:moveTo>
                      <a:pt x="0" y="0"/>
                    </a:moveTo>
                    <a:lnTo>
                      <a:pt x="0" y="7"/>
                    </a:lnTo>
                    <a:lnTo>
                      <a:pt x="26" y="29"/>
                    </a:lnTo>
                    <a:lnTo>
                      <a:pt x="14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5" name="Freeform 292"/>
              <p:cNvSpPr/>
              <p:nvPr/>
            </p:nvSpPr>
            <p:spPr bwMode="auto">
              <a:xfrm rot="521357">
                <a:off x="5144110" y="1963843"/>
                <a:ext cx="52598" cy="100690"/>
              </a:xfrm>
              <a:custGeom>
                <a:avLst/>
                <a:gdLst>
                  <a:gd name="T0" fmla="*/ 2147483646 w 13"/>
                  <a:gd name="T1" fmla="*/ 2147483646 h 24"/>
                  <a:gd name="T2" fmla="*/ 0 w 13"/>
                  <a:gd name="T3" fmla="*/ 0 h 24"/>
                  <a:gd name="T4" fmla="*/ 2147483646 w 13"/>
                  <a:gd name="T5" fmla="*/ 2147483646 h 24"/>
                  <a:gd name="T6" fmla="*/ 2147483646 w 13"/>
                  <a:gd name="T7" fmla="*/ 2147483646 h 24"/>
                  <a:gd name="T8" fmla="*/ 2147483646 w 13"/>
                  <a:gd name="T9" fmla="*/ 2147483646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24">
                    <a:moveTo>
                      <a:pt x="6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8" y="21"/>
                      <a:pt x="10" y="23"/>
                      <a:pt x="13" y="24"/>
                    </a:cubicBezTo>
                    <a:cubicBezTo>
                      <a:pt x="6" y="2"/>
                      <a:pt x="6" y="2"/>
                      <a:pt x="6" y="2"/>
                    </a:cubicBezTo>
                    <a:close/>
                  </a:path>
                </a:pathLst>
              </a:custGeom>
              <a:solidFill>
                <a:srgbClr val="BD1A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6" name="Freeform 293"/>
              <p:cNvSpPr>
                <a:spLocks noEditPoints="1"/>
              </p:cNvSpPr>
              <p:nvPr/>
            </p:nvSpPr>
            <p:spPr bwMode="auto">
              <a:xfrm rot="521357">
                <a:off x="5230020" y="1990805"/>
                <a:ext cx="117071" cy="95390"/>
              </a:xfrm>
              <a:custGeom>
                <a:avLst/>
                <a:gdLst>
                  <a:gd name="T0" fmla="*/ 2147483646 w 29"/>
                  <a:gd name="T1" fmla="*/ 2147483646 h 23"/>
                  <a:gd name="T2" fmla="*/ 0 w 29"/>
                  <a:gd name="T3" fmla="*/ 2147483646 h 23"/>
                  <a:gd name="T4" fmla="*/ 2147483646 w 29"/>
                  <a:gd name="T5" fmla="*/ 2147483646 h 23"/>
                  <a:gd name="T6" fmla="*/ 2147483646 w 29"/>
                  <a:gd name="T7" fmla="*/ 2147483646 h 23"/>
                  <a:gd name="T8" fmla="*/ 2147483646 w 29"/>
                  <a:gd name="T9" fmla="*/ 0 h 23"/>
                  <a:gd name="T10" fmla="*/ 2147483646 w 29"/>
                  <a:gd name="T11" fmla="*/ 0 h 23"/>
                  <a:gd name="T12" fmla="*/ 2147483646 w 29"/>
                  <a:gd name="T13" fmla="*/ 2147483646 h 23"/>
                  <a:gd name="T14" fmla="*/ 2147483646 w 29"/>
                  <a:gd name="T15" fmla="*/ 2147483646 h 23"/>
                  <a:gd name="T16" fmla="*/ 2147483646 w 29"/>
                  <a:gd name="T17" fmla="*/ 2147483646 h 23"/>
                  <a:gd name="T18" fmla="*/ 2147483646 w 29"/>
                  <a:gd name="T19" fmla="*/ 2147483646 h 23"/>
                  <a:gd name="T20" fmla="*/ 2147483646 w 29"/>
                  <a:gd name="T21" fmla="*/ 2147483646 h 23"/>
                  <a:gd name="T22" fmla="*/ 2147483646 w 29"/>
                  <a:gd name="T23" fmla="*/ 2147483646 h 23"/>
                  <a:gd name="T24" fmla="*/ 2147483646 w 29"/>
                  <a:gd name="T25" fmla="*/ 2147483646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9" h="23">
                    <a:moveTo>
                      <a:pt x="3" y="15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6" y="22"/>
                      <a:pt x="9" y="23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3" y="15"/>
                      <a:pt x="3" y="15"/>
                      <a:pt x="3" y="15"/>
                    </a:cubicBezTo>
                    <a:close/>
                    <a:moveTo>
                      <a:pt x="6" y="18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6" y="18"/>
                      <a:pt x="6" y="18"/>
                      <a:pt x="6" y="18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7" name="Freeform 294"/>
              <p:cNvSpPr/>
              <p:nvPr/>
            </p:nvSpPr>
            <p:spPr bwMode="auto">
              <a:xfrm rot="521357">
                <a:off x="5239456" y="1999450"/>
                <a:ext cx="96711" cy="65360"/>
              </a:xfrm>
              <a:custGeom>
                <a:avLst/>
                <a:gdLst>
                  <a:gd name="T0" fmla="*/ 0 w 57"/>
                  <a:gd name="T1" fmla="*/ 2147483646 h 37"/>
                  <a:gd name="T2" fmla="*/ 2147483646 w 57"/>
                  <a:gd name="T3" fmla="*/ 2147483646 h 37"/>
                  <a:gd name="T4" fmla="*/ 2147483646 w 57"/>
                  <a:gd name="T5" fmla="*/ 0 h 37"/>
                  <a:gd name="T6" fmla="*/ 2147483646 w 57"/>
                  <a:gd name="T7" fmla="*/ 0 h 37"/>
                  <a:gd name="T8" fmla="*/ 0 w 57"/>
                  <a:gd name="T9" fmla="*/ 2147483646 h 37"/>
                  <a:gd name="T10" fmla="*/ 0 w 57"/>
                  <a:gd name="T11" fmla="*/ 2147483646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7" h="37">
                    <a:moveTo>
                      <a:pt x="0" y="35"/>
                    </a:moveTo>
                    <a:lnTo>
                      <a:pt x="9" y="37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0" y="35"/>
                    </a:ln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8" name="Freeform 295"/>
              <p:cNvSpPr>
                <a:spLocks noEditPoints="1"/>
              </p:cNvSpPr>
              <p:nvPr/>
            </p:nvSpPr>
            <p:spPr bwMode="auto">
              <a:xfrm rot="521357">
                <a:off x="5022716" y="2103467"/>
                <a:ext cx="792348" cy="680095"/>
              </a:xfrm>
              <a:custGeom>
                <a:avLst/>
                <a:gdLst>
                  <a:gd name="T0" fmla="*/ 2147483646 w 198"/>
                  <a:gd name="T1" fmla="*/ 2147483646 h 163"/>
                  <a:gd name="T2" fmla="*/ 2147483646 w 198"/>
                  <a:gd name="T3" fmla="*/ 2147483646 h 163"/>
                  <a:gd name="T4" fmla="*/ 0 w 198"/>
                  <a:gd name="T5" fmla="*/ 2147483646 h 163"/>
                  <a:gd name="T6" fmla="*/ 2147483646 w 198"/>
                  <a:gd name="T7" fmla="*/ 2147483646 h 163"/>
                  <a:gd name="T8" fmla="*/ 2147483646 w 198"/>
                  <a:gd name="T9" fmla="*/ 2147483646 h 163"/>
                  <a:gd name="T10" fmla="*/ 2147483646 w 198"/>
                  <a:gd name="T11" fmla="*/ 2147483646 h 163"/>
                  <a:gd name="T12" fmla="*/ 2147483646 w 198"/>
                  <a:gd name="T13" fmla="*/ 2147483646 h 163"/>
                  <a:gd name="T14" fmla="*/ 2147483646 w 198"/>
                  <a:gd name="T15" fmla="*/ 2147483646 h 163"/>
                  <a:gd name="T16" fmla="*/ 2147483646 w 198"/>
                  <a:gd name="T17" fmla="*/ 2147483646 h 163"/>
                  <a:gd name="T18" fmla="*/ 2147483646 w 198"/>
                  <a:gd name="T19" fmla="*/ 2147483646 h 163"/>
                  <a:gd name="T20" fmla="*/ 2147483646 w 198"/>
                  <a:gd name="T21" fmla="*/ 2147483646 h 163"/>
                  <a:gd name="T22" fmla="*/ 2147483646 w 198"/>
                  <a:gd name="T23" fmla="*/ 2147483646 h 163"/>
                  <a:gd name="T24" fmla="*/ 2147483646 w 198"/>
                  <a:gd name="T25" fmla="*/ 2147483646 h 163"/>
                  <a:gd name="T26" fmla="*/ 2147483646 w 198"/>
                  <a:gd name="T27" fmla="*/ 2147483646 h 163"/>
                  <a:gd name="T28" fmla="*/ 2147483646 w 198"/>
                  <a:gd name="T29" fmla="*/ 2147483646 h 163"/>
                  <a:gd name="T30" fmla="*/ 2147483646 w 198"/>
                  <a:gd name="T31" fmla="*/ 2147483646 h 163"/>
                  <a:gd name="T32" fmla="*/ 2147483646 w 198"/>
                  <a:gd name="T33" fmla="*/ 2147483646 h 163"/>
                  <a:gd name="T34" fmla="*/ 2147483646 w 198"/>
                  <a:gd name="T35" fmla="*/ 2147483646 h 163"/>
                  <a:gd name="T36" fmla="*/ 2147483646 w 198"/>
                  <a:gd name="T37" fmla="*/ 2147483646 h 163"/>
                  <a:gd name="T38" fmla="*/ 2147483646 w 198"/>
                  <a:gd name="T39" fmla="*/ 2147483646 h 163"/>
                  <a:gd name="T40" fmla="*/ 2147483646 w 198"/>
                  <a:gd name="T41" fmla="*/ 2147483646 h 163"/>
                  <a:gd name="T42" fmla="*/ 2147483646 w 198"/>
                  <a:gd name="T43" fmla="*/ 2147483646 h 163"/>
                  <a:gd name="T44" fmla="*/ 2147483646 w 198"/>
                  <a:gd name="T45" fmla="*/ 2147483646 h 163"/>
                  <a:gd name="T46" fmla="*/ 2147483646 w 198"/>
                  <a:gd name="T47" fmla="*/ 2147483646 h 163"/>
                  <a:gd name="T48" fmla="*/ 2147483646 w 198"/>
                  <a:gd name="T49" fmla="*/ 2147483646 h 163"/>
                  <a:gd name="T50" fmla="*/ 2147483646 w 198"/>
                  <a:gd name="T51" fmla="*/ 2147483646 h 163"/>
                  <a:gd name="T52" fmla="*/ 2147483646 w 198"/>
                  <a:gd name="T53" fmla="*/ 2147483646 h 163"/>
                  <a:gd name="T54" fmla="*/ 2147483646 w 198"/>
                  <a:gd name="T55" fmla="*/ 2147483646 h 163"/>
                  <a:gd name="T56" fmla="*/ 2147483646 w 198"/>
                  <a:gd name="T57" fmla="*/ 2147483646 h 163"/>
                  <a:gd name="T58" fmla="*/ 2147483646 w 198"/>
                  <a:gd name="T59" fmla="*/ 2147483646 h 163"/>
                  <a:gd name="T60" fmla="*/ 2147483646 w 198"/>
                  <a:gd name="T61" fmla="*/ 2147483646 h 163"/>
                  <a:gd name="T62" fmla="*/ 2147483646 w 198"/>
                  <a:gd name="T63" fmla="*/ 2147483646 h 163"/>
                  <a:gd name="T64" fmla="*/ 2147483646 w 198"/>
                  <a:gd name="T65" fmla="*/ 2147483646 h 163"/>
                  <a:gd name="T66" fmla="*/ 2147483646 w 198"/>
                  <a:gd name="T67" fmla="*/ 2147483646 h 163"/>
                  <a:gd name="T68" fmla="*/ 2147483646 w 198"/>
                  <a:gd name="T69" fmla="*/ 2147483646 h 163"/>
                  <a:gd name="T70" fmla="*/ 2147483646 w 198"/>
                  <a:gd name="T71" fmla="*/ 2147483646 h 163"/>
                  <a:gd name="T72" fmla="*/ 2147483646 w 198"/>
                  <a:gd name="T73" fmla="*/ 2147483646 h 163"/>
                  <a:gd name="T74" fmla="*/ 2147483646 w 198"/>
                  <a:gd name="T75" fmla="*/ 2147483646 h 163"/>
                  <a:gd name="T76" fmla="*/ 2147483646 w 198"/>
                  <a:gd name="T77" fmla="*/ 2147483646 h 16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98" h="163">
                    <a:moveTo>
                      <a:pt x="54" y="3"/>
                    </a:moveTo>
                    <a:cubicBezTo>
                      <a:pt x="52" y="3"/>
                      <a:pt x="49" y="3"/>
                      <a:pt x="47" y="2"/>
                    </a:cubicBezTo>
                    <a:cubicBezTo>
                      <a:pt x="34" y="13"/>
                      <a:pt x="16" y="25"/>
                      <a:pt x="0" y="30"/>
                    </a:cubicBezTo>
                    <a:cubicBezTo>
                      <a:pt x="6" y="33"/>
                      <a:pt x="11" y="34"/>
                      <a:pt x="17" y="34"/>
                    </a:cubicBezTo>
                    <a:cubicBezTo>
                      <a:pt x="27" y="30"/>
                      <a:pt x="36" y="25"/>
                      <a:pt x="43" y="18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61" y="62"/>
                      <a:pt x="60" y="72"/>
                      <a:pt x="56" y="82"/>
                    </a:cubicBezTo>
                    <a:cubicBezTo>
                      <a:pt x="50" y="87"/>
                      <a:pt x="44" y="90"/>
                      <a:pt x="37" y="92"/>
                    </a:cubicBezTo>
                    <a:cubicBezTo>
                      <a:pt x="31" y="93"/>
                      <a:pt x="24" y="94"/>
                      <a:pt x="16" y="92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8" y="97"/>
                      <a:pt x="19" y="97"/>
                      <a:pt x="20" y="98"/>
                    </a:cubicBezTo>
                    <a:cubicBezTo>
                      <a:pt x="28" y="99"/>
                      <a:pt x="35" y="99"/>
                      <a:pt x="41" y="98"/>
                    </a:cubicBezTo>
                    <a:cubicBezTo>
                      <a:pt x="46" y="97"/>
                      <a:pt x="50" y="95"/>
                      <a:pt x="54" y="92"/>
                    </a:cubicBezTo>
                    <a:cubicBezTo>
                      <a:pt x="58" y="88"/>
                      <a:pt x="62" y="84"/>
                      <a:pt x="65" y="79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72" y="57"/>
                      <a:pt x="81" y="60"/>
                      <a:pt x="89" y="61"/>
                    </a:cubicBezTo>
                    <a:cubicBezTo>
                      <a:pt x="90" y="62"/>
                      <a:pt x="91" y="63"/>
                      <a:pt x="92" y="63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3" y="64"/>
                      <a:pt x="93" y="64"/>
                      <a:pt x="93" y="65"/>
                    </a:cubicBezTo>
                    <a:cubicBezTo>
                      <a:pt x="112" y="78"/>
                      <a:pt x="133" y="98"/>
                      <a:pt x="155" y="123"/>
                    </a:cubicBezTo>
                    <a:cubicBezTo>
                      <a:pt x="188" y="163"/>
                      <a:pt x="188" y="163"/>
                      <a:pt x="188" y="163"/>
                    </a:cubicBezTo>
                    <a:cubicBezTo>
                      <a:pt x="198" y="157"/>
                      <a:pt x="198" y="157"/>
                      <a:pt x="198" y="157"/>
                    </a:cubicBezTo>
                    <a:cubicBezTo>
                      <a:pt x="161" y="109"/>
                      <a:pt x="161" y="109"/>
                      <a:pt x="161" y="109"/>
                    </a:cubicBezTo>
                    <a:cubicBezTo>
                      <a:pt x="145" y="88"/>
                      <a:pt x="126" y="70"/>
                      <a:pt x="104" y="56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0" y="23"/>
                      <a:pt x="70" y="23"/>
                      <a:pt x="70" y="23"/>
                    </a:cubicBezTo>
                    <a:cubicBezTo>
                      <a:pt x="70" y="18"/>
                      <a:pt x="68" y="12"/>
                      <a:pt x="65" y="6"/>
                    </a:cubicBezTo>
                    <a:cubicBezTo>
                      <a:pt x="64" y="7"/>
                      <a:pt x="64" y="0"/>
                      <a:pt x="63" y="1"/>
                    </a:cubicBezTo>
                    <a:cubicBezTo>
                      <a:pt x="61" y="2"/>
                      <a:pt x="61" y="4"/>
                      <a:pt x="58" y="3"/>
                    </a:cubicBezTo>
                    <a:cubicBezTo>
                      <a:pt x="57" y="3"/>
                      <a:pt x="57" y="5"/>
                      <a:pt x="56" y="4"/>
                    </a:cubicBezTo>
                    <a:lnTo>
                      <a:pt x="54" y="3"/>
                    </a:lnTo>
                    <a:close/>
                    <a:moveTo>
                      <a:pt x="45" y="16"/>
                    </a:moveTo>
                    <a:cubicBezTo>
                      <a:pt x="62" y="14"/>
                      <a:pt x="62" y="14"/>
                      <a:pt x="62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99" y="57"/>
                      <a:pt x="99" y="57"/>
                      <a:pt x="99" y="57"/>
                    </a:cubicBezTo>
                    <a:cubicBezTo>
                      <a:pt x="94" y="58"/>
                      <a:pt x="88" y="58"/>
                      <a:pt x="83" y="57"/>
                    </a:cubicBezTo>
                    <a:cubicBezTo>
                      <a:pt x="77" y="55"/>
                      <a:pt x="70" y="53"/>
                      <a:pt x="64" y="49"/>
                    </a:cubicBezTo>
                    <a:cubicBezTo>
                      <a:pt x="45" y="16"/>
                      <a:pt x="45" y="16"/>
                      <a:pt x="45" y="16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9" name="Freeform 296"/>
              <p:cNvSpPr/>
              <p:nvPr/>
            </p:nvSpPr>
            <p:spPr bwMode="auto">
              <a:xfrm rot="521357">
                <a:off x="5232489" y="2147663"/>
                <a:ext cx="217175" cy="183713"/>
              </a:xfrm>
              <a:custGeom>
                <a:avLst/>
                <a:gdLst>
                  <a:gd name="T0" fmla="*/ 2147483646 w 54"/>
                  <a:gd name="T1" fmla="*/ 0 h 44"/>
                  <a:gd name="T2" fmla="*/ 0 w 54"/>
                  <a:gd name="T3" fmla="*/ 2147483646 h 44"/>
                  <a:gd name="T4" fmla="*/ 2147483646 w 54"/>
                  <a:gd name="T5" fmla="*/ 2147483646 h 44"/>
                  <a:gd name="T6" fmla="*/ 2147483646 w 54"/>
                  <a:gd name="T7" fmla="*/ 2147483646 h 44"/>
                  <a:gd name="T8" fmla="*/ 2147483646 w 54"/>
                  <a:gd name="T9" fmla="*/ 2147483646 h 44"/>
                  <a:gd name="T10" fmla="*/ 2147483646 w 54"/>
                  <a:gd name="T11" fmla="*/ 2147483646 h 44"/>
                  <a:gd name="T12" fmla="*/ 2147483646 w 54"/>
                  <a:gd name="T13" fmla="*/ 2147483646 h 44"/>
                  <a:gd name="T14" fmla="*/ 2147483646 w 54"/>
                  <a:gd name="T15" fmla="*/ 0 h 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4" h="44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25" y="39"/>
                      <a:pt x="32" y="41"/>
                      <a:pt x="38" y="43"/>
                    </a:cubicBezTo>
                    <a:cubicBezTo>
                      <a:pt x="43" y="44"/>
                      <a:pt x="49" y="44"/>
                      <a:pt x="54" y="43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17" y="0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0" name="Freeform 297"/>
              <p:cNvSpPr/>
              <p:nvPr/>
            </p:nvSpPr>
            <p:spPr bwMode="auto">
              <a:xfrm rot="521357">
                <a:off x="5249440" y="1994342"/>
                <a:ext cx="123858" cy="104223"/>
              </a:xfrm>
              <a:custGeom>
                <a:avLst/>
                <a:gdLst>
                  <a:gd name="T0" fmla="*/ 2147483646 w 31"/>
                  <a:gd name="T1" fmla="*/ 2147483646 h 25"/>
                  <a:gd name="T2" fmla="*/ 2147483646 w 31"/>
                  <a:gd name="T3" fmla="*/ 2147483646 h 25"/>
                  <a:gd name="T4" fmla="*/ 2147483646 w 31"/>
                  <a:gd name="T5" fmla="*/ 2147483646 h 25"/>
                  <a:gd name="T6" fmla="*/ 2147483646 w 31"/>
                  <a:gd name="T7" fmla="*/ 2147483646 h 25"/>
                  <a:gd name="T8" fmla="*/ 2147483646 w 31"/>
                  <a:gd name="T9" fmla="*/ 0 h 25"/>
                  <a:gd name="T10" fmla="*/ 2147483646 w 31"/>
                  <a:gd name="T11" fmla="*/ 2147483646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1" h="25">
                    <a:moveTo>
                      <a:pt x="31" y="1"/>
                    </a:moveTo>
                    <a:cubicBezTo>
                      <a:pt x="25" y="13"/>
                      <a:pt x="25" y="13"/>
                      <a:pt x="25" y="13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9" y="25"/>
                      <a:pt x="0" y="24"/>
                      <a:pt x="3" y="24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31" y="1"/>
                    </a:ln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1" name="Freeform 298"/>
              <p:cNvSpPr/>
              <p:nvPr/>
            </p:nvSpPr>
            <p:spPr bwMode="auto">
              <a:xfrm rot="521357">
                <a:off x="5282899" y="2001705"/>
                <a:ext cx="105193" cy="121888"/>
              </a:xfrm>
              <a:custGeom>
                <a:avLst/>
                <a:gdLst>
                  <a:gd name="T0" fmla="*/ 2147483646 w 26"/>
                  <a:gd name="T1" fmla="*/ 2147483646 h 29"/>
                  <a:gd name="T2" fmla="*/ 2147483646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2147483646 h 29"/>
                  <a:gd name="T8" fmla="*/ 2147483646 w 26"/>
                  <a:gd name="T9" fmla="*/ 2147483646 h 29"/>
                  <a:gd name="T10" fmla="*/ 2147483646 w 26"/>
                  <a:gd name="T11" fmla="*/ 0 h 29"/>
                  <a:gd name="T12" fmla="*/ 0 w 26"/>
                  <a:gd name="T13" fmla="*/ 2147483646 h 29"/>
                  <a:gd name="T14" fmla="*/ 2147483646 w 26"/>
                  <a:gd name="T15" fmla="*/ 2147483646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29">
                    <a:moveTo>
                      <a:pt x="22" y="14"/>
                    </a:moveTo>
                    <a:cubicBezTo>
                      <a:pt x="26" y="4"/>
                      <a:pt x="26" y="4"/>
                      <a:pt x="26" y="4"/>
                    </a:cubicBezTo>
                    <a:cubicBezTo>
                      <a:pt x="26" y="4"/>
                      <a:pt x="25" y="3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2"/>
                      <a:pt x="25" y="1"/>
                      <a:pt x="24" y="1"/>
                    </a:cubicBezTo>
                    <a:cubicBezTo>
                      <a:pt x="23" y="0"/>
                      <a:pt x="22" y="0"/>
                      <a:pt x="2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2" y="14"/>
                      <a:pt x="22" y="14"/>
                      <a:pt x="22" y="14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2" name="Freeform 299"/>
              <p:cNvSpPr/>
              <p:nvPr/>
            </p:nvSpPr>
            <p:spPr bwMode="auto">
              <a:xfrm rot="521357">
                <a:off x="5382559" y="1928453"/>
                <a:ext cx="212085" cy="95390"/>
              </a:xfrm>
              <a:custGeom>
                <a:avLst/>
                <a:gdLst>
                  <a:gd name="T0" fmla="*/ 0 w 53"/>
                  <a:gd name="T1" fmla="*/ 2147483646 h 23"/>
                  <a:gd name="T2" fmla="*/ 2147483646 w 53"/>
                  <a:gd name="T3" fmla="*/ 2147483646 h 23"/>
                  <a:gd name="T4" fmla="*/ 2147483646 w 53"/>
                  <a:gd name="T5" fmla="*/ 2147483646 h 23"/>
                  <a:gd name="T6" fmla="*/ 2147483646 w 53"/>
                  <a:gd name="T7" fmla="*/ 0 h 23"/>
                  <a:gd name="T8" fmla="*/ 2147483646 w 53"/>
                  <a:gd name="T9" fmla="*/ 2147483646 h 23"/>
                  <a:gd name="T10" fmla="*/ 0 w 53"/>
                  <a:gd name="T11" fmla="*/ 2147483646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3" h="23">
                    <a:moveTo>
                      <a:pt x="0" y="23"/>
                    </a:moveTo>
                    <a:cubicBezTo>
                      <a:pt x="7" y="22"/>
                      <a:pt x="24" y="21"/>
                      <a:pt x="33" y="18"/>
                    </a:cubicBezTo>
                    <a:cubicBezTo>
                      <a:pt x="40" y="13"/>
                      <a:pt x="46" y="9"/>
                      <a:pt x="53" y="6"/>
                    </a:cubicBezTo>
                    <a:cubicBezTo>
                      <a:pt x="50" y="6"/>
                      <a:pt x="47" y="2"/>
                      <a:pt x="46" y="0"/>
                    </a:cubicBezTo>
                    <a:cubicBezTo>
                      <a:pt x="9" y="18"/>
                      <a:pt x="9" y="18"/>
                      <a:pt x="9" y="18"/>
                    </a:cubicBez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3" name="Freeform 300"/>
              <p:cNvSpPr/>
              <p:nvPr/>
            </p:nvSpPr>
            <p:spPr bwMode="auto">
              <a:xfrm rot="521357">
                <a:off x="5620468" y="1856152"/>
                <a:ext cx="123858" cy="84790"/>
              </a:xfrm>
              <a:custGeom>
                <a:avLst/>
                <a:gdLst>
                  <a:gd name="T0" fmla="*/ 2147483646 w 31"/>
                  <a:gd name="T1" fmla="*/ 2147483646 h 20"/>
                  <a:gd name="T2" fmla="*/ 2147483646 w 31"/>
                  <a:gd name="T3" fmla="*/ 0 h 20"/>
                  <a:gd name="T4" fmla="*/ 2147483646 w 31"/>
                  <a:gd name="T5" fmla="*/ 2147483646 h 20"/>
                  <a:gd name="T6" fmla="*/ 2147483646 w 31"/>
                  <a:gd name="T7" fmla="*/ 2147483646 h 20"/>
                  <a:gd name="T8" fmla="*/ 2147483646 w 31"/>
                  <a:gd name="T9" fmla="*/ 2147483646 h 20"/>
                  <a:gd name="T10" fmla="*/ 2147483646 w 31"/>
                  <a:gd name="T11" fmla="*/ 2147483646 h 20"/>
                  <a:gd name="T12" fmla="*/ 2147483646 w 31"/>
                  <a:gd name="T13" fmla="*/ 2147483646 h 20"/>
                  <a:gd name="T14" fmla="*/ 0 w 31"/>
                  <a:gd name="T15" fmla="*/ 2147483646 h 20"/>
                  <a:gd name="T16" fmla="*/ 2147483646 w 31"/>
                  <a:gd name="T17" fmla="*/ 2147483646 h 20"/>
                  <a:gd name="T18" fmla="*/ 0 w 31"/>
                  <a:gd name="T19" fmla="*/ 2147483646 h 20"/>
                  <a:gd name="T20" fmla="*/ 2147483646 w 31"/>
                  <a:gd name="T21" fmla="*/ 2147483646 h 20"/>
                  <a:gd name="T22" fmla="*/ 2147483646 w 31"/>
                  <a:gd name="T23" fmla="*/ 2147483646 h 20"/>
                  <a:gd name="T24" fmla="*/ 2147483646 w 31"/>
                  <a:gd name="T25" fmla="*/ 2147483646 h 20"/>
                  <a:gd name="T26" fmla="*/ 2147483646 w 31"/>
                  <a:gd name="T27" fmla="*/ 2147483646 h 20"/>
                  <a:gd name="T28" fmla="*/ 2147483646 w 31"/>
                  <a:gd name="T29" fmla="*/ 2147483646 h 20"/>
                  <a:gd name="T30" fmla="*/ 2147483646 w 31"/>
                  <a:gd name="T31" fmla="*/ 2147483646 h 20"/>
                  <a:gd name="T32" fmla="*/ 2147483646 w 31"/>
                  <a:gd name="T33" fmla="*/ 2147483646 h 20"/>
                  <a:gd name="T34" fmla="*/ 2147483646 w 31"/>
                  <a:gd name="T35" fmla="*/ 2147483646 h 20"/>
                  <a:gd name="T36" fmla="*/ 2147483646 w 31"/>
                  <a:gd name="T37" fmla="*/ 2147483646 h 20"/>
                  <a:gd name="T38" fmla="*/ 2147483646 w 31"/>
                  <a:gd name="T39" fmla="*/ 2147483646 h 20"/>
                  <a:gd name="T40" fmla="*/ 2147483646 w 31"/>
                  <a:gd name="T41" fmla="*/ 2147483646 h 20"/>
                  <a:gd name="T42" fmla="*/ 2147483646 w 31"/>
                  <a:gd name="T43" fmla="*/ 2147483646 h 20"/>
                  <a:gd name="T44" fmla="*/ 2147483646 w 31"/>
                  <a:gd name="T45" fmla="*/ 2147483646 h 20"/>
                  <a:gd name="T46" fmla="*/ 2147483646 w 31"/>
                  <a:gd name="T47" fmla="*/ 2147483646 h 20"/>
                  <a:gd name="T48" fmla="*/ 2147483646 w 31"/>
                  <a:gd name="T49" fmla="*/ 2147483646 h 20"/>
                  <a:gd name="T50" fmla="*/ 2147483646 w 31"/>
                  <a:gd name="T51" fmla="*/ 2147483646 h 20"/>
                  <a:gd name="T52" fmla="*/ 2147483646 w 31"/>
                  <a:gd name="T53" fmla="*/ 2147483646 h 20"/>
                  <a:gd name="T54" fmla="*/ 2147483646 w 31"/>
                  <a:gd name="T55" fmla="*/ 2147483646 h 20"/>
                  <a:gd name="T56" fmla="*/ 2147483646 w 31"/>
                  <a:gd name="T57" fmla="*/ 2147483646 h 20"/>
                  <a:gd name="T58" fmla="*/ 2147483646 w 31"/>
                  <a:gd name="T59" fmla="*/ 2147483646 h 20"/>
                  <a:gd name="T60" fmla="*/ 2147483646 w 31"/>
                  <a:gd name="T61" fmla="*/ 2147483646 h 20"/>
                  <a:gd name="T62" fmla="*/ 2147483646 w 31"/>
                  <a:gd name="T63" fmla="*/ 2147483646 h 20"/>
                  <a:gd name="T64" fmla="*/ 2147483646 w 31"/>
                  <a:gd name="T65" fmla="*/ 2147483646 h 2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1" h="20">
                    <a:moveTo>
                      <a:pt x="26" y="1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5" y="16"/>
                      <a:pt x="16" y="16"/>
                      <a:pt x="16" y="16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3" y="7"/>
                      <a:pt x="14" y="7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4"/>
                      <a:pt x="20" y="14"/>
                      <a:pt x="20" y="1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6" y="4"/>
                      <a:pt x="17" y="5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2" y="12"/>
                      <a:pt x="23" y="12"/>
                      <a:pt x="24" y="1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9" y="2"/>
                      <a:pt x="20" y="2"/>
                      <a:pt x="21" y="2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4"/>
                      <a:pt x="31" y="3"/>
                      <a:pt x="31" y="3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9" y="2"/>
                      <a:pt x="28" y="2"/>
                      <a:pt x="27" y="2"/>
                    </a:cubicBezTo>
                    <a:cubicBezTo>
                      <a:pt x="26" y="2"/>
                      <a:pt x="26" y="2"/>
                      <a:pt x="25" y="2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4" name="Freeform 301"/>
              <p:cNvSpPr/>
              <p:nvPr/>
            </p:nvSpPr>
            <p:spPr bwMode="auto">
              <a:xfrm rot="521357">
                <a:off x="5694876" y="1870637"/>
                <a:ext cx="50901" cy="42395"/>
              </a:xfrm>
              <a:custGeom>
                <a:avLst/>
                <a:gdLst>
                  <a:gd name="T0" fmla="*/ 2147483646 w 13"/>
                  <a:gd name="T1" fmla="*/ 2147483646 h 10"/>
                  <a:gd name="T2" fmla="*/ 2147483646 w 13"/>
                  <a:gd name="T3" fmla="*/ 0 h 10"/>
                  <a:gd name="T4" fmla="*/ 0 w 13"/>
                  <a:gd name="T5" fmla="*/ 0 h 10"/>
                  <a:gd name="T6" fmla="*/ 2147483646 w 13"/>
                  <a:gd name="T7" fmla="*/ 2147483646 h 10"/>
                  <a:gd name="T8" fmla="*/ 2147483646 w 13"/>
                  <a:gd name="T9" fmla="*/ 2147483646 h 10"/>
                  <a:gd name="T10" fmla="*/ 2147483646 w 13"/>
                  <a:gd name="T11" fmla="*/ 2147483646 h 10"/>
                  <a:gd name="T12" fmla="*/ 2147483646 w 13"/>
                  <a:gd name="T13" fmla="*/ 2147483646 h 10"/>
                  <a:gd name="T14" fmla="*/ 2147483646 w 13"/>
                  <a:gd name="T15" fmla="*/ 2147483646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10">
                    <a:moveTo>
                      <a:pt x="4" y="2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7" y="9"/>
                      <a:pt x="7" y="9"/>
                      <a:pt x="8" y="8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10" y="5"/>
                      <a:pt x="13" y="5"/>
                      <a:pt x="13" y="3"/>
                    </a:cubicBezTo>
                    <a:cubicBezTo>
                      <a:pt x="4" y="2"/>
                      <a:pt x="4" y="2"/>
                      <a:pt x="4" y="2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5" name="Freeform 302"/>
              <p:cNvSpPr/>
              <p:nvPr/>
            </p:nvSpPr>
            <p:spPr bwMode="auto">
              <a:xfrm rot="521357">
                <a:off x="5622163" y="1860343"/>
                <a:ext cx="61080" cy="49461"/>
              </a:xfrm>
              <a:custGeom>
                <a:avLst/>
                <a:gdLst>
                  <a:gd name="T0" fmla="*/ 2147483646 w 36"/>
                  <a:gd name="T1" fmla="*/ 2147483646 h 28"/>
                  <a:gd name="T2" fmla="*/ 2147483646 w 36"/>
                  <a:gd name="T3" fmla="*/ 2147483646 h 28"/>
                  <a:gd name="T4" fmla="*/ 0 w 36"/>
                  <a:gd name="T5" fmla="*/ 2147483646 h 28"/>
                  <a:gd name="T6" fmla="*/ 2147483646 w 36"/>
                  <a:gd name="T7" fmla="*/ 2147483646 h 28"/>
                  <a:gd name="T8" fmla="*/ 2147483646 w 36"/>
                  <a:gd name="T9" fmla="*/ 0 h 28"/>
                  <a:gd name="T10" fmla="*/ 2147483646 w 36"/>
                  <a:gd name="T11" fmla="*/ 0 h 28"/>
                  <a:gd name="T12" fmla="*/ 2147483646 w 36"/>
                  <a:gd name="T13" fmla="*/ 2147483646 h 28"/>
                  <a:gd name="T14" fmla="*/ 2147483646 w 36"/>
                  <a:gd name="T15" fmla="*/ 2147483646 h 2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6" h="28">
                    <a:moveTo>
                      <a:pt x="19" y="9"/>
                    </a:moveTo>
                    <a:lnTo>
                      <a:pt x="17" y="9"/>
                    </a:lnTo>
                    <a:lnTo>
                      <a:pt x="0" y="24"/>
                    </a:lnTo>
                    <a:lnTo>
                      <a:pt x="5" y="28"/>
                    </a:lnTo>
                    <a:lnTo>
                      <a:pt x="36" y="0"/>
                    </a:lnTo>
                    <a:lnTo>
                      <a:pt x="31" y="0"/>
                    </a:lnTo>
                    <a:lnTo>
                      <a:pt x="19" y="9"/>
                    </a:ln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6" name="Freeform 303"/>
              <p:cNvSpPr/>
              <p:nvPr/>
            </p:nvSpPr>
            <p:spPr bwMode="auto">
              <a:xfrm rot="521357">
                <a:off x="5682089" y="1875533"/>
                <a:ext cx="23753" cy="40629"/>
              </a:xfrm>
              <a:custGeom>
                <a:avLst/>
                <a:gdLst>
                  <a:gd name="T0" fmla="*/ 2147483646 w 6"/>
                  <a:gd name="T1" fmla="*/ 2147483646 h 10"/>
                  <a:gd name="T2" fmla="*/ 0 w 6"/>
                  <a:gd name="T3" fmla="*/ 0 h 10"/>
                  <a:gd name="T4" fmla="*/ 2147483646 w 6"/>
                  <a:gd name="T5" fmla="*/ 2147483646 h 10"/>
                  <a:gd name="T6" fmla="*/ 2147483646 w 6"/>
                  <a:gd name="T7" fmla="*/ 2147483646 h 10"/>
                  <a:gd name="T8" fmla="*/ 2147483646 w 6"/>
                  <a:gd name="T9" fmla="*/ 2147483646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10">
                    <a:moveTo>
                      <a:pt x="2" y="1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6" y="10"/>
                      <a:pt x="6" y="9"/>
                      <a:pt x="6" y="7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7" name="Freeform 304"/>
              <p:cNvSpPr/>
              <p:nvPr/>
            </p:nvSpPr>
            <p:spPr bwMode="auto">
              <a:xfrm rot="521357">
                <a:off x="5667090" y="1885469"/>
                <a:ext cx="20360" cy="37096"/>
              </a:xfrm>
              <a:custGeom>
                <a:avLst/>
                <a:gdLst>
                  <a:gd name="T0" fmla="*/ 2147483646 w 5"/>
                  <a:gd name="T1" fmla="*/ 0 h 9"/>
                  <a:gd name="T2" fmla="*/ 0 w 5"/>
                  <a:gd name="T3" fmla="*/ 0 h 9"/>
                  <a:gd name="T4" fmla="*/ 2147483646 w 5"/>
                  <a:gd name="T5" fmla="*/ 2147483646 h 9"/>
                  <a:gd name="T6" fmla="*/ 2147483646 w 5"/>
                  <a:gd name="T7" fmla="*/ 2147483646 h 9"/>
                  <a:gd name="T8" fmla="*/ 2147483646 w 5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9"/>
                      <a:pt x="5" y="8"/>
                      <a:pt x="5" y="7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8" name="Freeform 305"/>
              <p:cNvSpPr/>
              <p:nvPr/>
            </p:nvSpPr>
            <p:spPr bwMode="auto">
              <a:xfrm rot="521357">
                <a:off x="5575307" y="1886350"/>
                <a:ext cx="49204" cy="70659"/>
              </a:xfrm>
              <a:custGeom>
                <a:avLst/>
                <a:gdLst>
                  <a:gd name="T0" fmla="*/ 2147483646 w 29"/>
                  <a:gd name="T1" fmla="*/ 0 h 40"/>
                  <a:gd name="T2" fmla="*/ 0 w 29"/>
                  <a:gd name="T3" fmla="*/ 2147483646 h 40"/>
                  <a:gd name="T4" fmla="*/ 0 w 29"/>
                  <a:gd name="T5" fmla="*/ 2147483646 h 40"/>
                  <a:gd name="T6" fmla="*/ 2147483646 w 29"/>
                  <a:gd name="T7" fmla="*/ 2147483646 h 40"/>
                  <a:gd name="T8" fmla="*/ 2147483646 w 29"/>
                  <a:gd name="T9" fmla="*/ 0 h 40"/>
                  <a:gd name="T10" fmla="*/ 2147483646 w 29"/>
                  <a:gd name="T11" fmla="*/ 0 h 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9" h="40">
                    <a:moveTo>
                      <a:pt x="24" y="0"/>
                    </a:moveTo>
                    <a:lnTo>
                      <a:pt x="0" y="9"/>
                    </a:lnTo>
                    <a:lnTo>
                      <a:pt x="0" y="40"/>
                    </a:lnTo>
                    <a:lnTo>
                      <a:pt x="29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9" name="Freeform 306"/>
              <p:cNvSpPr/>
              <p:nvPr/>
            </p:nvSpPr>
            <p:spPr bwMode="auto">
              <a:xfrm rot="521357">
                <a:off x="5575878" y="1929949"/>
                <a:ext cx="59384" cy="44162"/>
              </a:xfrm>
              <a:custGeom>
                <a:avLst/>
                <a:gdLst>
                  <a:gd name="T0" fmla="*/ 0 w 15"/>
                  <a:gd name="T1" fmla="*/ 2147483646 h 11"/>
                  <a:gd name="T2" fmla="*/ 2147483646 w 15"/>
                  <a:gd name="T3" fmla="*/ 2147483646 h 11"/>
                  <a:gd name="T4" fmla="*/ 2147483646 w 15"/>
                  <a:gd name="T5" fmla="*/ 2147483646 h 11"/>
                  <a:gd name="T6" fmla="*/ 2147483646 w 15"/>
                  <a:gd name="T7" fmla="*/ 0 h 11"/>
                  <a:gd name="T8" fmla="*/ 0 w 15"/>
                  <a:gd name="T9" fmla="*/ 214748364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0" y="7"/>
                    </a:moveTo>
                    <a:cubicBezTo>
                      <a:pt x="1" y="9"/>
                      <a:pt x="3" y="10"/>
                      <a:pt x="6" y="11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0" name="Freeform 307"/>
              <p:cNvSpPr/>
              <p:nvPr/>
            </p:nvSpPr>
            <p:spPr bwMode="auto">
              <a:xfrm rot="521357">
                <a:off x="5623041" y="1909227"/>
                <a:ext cx="44113" cy="51229"/>
              </a:xfrm>
              <a:custGeom>
                <a:avLst/>
                <a:gdLst>
                  <a:gd name="T0" fmla="*/ 0 w 26"/>
                  <a:gd name="T1" fmla="*/ 2147483646 h 29"/>
                  <a:gd name="T2" fmla="*/ 2147483646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0 h 29"/>
                  <a:gd name="T8" fmla="*/ 0 w 26"/>
                  <a:gd name="T9" fmla="*/ 2147483646 h 29"/>
                  <a:gd name="T10" fmla="*/ 0 w 26"/>
                  <a:gd name="T11" fmla="*/ 2147483646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29">
                    <a:moveTo>
                      <a:pt x="0" y="15"/>
                    </a:moveTo>
                    <a:lnTo>
                      <a:pt x="9" y="29"/>
                    </a:lnTo>
                    <a:lnTo>
                      <a:pt x="9" y="19"/>
                    </a:lnTo>
                    <a:lnTo>
                      <a:pt x="26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1" name="Freeform 308"/>
              <p:cNvSpPr/>
              <p:nvPr/>
            </p:nvSpPr>
            <p:spPr bwMode="auto">
              <a:xfrm rot="521357">
                <a:off x="5018575" y="1853441"/>
                <a:ext cx="11877" cy="7066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147483646 h 2"/>
                  <a:gd name="T4" fmla="*/ 2147483646 w 3"/>
                  <a:gd name="T5" fmla="*/ 0 h 2"/>
                  <a:gd name="T6" fmla="*/ 0 w 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2" name="Freeform 309"/>
              <p:cNvSpPr>
                <a:spLocks noEditPoints="1"/>
              </p:cNvSpPr>
              <p:nvPr/>
            </p:nvSpPr>
            <p:spPr bwMode="auto">
              <a:xfrm rot="521357">
                <a:off x="5059232" y="2324086"/>
                <a:ext cx="682064" cy="695992"/>
              </a:xfrm>
              <a:custGeom>
                <a:avLst/>
                <a:gdLst>
                  <a:gd name="T0" fmla="*/ 2147483646 w 170"/>
                  <a:gd name="T1" fmla="*/ 2147483646 h 167"/>
                  <a:gd name="T2" fmla="*/ 2147483646 w 170"/>
                  <a:gd name="T3" fmla="*/ 2147483646 h 167"/>
                  <a:gd name="T4" fmla="*/ 2147483646 w 170"/>
                  <a:gd name="T5" fmla="*/ 2147483646 h 167"/>
                  <a:gd name="T6" fmla="*/ 2147483646 w 170"/>
                  <a:gd name="T7" fmla="*/ 2147483646 h 167"/>
                  <a:gd name="T8" fmla="*/ 2147483646 w 170"/>
                  <a:gd name="T9" fmla="*/ 2147483646 h 167"/>
                  <a:gd name="T10" fmla="*/ 2147483646 w 170"/>
                  <a:gd name="T11" fmla="*/ 2147483646 h 167"/>
                  <a:gd name="T12" fmla="*/ 2147483646 w 170"/>
                  <a:gd name="T13" fmla="*/ 2147483646 h 167"/>
                  <a:gd name="T14" fmla="*/ 2147483646 w 170"/>
                  <a:gd name="T15" fmla="*/ 2147483646 h 167"/>
                  <a:gd name="T16" fmla="*/ 2147483646 w 170"/>
                  <a:gd name="T17" fmla="*/ 2147483646 h 167"/>
                  <a:gd name="T18" fmla="*/ 2147483646 w 170"/>
                  <a:gd name="T19" fmla="*/ 2147483646 h 167"/>
                  <a:gd name="T20" fmla="*/ 2147483646 w 170"/>
                  <a:gd name="T21" fmla="*/ 2147483646 h 167"/>
                  <a:gd name="T22" fmla="*/ 2147483646 w 170"/>
                  <a:gd name="T23" fmla="*/ 2147483646 h 167"/>
                  <a:gd name="T24" fmla="*/ 2147483646 w 170"/>
                  <a:gd name="T25" fmla="*/ 2147483646 h 167"/>
                  <a:gd name="T26" fmla="*/ 2147483646 w 170"/>
                  <a:gd name="T27" fmla="*/ 2147483646 h 167"/>
                  <a:gd name="T28" fmla="*/ 2147483646 w 170"/>
                  <a:gd name="T29" fmla="*/ 2147483646 h 167"/>
                  <a:gd name="T30" fmla="*/ 2147483646 w 170"/>
                  <a:gd name="T31" fmla="*/ 2147483646 h 167"/>
                  <a:gd name="T32" fmla="*/ 2147483646 w 170"/>
                  <a:gd name="T33" fmla="*/ 2147483646 h 167"/>
                  <a:gd name="T34" fmla="*/ 2147483646 w 170"/>
                  <a:gd name="T35" fmla="*/ 2147483646 h 167"/>
                  <a:gd name="T36" fmla="*/ 2147483646 w 170"/>
                  <a:gd name="T37" fmla="*/ 2147483646 h 167"/>
                  <a:gd name="T38" fmla="*/ 2147483646 w 170"/>
                  <a:gd name="T39" fmla="*/ 2147483646 h 167"/>
                  <a:gd name="T40" fmla="*/ 2147483646 w 170"/>
                  <a:gd name="T41" fmla="*/ 2147483646 h 167"/>
                  <a:gd name="T42" fmla="*/ 2147483646 w 170"/>
                  <a:gd name="T43" fmla="*/ 2147483646 h 167"/>
                  <a:gd name="T44" fmla="*/ 2147483646 w 170"/>
                  <a:gd name="T45" fmla="*/ 0 h 167"/>
                  <a:gd name="T46" fmla="*/ 2147483646 w 170"/>
                  <a:gd name="T47" fmla="*/ 2147483646 h 167"/>
                  <a:gd name="T48" fmla="*/ 2147483646 w 170"/>
                  <a:gd name="T49" fmla="*/ 2147483646 h 167"/>
                  <a:gd name="T50" fmla="*/ 2147483646 w 170"/>
                  <a:gd name="T51" fmla="*/ 2147483646 h 167"/>
                  <a:gd name="T52" fmla="*/ 2147483646 w 170"/>
                  <a:gd name="T53" fmla="*/ 2147483646 h 167"/>
                  <a:gd name="T54" fmla="*/ 2147483646 w 170"/>
                  <a:gd name="T55" fmla="*/ 2147483646 h 167"/>
                  <a:gd name="T56" fmla="*/ 2147483646 w 170"/>
                  <a:gd name="T57" fmla="*/ 2147483646 h 167"/>
                  <a:gd name="T58" fmla="*/ 2147483646 w 170"/>
                  <a:gd name="T59" fmla="*/ 2147483646 h 167"/>
                  <a:gd name="T60" fmla="*/ 2147483646 w 170"/>
                  <a:gd name="T61" fmla="*/ 2147483646 h 167"/>
                  <a:gd name="T62" fmla="*/ 2147483646 w 170"/>
                  <a:gd name="T63" fmla="*/ 2147483646 h 167"/>
                  <a:gd name="T64" fmla="*/ 2147483646 w 170"/>
                  <a:gd name="T65" fmla="*/ 2147483646 h 167"/>
                  <a:gd name="T66" fmla="*/ 2147483646 w 170"/>
                  <a:gd name="T67" fmla="*/ 2147483646 h 167"/>
                  <a:gd name="T68" fmla="*/ 2147483646 w 170"/>
                  <a:gd name="T69" fmla="*/ 2147483646 h 167"/>
                  <a:gd name="T70" fmla="*/ 2147483646 w 170"/>
                  <a:gd name="T71" fmla="*/ 2147483646 h 167"/>
                  <a:gd name="T72" fmla="*/ 2147483646 w 170"/>
                  <a:gd name="T73" fmla="*/ 2147483646 h 167"/>
                  <a:gd name="T74" fmla="*/ 2147483646 w 170"/>
                  <a:gd name="T75" fmla="*/ 2147483646 h 167"/>
                  <a:gd name="T76" fmla="*/ 2147483646 w 170"/>
                  <a:gd name="T77" fmla="*/ 2147483646 h 167"/>
                  <a:gd name="T78" fmla="*/ 2147483646 w 170"/>
                  <a:gd name="T79" fmla="*/ 2147483646 h 167"/>
                  <a:gd name="T80" fmla="*/ 2147483646 w 170"/>
                  <a:gd name="T81" fmla="*/ 2147483646 h 16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70" h="167">
                    <a:moveTo>
                      <a:pt x="36" y="39"/>
                    </a:moveTo>
                    <a:cubicBezTo>
                      <a:pt x="32" y="42"/>
                      <a:pt x="28" y="44"/>
                      <a:pt x="23" y="45"/>
                    </a:cubicBezTo>
                    <a:cubicBezTo>
                      <a:pt x="17" y="46"/>
                      <a:pt x="10" y="46"/>
                      <a:pt x="2" y="45"/>
                    </a:cubicBezTo>
                    <a:cubicBezTo>
                      <a:pt x="1" y="63"/>
                      <a:pt x="0" y="92"/>
                      <a:pt x="3" y="110"/>
                    </a:cubicBezTo>
                    <a:cubicBezTo>
                      <a:pt x="5" y="116"/>
                      <a:pt x="6" y="117"/>
                      <a:pt x="8" y="119"/>
                    </a:cubicBezTo>
                    <a:cubicBezTo>
                      <a:pt x="22" y="134"/>
                      <a:pt x="26" y="150"/>
                      <a:pt x="37" y="167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59" y="160"/>
                      <a:pt x="59" y="160"/>
                      <a:pt x="59" y="160"/>
                    </a:cubicBezTo>
                    <a:cubicBezTo>
                      <a:pt x="42" y="132"/>
                      <a:pt x="42" y="132"/>
                      <a:pt x="42" y="132"/>
                    </a:cubicBezTo>
                    <a:cubicBezTo>
                      <a:pt x="32" y="91"/>
                      <a:pt x="32" y="91"/>
                      <a:pt x="32" y="91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48" y="40"/>
                      <a:pt x="48" y="40"/>
                      <a:pt x="48" y="40"/>
                    </a:cubicBezTo>
                    <a:cubicBezTo>
                      <a:pt x="72" y="43"/>
                      <a:pt x="95" y="54"/>
                      <a:pt x="116" y="74"/>
                    </a:cubicBezTo>
                    <a:cubicBezTo>
                      <a:pt x="131" y="87"/>
                      <a:pt x="144" y="99"/>
                      <a:pt x="155" y="111"/>
                    </a:cubicBezTo>
                    <a:cubicBezTo>
                      <a:pt x="156" y="112"/>
                      <a:pt x="158" y="113"/>
                      <a:pt x="159" y="113"/>
                    </a:cubicBezTo>
                    <a:cubicBezTo>
                      <a:pt x="161" y="114"/>
                      <a:pt x="164" y="113"/>
                      <a:pt x="166" y="112"/>
                    </a:cubicBezTo>
                    <a:cubicBezTo>
                      <a:pt x="170" y="110"/>
                      <a:pt x="170" y="110"/>
                      <a:pt x="170" y="110"/>
                    </a:cubicBezTo>
                    <a:cubicBezTo>
                      <a:pt x="137" y="70"/>
                      <a:pt x="137" y="70"/>
                      <a:pt x="137" y="70"/>
                    </a:cubicBezTo>
                    <a:cubicBezTo>
                      <a:pt x="115" y="45"/>
                      <a:pt x="94" y="25"/>
                      <a:pt x="75" y="12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74" y="10"/>
                      <a:pt x="74" y="10"/>
                      <a:pt x="74" y="10"/>
                    </a:cubicBezTo>
                    <a:cubicBezTo>
                      <a:pt x="73" y="10"/>
                      <a:pt x="72" y="9"/>
                      <a:pt x="71" y="8"/>
                    </a:cubicBezTo>
                    <a:cubicBezTo>
                      <a:pt x="63" y="7"/>
                      <a:pt x="54" y="4"/>
                      <a:pt x="46" y="0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4" y="31"/>
                      <a:pt x="40" y="35"/>
                      <a:pt x="36" y="39"/>
                    </a:cubicBezTo>
                    <a:close/>
                    <a:moveTo>
                      <a:pt x="4" y="47"/>
                    </a:moveTo>
                    <a:cubicBezTo>
                      <a:pt x="7" y="48"/>
                      <a:pt x="7" y="48"/>
                      <a:pt x="7" y="48"/>
                    </a:cubicBezTo>
                    <a:cubicBezTo>
                      <a:pt x="5" y="59"/>
                      <a:pt x="6" y="74"/>
                      <a:pt x="11" y="94"/>
                    </a:cubicBezTo>
                    <a:cubicBezTo>
                      <a:pt x="12" y="103"/>
                      <a:pt x="15" y="114"/>
                      <a:pt x="26" y="124"/>
                    </a:cubicBezTo>
                    <a:cubicBezTo>
                      <a:pt x="59" y="158"/>
                      <a:pt x="59" y="158"/>
                      <a:pt x="59" y="158"/>
                    </a:cubicBezTo>
                    <a:cubicBezTo>
                      <a:pt x="55" y="160"/>
                      <a:pt x="55" y="160"/>
                      <a:pt x="55" y="160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14" y="115"/>
                      <a:pt x="8" y="105"/>
                      <a:pt x="8" y="94"/>
                    </a:cubicBezTo>
                    <a:cubicBezTo>
                      <a:pt x="4" y="74"/>
                      <a:pt x="3" y="58"/>
                      <a:pt x="4" y="47"/>
                    </a:cubicBezTo>
                    <a:close/>
                    <a:moveTo>
                      <a:pt x="51" y="36"/>
                    </a:moveTo>
                    <a:cubicBezTo>
                      <a:pt x="57" y="33"/>
                      <a:pt x="57" y="33"/>
                      <a:pt x="57" y="33"/>
                    </a:cubicBezTo>
                    <a:cubicBezTo>
                      <a:pt x="74" y="39"/>
                      <a:pt x="94" y="50"/>
                      <a:pt x="119" y="67"/>
                    </a:cubicBezTo>
                    <a:cubicBezTo>
                      <a:pt x="161" y="110"/>
                      <a:pt x="161" y="110"/>
                      <a:pt x="161" y="110"/>
                    </a:cubicBezTo>
                    <a:cubicBezTo>
                      <a:pt x="157" y="109"/>
                      <a:pt x="157" y="109"/>
                      <a:pt x="157" y="109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01" y="57"/>
                      <a:pt x="80" y="46"/>
                      <a:pt x="51" y="3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3" name="Freeform 310"/>
              <p:cNvSpPr/>
              <p:nvPr/>
            </p:nvSpPr>
            <p:spPr bwMode="auto">
              <a:xfrm rot="521357">
                <a:off x="5059633" y="2483974"/>
                <a:ext cx="193421" cy="491081"/>
              </a:xfrm>
              <a:custGeom>
                <a:avLst/>
                <a:gdLst>
                  <a:gd name="T0" fmla="*/ 2147483646 w 48"/>
                  <a:gd name="T1" fmla="*/ 2147483646 h 118"/>
                  <a:gd name="T2" fmla="*/ 2147483646 w 48"/>
                  <a:gd name="T3" fmla="*/ 0 h 118"/>
                  <a:gd name="T4" fmla="*/ 2147483646 w 48"/>
                  <a:gd name="T5" fmla="*/ 2147483646 h 118"/>
                  <a:gd name="T6" fmla="*/ 2147483646 w 48"/>
                  <a:gd name="T7" fmla="*/ 2147483646 h 118"/>
                  <a:gd name="T8" fmla="*/ 2147483646 w 48"/>
                  <a:gd name="T9" fmla="*/ 2147483646 h 118"/>
                  <a:gd name="T10" fmla="*/ 2147483646 w 48"/>
                  <a:gd name="T11" fmla="*/ 2147483646 h 118"/>
                  <a:gd name="T12" fmla="*/ 2147483646 w 48"/>
                  <a:gd name="T13" fmla="*/ 2147483646 h 118"/>
                  <a:gd name="T14" fmla="*/ 2147483646 w 48"/>
                  <a:gd name="T15" fmla="*/ 2147483646 h 118"/>
                  <a:gd name="T16" fmla="*/ 2147483646 w 48"/>
                  <a:gd name="T17" fmla="*/ 2147483646 h 1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8" h="118">
                    <a:moveTo>
                      <a:pt x="4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1"/>
                      <a:pt x="0" y="29"/>
                      <a:pt x="4" y="49"/>
                    </a:cubicBezTo>
                    <a:cubicBezTo>
                      <a:pt x="4" y="59"/>
                      <a:pt x="0" y="63"/>
                      <a:pt x="23" y="77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25" y="76"/>
                      <a:pt x="25" y="76"/>
                      <a:pt x="25" y="76"/>
                    </a:cubicBezTo>
                    <a:cubicBezTo>
                      <a:pt x="15" y="66"/>
                      <a:pt x="9" y="56"/>
                      <a:pt x="8" y="47"/>
                    </a:cubicBezTo>
                    <a:cubicBezTo>
                      <a:pt x="3" y="27"/>
                      <a:pt x="2" y="12"/>
                      <a:pt x="4" y="1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4" name="Freeform 311"/>
              <p:cNvSpPr/>
              <p:nvPr/>
            </p:nvSpPr>
            <p:spPr bwMode="auto">
              <a:xfrm rot="521357">
                <a:off x="5271029" y="2475254"/>
                <a:ext cx="441136" cy="321499"/>
              </a:xfrm>
              <a:custGeom>
                <a:avLst/>
                <a:gdLst>
                  <a:gd name="T0" fmla="*/ 2147483646 w 110"/>
                  <a:gd name="T1" fmla="*/ 0 h 77"/>
                  <a:gd name="T2" fmla="*/ 0 w 110"/>
                  <a:gd name="T3" fmla="*/ 2147483646 h 77"/>
                  <a:gd name="T4" fmla="*/ 2147483646 w 110"/>
                  <a:gd name="T5" fmla="*/ 2147483646 h 77"/>
                  <a:gd name="T6" fmla="*/ 2147483646 w 110"/>
                  <a:gd name="T7" fmla="*/ 2147483646 h 77"/>
                  <a:gd name="T8" fmla="*/ 2147483646 w 110"/>
                  <a:gd name="T9" fmla="*/ 2147483646 h 77"/>
                  <a:gd name="T10" fmla="*/ 2147483646 w 110"/>
                  <a:gd name="T11" fmla="*/ 2147483646 h 77"/>
                  <a:gd name="T12" fmla="*/ 2147483646 w 110"/>
                  <a:gd name="T13" fmla="*/ 0 h 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0" h="77">
                    <a:moveTo>
                      <a:pt x="6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29" y="13"/>
                      <a:pt x="50" y="24"/>
                      <a:pt x="64" y="36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10" y="77"/>
                      <a:pt x="110" y="77"/>
                      <a:pt x="110" y="77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43" y="17"/>
                      <a:pt x="23" y="6"/>
                      <a:pt x="6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5" name="Freeform 312"/>
              <p:cNvSpPr/>
              <p:nvPr/>
            </p:nvSpPr>
            <p:spPr bwMode="auto">
              <a:xfrm rot="521357">
                <a:off x="5158031" y="2465286"/>
                <a:ext cx="147612" cy="517578"/>
              </a:xfrm>
              <a:custGeom>
                <a:avLst/>
                <a:gdLst>
                  <a:gd name="T0" fmla="*/ 2147483646 w 37"/>
                  <a:gd name="T1" fmla="*/ 2147483646 h 124"/>
                  <a:gd name="T2" fmla="*/ 2147483646 w 37"/>
                  <a:gd name="T3" fmla="*/ 0 h 124"/>
                  <a:gd name="T4" fmla="*/ 2147483646 w 37"/>
                  <a:gd name="T5" fmla="*/ 2147483646 h 124"/>
                  <a:gd name="T6" fmla="*/ 0 w 37"/>
                  <a:gd name="T7" fmla="*/ 2147483646 h 124"/>
                  <a:gd name="T8" fmla="*/ 2147483646 w 37"/>
                  <a:gd name="T9" fmla="*/ 2147483646 h 124"/>
                  <a:gd name="T10" fmla="*/ 2147483646 w 37"/>
                  <a:gd name="T11" fmla="*/ 2147483646 h 124"/>
                  <a:gd name="T12" fmla="*/ 2147483646 w 37"/>
                  <a:gd name="T13" fmla="*/ 2147483646 h 124"/>
                  <a:gd name="T14" fmla="*/ 2147483646 w 37"/>
                  <a:gd name="T15" fmla="*/ 2147483646 h 12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7" h="124">
                    <a:moveTo>
                      <a:pt x="10" y="64"/>
                    </a:moveTo>
                    <a:cubicBezTo>
                      <a:pt x="10" y="47"/>
                      <a:pt x="17" y="12"/>
                      <a:pt x="21" y="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24" y="124"/>
                      <a:pt x="24" y="124"/>
                      <a:pt x="24" y="124"/>
                    </a:cubicBezTo>
                    <a:cubicBezTo>
                      <a:pt x="37" y="119"/>
                      <a:pt x="37" y="119"/>
                      <a:pt x="37" y="119"/>
                    </a:cubicBezTo>
                    <a:cubicBezTo>
                      <a:pt x="33" y="105"/>
                      <a:pt x="11" y="73"/>
                      <a:pt x="10" y="64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6" name="Freeform 313"/>
              <p:cNvSpPr/>
              <p:nvPr/>
            </p:nvSpPr>
            <p:spPr bwMode="auto">
              <a:xfrm rot="521357">
                <a:off x="5016837" y="1855113"/>
                <a:ext cx="35630" cy="28264"/>
              </a:xfrm>
              <a:custGeom>
                <a:avLst/>
                <a:gdLst>
                  <a:gd name="T0" fmla="*/ 2147483646 w 9"/>
                  <a:gd name="T1" fmla="*/ 2147483646 h 7"/>
                  <a:gd name="T2" fmla="*/ 2147483646 w 9"/>
                  <a:gd name="T3" fmla="*/ 0 h 7"/>
                  <a:gd name="T4" fmla="*/ 0 w 9"/>
                  <a:gd name="T5" fmla="*/ 2147483646 h 7"/>
                  <a:gd name="T6" fmla="*/ 2147483646 w 9"/>
                  <a:gd name="T7" fmla="*/ 2147483646 h 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9" y="7"/>
                    </a:moveTo>
                    <a:cubicBezTo>
                      <a:pt x="5" y="5"/>
                      <a:pt x="3" y="3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4"/>
                      <a:pt x="5" y="6"/>
                      <a:pt x="9" y="7"/>
                    </a:cubicBez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7" name="Freeform 314"/>
              <p:cNvSpPr/>
              <p:nvPr/>
            </p:nvSpPr>
            <p:spPr bwMode="auto">
              <a:xfrm rot="521357">
                <a:off x="5016304" y="1862138"/>
                <a:ext cx="35630" cy="21198"/>
              </a:xfrm>
              <a:custGeom>
                <a:avLst/>
                <a:gdLst>
                  <a:gd name="T0" fmla="*/ 2147483646 w 9"/>
                  <a:gd name="T1" fmla="*/ 2147483646 h 5"/>
                  <a:gd name="T2" fmla="*/ 0 w 9"/>
                  <a:gd name="T3" fmla="*/ 0 h 5"/>
                  <a:gd name="T4" fmla="*/ 2147483646 w 9"/>
                  <a:gd name="T5" fmla="*/ 2147483646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5" y="4"/>
                      <a:pt x="2" y="2"/>
                      <a:pt x="0" y="0"/>
                    </a:cubicBezTo>
                    <a:cubicBezTo>
                      <a:pt x="0" y="2"/>
                      <a:pt x="3" y="4"/>
                      <a:pt x="9" y="5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8" name="Freeform 316"/>
              <p:cNvSpPr/>
              <p:nvPr/>
            </p:nvSpPr>
            <p:spPr bwMode="auto">
              <a:xfrm rot="521357">
                <a:off x="5145382" y="2942285"/>
                <a:ext cx="121967" cy="108967"/>
              </a:xfrm>
              <a:custGeom>
                <a:avLst/>
                <a:gdLst>
                  <a:gd name="T0" fmla="*/ 2147483646 w 9979"/>
                  <a:gd name="T1" fmla="*/ 2147483646 h 10078"/>
                  <a:gd name="T2" fmla="*/ 2147483646 w 9979"/>
                  <a:gd name="T3" fmla="*/ 0 h 10078"/>
                  <a:gd name="T4" fmla="*/ 2147483646 w 9979"/>
                  <a:gd name="T5" fmla="*/ 2147483646 h 10078"/>
                  <a:gd name="T6" fmla="*/ 1743456505 w 9979"/>
                  <a:gd name="T7" fmla="*/ 2147483646 h 10078"/>
                  <a:gd name="T8" fmla="*/ 900103871 w 9979"/>
                  <a:gd name="T9" fmla="*/ 2147483646 h 10078"/>
                  <a:gd name="T10" fmla="*/ 2147483646 w 9979"/>
                  <a:gd name="T11" fmla="*/ 2147483646 h 10078"/>
                  <a:gd name="T12" fmla="*/ 2147483646 w 9979"/>
                  <a:gd name="T13" fmla="*/ 2147483646 h 10078"/>
                  <a:gd name="T14" fmla="*/ 2147483646 w 9979"/>
                  <a:gd name="T15" fmla="*/ 2147483646 h 10078"/>
                  <a:gd name="T16" fmla="*/ 2147483646 w 9979"/>
                  <a:gd name="T17" fmla="*/ 2147483646 h 1007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979" h="10078">
                    <a:moveTo>
                      <a:pt x="9739" y="1444"/>
                    </a:moveTo>
                    <a:lnTo>
                      <a:pt x="8453" y="0"/>
                    </a:lnTo>
                    <a:cubicBezTo>
                      <a:pt x="7353" y="646"/>
                      <a:pt x="7096" y="922"/>
                      <a:pt x="5775" y="1833"/>
                    </a:cubicBezTo>
                    <a:cubicBezTo>
                      <a:pt x="4453" y="2743"/>
                      <a:pt x="1440" y="4133"/>
                      <a:pt x="523" y="5457"/>
                    </a:cubicBezTo>
                    <a:cubicBezTo>
                      <a:pt x="-395" y="6781"/>
                      <a:pt x="152" y="9049"/>
                      <a:pt x="270" y="9780"/>
                    </a:cubicBezTo>
                    <a:cubicBezTo>
                      <a:pt x="388" y="10511"/>
                      <a:pt x="278" y="9645"/>
                      <a:pt x="1233" y="9843"/>
                    </a:cubicBezTo>
                    <a:cubicBezTo>
                      <a:pt x="2187" y="10041"/>
                      <a:pt x="4367" y="9342"/>
                      <a:pt x="5442" y="8429"/>
                    </a:cubicBezTo>
                    <a:cubicBezTo>
                      <a:pt x="6104" y="5714"/>
                      <a:pt x="7660" y="4097"/>
                      <a:pt x="8983" y="2935"/>
                    </a:cubicBezTo>
                    <a:cubicBezTo>
                      <a:pt x="10630" y="1769"/>
                      <a:pt x="9739" y="1444"/>
                      <a:pt x="9739" y="144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9" name="Freeform 315"/>
              <p:cNvSpPr/>
              <p:nvPr/>
            </p:nvSpPr>
            <p:spPr bwMode="auto">
              <a:xfrm rot="521357">
                <a:off x="5675333" y="2811286"/>
                <a:ext cx="144218" cy="63593"/>
              </a:xfrm>
              <a:custGeom>
                <a:avLst/>
                <a:gdLst>
                  <a:gd name="T0" fmla="*/ 2147483646 w 36"/>
                  <a:gd name="T1" fmla="*/ 0 h 15"/>
                  <a:gd name="T2" fmla="*/ 2147483646 w 36"/>
                  <a:gd name="T3" fmla="*/ 2147483646 h 15"/>
                  <a:gd name="T4" fmla="*/ 2147483646 w 36"/>
                  <a:gd name="T5" fmla="*/ 2147483646 h 15"/>
                  <a:gd name="T6" fmla="*/ 0 w 36"/>
                  <a:gd name="T7" fmla="*/ 2147483646 h 15"/>
                  <a:gd name="T8" fmla="*/ 2147483646 w 36"/>
                  <a:gd name="T9" fmla="*/ 2147483646 h 15"/>
                  <a:gd name="T10" fmla="*/ 2147483646 w 36"/>
                  <a:gd name="T11" fmla="*/ 2147483646 h 15"/>
                  <a:gd name="T12" fmla="*/ 2147483646 w 36"/>
                  <a:gd name="T13" fmla="*/ 2147483646 h 15"/>
                  <a:gd name="T14" fmla="*/ 2147483646 w 36"/>
                  <a:gd name="T15" fmla="*/ 2147483646 h 15"/>
                  <a:gd name="T16" fmla="*/ 2147483646 w 36"/>
                  <a:gd name="T17" fmla="*/ 0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6" h="15">
                    <a:moveTo>
                      <a:pt x="21" y="0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5" y="9"/>
                      <a:pt x="2" y="10"/>
                      <a:pt x="0" y="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10" y="13"/>
                      <a:pt x="15" y="13"/>
                      <a:pt x="18" y="15"/>
                    </a:cubicBezTo>
                    <a:cubicBezTo>
                      <a:pt x="24" y="15"/>
                      <a:pt x="30" y="13"/>
                      <a:pt x="36" y="10"/>
                    </a:cubicBezTo>
                    <a:cubicBezTo>
                      <a:pt x="35" y="7"/>
                      <a:pt x="33" y="4"/>
                      <a:pt x="30" y="2"/>
                    </a:cubicBezTo>
                    <a:cubicBezTo>
                      <a:pt x="21" y="0"/>
                      <a:pt x="21" y="0"/>
                      <a:pt x="2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60" name="Line 317"/>
              <p:cNvSpPr>
                <a:spLocks noChangeShapeType="1"/>
              </p:cNvSpPr>
              <p:nvPr/>
            </p:nvSpPr>
            <p:spPr bwMode="auto">
              <a:xfrm rot="521357">
                <a:off x="5257324" y="251800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61" name="Line 318"/>
              <p:cNvSpPr>
                <a:spLocks noChangeShapeType="1"/>
              </p:cNvSpPr>
              <p:nvPr/>
            </p:nvSpPr>
            <p:spPr bwMode="auto">
              <a:xfrm rot="521357">
                <a:off x="5257324" y="251800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62" name="Line 319"/>
              <p:cNvSpPr>
                <a:spLocks noChangeShapeType="1"/>
              </p:cNvSpPr>
              <p:nvPr/>
            </p:nvSpPr>
            <p:spPr bwMode="auto">
              <a:xfrm rot="521357">
                <a:off x="5372607" y="1999522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63" name="Line 320"/>
              <p:cNvSpPr>
                <a:spLocks noChangeShapeType="1"/>
              </p:cNvSpPr>
              <p:nvPr/>
            </p:nvSpPr>
            <p:spPr bwMode="auto">
              <a:xfrm rot="521357">
                <a:off x="5372607" y="1999522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82" name="组合 181"/>
          <p:cNvGrpSpPr/>
          <p:nvPr/>
        </p:nvGrpSpPr>
        <p:grpSpPr bwMode="auto">
          <a:xfrm>
            <a:off x="3055938" y="2232025"/>
            <a:ext cx="869950" cy="1016000"/>
            <a:chOff x="3944102" y="2232025"/>
            <a:chExt cx="871006" cy="1016487"/>
          </a:xfrm>
        </p:grpSpPr>
        <p:sp>
          <p:nvSpPr>
            <p:cNvPr id="5150" name="Freeform 211"/>
            <p:cNvSpPr>
              <a:spLocks noEditPoints="1"/>
            </p:cNvSpPr>
            <p:nvPr/>
          </p:nvSpPr>
          <p:spPr bwMode="auto">
            <a:xfrm rot="521357">
              <a:off x="4024295" y="2232025"/>
              <a:ext cx="119771" cy="178845"/>
            </a:xfrm>
            <a:custGeom>
              <a:avLst/>
              <a:gdLst>
                <a:gd name="T0" fmla="*/ 2147483646 w 32"/>
                <a:gd name="T1" fmla="*/ 0 h 46"/>
                <a:gd name="T2" fmla="*/ 2147483646 w 32"/>
                <a:gd name="T3" fmla="*/ 2147483646 h 46"/>
                <a:gd name="T4" fmla="*/ 2147483646 w 32"/>
                <a:gd name="T5" fmla="*/ 2147483646 h 46"/>
                <a:gd name="T6" fmla="*/ 2147483646 w 32"/>
                <a:gd name="T7" fmla="*/ 2147483646 h 46"/>
                <a:gd name="T8" fmla="*/ 2147483646 w 32"/>
                <a:gd name="T9" fmla="*/ 2147483646 h 46"/>
                <a:gd name="T10" fmla="*/ 2147483646 w 32"/>
                <a:gd name="T11" fmla="*/ 2147483646 h 46"/>
                <a:gd name="T12" fmla="*/ 2147483646 w 32"/>
                <a:gd name="T13" fmla="*/ 2147483646 h 46"/>
                <a:gd name="T14" fmla="*/ 2147483646 w 32"/>
                <a:gd name="T15" fmla="*/ 2147483646 h 46"/>
                <a:gd name="T16" fmla="*/ 2147483646 w 32"/>
                <a:gd name="T17" fmla="*/ 0 h 46"/>
                <a:gd name="T18" fmla="*/ 2147483646 w 32"/>
                <a:gd name="T19" fmla="*/ 2147483646 h 46"/>
                <a:gd name="T20" fmla="*/ 2147483646 w 32"/>
                <a:gd name="T21" fmla="*/ 2147483646 h 46"/>
                <a:gd name="T22" fmla="*/ 2147483646 w 32"/>
                <a:gd name="T23" fmla="*/ 2147483646 h 46"/>
                <a:gd name="T24" fmla="*/ 2147483646 w 32"/>
                <a:gd name="T25" fmla="*/ 2147483646 h 46"/>
                <a:gd name="T26" fmla="*/ 2147483646 w 32"/>
                <a:gd name="T27" fmla="*/ 2147483646 h 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2" h="46">
                  <a:moveTo>
                    <a:pt x="32" y="0"/>
                  </a:moveTo>
                  <a:cubicBezTo>
                    <a:pt x="32" y="1"/>
                    <a:pt x="31" y="3"/>
                    <a:pt x="31" y="4"/>
                  </a:cubicBezTo>
                  <a:cubicBezTo>
                    <a:pt x="31" y="5"/>
                    <a:pt x="30" y="5"/>
                    <a:pt x="30" y="6"/>
                  </a:cubicBezTo>
                  <a:cubicBezTo>
                    <a:pt x="27" y="13"/>
                    <a:pt x="20" y="19"/>
                    <a:pt x="9" y="23"/>
                  </a:cubicBezTo>
                  <a:cubicBezTo>
                    <a:pt x="9" y="25"/>
                    <a:pt x="9" y="27"/>
                    <a:pt x="10" y="29"/>
                  </a:cubicBezTo>
                  <a:cubicBezTo>
                    <a:pt x="7" y="34"/>
                    <a:pt x="5" y="40"/>
                    <a:pt x="5" y="4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0" y="25"/>
                    <a:pt x="2" y="15"/>
                    <a:pt x="10" y="6"/>
                  </a:cubicBezTo>
                  <a:cubicBezTo>
                    <a:pt x="16" y="2"/>
                    <a:pt x="23" y="0"/>
                    <a:pt x="32" y="0"/>
                  </a:cubicBezTo>
                  <a:close/>
                  <a:moveTo>
                    <a:pt x="25" y="4"/>
                  </a:moveTo>
                  <a:cubicBezTo>
                    <a:pt x="23" y="11"/>
                    <a:pt x="17" y="17"/>
                    <a:pt x="9" y="22"/>
                  </a:cubicBezTo>
                  <a:cubicBezTo>
                    <a:pt x="20" y="18"/>
                    <a:pt x="27" y="11"/>
                    <a:pt x="30" y="1"/>
                  </a:cubicBezTo>
                  <a:cubicBezTo>
                    <a:pt x="23" y="1"/>
                    <a:pt x="17" y="2"/>
                    <a:pt x="12" y="6"/>
                  </a:cubicBezTo>
                  <a:cubicBezTo>
                    <a:pt x="18" y="4"/>
                    <a:pt x="23" y="3"/>
                    <a:pt x="25" y="4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1" name="Freeform 212"/>
            <p:cNvSpPr/>
            <p:nvPr/>
          </p:nvSpPr>
          <p:spPr bwMode="auto">
            <a:xfrm rot="521357">
              <a:off x="4065504" y="2239479"/>
              <a:ext cx="77221" cy="80398"/>
            </a:xfrm>
            <a:custGeom>
              <a:avLst/>
              <a:gdLst>
                <a:gd name="T0" fmla="*/ 0 w 21"/>
                <a:gd name="T1" fmla="*/ 2147483646 h 21"/>
                <a:gd name="T2" fmla="*/ 2147483646 w 21"/>
                <a:gd name="T3" fmla="*/ 2147483646 h 21"/>
                <a:gd name="T4" fmla="*/ 2147483646 w 21"/>
                <a:gd name="T5" fmla="*/ 2147483646 h 21"/>
                <a:gd name="T6" fmla="*/ 2147483646 w 21"/>
                <a:gd name="T7" fmla="*/ 0 h 21"/>
                <a:gd name="T8" fmla="*/ 0 w 21"/>
                <a:gd name="T9" fmla="*/ 2147483646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" h="21">
                  <a:moveTo>
                    <a:pt x="0" y="21"/>
                  </a:moveTo>
                  <a:cubicBezTo>
                    <a:pt x="8" y="16"/>
                    <a:pt x="14" y="10"/>
                    <a:pt x="16" y="3"/>
                  </a:cubicBezTo>
                  <a:cubicBezTo>
                    <a:pt x="14" y="2"/>
                    <a:pt x="9" y="3"/>
                    <a:pt x="3" y="5"/>
                  </a:cubicBezTo>
                  <a:cubicBezTo>
                    <a:pt x="8" y="1"/>
                    <a:pt x="14" y="0"/>
                    <a:pt x="21" y="0"/>
                  </a:cubicBezTo>
                  <a:cubicBezTo>
                    <a:pt x="18" y="10"/>
                    <a:pt x="11" y="17"/>
                    <a:pt x="0" y="21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2" name="Freeform 213"/>
            <p:cNvSpPr>
              <a:spLocks noEditPoints="1"/>
            </p:cNvSpPr>
            <p:nvPr/>
          </p:nvSpPr>
          <p:spPr bwMode="auto">
            <a:xfrm rot="521357">
              <a:off x="4060835" y="2259209"/>
              <a:ext cx="97708" cy="187049"/>
            </a:xfrm>
            <a:custGeom>
              <a:avLst/>
              <a:gdLst>
                <a:gd name="T0" fmla="*/ 2147483646 w 26"/>
                <a:gd name="T1" fmla="*/ 2147483646 h 48"/>
                <a:gd name="T2" fmla="*/ 2147483646 w 26"/>
                <a:gd name="T3" fmla="*/ 0 h 48"/>
                <a:gd name="T4" fmla="*/ 2147483646 w 26"/>
                <a:gd name="T5" fmla="*/ 2147483646 h 48"/>
                <a:gd name="T6" fmla="*/ 2147483646 w 26"/>
                <a:gd name="T7" fmla="*/ 2147483646 h 48"/>
                <a:gd name="T8" fmla="*/ 2147483646 w 26"/>
                <a:gd name="T9" fmla="*/ 2147483646 h 48"/>
                <a:gd name="T10" fmla="*/ 2147483646 w 26"/>
                <a:gd name="T11" fmla="*/ 2147483646 h 48"/>
                <a:gd name="T12" fmla="*/ 2147483646 w 26"/>
                <a:gd name="T13" fmla="*/ 2147483646 h 48"/>
                <a:gd name="T14" fmla="*/ 2147483646 w 26"/>
                <a:gd name="T15" fmla="*/ 2147483646 h 48"/>
                <a:gd name="T16" fmla="*/ 2147483646 w 26"/>
                <a:gd name="T17" fmla="*/ 2147483646 h 48"/>
                <a:gd name="T18" fmla="*/ 2147483646 w 26"/>
                <a:gd name="T19" fmla="*/ 2147483646 h 48"/>
                <a:gd name="T20" fmla="*/ 2147483646 w 26"/>
                <a:gd name="T21" fmla="*/ 2147483646 h 48"/>
                <a:gd name="T22" fmla="*/ 2147483646 w 26"/>
                <a:gd name="T23" fmla="*/ 2147483646 h 48"/>
                <a:gd name="T24" fmla="*/ 2147483646 w 26"/>
                <a:gd name="T25" fmla="*/ 2147483646 h 48"/>
                <a:gd name="T26" fmla="*/ 2147483646 w 26"/>
                <a:gd name="T27" fmla="*/ 2147483646 h 48"/>
                <a:gd name="T28" fmla="*/ 2147483646 w 26"/>
                <a:gd name="T29" fmla="*/ 2147483646 h 48"/>
                <a:gd name="T30" fmla="*/ 2147483646 w 26"/>
                <a:gd name="T31" fmla="*/ 2147483646 h 48"/>
                <a:gd name="T32" fmla="*/ 2147483646 w 26"/>
                <a:gd name="T33" fmla="*/ 2147483646 h 48"/>
                <a:gd name="T34" fmla="*/ 2147483646 w 26"/>
                <a:gd name="T35" fmla="*/ 2147483646 h 48"/>
                <a:gd name="T36" fmla="*/ 2147483646 w 26"/>
                <a:gd name="T37" fmla="*/ 2147483646 h 48"/>
                <a:gd name="T38" fmla="*/ 2147483646 w 26"/>
                <a:gd name="T39" fmla="*/ 2147483646 h 48"/>
                <a:gd name="T40" fmla="*/ 2147483646 w 26"/>
                <a:gd name="T41" fmla="*/ 2147483646 h 48"/>
                <a:gd name="T42" fmla="*/ 2147483646 w 26"/>
                <a:gd name="T43" fmla="*/ 2147483646 h 48"/>
                <a:gd name="T44" fmla="*/ 2147483646 w 26"/>
                <a:gd name="T45" fmla="*/ 2147483646 h 48"/>
                <a:gd name="T46" fmla="*/ 2147483646 w 26"/>
                <a:gd name="T47" fmla="*/ 2147483646 h 48"/>
                <a:gd name="T48" fmla="*/ 2147483646 w 26"/>
                <a:gd name="T49" fmla="*/ 2147483646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6" h="48">
                  <a:moveTo>
                    <a:pt x="16" y="7"/>
                  </a:moveTo>
                  <a:cubicBezTo>
                    <a:pt x="19" y="5"/>
                    <a:pt x="19" y="3"/>
                    <a:pt x="19" y="0"/>
                  </a:cubicBezTo>
                  <a:cubicBezTo>
                    <a:pt x="22" y="4"/>
                    <a:pt x="23" y="7"/>
                    <a:pt x="22" y="12"/>
                  </a:cubicBezTo>
                  <a:cubicBezTo>
                    <a:pt x="25" y="16"/>
                    <a:pt x="26" y="21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1" y="31"/>
                    <a:pt x="21" y="32"/>
                  </a:cubicBezTo>
                  <a:cubicBezTo>
                    <a:pt x="20" y="33"/>
                    <a:pt x="19" y="33"/>
                    <a:pt x="18" y="34"/>
                  </a:cubicBezTo>
                  <a:cubicBezTo>
                    <a:pt x="17" y="34"/>
                    <a:pt x="16" y="35"/>
                    <a:pt x="15" y="35"/>
                  </a:cubicBezTo>
                  <a:cubicBezTo>
                    <a:pt x="14" y="35"/>
                    <a:pt x="12" y="35"/>
                    <a:pt x="10" y="3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8" y="36"/>
                    <a:pt x="14" y="38"/>
                    <a:pt x="20" y="39"/>
                  </a:cubicBezTo>
                  <a:cubicBezTo>
                    <a:pt x="22" y="42"/>
                    <a:pt x="24" y="44"/>
                    <a:pt x="25" y="47"/>
                  </a:cubicBezTo>
                  <a:cubicBezTo>
                    <a:pt x="19" y="48"/>
                    <a:pt x="13" y="46"/>
                    <a:pt x="8" y="41"/>
                  </a:cubicBezTo>
                  <a:cubicBezTo>
                    <a:pt x="2" y="41"/>
                    <a:pt x="0" y="38"/>
                    <a:pt x="1" y="31"/>
                  </a:cubicBezTo>
                  <a:cubicBezTo>
                    <a:pt x="0" y="27"/>
                    <a:pt x="0" y="23"/>
                    <a:pt x="1" y="19"/>
                  </a:cubicBezTo>
                  <a:cubicBezTo>
                    <a:pt x="7" y="16"/>
                    <a:pt x="12" y="12"/>
                    <a:pt x="16" y="7"/>
                  </a:cubicBezTo>
                  <a:close/>
                  <a:moveTo>
                    <a:pt x="20" y="3"/>
                  </a:moveTo>
                  <a:cubicBezTo>
                    <a:pt x="21" y="5"/>
                    <a:pt x="21" y="8"/>
                    <a:pt x="20" y="12"/>
                  </a:cubicBezTo>
                  <a:cubicBezTo>
                    <a:pt x="22" y="16"/>
                    <a:pt x="22" y="20"/>
                    <a:pt x="21" y="24"/>
                  </a:cubicBezTo>
                  <a:cubicBezTo>
                    <a:pt x="20" y="29"/>
                    <a:pt x="18" y="32"/>
                    <a:pt x="15" y="34"/>
                  </a:cubicBezTo>
                  <a:cubicBezTo>
                    <a:pt x="16" y="34"/>
                    <a:pt x="17" y="34"/>
                    <a:pt x="18" y="33"/>
                  </a:cubicBezTo>
                  <a:cubicBezTo>
                    <a:pt x="20" y="32"/>
                    <a:pt x="22" y="29"/>
                    <a:pt x="22" y="24"/>
                  </a:cubicBezTo>
                  <a:cubicBezTo>
                    <a:pt x="24" y="21"/>
                    <a:pt x="24" y="16"/>
                    <a:pt x="22" y="12"/>
                  </a:cubicBezTo>
                  <a:cubicBezTo>
                    <a:pt x="22" y="8"/>
                    <a:pt x="22" y="5"/>
                    <a:pt x="20" y="3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3" name="Freeform 214"/>
            <p:cNvSpPr/>
            <p:nvPr/>
          </p:nvSpPr>
          <p:spPr bwMode="auto">
            <a:xfrm rot="521357">
              <a:off x="4120511" y="2274629"/>
              <a:ext cx="33095" cy="121418"/>
            </a:xfrm>
            <a:custGeom>
              <a:avLst/>
              <a:gdLst>
                <a:gd name="T0" fmla="*/ 2147483646 w 9"/>
                <a:gd name="T1" fmla="*/ 2147483646 h 31"/>
                <a:gd name="T2" fmla="*/ 2147483646 w 9"/>
                <a:gd name="T3" fmla="*/ 0 h 31"/>
                <a:gd name="T4" fmla="*/ 2147483646 w 9"/>
                <a:gd name="T5" fmla="*/ 2147483646 h 31"/>
                <a:gd name="T6" fmla="*/ 2147483646 w 9"/>
                <a:gd name="T7" fmla="*/ 2147483646 h 31"/>
                <a:gd name="T8" fmla="*/ 2147483646 w 9"/>
                <a:gd name="T9" fmla="*/ 2147483646 h 31"/>
                <a:gd name="T10" fmla="*/ 0 w 9"/>
                <a:gd name="T11" fmla="*/ 2147483646 h 31"/>
                <a:gd name="T12" fmla="*/ 2147483646 w 9"/>
                <a:gd name="T13" fmla="*/ 2147483646 h 31"/>
                <a:gd name="T14" fmla="*/ 2147483646 w 9"/>
                <a:gd name="T15" fmla="*/ 2147483646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31">
                  <a:moveTo>
                    <a:pt x="5" y="9"/>
                  </a:moveTo>
                  <a:cubicBezTo>
                    <a:pt x="6" y="5"/>
                    <a:pt x="6" y="2"/>
                    <a:pt x="5" y="0"/>
                  </a:cubicBezTo>
                  <a:cubicBezTo>
                    <a:pt x="7" y="2"/>
                    <a:pt x="7" y="5"/>
                    <a:pt x="7" y="9"/>
                  </a:cubicBezTo>
                  <a:cubicBezTo>
                    <a:pt x="9" y="13"/>
                    <a:pt x="9" y="18"/>
                    <a:pt x="7" y="21"/>
                  </a:cubicBezTo>
                  <a:cubicBezTo>
                    <a:pt x="7" y="26"/>
                    <a:pt x="5" y="29"/>
                    <a:pt x="3" y="30"/>
                  </a:cubicBezTo>
                  <a:cubicBezTo>
                    <a:pt x="2" y="31"/>
                    <a:pt x="1" y="31"/>
                    <a:pt x="0" y="31"/>
                  </a:cubicBezTo>
                  <a:cubicBezTo>
                    <a:pt x="3" y="29"/>
                    <a:pt x="5" y="26"/>
                    <a:pt x="6" y="21"/>
                  </a:cubicBezTo>
                  <a:cubicBezTo>
                    <a:pt x="7" y="17"/>
                    <a:pt x="7" y="13"/>
                    <a:pt x="5" y="9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4" name="Freeform 215"/>
            <p:cNvSpPr/>
            <p:nvPr/>
          </p:nvSpPr>
          <p:spPr bwMode="auto">
            <a:xfrm rot="521357">
              <a:off x="4056208" y="2256823"/>
              <a:ext cx="77221" cy="167359"/>
            </a:xfrm>
            <a:custGeom>
              <a:avLst/>
              <a:gdLst>
                <a:gd name="T0" fmla="*/ 2147483646 w 21"/>
                <a:gd name="T1" fmla="*/ 0 h 43"/>
                <a:gd name="T2" fmla="*/ 2147483646 w 21"/>
                <a:gd name="T3" fmla="*/ 2147483646 h 43"/>
                <a:gd name="T4" fmla="*/ 2147483646 w 21"/>
                <a:gd name="T5" fmla="*/ 2147483646 h 43"/>
                <a:gd name="T6" fmla="*/ 2147483646 w 21"/>
                <a:gd name="T7" fmla="*/ 2147483646 h 43"/>
                <a:gd name="T8" fmla="*/ 2147483646 w 21"/>
                <a:gd name="T9" fmla="*/ 2147483646 h 43"/>
                <a:gd name="T10" fmla="*/ 2147483646 w 21"/>
                <a:gd name="T11" fmla="*/ 2147483646 h 43"/>
                <a:gd name="T12" fmla="*/ 2147483646 w 21"/>
                <a:gd name="T13" fmla="*/ 2147483646 h 43"/>
                <a:gd name="T14" fmla="*/ 2147483646 w 21"/>
                <a:gd name="T15" fmla="*/ 2147483646 h 43"/>
                <a:gd name="T16" fmla="*/ 0 w 21"/>
                <a:gd name="T17" fmla="*/ 2147483646 h 43"/>
                <a:gd name="T18" fmla="*/ 2147483646 w 21"/>
                <a:gd name="T19" fmla="*/ 0 h 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3"/>
                    <a:pt x="21" y="5"/>
                    <a:pt x="18" y="7"/>
                  </a:cubicBezTo>
                  <a:cubicBezTo>
                    <a:pt x="14" y="12"/>
                    <a:pt x="9" y="16"/>
                    <a:pt x="3" y="19"/>
                  </a:cubicBezTo>
                  <a:cubicBezTo>
                    <a:pt x="2" y="23"/>
                    <a:pt x="2" y="27"/>
                    <a:pt x="3" y="31"/>
                  </a:cubicBezTo>
                  <a:cubicBezTo>
                    <a:pt x="2" y="38"/>
                    <a:pt x="4" y="41"/>
                    <a:pt x="10" y="41"/>
                  </a:cubicBezTo>
                  <a:cubicBezTo>
                    <a:pt x="5" y="43"/>
                    <a:pt x="2" y="43"/>
                    <a:pt x="1" y="39"/>
                  </a:cubicBezTo>
                  <a:cubicBezTo>
                    <a:pt x="0" y="35"/>
                    <a:pt x="0" y="31"/>
                    <a:pt x="2" y="27"/>
                  </a:cubicBezTo>
                  <a:cubicBezTo>
                    <a:pt x="1" y="26"/>
                    <a:pt x="1" y="25"/>
                    <a:pt x="1" y="23"/>
                  </a:cubicBezTo>
                  <a:cubicBezTo>
                    <a:pt x="0" y="21"/>
                    <a:pt x="0" y="19"/>
                    <a:pt x="0" y="17"/>
                  </a:cubicBezTo>
                  <a:cubicBezTo>
                    <a:pt x="11" y="13"/>
                    <a:pt x="18" y="7"/>
                    <a:pt x="21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5" name="Freeform 216"/>
            <p:cNvSpPr/>
            <p:nvPr/>
          </p:nvSpPr>
          <p:spPr bwMode="auto">
            <a:xfrm rot="521357">
              <a:off x="4138593" y="2259392"/>
              <a:ext cx="37822" cy="103369"/>
            </a:xfrm>
            <a:custGeom>
              <a:avLst/>
              <a:gdLst>
                <a:gd name="T0" fmla="*/ 2147483646 w 10"/>
                <a:gd name="T1" fmla="*/ 2147483646 h 27"/>
                <a:gd name="T2" fmla="*/ 0 w 10"/>
                <a:gd name="T3" fmla="*/ 2147483646 h 27"/>
                <a:gd name="T4" fmla="*/ 2147483646 w 10"/>
                <a:gd name="T5" fmla="*/ 0 h 27"/>
                <a:gd name="T6" fmla="*/ 2147483646 w 10"/>
                <a:gd name="T7" fmla="*/ 2147483646 h 27"/>
                <a:gd name="T8" fmla="*/ 2147483646 w 10"/>
                <a:gd name="T9" fmla="*/ 2147483646 h 27"/>
                <a:gd name="T10" fmla="*/ 2147483646 w 10"/>
                <a:gd name="T11" fmla="*/ 2147483646 h 27"/>
                <a:gd name="T12" fmla="*/ 2147483646 w 10"/>
                <a:gd name="T13" fmla="*/ 2147483646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27">
                  <a:moveTo>
                    <a:pt x="3" y="14"/>
                  </a:moveTo>
                  <a:cubicBezTo>
                    <a:pt x="4" y="9"/>
                    <a:pt x="3" y="6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5" y="5"/>
                    <a:pt x="6" y="10"/>
                    <a:pt x="6" y="14"/>
                  </a:cubicBezTo>
                  <a:cubicBezTo>
                    <a:pt x="8" y="16"/>
                    <a:pt x="9" y="19"/>
                    <a:pt x="10" y="22"/>
                  </a:cubicBezTo>
                  <a:cubicBezTo>
                    <a:pt x="8" y="22"/>
                    <a:pt x="6" y="24"/>
                    <a:pt x="4" y="27"/>
                  </a:cubicBezTo>
                  <a:cubicBezTo>
                    <a:pt x="7" y="23"/>
                    <a:pt x="6" y="18"/>
                    <a:pt x="3" y="1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6" name="Freeform 217"/>
            <p:cNvSpPr/>
            <p:nvPr/>
          </p:nvSpPr>
          <p:spPr bwMode="auto">
            <a:xfrm rot="521357">
              <a:off x="4014588" y="2250547"/>
              <a:ext cx="77221" cy="182127"/>
            </a:xfrm>
            <a:custGeom>
              <a:avLst/>
              <a:gdLst>
                <a:gd name="T0" fmla="*/ 2147483646 w 21"/>
                <a:gd name="T1" fmla="*/ 2147483646 h 47"/>
                <a:gd name="T2" fmla="*/ 2147483646 w 21"/>
                <a:gd name="T3" fmla="*/ 2147483646 h 47"/>
                <a:gd name="T4" fmla="*/ 2147483646 w 21"/>
                <a:gd name="T5" fmla="*/ 2147483646 h 47"/>
                <a:gd name="T6" fmla="*/ 2147483646 w 21"/>
                <a:gd name="T7" fmla="*/ 2147483646 h 47"/>
                <a:gd name="T8" fmla="*/ 2147483646 w 21"/>
                <a:gd name="T9" fmla="*/ 2147483646 h 47"/>
                <a:gd name="T10" fmla="*/ 2147483646 w 21"/>
                <a:gd name="T11" fmla="*/ 2147483646 h 47"/>
                <a:gd name="T12" fmla="*/ 0 w 21"/>
                <a:gd name="T13" fmla="*/ 2147483646 h 47"/>
                <a:gd name="T14" fmla="*/ 2147483646 w 21"/>
                <a:gd name="T15" fmla="*/ 2147483646 h 47"/>
                <a:gd name="T16" fmla="*/ 2147483646 w 21"/>
                <a:gd name="T17" fmla="*/ 0 h 47"/>
                <a:gd name="T18" fmla="*/ 2147483646 w 21"/>
                <a:gd name="T19" fmla="*/ 2147483646 h 47"/>
                <a:gd name="T20" fmla="*/ 2147483646 w 21"/>
                <a:gd name="T21" fmla="*/ 2147483646 h 47"/>
                <a:gd name="T22" fmla="*/ 2147483646 w 21"/>
                <a:gd name="T23" fmla="*/ 2147483646 h 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" h="47">
                  <a:moveTo>
                    <a:pt x="12" y="23"/>
                  </a:moveTo>
                  <a:cubicBezTo>
                    <a:pt x="12" y="25"/>
                    <a:pt x="12" y="26"/>
                    <a:pt x="13" y="27"/>
                  </a:cubicBezTo>
                  <a:cubicBezTo>
                    <a:pt x="11" y="31"/>
                    <a:pt x="11" y="35"/>
                    <a:pt x="12" y="39"/>
                  </a:cubicBezTo>
                  <a:cubicBezTo>
                    <a:pt x="13" y="43"/>
                    <a:pt x="16" y="43"/>
                    <a:pt x="21" y="41"/>
                  </a:cubicBezTo>
                  <a:cubicBezTo>
                    <a:pt x="19" y="44"/>
                    <a:pt x="17" y="46"/>
                    <a:pt x="14" y="47"/>
                  </a:cubicBezTo>
                  <a:cubicBezTo>
                    <a:pt x="11" y="46"/>
                    <a:pt x="8" y="44"/>
                    <a:pt x="4" y="43"/>
                  </a:cubicBezTo>
                  <a:cubicBezTo>
                    <a:pt x="2" y="37"/>
                    <a:pt x="0" y="31"/>
                    <a:pt x="0" y="24"/>
                  </a:cubicBezTo>
                  <a:cubicBezTo>
                    <a:pt x="0" y="19"/>
                    <a:pt x="2" y="14"/>
                    <a:pt x="4" y="8"/>
                  </a:cubicBezTo>
                  <a:cubicBezTo>
                    <a:pt x="6" y="5"/>
                    <a:pt x="9" y="2"/>
                    <a:pt x="12" y="0"/>
                  </a:cubicBezTo>
                  <a:cubicBezTo>
                    <a:pt x="4" y="9"/>
                    <a:pt x="2" y="19"/>
                    <a:pt x="5" y="3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34"/>
                    <a:pt x="9" y="28"/>
                    <a:pt x="12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7" name="Freeform 218"/>
            <p:cNvSpPr>
              <a:spLocks noEditPoints="1"/>
            </p:cNvSpPr>
            <p:nvPr/>
          </p:nvSpPr>
          <p:spPr bwMode="auto">
            <a:xfrm rot="521357">
              <a:off x="4129675" y="2352530"/>
              <a:ext cx="357739" cy="162438"/>
            </a:xfrm>
            <a:custGeom>
              <a:avLst/>
              <a:gdLst>
                <a:gd name="T0" fmla="*/ 2147483646 w 96"/>
                <a:gd name="T1" fmla="*/ 2147483646 h 42"/>
                <a:gd name="T2" fmla="*/ 2147483646 w 96"/>
                <a:gd name="T3" fmla="*/ 2147483646 h 42"/>
                <a:gd name="T4" fmla="*/ 2147483646 w 96"/>
                <a:gd name="T5" fmla="*/ 2147483646 h 42"/>
                <a:gd name="T6" fmla="*/ 2147483646 w 96"/>
                <a:gd name="T7" fmla="*/ 2147483646 h 42"/>
                <a:gd name="T8" fmla="*/ 2147483646 w 96"/>
                <a:gd name="T9" fmla="*/ 2147483646 h 42"/>
                <a:gd name="T10" fmla="*/ 2147483646 w 96"/>
                <a:gd name="T11" fmla="*/ 2147483646 h 42"/>
                <a:gd name="T12" fmla="*/ 2147483646 w 96"/>
                <a:gd name="T13" fmla="*/ 2147483646 h 42"/>
                <a:gd name="T14" fmla="*/ 2147483646 w 96"/>
                <a:gd name="T15" fmla="*/ 2147483646 h 42"/>
                <a:gd name="T16" fmla="*/ 2147483646 w 96"/>
                <a:gd name="T17" fmla="*/ 0 h 42"/>
                <a:gd name="T18" fmla="*/ 2147483646 w 96"/>
                <a:gd name="T19" fmla="*/ 2147483646 h 42"/>
                <a:gd name="T20" fmla="*/ 2147483646 w 96"/>
                <a:gd name="T21" fmla="*/ 2147483646 h 42"/>
                <a:gd name="T22" fmla="*/ 2147483646 w 96"/>
                <a:gd name="T23" fmla="*/ 2147483646 h 42"/>
                <a:gd name="T24" fmla="*/ 2147483646 w 96"/>
                <a:gd name="T25" fmla="*/ 2147483646 h 42"/>
                <a:gd name="T26" fmla="*/ 2147483646 w 96"/>
                <a:gd name="T27" fmla="*/ 2147483646 h 42"/>
                <a:gd name="T28" fmla="*/ 2147483646 w 96"/>
                <a:gd name="T29" fmla="*/ 2147483646 h 42"/>
                <a:gd name="T30" fmla="*/ 2147483646 w 96"/>
                <a:gd name="T31" fmla="*/ 2147483646 h 42"/>
                <a:gd name="T32" fmla="*/ 2147483646 w 96"/>
                <a:gd name="T33" fmla="*/ 2147483646 h 42"/>
                <a:gd name="T34" fmla="*/ 2147483646 w 96"/>
                <a:gd name="T35" fmla="*/ 2147483646 h 42"/>
                <a:gd name="T36" fmla="*/ 2147483646 w 96"/>
                <a:gd name="T37" fmla="*/ 2147483646 h 42"/>
                <a:gd name="T38" fmla="*/ 0 w 96"/>
                <a:gd name="T39" fmla="*/ 2147483646 h 42"/>
                <a:gd name="T40" fmla="*/ 2147483646 w 96"/>
                <a:gd name="T41" fmla="*/ 2147483646 h 42"/>
                <a:gd name="T42" fmla="*/ 2147483646 w 96"/>
                <a:gd name="T43" fmla="*/ 2147483646 h 42"/>
                <a:gd name="T44" fmla="*/ 2147483646 w 96"/>
                <a:gd name="T45" fmla="*/ 2147483646 h 42"/>
                <a:gd name="T46" fmla="*/ 2147483646 w 96"/>
                <a:gd name="T47" fmla="*/ 2147483646 h 42"/>
                <a:gd name="T48" fmla="*/ 2147483646 w 96"/>
                <a:gd name="T49" fmla="*/ 2147483646 h 42"/>
                <a:gd name="T50" fmla="*/ 2147483646 w 96"/>
                <a:gd name="T51" fmla="*/ 2147483646 h 42"/>
                <a:gd name="T52" fmla="*/ 2147483646 w 96"/>
                <a:gd name="T53" fmla="*/ 2147483646 h 42"/>
                <a:gd name="T54" fmla="*/ 2147483646 w 96"/>
                <a:gd name="T55" fmla="*/ 2147483646 h 42"/>
                <a:gd name="T56" fmla="*/ 2147483646 w 96"/>
                <a:gd name="T57" fmla="*/ 2147483646 h 42"/>
                <a:gd name="T58" fmla="*/ 2147483646 w 96"/>
                <a:gd name="T59" fmla="*/ 2147483646 h 42"/>
                <a:gd name="T60" fmla="*/ 2147483646 w 96"/>
                <a:gd name="T61" fmla="*/ 2147483646 h 42"/>
                <a:gd name="T62" fmla="*/ 2147483646 w 96"/>
                <a:gd name="T63" fmla="*/ 2147483646 h 42"/>
                <a:gd name="T64" fmla="*/ 2147483646 w 96"/>
                <a:gd name="T65" fmla="*/ 2147483646 h 42"/>
                <a:gd name="T66" fmla="*/ 2147483646 w 96"/>
                <a:gd name="T67" fmla="*/ 2147483646 h 42"/>
                <a:gd name="T68" fmla="*/ 2147483646 w 96"/>
                <a:gd name="T69" fmla="*/ 2147483646 h 42"/>
                <a:gd name="T70" fmla="*/ 2147483646 w 96"/>
                <a:gd name="T71" fmla="*/ 2147483646 h 42"/>
                <a:gd name="T72" fmla="*/ 2147483646 w 96"/>
                <a:gd name="T73" fmla="*/ 2147483646 h 42"/>
                <a:gd name="T74" fmla="*/ 2147483646 w 96"/>
                <a:gd name="T75" fmla="*/ 2147483646 h 42"/>
                <a:gd name="T76" fmla="*/ 2147483646 w 96"/>
                <a:gd name="T77" fmla="*/ 2147483646 h 42"/>
                <a:gd name="T78" fmla="*/ 2147483646 w 96"/>
                <a:gd name="T79" fmla="*/ 2147483646 h 42"/>
                <a:gd name="T80" fmla="*/ 2147483646 w 96"/>
                <a:gd name="T81" fmla="*/ 2147483646 h 42"/>
                <a:gd name="T82" fmla="*/ 2147483646 w 96"/>
                <a:gd name="T83" fmla="*/ 2147483646 h 42"/>
                <a:gd name="T84" fmla="*/ 2147483646 w 96"/>
                <a:gd name="T85" fmla="*/ 2147483646 h 42"/>
                <a:gd name="T86" fmla="*/ 2147483646 w 96"/>
                <a:gd name="T87" fmla="*/ 2147483646 h 42"/>
                <a:gd name="T88" fmla="*/ 2147483646 w 96"/>
                <a:gd name="T89" fmla="*/ 2147483646 h 42"/>
                <a:gd name="T90" fmla="*/ 2147483646 w 96"/>
                <a:gd name="T91" fmla="*/ 2147483646 h 42"/>
                <a:gd name="T92" fmla="*/ 2147483646 w 96"/>
                <a:gd name="T93" fmla="*/ 2147483646 h 4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96" h="42">
                  <a:moveTo>
                    <a:pt x="19" y="8"/>
                  </a:moveTo>
                  <a:cubicBezTo>
                    <a:pt x="20" y="8"/>
                    <a:pt x="20" y="8"/>
                    <a:pt x="20" y="8"/>
                  </a:cubicBezTo>
                  <a:cubicBezTo>
                    <a:pt x="28" y="10"/>
                    <a:pt x="36" y="11"/>
                    <a:pt x="44" y="11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36" y="23"/>
                    <a:pt x="27" y="20"/>
                    <a:pt x="18" y="14"/>
                  </a:cubicBezTo>
                  <a:cubicBezTo>
                    <a:pt x="24" y="18"/>
                    <a:pt x="29" y="24"/>
                    <a:pt x="33" y="30"/>
                  </a:cubicBezTo>
                  <a:cubicBezTo>
                    <a:pt x="35" y="33"/>
                    <a:pt x="37" y="35"/>
                    <a:pt x="38" y="38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5"/>
                    <a:pt x="1" y="14"/>
                    <a:pt x="1" y="14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4" y="6"/>
                    <a:pt x="6" y="4"/>
                    <a:pt x="8" y="4"/>
                  </a:cubicBezTo>
                  <a:cubicBezTo>
                    <a:pt x="11" y="4"/>
                    <a:pt x="15" y="5"/>
                    <a:pt x="19" y="8"/>
                  </a:cubicBezTo>
                  <a:close/>
                  <a:moveTo>
                    <a:pt x="51" y="11"/>
                  </a:moveTo>
                  <a:cubicBezTo>
                    <a:pt x="50" y="9"/>
                    <a:pt x="50" y="9"/>
                    <a:pt x="50" y="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5" y="6"/>
                    <a:pt x="11" y="5"/>
                    <a:pt x="8" y="5"/>
                  </a:cubicBezTo>
                  <a:cubicBezTo>
                    <a:pt x="6" y="5"/>
                    <a:pt x="4" y="7"/>
                    <a:pt x="3" y="9"/>
                  </a:cubicBezTo>
                  <a:cubicBezTo>
                    <a:pt x="4" y="8"/>
                    <a:pt x="6" y="7"/>
                    <a:pt x="8" y="7"/>
                  </a:cubicBezTo>
                  <a:cubicBezTo>
                    <a:pt x="11" y="7"/>
                    <a:pt x="15" y="8"/>
                    <a:pt x="18" y="10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1" y="11"/>
                    <a:pt x="51" y="11"/>
                    <a:pt x="51" y="11"/>
                  </a:cubicBezTo>
                  <a:close/>
                  <a:moveTo>
                    <a:pt x="58" y="10"/>
                  </a:moveTo>
                  <a:cubicBezTo>
                    <a:pt x="55" y="13"/>
                    <a:pt x="55" y="13"/>
                    <a:pt x="55" y="13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58" y="10"/>
                    <a:pt x="58" y="10"/>
                    <a:pt x="58" y="10"/>
                  </a:cubicBezTo>
                  <a:close/>
                  <a:moveTo>
                    <a:pt x="18" y="15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23" y="23"/>
                    <a:pt x="30" y="30"/>
                    <a:pt x="34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2" y="29"/>
                    <a:pt x="26" y="22"/>
                    <a:pt x="18" y="15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8" name="Freeform 219"/>
            <p:cNvSpPr/>
            <p:nvPr/>
          </p:nvSpPr>
          <p:spPr bwMode="auto">
            <a:xfrm rot="521357">
              <a:off x="4148542" y="2360962"/>
              <a:ext cx="179657" cy="31175"/>
            </a:xfrm>
            <a:custGeom>
              <a:avLst/>
              <a:gdLst>
                <a:gd name="T0" fmla="*/ 2147483646 w 48"/>
                <a:gd name="T1" fmla="*/ 2147483646 h 8"/>
                <a:gd name="T2" fmla="*/ 2147483646 w 48"/>
                <a:gd name="T3" fmla="*/ 2147483646 h 8"/>
                <a:gd name="T4" fmla="*/ 2147483646 w 48"/>
                <a:gd name="T5" fmla="*/ 2147483646 h 8"/>
                <a:gd name="T6" fmla="*/ 2147483646 w 48"/>
                <a:gd name="T7" fmla="*/ 2147483646 h 8"/>
                <a:gd name="T8" fmla="*/ 2147483646 w 48"/>
                <a:gd name="T9" fmla="*/ 2147483646 h 8"/>
                <a:gd name="T10" fmla="*/ 2147483646 w 48"/>
                <a:gd name="T11" fmla="*/ 2147483646 h 8"/>
                <a:gd name="T12" fmla="*/ 0 w 48"/>
                <a:gd name="T13" fmla="*/ 2147483646 h 8"/>
                <a:gd name="T14" fmla="*/ 2147483646 w 48"/>
                <a:gd name="T15" fmla="*/ 0 h 8"/>
                <a:gd name="T16" fmla="*/ 2147483646 w 48"/>
                <a:gd name="T17" fmla="*/ 2147483646 h 8"/>
                <a:gd name="T18" fmla="*/ 2147483646 w 48"/>
                <a:gd name="T19" fmla="*/ 2147483646 h 8"/>
                <a:gd name="T20" fmla="*/ 2147483646 w 48"/>
                <a:gd name="T21" fmla="*/ 2147483646 h 8"/>
                <a:gd name="T22" fmla="*/ 2147483646 w 48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8">
                  <a:moveTo>
                    <a:pt x="47" y="4"/>
                  </a:moveTo>
                  <a:cubicBezTo>
                    <a:pt x="48" y="6"/>
                    <a:pt x="48" y="6"/>
                    <a:pt x="48" y="6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3" y="2"/>
                    <a:pt x="1" y="3"/>
                    <a:pt x="0" y="4"/>
                  </a:cubicBezTo>
                  <a:cubicBezTo>
                    <a:pt x="1" y="2"/>
                    <a:pt x="3" y="0"/>
                    <a:pt x="5" y="0"/>
                  </a:cubicBezTo>
                  <a:cubicBezTo>
                    <a:pt x="8" y="0"/>
                    <a:pt x="12" y="1"/>
                    <a:pt x="16" y="3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7" y="4"/>
                    <a:pt x="47" y="4"/>
                    <a:pt x="47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9" name="Freeform 220"/>
            <p:cNvSpPr/>
            <p:nvPr/>
          </p:nvSpPr>
          <p:spPr bwMode="auto">
            <a:xfrm rot="521357">
              <a:off x="4341454" y="2373183"/>
              <a:ext cx="148138" cy="45941"/>
            </a:xfrm>
            <a:custGeom>
              <a:avLst/>
              <a:gdLst>
                <a:gd name="T0" fmla="*/ 0 w 94"/>
                <a:gd name="T1" fmla="*/ 2147483646 h 28"/>
                <a:gd name="T2" fmla="*/ 2147483646 w 94"/>
                <a:gd name="T3" fmla="*/ 2147483646 h 28"/>
                <a:gd name="T4" fmla="*/ 2147483646 w 94"/>
                <a:gd name="T5" fmla="*/ 0 h 28"/>
                <a:gd name="T6" fmla="*/ 2147483646 w 94"/>
                <a:gd name="T7" fmla="*/ 2147483646 h 28"/>
                <a:gd name="T8" fmla="*/ 0 w 94"/>
                <a:gd name="T9" fmla="*/ 2147483646 h 28"/>
                <a:gd name="T10" fmla="*/ 0 w 94"/>
                <a:gd name="T11" fmla="*/ 2147483646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4" h="28">
                  <a:moveTo>
                    <a:pt x="0" y="28"/>
                  </a:moveTo>
                  <a:lnTo>
                    <a:pt x="7" y="21"/>
                  </a:lnTo>
                  <a:lnTo>
                    <a:pt x="94" y="0"/>
                  </a:lnTo>
                  <a:lnTo>
                    <a:pt x="87" y="7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0" name="Freeform 221"/>
            <p:cNvSpPr/>
            <p:nvPr/>
          </p:nvSpPr>
          <p:spPr bwMode="auto">
            <a:xfrm rot="521357">
              <a:off x="4186906" y="2398945"/>
              <a:ext cx="74069" cy="91884"/>
            </a:xfrm>
            <a:custGeom>
              <a:avLst/>
              <a:gdLst>
                <a:gd name="T0" fmla="*/ 0 w 20"/>
                <a:gd name="T1" fmla="*/ 2147483646 h 24"/>
                <a:gd name="T2" fmla="*/ 2147483646 w 20"/>
                <a:gd name="T3" fmla="*/ 0 h 24"/>
                <a:gd name="T4" fmla="*/ 2147483646 w 20"/>
                <a:gd name="T5" fmla="*/ 2147483646 h 24"/>
                <a:gd name="T6" fmla="*/ 2147483646 w 20"/>
                <a:gd name="T7" fmla="*/ 2147483646 h 24"/>
                <a:gd name="T8" fmla="*/ 0 w 20"/>
                <a:gd name="T9" fmla="*/ 2147483646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24">
                  <a:moveTo>
                    <a:pt x="0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0" y="7"/>
                    <a:pt x="16" y="14"/>
                    <a:pt x="20" y="23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4" y="15"/>
                    <a:pt x="7" y="8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1" name="Freeform 222"/>
            <p:cNvSpPr/>
            <p:nvPr/>
          </p:nvSpPr>
          <p:spPr bwMode="auto">
            <a:xfrm rot="521357">
              <a:off x="4307902" y="2389512"/>
              <a:ext cx="37822" cy="47584"/>
            </a:xfrm>
            <a:custGeom>
              <a:avLst/>
              <a:gdLst>
                <a:gd name="T0" fmla="*/ 2147483646 w 24"/>
                <a:gd name="T1" fmla="*/ 2147483646 h 29"/>
                <a:gd name="T2" fmla="*/ 2147483646 w 24"/>
                <a:gd name="T3" fmla="*/ 2147483646 h 29"/>
                <a:gd name="T4" fmla="*/ 2147483646 w 24"/>
                <a:gd name="T5" fmla="*/ 0 h 29"/>
                <a:gd name="T6" fmla="*/ 0 w 24"/>
                <a:gd name="T7" fmla="*/ 2147483646 h 29"/>
                <a:gd name="T8" fmla="*/ 2147483646 w 24"/>
                <a:gd name="T9" fmla="*/ 2147483646 h 29"/>
                <a:gd name="T10" fmla="*/ 2147483646 w 24"/>
                <a:gd name="T11" fmla="*/ 2147483646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29">
                  <a:moveTo>
                    <a:pt x="12" y="3"/>
                  </a:moveTo>
                  <a:lnTo>
                    <a:pt x="17" y="3"/>
                  </a:lnTo>
                  <a:lnTo>
                    <a:pt x="24" y="0"/>
                  </a:lnTo>
                  <a:lnTo>
                    <a:pt x="0" y="29"/>
                  </a:lnTo>
                  <a:lnTo>
                    <a:pt x="12" y="3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2" name="Freeform 223"/>
            <p:cNvSpPr/>
            <p:nvPr/>
          </p:nvSpPr>
          <p:spPr bwMode="auto">
            <a:xfrm rot="521357">
              <a:off x="4377164" y="2399825"/>
              <a:ext cx="119771" cy="65631"/>
            </a:xfrm>
            <a:custGeom>
              <a:avLst/>
              <a:gdLst>
                <a:gd name="T0" fmla="*/ 2147483646 w 32"/>
                <a:gd name="T1" fmla="*/ 0 h 17"/>
                <a:gd name="T2" fmla="*/ 2147483646 w 32"/>
                <a:gd name="T3" fmla="*/ 2147483646 h 17"/>
                <a:gd name="T4" fmla="*/ 2147483646 w 32"/>
                <a:gd name="T5" fmla="*/ 2147483646 h 17"/>
                <a:gd name="T6" fmla="*/ 2147483646 w 32"/>
                <a:gd name="T7" fmla="*/ 2147483646 h 17"/>
                <a:gd name="T8" fmla="*/ 0 w 32"/>
                <a:gd name="T9" fmla="*/ 2147483646 h 17"/>
                <a:gd name="T10" fmla="*/ 2147483646 w 32"/>
                <a:gd name="T11" fmla="*/ 0 h 17"/>
                <a:gd name="T12" fmla="*/ 2147483646 w 32"/>
                <a:gd name="T13" fmla="*/ 0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2" h="17">
                  <a:moveTo>
                    <a:pt x="28" y="0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30" y="5"/>
                    <a:pt x="31" y="7"/>
                    <a:pt x="32" y="9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10" y="16"/>
                    <a:pt x="1" y="14"/>
                    <a:pt x="0" y="12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3" name="Freeform 224"/>
            <p:cNvSpPr/>
            <p:nvPr/>
          </p:nvSpPr>
          <p:spPr bwMode="auto">
            <a:xfrm rot="521357">
              <a:off x="4485612" y="2354096"/>
              <a:ext cx="129227" cy="73836"/>
            </a:xfrm>
            <a:custGeom>
              <a:avLst/>
              <a:gdLst>
                <a:gd name="T0" fmla="*/ 2147483646 w 35"/>
                <a:gd name="T1" fmla="*/ 2147483646 h 19"/>
                <a:gd name="T2" fmla="*/ 0 w 35"/>
                <a:gd name="T3" fmla="*/ 2147483646 h 19"/>
                <a:gd name="T4" fmla="*/ 2147483646 w 35"/>
                <a:gd name="T5" fmla="*/ 2147483646 h 19"/>
                <a:gd name="T6" fmla="*/ 2147483646 w 35"/>
                <a:gd name="T7" fmla="*/ 2147483646 h 19"/>
                <a:gd name="T8" fmla="*/ 2147483646 w 35"/>
                <a:gd name="T9" fmla="*/ 0 h 19"/>
                <a:gd name="T10" fmla="*/ 2147483646 w 35"/>
                <a:gd name="T11" fmla="*/ 2147483646 h 19"/>
                <a:gd name="T12" fmla="*/ 2147483646 w 35"/>
                <a:gd name="T13" fmla="*/ 2147483646 h 19"/>
                <a:gd name="T14" fmla="*/ 2147483646 w 35"/>
                <a:gd name="T15" fmla="*/ 2147483646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" h="19">
                  <a:moveTo>
                    <a:pt x="2" y="19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3" y="0"/>
                    <a:pt x="23" y="0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4" name="Freeform 225"/>
            <p:cNvSpPr/>
            <p:nvPr/>
          </p:nvSpPr>
          <p:spPr bwMode="auto">
            <a:xfrm rot="521357">
              <a:off x="4197597" y="2396400"/>
              <a:ext cx="237968" cy="73836"/>
            </a:xfrm>
            <a:custGeom>
              <a:avLst/>
              <a:gdLst>
                <a:gd name="T0" fmla="*/ 2147483646 w 64"/>
                <a:gd name="T1" fmla="*/ 0 h 19"/>
                <a:gd name="T2" fmla="*/ 2147483646 w 64"/>
                <a:gd name="T3" fmla="*/ 2147483646 h 19"/>
                <a:gd name="T4" fmla="*/ 2147483646 w 64"/>
                <a:gd name="T5" fmla="*/ 2147483646 h 19"/>
                <a:gd name="T6" fmla="*/ 2147483646 w 64"/>
                <a:gd name="T7" fmla="*/ 2147483646 h 19"/>
                <a:gd name="T8" fmla="*/ 2147483646 w 64"/>
                <a:gd name="T9" fmla="*/ 2147483646 h 19"/>
                <a:gd name="T10" fmla="*/ 0 w 64"/>
                <a:gd name="T11" fmla="*/ 2147483646 h 19"/>
                <a:gd name="T12" fmla="*/ 2147483646 w 64"/>
                <a:gd name="T13" fmla="*/ 2147483646 h 19"/>
                <a:gd name="T14" fmla="*/ 2147483646 w 64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19">
                  <a:moveTo>
                    <a:pt x="64" y="0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2" y="6"/>
                    <a:pt x="49" y="7"/>
                    <a:pt x="44" y="10"/>
                  </a:cubicBezTo>
                  <a:cubicBezTo>
                    <a:pt x="40" y="11"/>
                    <a:pt x="37" y="13"/>
                    <a:pt x="35" y="16"/>
                  </a:cubicBezTo>
                  <a:cubicBezTo>
                    <a:pt x="29" y="16"/>
                    <a:pt x="22" y="17"/>
                    <a:pt x="15" y="19"/>
                  </a:cubicBezTo>
                  <a:cubicBezTo>
                    <a:pt x="11" y="13"/>
                    <a:pt x="6" y="7"/>
                    <a:pt x="0" y="3"/>
                  </a:cubicBezTo>
                  <a:cubicBezTo>
                    <a:pt x="9" y="9"/>
                    <a:pt x="18" y="12"/>
                    <a:pt x="27" y="12"/>
                  </a:cubicBezTo>
                  <a:cubicBezTo>
                    <a:pt x="64" y="0"/>
                    <a:pt x="64" y="0"/>
                    <a:pt x="6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5" name="Freeform 226"/>
            <p:cNvSpPr/>
            <p:nvPr/>
          </p:nvSpPr>
          <p:spPr bwMode="auto">
            <a:xfrm rot="521357">
              <a:off x="4485785" y="2411838"/>
              <a:ext cx="18911" cy="31175"/>
            </a:xfrm>
            <a:custGeom>
              <a:avLst/>
              <a:gdLst>
                <a:gd name="T0" fmla="*/ 2147483646 w 5"/>
                <a:gd name="T1" fmla="*/ 2147483646 h 8"/>
                <a:gd name="T2" fmla="*/ 0 w 5"/>
                <a:gd name="T3" fmla="*/ 2147483646 h 8"/>
                <a:gd name="T4" fmla="*/ 2147483646 w 5"/>
                <a:gd name="T5" fmla="*/ 0 h 8"/>
                <a:gd name="T6" fmla="*/ 2147483646 w 5"/>
                <a:gd name="T7" fmla="*/ 2147483646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2" y="6"/>
                    <a:pt x="1" y="4"/>
                    <a:pt x="0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3"/>
                    <a:pt x="4" y="6"/>
                    <a:pt x="3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6" name="Freeform 227"/>
            <p:cNvSpPr>
              <a:spLocks noEditPoints="1"/>
            </p:cNvSpPr>
            <p:nvPr/>
          </p:nvSpPr>
          <p:spPr bwMode="auto">
            <a:xfrm rot="521357">
              <a:off x="4250787" y="2493669"/>
              <a:ext cx="59885" cy="45941"/>
            </a:xfrm>
            <a:custGeom>
              <a:avLst/>
              <a:gdLst>
                <a:gd name="T0" fmla="*/ 2147483646 w 16"/>
                <a:gd name="T1" fmla="*/ 0 h 12"/>
                <a:gd name="T2" fmla="*/ 2147483646 w 16"/>
                <a:gd name="T3" fmla="*/ 0 h 12"/>
                <a:gd name="T4" fmla="*/ 2147483646 w 16"/>
                <a:gd name="T5" fmla="*/ 2147483646 h 12"/>
                <a:gd name="T6" fmla="*/ 2147483646 w 16"/>
                <a:gd name="T7" fmla="*/ 2147483646 h 12"/>
                <a:gd name="T8" fmla="*/ 2147483646 w 16"/>
                <a:gd name="T9" fmla="*/ 2147483646 h 12"/>
                <a:gd name="T10" fmla="*/ 2147483646 w 16"/>
                <a:gd name="T11" fmla="*/ 2147483646 h 12"/>
                <a:gd name="T12" fmla="*/ 2147483646 w 16"/>
                <a:gd name="T13" fmla="*/ 2147483646 h 12"/>
                <a:gd name="T14" fmla="*/ 2147483646 w 16"/>
                <a:gd name="T15" fmla="*/ 2147483646 h 12"/>
                <a:gd name="T16" fmla="*/ 2147483646 w 16"/>
                <a:gd name="T17" fmla="*/ 2147483646 h 12"/>
                <a:gd name="T18" fmla="*/ 0 w 16"/>
                <a:gd name="T19" fmla="*/ 2147483646 h 12"/>
                <a:gd name="T20" fmla="*/ 2147483646 w 16"/>
                <a:gd name="T21" fmla="*/ 2147483646 h 12"/>
                <a:gd name="T22" fmla="*/ 2147483646 w 16"/>
                <a:gd name="T23" fmla="*/ 0 h 12"/>
                <a:gd name="T24" fmla="*/ 2147483646 w 16"/>
                <a:gd name="T25" fmla="*/ 2147483646 h 12"/>
                <a:gd name="T26" fmla="*/ 2147483646 w 16"/>
                <a:gd name="T27" fmla="*/ 2147483646 h 12"/>
                <a:gd name="T28" fmla="*/ 2147483646 w 16"/>
                <a:gd name="T29" fmla="*/ 2147483646 h 12"/>
                <a:gd name="T30" fmla="*/ 2147483646 w 16"/>
                <a:gd name="T31" fmla="*/ 2147483646 h 12"/>
                <a:gd name="T32" fmla="*/ 2147483646 w 16"/>
                <a:gd name="T33" fmla="*/ 2147483646 h 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" h="12"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10" y="1"/>
                    <a:pt x="11" y="1"/>
                    <a:pt x="12" y="2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5" y="5"/>
                    <a:pt x="15" y="6"/>
                    <a:pt x="16" y="6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0"/>
                    <a:pt x="6" y="9"/>
                    <a:pt x="5" y="8"/>
                  </a:cubicBezTo>
                  <a:cubicBezTo>
                    <a:pt x="5" y="8"/>
                    <a:pt x="4" y="8"/>
                    <a:pt x="3" y="8"/>
                  </a:cubicBezTo>
                  <a:cubicBezTo>
                    <a:pt x="3" y="7"/>
                    <a:pt x="2" y="7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7" y="0"/>
                    <a:pt x="7" y="0"/>
                    <a:pt x="7" y="0"/>
                  </a:cubicBezTo>
                  <a:close/>
                  <a:moveTo>
                    <a:pt x="3" y="5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3" y="5"/>
                    <a:pt x="3" y="5"/>
                    <a:pt x="3" y="5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7" name="Freeform 228"/>
            <p:cNvSpPr/>
            <p:nvPr/>
          </p:nvSpPr>
          <p:spPr bwMode="auto">
            <a:xfrm rot="521357">
              <a:off x="4262875" y="2499473"/>
              <a:ext cx="26792" cy="19690"/>
            </a:xfrm>
            <a:custGeom>
              <a:avLst/>
              <a:gdLst>
                <a:gd name="T0" fmla="*/ 2147483646 w 17"/>
                <a:gd name="T1" fmla="*/ 2147483646 h 12"/>
                <a:gd name="T2" fmla="*/ 0 w 17"/>
                <a:gd name="T3" fmla="*/ 2147483646 h 12"/>
                <a:gd name="T4" fmla="*/ 2147483646 w 17"/>
                <a:gd name="T5" fmla="*/ 0 h 12"/>
                <a:gd name="T6" fmla="*/ 2147483646 w 17"/>
                <a:gd name="T7" fmla="*/ 0 h 12"/>
                <a:gd name="T8" fmla="*/ 2147483646 w 17"/>
                <a:gd name="T9" fmla="*/ 2147483646 h 12"/>
                <a:gd name="T10" fmla="*/ 2147483646 w 17"/>
                <a:gd name="T11" fmla="*/ 2147483646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12">
                  <a:moveTo>
                    <a:pt x="3" y="12"/>
                  </a:moveTo>
                  <a:lnTo>
                    <a:pt x="0" y="7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8" name="Freeform 229"/>
            <p:cNvSpPr/>
            <p:nvPr/>
          </p:nvSpPr>
          <p:spPr bwMode="auto">
            <a:xfrm rot="521357">
              <a:off x="4244721" y="2492777"/>
              <a:ext cx="18911" cy="19690"/>
            </a:xfrm>
            <a:custGeom>
              <a:avLst/>
              <a:gdLst>
                <a:gd name="T0" fmla="*/ 2147483646 w 5"/>
                <a:gd name="T1" fmla="*/ 0 h 5"/>
                <a:gd name="T2" fmla="*/ 2147483646 w 5"/>
                <a:gd name="T3" fmla="*/ 2147483646 h 5"/>
                <a:gd name="T4" fmla="*/ 2147483646 w 5"/>
                <a:gd name="T5" fmla="*/ 2147483646 h 5"/>
                <a:gd name="T6" fmla="*/ 0 w 5"/>
                <a:gd name="T7" fmla="*/ 2147483646 h 5"/>
                <a:gd name="T8" fmla="*/ 2147483646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5" y="1"/>
                    <a:pt x="5" y="1"/>
                    <a:pt x="5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4"/>
                    <a:pt x="0" y="4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9" name="Freeform 230"/>
            <p:cNvSpPr/>
            <p:nvPr/>
          </p:nvSpPr>
          <p:spPr bwMode="auto">
            <a:xfrm rot="521357">
              <a:off x="4232815" y="2516112"/>
              <a:ext cx="81949" cy="91884"/>
            </a:xfrm>
            <a:custGeom>
              <a:avLst/>
              <a:gdLst>
                <a:gd name="T0" fmla="*/ 2147483646 w 22"/>
                <a:gd name="T1" fmla="*/ 2147483646 h 24"/>
                <a:gd name="T2" fmla="*/ 2147483646 w 22"/>
                <a:gd name="T3" fmla="*/ 0 h 24"/>
                <a:gd name="T4" fmla="*/ 2147483646 w 22"/>
                <a:gd name="T5" fmla="*/ 2147483646 h 24"/>
                <a:gd name="T6" fmla="*/ 2147483646 w 22"/>
                <a:gd name="T7" fmla="*/ 2147483646 h 24"/>
                <a:gd name="T8" fmla="*/ 0 w 22"/>
                <a:gd name="T9" fmla="*/ 2147483646 h 24"/>
                <a:gd name="T10" fmla="*/ 2147483646 w 22"/>
                <a:gd name="T11" fmla="*/ 2147483646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2" h="24">
                  <a:moveTo>
                    <a:pt x="14" y="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0" y="3"/>
                    <a:pt x="21" y="6"/>
                    <a:pt x="22" y="1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5" y="22"/>
                    <a:pt x="2" y="22"/>
                    <a:pt x="0" y="20"/>
                  </a:cubicBezTo>
                  <a:lnTo>
                    <a:pt x="14" y="4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0" name="Freeform 231"/>
            <p:cNvSpPr/>
            <p:nvPr/>
          </p:nvSpPr>
          <p:spPr bwMode="auto">
            <a:xfrm rot="521357">
              <a:off x="4005008" y="2439798"/>
              <a:ext cx="212753" cy="85321"/>
            </a:xfrm>
            <a:custGeom>
              <a:avLst/>
              <a:gdLst>
                <a:gd name="T0" fmla="*/ 0 w 135"/>
                <a:gd name="T1" fmla="*/ 2147483646 h 52"/>
                <a:gd name="T2" fmla="*/ 2147483646 w 135"/>
                <a:gd name="T3" fmla="*/ 0 h 52"/>
                <a:gd name="T4" fmla="*/ 2147483646 w 135"/>
                <a:gd name="T5" fmla="*/ 2147483646 h 52"/>
                <a:gd name="T6" fmla="*/ 2147483646 w 135"/>
                <a:gd name="T7" fmla="*/ 2147483646 h 52"/>
                <a:gd name="T8" fmla="*/ 2147483646 w 135"/>
                <a:gd name="T9" fmla="*/ 2147483646 h 52"/>
                <a:gd name="T10" fmla="*/ 2147483646 w 135"/>
                <a:gd name="T11" fmla="*/ 2147483646 h 52"/>
                <a:gd name="T12" fmla="*/ 2147483646 w 135"/>
                <a:gd name="T13" fmla="*/ 2147483646 h 52"/>
                <a:gd name="T14" fmla="*/ 0 w 135"/>
                <a:gd name="T15" fmla="*/ 2147483646 h 52"/>
                <a:gd name="T16" fmla="*/ 0 w 135"/>
                <a:gd name="T17" fmla="*/ 21474836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5" h="52">
                  <a:moveTo>
                    <a:pt x="0" y="7"/>
                  </a:moveTo>
                  <a:lnTo>
                    <a:pt x="2" y="0"/>
                  </a:lnTo>
                  <a:lnTo>
                    <a:pt x="83" y="43"/>
                  </a:lnTo>
                  <a:lnTo>
                    <a:pt x="116" y="24"/>
                  </a:lnTo>
                  <a:lnTo>
                    <a:pt x="135" y="33"/>
                  </a:lnTo>
                  <a:lnTo>
                    <a:pt x="73" y="52"/>
                  </a:lnTo>
                  <a:lnTo>
                    <a:pt x="7" y="9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1" name="Freeform 232"/>
            <p:cNvSpPr>
              <a:spLocks noEditPoints="1"/>
            </p:cNvSpPr>
            <p:nvPr/>
          </p:nvSpPr>
          <p:spPr bwMode="auto">
            <a:xfrm rot="521357">
              <a:off x="4010297" y="2426440"/>
              <a:ext cx="179657" cy="82038"/>
            </a:xfrm>
            <a:custGeom>
              <a:avLst/>
              <a:gdLst>
                <a:gd name="T0" fmla="*/ 0 w 48"/>
                <a:gd name="T1" fmla="*/ 2147483646 h 21"/>
                <a:gd name="T2" fmla="*/ 0 w 48"/>
                <a:gd name="T3" fmla="*/ 0 h 21"/>
                <a:gd name="T4" fmla="*/ 2147483646 w 48"/>
                <a:gd name="T5" fmla="*/ 2147483646 h 21"/>
                <a:gd name="T6" fmla="*/ 2147483646 w 48"/>
                <a:gd name="T7" fmla="*/ 2147483646 h 21"/>
                <a:gd name="T8" fmla="*/ 2147483646 w 48"/>
                <a:gd name="T9" fmla="*/ 2147483646 h 21"/>
                <a:gd name="T10" fmla="*/ 2147483646 w 48"/>
                <a:gd name="T11" fmla="*/ 2147483646 h 21"/>
                <a:gd name="T12" fmla="*/ 0 w 48"/>
                <a:gd name="T13" fmla="*/ 2147483646 h 21"/>
                <a:gd name="T14" fmla="*/ 2147483646 w 48"/>
                <a:gd name="T15" fmla="*/ 2147483646 h 21"/>
                <a:gd name="T16" fmla="*/ 2147483646 w 48"/>
                <a:gd name="T17" fmla="*/ 2147483646 h 21"/>
                <a:gd name="T18" fmla="*/ 2147483646 w 48"/>
                <a:gd name="T19" fmla="*/ 2147483646 h 21"/>
                <a:gd name="T20" fmla="*/ 2147483646 w 48"/>
                <a:gd name="T21" fmla="*/ 2147483646 h 21"/>
                <a:gd name="T22" fmla="*/ 2147483646 w 48"/>
                <a:gd name="T23" fmla="*/ 2147483646 h 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21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7" y="3"/>
                    <a:pt x="10" y="4"/>
                  </a:cubicBezTo>
                  <a:cubicBezTo>
                    <a:pt x="19" y="7"/>
                    <a:pt x="28" y="8"/>
                    <a:pt x="37" y="9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8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18" y="8"/>
                    <a:pt x="18" y="8"/>
                    <a:pt x="18" y="8"/>
                  </a:cubicBez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2" name="Freeform 233"/>
            <p:cNvSpPr/>
            <p:nvPr/>
          </p:nvSpPr>
          <p:spPr bwMode="auto">
            <a:xfrm rot="521357">
              <a:off x="4061803" y="2460928"/>
              <a:ext cx="119771" cy="22971"/>
            </a:xfrm>
            <a:custGeom>
              <a:avLst/>
              <a:gdLst>
                <a:gd name="T0" fmla="*/ 0 w 76"/>
                <a:gd name="T1" fmla="*/ 0 h 14"/>
                <a:gd name="T2" fmla="*/ 2147483646 w 76"/>
                <a:gd name="T3" fmla="*/ 0 h 14"/>
                <a:gd name="T4" fmla="*/ 2147483646 w 76"/>
                <a:gd name="T5" fmla="*/ 2147483646 h 14"/>
                <a:gd name="T6" fmla="*/ 2147483646 w 76"/>
                <a:gd name="T7" fmla="*/ 2147483646 h 14"/>
                <a:gd name="T8" fmla="*/ 0 w 76"/>
                <a:gd name="T9" fmla="*/ 0 h 14"/>
                <a:gd name="T10" fmla="*/ 0 w 76"/>
                <a:gd name="T11" fmla="*/ 0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6" h="14">
                  <a:moveTo>
                    <a:pt x="0" y="0"/>
                  </a:moveTo>
                  <a:lnTo>
                    <a:pt x="10" y="0"/>
                  </a:lnTo>
                  <a:lnTo>
                    <a:pt x="55" y="5"/>
                  </a:lnTo>
                  <a:lnTo>
                    <a:pt x="76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3" name="Freeform 234"/>
            <p:cNvSpPr/>
            <p:nvPr/>
          </p:nvSpPr>
          <p:spPr bwMode="auto">
            <a:xfrm rot="521357">
              <a:off x="3944102" y="2457672"/>
              <a:ext cx="398713" cy="318311"/>
            </a:xfrm>
            <a:custGeom>
              <a:avLst/>
              <a:gdLst>
                <a:gd name="T0" fmla="*/ 2147483646 w 107"/>
                <a:gd name="T1" fmla="*/ 0 h 82"/>
                <a:gd name="T2" fmla="*/ 2147483646 w 107"/>
                <a:gd name="T3" fmla="*/ 2147483646 h 82"/>
                <a:gd name="T4" fmla="*/ 2147483646 w 107"/>
                <a:gd name="T5" fmla="*/ 2147483646 h 82"/>
                <a:gd name="T6" fmla="*/ 2147483646 w 107"/>
                <a:gd name="T7" fmla="*/ 2147483646 h 82"/>
                <a:gd name="T8" fmla="*/ 2147483646 w 107"/>
                <a:gd name="T9" fmla="*/ 2147483646 h 82"/>
                <a:gd name="T10" fmla="*/ 2147483646 w 107"/>
                <a:gd name="T11" fmla="*/ 2147483646 h 82"/>
                <a:gd name="T12" fmla="*/ 2147483646 w 107"/>
                <a:gd name="T13" fmla="*/ 2147483646 h 82"/>
                <a:gd name="T14" fmla="*/ 2147483646 w 107"/>
                <a:gd name="T15" fmla="*/ 2147483646 h 82"/>
                <a:gd name="T16" fmla="*/ 2147483646 w 107"/>
                <a:gd name="T17" fmla="*/ 2147483646 h 82"/>
                <a:gd name="T18" fmla="*/ 2147483646 w 107"/>
                <a:gd name="T19" fmla="*/ 2147483646 h 82"/>
                <a:gd name="T20" fmla="*/ 2147483646 w 107"/>
                <a:gd name="T21" fmla="*/ 2147483646 h 82"/>
                <a:gd name="T22" fmla="*/ 2147483646 w 107"/>
                <a:gd name="T23" fmla="*/ 2147483646 h 82"/>
                <a:gd name="T24" fmla="*/ 2147483646 w 107"/>
                <a:gd name="T25" fmla="*/ 2147483646 h 82"/>
                <a:gd name="T26" fmla="*/ 2147483646 w 107"/>
                <a:gd name="T27" fmla="*/ 2147483646 h 82"/>
                <a:gd name="T28" fmla="*/ 2147483646 w 107"/>
                <a:gd name="T29" fmla="*/ 2147483646 h 82"/>
                <a:gd name="T30" fmla="*/ 2147483646 w 107"/>
                <a:gd name="T31" fmla="*/ 2147483646 h 82"/>
                <a:gd name="T32" fmla="*/ 2147483646 w 107"/>
                <a:gd name="T33" fmla="*/ 2147483646 h 82"/>
                <a:gd name="T34" fmla="*/ 2147483646 w 107"/>
                <a:gd name="T35" fmla="*/ 2147483646 h 82"/>
                <a:gd name="T36" fmla="*/ 2147483646 w 107"/>
                <a:gd name="T37" fmla="*/ 2147483646 h 82"/>
                <a:gd name="T38" fmla="*/ 2147483646 w 107"/>
                <a:gd name="T39" fmla="*/ 2147483646 h 82"/>
                <a:gd name="T40" fmla="*/ 0 w 107"/>
                <a:gd name="T41" fmla="*/ 2147483646 h 82"/>
                <a:gd name="T42" fmla="*/ 2147483646 w 107"/>
                <a:gd name="T43" fmla="*/ 0 h 8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7" h="82">
                  <a:moveTo>
                    <a:pt x="11" y="0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60" y="39"/>
                    <a:pt x="72" y="33"/>
                    <a:pt x="81" y="25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64" y="48"/>
                    <a:pt x="51" y="53"/>
                    <a:pt x="44" y="48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0" y="55"/>
                    <a:pt x="32" y="49"/>
                    <a:pt x="28" y="40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10" y="33"/>
                    <a:pt x="3" y="28"/>
                    <a:pt x="0" y="23"/>
                  </a:cubicBezTo>
                  <a:cubicBezTo>
                    <a:pt x="1" y="16"/>
                    <a:pt x="5" y="8"/>
                    <a:pt x="1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4" name="Freeform 235"/>
            <p:cNvSpPr/>
            <p:nvPr/>
          </p:nvSpPr>
          <p:spPr bwMode="auto">
            <a:xfrm rot="521357">
              <a:off x="4052352" y="2418318"/>
              <a:ext cx="100860" cy="42660"/>
            </a:xfrm>
            <a:custGeom>
              <a:avLst/>
              <a:gdLst>
                <a:gd name="T0" fmla="*/ 0 w 27"/>
                <a:gd name="T1" fmla="*/ 2147483646 h 11"/>
                <a:gd name="T2" fmla="*/ 2147483646 w 27"/>
                <a:gd name="T3" fmla="*/ 0 h 11"/>
                <a:gd name="T4" fmla="*/ 2147483646 w 27"/>
                <a:gd name="T5" fmla="*/ 2147483646 h 11"/>
                <a:gd name="T6" fmla="*/ 2147483646 w 27"/>
                <a:gd name="T7" fmla="*/ 2147483646 h 11"/>
                <a:gd name="T8" fmla="*/ 0 w 27"/>
                <a:gd name="T9" fmla="*/ 214748364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11">
                  <a:moveTo>
                    <a:pt x="0" y="6"/>
                  </a:moveTo>
                  <a:cubicBezTo>
                    <a:pt x="3" y="5"/>
                    <a:pt x="5" y="3"/>
                    <a:pt x="7" y="0"/>
                  </a:cubicBezTo>
                  <a:cubicBezTo>
                    <a:pt x="12" y="5"/>
                    <a:pt x="18" y="7"/>
                    <a:pt x="24" y="6"/>
                  </a:cubicBezTo>
                  <a:cubicBezTo>
                    <a:pt x="25" y="8"/>
                    <a:pt x="26" y="9"/>
                    <a:pt x="27" y="11"/>
                  </a:cubicBezTo>
                  <a:cubicBezTo>
                    <a:pt x="18" y="10"/>
                    <a:pt x="9" y="9"/>
                    <a:pt x="0" y="6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5" name="Freeform 236"/>
            <p:cNvSpPr/>
            <p:nvPr/>
          </p:nvSpPr>
          <p:spPr bwMode="auto">
            <a:xfrm rot="521357">
              <a:off x="4104424" y="2401050"/>
              <a:ext cx="115044" cy="85321"/>
            </a:xfrm>
            <a:custGeom>
              <a:avLst/>
              <a:gdLst>
                <a:gd name="T0" fmla="*/ 2147483646 w 31"/>
                <a:gd name="T1" fmla="*/ 2147483646 h 22"/>
                <a:gd name="T2" fmla="*/ 0 w 31"/>
                <a:gd name="T3" fmla="*/ 2147483646 h 22"/>
                <a:gd name="T4" fmla="*/ 2147483646 w 31"/>
                <a:gd name="T5" fmla="*/ 0 h 22"/>
                <a:gd name="T6" fmla="*/ 2147483646 w 31"/>
                <a:gd name="T7" fmla="*/ 2147483646 h 22"/>
                <a:gd name="T8" fmla="*/ 2147483646 w 31"/>
                <a:gd name="T9" fmla="*/ 2147483646 h 22"/>
                <a:gd name="T10" fmla="*/ 2147483646 w 31"/>
                <a:gd name="T11" fmla="*/ 2147483646 h 22"/>
                <a:gd name="T12" fmla="*/ 2147483646 w 31"/>
                <a:gd name="T13" fmla="*/ 2147483646 h 22"/>
                <a:gd name="T14" fmla="*/ 2147483646 w 31"/>
                <a:gd name="T15" fmla="*/ 2147483646 h 22"/>
                <a:gd name="T16" fmla="*/ 2147483646 w 31"/>
                <a:gd name="T17" fmla="*/ 2147483646 h 22"/>
                <a:gd name="T18" fmla="*/ 2147483646 w 31"/>
                <a:gd name="T19" fmla="*/ 2147483646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1" h="22">
                  <a:moveTo>
                    <a:pt x="5" y="5"/>
                  </a:moveTo>
                  <a:cubicBezTo>
                    <a:pt x="3" y="4"/>
                    <a:pt x="2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6"/>
                    <a:pt x="11" y="15"/>
                    <a:pt x="10" y="13"/>
                  </a:cubicBezTo>
                  <a:cubicBezTo>
                    <a:pt x="9" y="10"/>
                    <a:pt x="7" y="8"/>
                    <a:pt x="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6" name="Freeform 237"/>
            <p:cNvSpPr/>
            <p:nvPr/>
          </p:nvSpPr>
          <p:spPr bwMode="auto">
            <a:xfrm rot="521357">
              <a:off x="4069937" y="2382922"/>
              <a:ext cx="59885" cy="26253"/>
            </a:xfrm>
            <a:custGeom>
              <a:avLst/>
              <a:gdLst>
                <a:gd name="T0" fmla="*/ 2147483646 w 16"/>
                <a:gd name="T1" fmla="*/ 2147483646 h 7"/>
                <a:gd name="T2" fmla="*/ 2147483646 w 16"/>
                <a:gd name="T3" fmla="*/ 2147483646 h 7"/>
                <a:gd name="T4" fmla="*/ 0 w 16"/>
                <a:gd name="T5" fmla="*/ 0 h 7"/>
                <a:gd name="T6" fmla="*/ 2147483646 w 16"/>
                <a:gd name="T7" fmla="*/ 2147483646 h 7"/>
                <a:gd name="T8" fmla="*/ 2147483646 w 16"/>
                <a:gd name="T9" fmla="*/ 214748364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7">
                  <a:moveTo>
                    <a:pt x="11" y="3"/>
                  </a:moveTo>
                  <a:cubicBezTo>
                    <a:pt x="13" y="4"/>
                    <a:pt x="14" y="6"/>
                    <a:pt x="16" y="7"/>
                  </a:cubicBezTo>
                  <a:cubicBezTo>
                    <a:pt x="10" y="6"/>
                    <a:pt x="4" y="4"/>
                    <a:pt x="0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3"/>
                    <a:pt x="10" y="3"/>
                    <a:pt x="11" y="3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7" name="Freeform 238"/>
            <p:cNvSpPr>
              <a:spLocks noEditPoints="1"/>
            </p:cNvSpPr>
            <p:nvPr/>
          </p:nvSpPr>
          <p:spPr bwMode="auto">
            <a:xfrm rot="521357">
              <a:off x="4117251" y="2393821"/>
              <a:ext cx="104012" cy="77116"/>
            </a:xfrm>
            <a:custGeom>
              <a:avLst/>
              <a:gdLst>
                <a:gd name="T0" fmla="*/ 0 w 28"/>
                <a:gd name="T1" fmla="*/ 2147483646 h 20"/>
                <a:gd name="T2" fmla="*/ 2147483646 w 28"/>
                <a:gd name="T3" fmla="*/ 0 h 20"/>
                <a:gd name="T4" fmla="*/ 2147483646 w 28"/>
                <a:gd name="T5" fmla="*/ 2147483646 h 20"/>
                <a:gd name="T6" fmla="*/ 2147483646 w 28"/>
                <a:gd name="T7" fmla="*/ 2147483646 h 20"/>
                <a:gd name="T8" fmla="*/ 2147483646 w 28"/>
                <a:gd name="T9" fmla="*/ 2147483646 h 20"/>
                <a:gd name="T10" fmla="*/ 0 w 28"/>
                <a:gd name="T11" fmla="*/ 2147483646 h 20"/>
                <a:gd name="T12" fmla="*/ 2147483646 w 28"/>
                <a:gd name="T13" fmla="*/ 2147483646 h 20"/>
                <a:gd name="T14" fmla="*/ 2147483646 w 28"/>
                <a:gd name="T15" fmla="*/ 2147483646 h 20"/>
                <a:gd name="T16" fmla="*/ 2147483646 w 28"/>
                <a:gd name="T17" fmla="*/ 2147483646 h 20"/>
                <a:gd name="T18" fmla="*/ 2147483646 w 28"/>
                <a:gd name="T19" fmla="*/ 2147483646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8" h="20">
                  <a:moveTo>
                    <a:pt x="0" y="2"/>
                  </a:moveTo>
                  <a:cubicBezTo>
                    <a:pt x="1" y="1"/>
                    <a:pt x="2" y="1"/>
                    <a:pt x="3" y="0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0" y="2"/>
                    <a:pt x="0" y="2"/>
                    <a:pt x="0" y="2"/>
                  </a:cubicBezTo>
                  <a:close/>
                  <a:moveTo>
                    <a:pt x="26" y="14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4"/>
                    <a:pt x="26" y="14"/>
                    <a:pt x="26" y="14"/>
                  </a:cubicBez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8" name="Freeform 239"/>
            <p:cNvSpPr/>
            <p:nvPr/>
          </p:nvSpPr>
          <p:spPr bwMode="auto">
            <a:xfrm rot="521357">
              <a:off x="4129132" y="2402329"/>
              <a:ext cx="85100" cy="49224"/>
            </a:xfrm>
            <a:custGeom>
              <a:avLst/>
              <a:gdLst>
                <a:gd name="T0" fmla="*/ 0 w 54"/>
                <a:gd name="T1" fmla="*/ 0 h 30"/>
                <a:gd name="T2" fmla="*/ 2147483646 w 54"/>
                <a:gd name="T3" fmla="*/ 2147483646 h 30"/>
                <a:gd name="T4" fmla="*/ 2147483646 w 54"/>
                <a:gd name="T5" fmla="*/ 2147483646 h 30"/>
                <a:gd name="T6" fmla="*/ 0 w 54"/>
                <a:gd name="T7" fmla="*/ 0 h 30"/>
                <a:gd name="T8" fmla="*/ 0 w 54"/>
                <a:gd name="T9" fmla="*/ 0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" h="30">
                  <a:moveTo>
                    <a:pt x="0" y="0"/>
                  </a:moveTo>
                  <a:lnTo>
                    <a:pt x="54" y="28"/>
                  </a:lnTo>
                  <a:lnTo>
                    <a:pt x="50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9" name="Freeform 240"/>
            <p:cNvSpPr/>
            <p:nvPr/>
          </p:nvSpPr>
          <p:spPr bwMode="auto">
            <a:xfrm rot="521357">
              <a:off x="4188278" y="2453433"/>
              <a:ext cx="69342" cy="68913"/>
            </a:xfrm>
            <a:custGeom>
              <a:avLst/>
              <a:gdLst>
                <a:gd name="T0" fmla="*/ 2147483646 w 19"/>
                <a:gd name="T1" fmla="*/ 2147483646 h 18"/>
                <a:gd name="T2" fmla="*/ 2147483646 w 19"/>
                <a:gd name="T3" fmla="*/ 2147483646 h 18"/>
                <a:gd name="T4" fmla="*/ 2147483646 w 19"/>
                <a:gd name="T5" fmla="*/ 2147483646 h 18"/>
                <a:gd name="T6" fmla="*/ 2147483646 w 19"/>
                <a:gd name="T7" fmla="*/ 2147483646 h 18"/>
                <a:gd name="T8" fmla="*/ 0 w 19"/>
                <a:gd name="T9" fmla="*/ 2147483646 h 18"/>
                <a:gd name="T10" fmla="*/ 2147483646 w 19"/>
                <a:gd name="T11" fmla="*/ 0 h 18"/>
                <a:gd name="T12" fmla="*/ 2147483646 w 19"/>
                <a:gd name="T13" fmla="*/ 214748364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18">
                  <a:moveTo>
                    <a:pt x="5" y="11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15"/>
                    <a:pt x="15" y="17"/>
                    <a:pt x="14" y="1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0" name="Freeform 241"/>
            <p:cNvSpPr>
              <a:spLocks noEditPoints="1"/>
            </p:cNvSpPr>
            <p:nvPr/>
          </p:nvSpPr>
          <p:spPr bwMode="auto">
            <a:xfrm rot="521357">
              <a:off x="3985417" y="2458944"/>
              <a:ext cx="301006" cy="164078"/>
            </a:xfrm>
            <a:custGeom>
              <a:avLst/>
              <a:gdLst>
                <a:gd name="T0" fmla="*/ 2147483646 w 81"/>
                <a:gd name="T1" fmla="*/ 2147483646 h 42"/>
                <a:gd name="T2" fmla="*/ 2147483646 w 81"/>
                <a:gd name="T3" fmla="*/ 2147483646 h 42"/>
                <a:gd name="T4" fmla="*/ 2147483646 w 81"/>
                <a:gd name="T5" fmla="*/ 2147483646 h 42"/>
                <a:gd name="T6" fmla="*/ 2147483646 w 81"/>
                <a:gd name="T7" fmla="*/ 2147483646 h 42"/>
                <a:gd name="T8" fmla="*/ 2147483646 w 81"/>
                <a:gd name="T9" fmla="*/ 2147483646 h 42"/>
                <a:gd name="T10" fmla="*/ 2147483646 w 81"/>
                <a:gd name="T11" fmla="*/ 2147483646 h 42"/>
                <a:gd name="T12" fmla="*/ 2147483646 w 81"/>
                <a:gd name="T13" fmla="*/ 2147483646 h 42"/>
                <a:gd name="T14" fmla="*/ 2147483646 w 81"/>
                <a:gd name="T15" fmla="*/ 2147483646 h 42"/>
                <a:gd name="T16" fmla="*/ 2147483646 w 81"/>
                <a:gd name="T17" fmla="*/ 2147483646 h 42"/>
                <a:gd name="T18" fmla="*/ 2147483646 w 81"/>
                <a:gd name="T19" fmla="*/ 2147483646 h 42"/>
                <a:gd name="T20" fmla="*/ 2147483646 w 81"/>
                <a:gd name="T21" fmla="*/ 2147483646 h 42"/>
                <a:gd name="T22" fmla="*/ 2147483646 w 81"/>
                <a:gd name="T23" fmla="*/ 2147483646 h 42"/>
                <a:gd name="T24" fmla="*/ 2147483646 w 81"/>
                <a:gd name="T25" fmla="*/ 2147483646 h 42"/>
                <a:gd name="T26" fmla="*/ 0 w 81"/>
                <a:gd name="T27" fmla="*/ 2147483646 h 42"/>
                <a:gd name="T28" fmla="*/ 2147483646 w 81"/>
                <a:gd name="T29" fmla="*/ 0 h 42"/>
                <a:gd name="T30" fmla="*/ 2147483646 w 81"/>
                <a:gd name="T31" fmla="*/ 2147483646 h 42"/>
                <a:gd name="T32" fmla="*/ 2147483646 w 81"/>
                <a:gd name="T33" fmla="*/ 2147483646 h 42"/>
                <a:gd name="T34" fmla="*/ 2147483646 w 81"/>
                <a:gd name="T35" fmla="*/ 2147483646 h 42"/>
                <a:gd name="T36" fmla="*/ 2147483646 w 81"/>
                <a:gd name="T37" fmla="*/ 2147483646 h 42"/>
                <a:gd name="T38" fmla="*/ 2147483646 w 81"/>
                <a:gd name="T39" fmla="*/ 2147483646 h 42"/>
                <a:gd name="T40" fmla="*/ 2147483646 w 81"/>
                <a:gd name="T41" fmla="*/ 2147483646 h 42"/>
                <a:gd name="T42" fmla="*/ 2147483646 w 81"/>
                <a:gd name="T43" fmla="*/ 2147483646 h 42"/>
                <a:gd name="T44" fmla="*/ 2147483646 w 81"/>
                <a:gd name="T45" fmla="*/ 2147483646 h 42"/>
                <a:gd name="T46" fmla="*/ 2147483646 w 81"/>
                <a:gd name="T47" fmla="*/ 2147483646 h 42"/>
                <a:gd name="T48" fmla="*/ 2147483646 w 81"/>
                <a:gd name="T49" fmla="*/ 2147483646 h 42"/>
                <a:gd name="T50" fmla="*/ 2147483646 w 81"/>
                <a:gd name="T51" fmla="*/ 2147483646 h 42"/>
                <a:gd name="T52" fmla="*/ 2147483646 w 81"/>
                <a:gd name="T53" fmla="*/ 2147483646 h 42"/>
                <a:gd name="T54" fmla="*/ 2147483646 w 81"/>
                <a:gd name="T55" fmla="*/ 2147483646 h 4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1" h="42">
                  <a:moveTo>
                    <a:pt x="60" y="10"/>
                  </a:moveTo>
                  <a:cubicBezTo>
                    <a:pt x="63" y="11"/>
                    <a:pt x="63" y="11"/>
                    <a:pt x="63" y="11"/>
                  </a:cubicBezTo>
                  <a:cubicBezTo>
                    <a:pt x="63" y="12"/>
                    <a:pt x="65" y="12"/>
                    <a:pt x="66" y="1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76" y="10"/>
                    <a:pt x="76" y="10"/>
                  </a:cubicBezTo>
                  <a:cubicBezTo>
                    <a:pt x="78" y="10"/>
                    <a:pt x="79" y="14"/>
                    <a:pt x="81" y="15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64" y="32"/>
                    <a:pt x="52" y="38"/>
                    <a:pt x="39" y="4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60" y="10"/>
                    <a:pt x="60" y="10"/>
                    <a:pt x="60" y="10"/>
                  </a:cubicBezTo>
                  <a:close/>
                  <a:moveTo>
                    <a:pt x="69" y="18"/>
                  </a:moveTo>
                  <a:cubicBezTo>
                    <a:pt x="66" y="16"/>
                    <a:pt x="66" y="16"/>
                    <a:pt x="66" y="16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69" y="18"/>
                    <a:pt x="69" y="18"/>
                    <a:pt x="69" y="18"/>
                  </a:cubicBezTo>
                  <a:close/>
                  <a:moveTo>
                    <a:pt x="37" y="26"/>
                  </a:moveTo>
                  <a:cubicBezTo>
                    <a:pt x="37" y="31"/>
                    <a:pt x="37" y="31"/>
                    <a:pt x="37" y="31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37" y="26"/>
                    <a:pt x="37" y="26"/>
                    <a:pt x="37" y="26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1" name="Freeform 242"/>
            <p:cNvSpPr/>
            <p:nvPr/>
          </p:nvSpPr>
          <p:spPr bwMode="auto">
            <a:xfrm rot="521357">
              <a:off x="4126974" y="2528695"/>
              <a:ext cx="111893" cy="77116"/>
            </a:xfrm>
            <a:custGeom>
              <a:avLst/>
              <a:gdLst>
                <a:gd name="T0" fmla="*/ 2147483646 w 71"/>
                <a:gd name="T1" fmla="*/ 0 h 47"/>
                <a:gd name="T2" fmla="*/ 2147483646 w 71"/>
                <a:gd name="T3" fmla="*/ 2147483646 h 47"/>
                <a:gd name="T4" fmla="*/ 2147483646 w 71"/>
                <a:gd name="T5" fmla="*/ 2147483646 h 47"/>
                <a:gd name="T6" fmla="*/ 0 w 71"/>
                <a:gd name="T7" fmla="*/ 2147483646 h 47"/>
                <a:gd name="T8" fmla="*/ 2147483646 w 71"/>
                <a:gd name="T9" fmla="*/ 2147483646 h 47"/>
                <a:gd name="T10" fmla="*/ 2147483646 w 71"/>
                <a:gd name="T11" fmla="*/ 0 h 47"/>
                <a:gd name="T12" fmla="*/ 2147483646 w 71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1" h="47">
                  <a:moveTo>
                    <a:pt x="64" y="0"/>
                  </a:moveTo>
                  <a:lnTo>
                    <a:pt x="71" y="5"/>
                  </a:lnTo>
                  <a:lnTo>
                    <a:pt x="19" y="33"/>
                  </a:lnTo>
                  <a:lnTo>
                    <a:pt x="0" y="47"/>
                  </a:lnTo>
                  <a:lnTo>
                    <a:pt x="16" y="29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2" name="Freeform 243"/>
            <p:cNvSpPr/>
            <p:nvPr/>
          </p:nvSpPr>
          <p:spPr bwMode="auto">
            <a:xfrm rot="521357">
              <a:off x="4026681" y="2497808"/>
              <a:ext cx="104012" cy="73836"/>
            </a:xfrm>
            <a:custGeom>
              <a:avLst/>
              <a:gdLst>
                <a:gd name="T0" fmla="*/ 2147483646 w 66"/>
                <a:gd name="T1" fmla="*/ 2147483646 h 45"/>
                <a:gd name="T2" fmla="*/ 2147483646 w 66"/>
                <a:gd name="T3" fmla="*/ 2147483646 h 45"/>
                <a:gd name="T4" fmla="*/ 0 w 66"/>
                <a:gd name="T5" fmla="*/ 0 h 45"/>
                <a:gd name="T6" fmla="*/ 2147483646 w 66"/>
                <a:gd name="T7" fmla="*/ 2147483646 h 45"/>
                <a:gd name="T8" fmla="*/ 2147483646 w 66"/>
                <a:gd name="T9" fmla="*/ 2147483646 h 45"/>
                <a:gd name="T10" fmla="*/ 2147483646 w 66"/>
                <a:gd name="T11" fmla="*/ 2147483646 h 4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6" h="45">
                  <a:moveTo>
                    <a:pt x="61" y="45"/>
                  </a:moveTo>
                  <a:lnTo>
                    <a:pt x="61" y="33"/>
                  </a:lnTo>
                  <a:lnTo>
                    <a:pt x="0" y="0"/>
                  </a:lnTo>
                  <a:lnTo>
                    <a:pt x="66" y="33"/>
                  </a:lnTo>
                  <a:lnTo>
                    <a:pt x="61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3" name="Freeform 244"/>
            <p:cNvSpPr/>
            <p:nvPr/>
          </p:nvSpPr>
          <p:spPr bwMode="auto">
            <a:xfrm rot="521357">
              <a:off x="4032322" y="2491766"/>
              <a:ext cx="228512" cy="105009"/>
            </a:xfrm>
            <a:custGeom>
              <a:avLst/>
              <a:gdLst>
                <a:gd name="T0" fmla="*/ 2147483646 w 61"/>
                <a:gd name="T1" fmla="*/ 0 h 27"/>
                <a:gd name="T2" fmla="*/ 2147483646 w 61"/>
                <a:gd name="T3" fmla="*/ 2147483646 h 27"/>
                <a:gd name="T4" fmla="*/ 2147483646 w 61"/>
                <a:gd name="T5" fmla="*/ 2147483646 h 27"/>
                <a:gd name="T6" fmla="*/ 2147483646 w 61"/>
                <a:gd name="T7" fmla="*/ 2147483646 h 27"/>
                <a:gd name="T8" fmla="*/ 2147483646 w 61"/>
                <a:gd name="T9" fmla="*/ 2147483646 h 27"/>
                <a:gd name="T10" fmla="*/ 0 w 61"/>
                <a:gd name="T11" fmla="*/ 2147483646 h 27"/>
                <a:gd name="T12" fmla="*/ 2147483646 w 61"/>
                <a:gd name="T13" fmla="*/ 2147483646 h 27"/>
                <a:gd name="T14" fmla="*/ 2147483646 w 61"/>
                <a:gd name="T15" fmla="*/ 2147483646 h 27"/>
                <a:gd name="T16" fmla="*/ 2147483646 w 61"/>
                <a:gd name="T17" fmla="*/ 0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1" h="27">
                  <a:moveTo>
                    <a:pt x="57" y="0"/>
                  </a:moveTo>
                  <a:cubicBezTo>
                    <a:pt x="58" y="1"/>
                    <a:pt x="60" y="2"/>
                    <a:pt x="61" y="3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51" y="5"/>
                    <a:pt x="51" y="5"/>
                    <a:pt x="51" y="5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4" name="Freeform 245"/>
            <p:cNvSpPr/>
            <p:nvPr/>
          </p:nvSpPr>
          <p:spPr bwMode="auto">
            <a:xfrm rot="521357">
              <a:off x="4061904" y="2567752"/>
              <a:ext cx="267910" cy="173922"/>
            </a:xfrm>
            <a:custGeom>
              <a:avLst/>
              <a:gdLst>
                <a:gd name="T0" fmla="*/ 0 w 72"/>
                <a:gd name="T1" fmla="*/ 2147483646 h 45"/>
                <a:gd name="T2" fmla="*/ 2147483646 w 72"/>
                <a:gd name="T3" fmla="*/ 2147483646 h 45"/>
                <a:gd name="T4" fmla="*/ 2147483646 w 72"/>
                <a:gd name="T5" fmla="*/ 2147483646 h 45"/>
                <a:gd name="T6" fmla="*/ 2147483646 w 72"/>
                <a:gd name="T7" fmla="*/ 2147483646 h 45"/>
                <a:gd name="T8" fmla="*/ 2147483646 w 72"/>
                <a:gd name="T9" fmla="*/ 0 h 45"/>
                <a:gd name="T10" fmla="*/ 2147483646 w 72"/>
                <a:gd name="T11" fmla="*/ 2147483646 h 45"/>
                <a:gd name="T12" fmla="*/ 2147483646 w 72"/>
                <a:gd name="T13" fmla="*/ 2147483646 h 45"/>
                <a:gd name="T14" fmla="*/ 2147483646 w 72"/>
                <a:gd name="T15" fmla="*/ 2147483646 h 45"/>
                <a:gd name="T16" fmla="*/ 2147483646 w 72"/>
                <a:gd name="T17" fmla="*/ 2147483646 h 45"/>
                <a:gd name="T18" fmla="*/ 2147483646 w 72"/>
                <a:gd name="T19" fmla="*/ 2147483646 h 45"/>
                <a:gd name="T20" fmla="*/ 2147483646 w 72"/>
                <a:gd name="T21" fmla="*/ 2147483646 h 45"/>
                <a:gd name="T22" fmla="*/ 2147483646 w 72"/>
                <a:gd name="T23" fmla="*/ 2147483646 h 45"/>
                <a:gd name="T24" fmla="*/ 0 w 72"/>
                <a:gd name="T25" fmla="*/ 2147483646 h 4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2" h="45">
                  <a:moveTo>
                    <a:pt x="0" y="17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18" y="27"/>
                    <a:pt x="31" y="21"/>
                    <a:pt x="50" y="6"/>
                  </a:cubicBezTo>
                  <a:cubicBezTo>
                    <a:pt x="51" y="7"/>
                    <a:pt x="52" y="3"/>
                    <a:pt x="53" y="3"/>
                  </a:cubicBezTo>
                  <a:cubicBezTo>
                    <a:pt x="54" y="2"/>
                    <a:pt x="56" y="1"/>
                    <a:pt x="57" y="0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0" y="17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5" name="Freeform 246"/>
            <p:cNvSpPr/>
            <p:nvPr/>
          </p:nvSpPr>
          <p:spPr bwMode="auto">
            <a:xfrm rot="521357">
              <a:off x="4611401" y="2339472"/>
              <a:ext cx="59885" cy="16407"/>
            </a:xfrm>
            <a:custGeom>
              <a:avLst/>
              <a:gdLst>
                <a:gd name="T0" fmla="*/ 2147483646 w 16"/>
                <a:gd name="T1" fmla="*/ 0 h 4"/>
                <a:gd name="T2" fmla="*/ 2147483646 w 16"/>
                <a:gd name="T3" fmla="*/ 0 h 4"/>
                <a:gd name="T4" fmla="*/ 2147483646 w 16"/>
                <a:gd name="T5" fmla="*/ 2147483646 h 4"/>
                <a:gd name="T6" fmla="*/ 2147483646 w 16"/>
                <a:gd name="T7" fmla="*/ 2147483646 h 4"/>
                <a:gd name="T8" fmla="*/ 2147483646 w 16"/>
                <a:gd name="T9" fmla="*/ 2147483646 h 4"/>
                <a:gd name="T10" fmla="*/ 2147483646 w 16"/>
                <a:gd name="T11" fmla="*/ 2147483646 h 4"/>
                <a:gd name="T12" fmla="*/ 2147483646 w 16"/>
                <a:gd name="T13" fmla="*/ 2147483646 h 4"/>
                <a:gd name="T14" fmla="*/ 0 w 16"/>
                <a:gd name="T15" fmla="*/ 2147483646 h 4"/>
                <a:gd name="T16" fmla="*/ 2147483646 w 16"/>
                <a:gd name="T17" fmla="*/ 0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" h="4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2"/>
                    <a:pt x="15" y="3"/>
                    <a:pt x="11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6" name="Freeform 247"/>
            <p:cNvSpPr/>
            <p:nvPr/>
          </p:nvSpPr>
          <p:spPr bwMode="auto">
            <a:xfrm rot="521357">
              <a:off x="4595487" y="2347472"/>
              <a:ext cx="44126" cy="19690"/>
            </a:xfrm>
            <a:custGeom>
              <a:avLst/>
              <a:gdLst>
                <a:gd name="T0" fmla="*/ 0 w 12"/>
                <a:gd name="T1" fmla="*/ 0 h 5"/>
                <a:gd name="T2" fmla="*/ 2147483646 w 12"/>
                <a:gd name="T3" fmla="*/ 2147483646 h 5"/>
                <a:gd name="T4" fmla="*/ 2147483646 w 12"/>
                <a:gd name="T5" fmla="*/ 2147483646 h 5"/>
                <a:gd name="T6" fmla="*/ 2147483646 w 12"/>
                <a:gd name="T7" fmla="*/ 2147483646 h 5"/>
                <a:gd name="T8" fmla="*/ 2147483646 w 12"/>
                <a:gd name="T9" fmla="*/ 2147483646 h 5"/>
                <a:gd name="T10" fmla="*/ 2147483646 w 12"/>
                <a:gd name="T11" fmla="*/ 2147483646 h 5"/>
                <a:gd name="T12" fmla="*/ 2147483646 w 12"/>
                <a:gd name="T13" fmla="*/ 2147483646 h 5"/>
                <a:gd name="T14" fmla="*/ 0 w 12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" h="5">
                  <a:moveTo>
                    <a:pt x="0" y="0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1" y="4"/>
                    <a:pt x="11" y="5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7" name="Freeform 248"/>
            <p:cNvSpPr/>
            <p:nvPr/>
          </p:nvSpPr>
          <p:spPr bwMode="auto">
            <a:xfrm rot="521357">
              <a:off x="4596231" y="2344248"/>
              <a:ext cx="44126" cy="16407"/>
            </a:xfrm>
            <a:custGeom>
              <a:avLst/>
              <a:gdLst>
                <a:gd name="T0" fmla="*/ 2147483646 w 12"/>
                <a:gd name="T1" fmla="*/ 2147483646 h 4"/>
                <a:gd name="T2" fmla="*/ 0 w 12"/>
                <a:gd name="T3" fmla="*/ 2147483646 h 4"/>
                <a:gd name="T4" fmla="*/ 2147483646 w 12"/>
                <a:gd name="T5" fmla="*/ 0 h 4"/>
                <a:gd name="T6" fmla="*/ 2147483646 w 12"/>
                <a:gd name="T7" fmla="*/ 2147483646 h 4"/>
                <a:gd name="T8" fmla="*/ 2147483646 w 12"/>
                <a:gd name="T9" fmla="*/ 2147483646 h 4"/>
                <a:gd name="T10" fmla="*/ 2147483646 w 12"/>
                <a:gd name="T11" fmla="*/ 2147483646 h 4"/>
                <a:gd name="T12" fmla="*/ 2147483646 w 12"/>
                <a:gd name="T13" fmla="*/ 2147483646 h 4"/>
                <a:gd name="T14" fmla="*/ 2147483646 w 12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" h="4">
                  <a:moveTo>
                    <a:pt x="8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8" name="Freeform 249"/>
            <p:cNvSpPr/>
            <p:nvPr/>
          </p:nvSpPr>
          <p:spPr bwMode="auto">
            <a:xfrm rot="521357">
              <a:off x="4575092" y="2350606"/>
              <a:ext cx="59885" cy="31175"/>
            </a:xfrm>
            <a:custGeom>
              <a:avLst/>
              <a:gdLst>
                <a:gd name="T0" fmla="*/ 2147483646 w 16"/>
                <a:gd name="T1" fmla="*/ 2147483646 h 8"/>
                <a:gd name="T2" fmla="*/ 2147483646 w 16"/>
                <a:gd name="T3" fmla="*/ 0 h 8"/>
                <a:gd name="T4" fmla="*/ 2147483646 w 16"/>
                <a:gd name="T5" fmla="*/ 2147483646 h 8"/>
                <a:gd name="T6" fmla="*/ 2147483646 w 16"/>
                <a:gd name="T7" fmla="*/ 2147483646 h 8"/>
                <a:gd name="T8" fmla="*/ 2147483646 w 16"/>
                <a:gd name="T9" fmla="*/ 2147483646 h 8"/>
                <a:gd name="T10" fmla="*/ 2147483646 w 16"/>
                <a:gd name="T11" fmla="*/ 2147483646 h 8"/>
                <a:gd name="T12" fmla="*/ 2147483646 w 16"/>
                <a:gd name="T13" fmla="*/ 2147483646 h 8"/>
                <a:gd name="T14" fmla="*/ 0 w 16"/>
                <a:gd name="T15" fmla="*/ 2147483646 h 8"/>
                <a:gd name="T16" fmla="*/ 2147483646 w 16"/>
                <a:gd name="T17" fmla="*/ 2147483646 h 8"/>
                <a:gd name="T18" fmla="*/ 2147483646 w 16"/>
                <a:gd name="T19" fmla="*/ 2147483646 h 8"/>
                <a:gd name="T20" fmla="*/ 2147483646 w 16"/>
                <a:gd name="T21" fmla="*/ 2147483646 h 8"/>
                <a:gd name="T22" fmla="*/ 2147483646 w 16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" h="8">
                  <a:moveTo>
                    <a:pt x="6" y="1"/>
                  </a:moveTo>
                  <a:cubicBezTo>
                    <a:pt x="6" y="1"/>
                    <a:pt x="7" y="1"/>
                    <a:pt x="7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5" y="2"/>
                    <a:pt x="15" y="3"/>
                    <a:pt x="16" y="4"/>
                  </a:cubicBezTo>
                  <a:cubicBezTo>
                    <a:pt x="16" y="4"/>
                    <a:pt x="16" y="4"/>
                    <a:pt x="15" y="5"/>
                  </a:cubicBezTo>
                  <a:cubicBezTo>
                    <a:pt x="15" y="6"/>
                    <a:pt x="15" y="6"/>
                    <a:pt x="14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2" y="2"/>
                    <a:pt x="4" y="3"/>
                  </a:cubicBezTo>
                  <a:cubicBezTo>
                    <a:pt x="4" y="3"/>
                    <a:pt x="6" y="4"/>
                    <a:pt x="10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6" y="1"/>
                    <a:pt x="6" y="1"/>
                    <a:pt x="6" y="1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9" name="Freeform 250"/>
            <p:cNvSpPr/>
            <p:nvPr/>
          </p:nvSpPr>
          <p:spPr bwMode="auto">
            <a:xfrm rot="521357">
              <a:off x="4607755" y="2342679"/>
              <a:ext cx="44126" cy="14768"/>
            </a:xfrm>
            <a:custGeom>
              <a:avLst/>
              <a:gdLst>
                <a:gd name="T0" fmla="*/ 0 w 12"/>
                <a:gd name="T1" fmla="*/ 2147483646 h 4"/>
                <a:gd name="T2" fmla="*/ 2147483646 w 12"/>
                <a:gd name="T3" fmla="*/ 0 h 4"/>
                <a:gd name="T4" fmla="*/ 2147483646 w 12"/>
                <a:gd name="T5" fmla="*/ 2147483646 h 4"/>
                <a:gd name="T6" fmla="*/ 2147483646 w 12"/>
                <a:gd name="T7" fmla="*/ 2147483646 h 4"/>
                <a:gd name="T8" fmla="*/ 2147483646 w 12"/>
                <a:gd name="T9" fmla="*/ 2147483646 h 4"/>
                <a:gd name="T10" fmla="*/ 2147483646 w 12"/>
                <a:gd name="T11" fmla="*/ 2147483646 h 4"/>
                <a:gd name="T12" fmla="*/ 0 w 12"/>
                <a:gd name="T13" fmla="*/ 2147483646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4">
                  <a:moveTo>
                    <a:pt x="0" y="2"/>
                  </a:moveTo>
                  <a:cubicBezTo>
                    <a:pt x="0" y="1"/>
                    <a:pt x="0" y="1"/>
                    <a:pt x="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0" name="Freeform 251"/>
            <p:cNvSpPr/>
            <p:nvPr/>
          </p:nvSpPr>
          <p:spPr bwMode="auto">
            <a:xfrm rot="521357">
              <a:off x="4591443" y="2354292"/>
              <a:ext cx="33095" cy="16407"/>
            </a:xfrm>
            <a:custGeom>
              <a:avLst/>
              <a:gdLst>
                <a:gd name="T0" fmla="*/ 2147483646 w 9"/>
                <a:gd name="T1" fmla="*/ 0 h 4"/>
                <a:gd name="T2" fmla="*/ 2147483646 w 9"/>
                <a:gd name="T3" fmla="*/ 2147483646 h 4"/>
                <a:gd name="T4" fmla="*/ 2147483646 w 9"/>
                <a:gd name="T5" fmla="*/ 2147483646 h 4"/>
                <a:gd name="T6" fmla="*/ 0 w 9"/>
                <a:gd name="T7" fmla="*/ 2147483646 h 4"/>
                <a:gd name="T8" fmla="*/ 2147483646 w 9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4">
                  <a:moveTo>
                    <a:pt x="2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2" y="3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1" name="Freeform 252"/>
            <p:cNvSpPr/>
            <p:nvPr/>
          </p:nvSpPr>
          <p:spPr bwMode="auto">
            <a:xfrm rot="521357">
              <a:off x="4486422" y="2359847"/>
              <a:ext cx="96132" cy="49224"/>
            </a:xfrm>
            <a:custGeom>
              <a:avLst/>
              <a:gdLst>
                <a:gd name="T0" fmla="*/ 0 w 61"/>
                <a:gd name="T1" fmla="*/ 2147483646 h 30"/>
                <a:gd name="T2" fmla="*/ 2147483646 w 61"/>
                <a:gd name="T3" fmla="*/ 2147483646 h 30"/>
                <a:gd name="T4" fmla="*/ 2147483646 w 61"/>
                <a:gd name="T5" fmla="*/ 2147483646 h 30"/>
                <a:gd name="T6" fmla="*/ 2147483646 w 61"/>
                <a:gd name="T7" fmla="*/ 0 h 30"/>
                <a:gd name="T8" fmla="*/ 0 w 61"/>
                <a:gd name="T9" fmla="*/ 2147483646 h 30"/>
                <a:gd name="T10" fmla="*/ 0 w 61"/>
                <a:gd name="T11" fmla="*/ 2147483646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30">
                  <a:moveTo>
                    <a:pt x="0" y="30"/>
                  </a:moveTo>
                  <a:lnTo>
                    <a:pt x="4" y="19"/>
                  </a:lnTo>
                  <a:lnTo>
                    <a:pt x="9" y="19"/>
                  </a:lnTo>
                  <a:lnTo>
                    <a:pt x="61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2" name="Freeform 253"/>
            <p:cNvSpPr/>
            <p:nvPr/>
          </p:nvSpPr>
          <p:spPr bwMode="auto">
            <a:xfrm rot="521357">
              <a:off x="4492540" y="2380337"/>
              <a:ext cx="7881" cy="4923"/>
            </a:xfrm>
            <a:custGeom>
              <a:avLst/>
              <a:gdLst>
                <a:gd name="T0" fmla="*/ 0 w 5"/>
                <a:gd name="T1" fmla="*/ 2147483646 h 3"/>
                <a:gd name="T2" fmla="*/ 2147483646 w 5"/>
                <a:gd name="T3" fmla="*/ 0 h 3"/>
                <a:gd name="T4" fmla="*/ 2147483646 w 5"/>
                <a:gd name="T5" fmla="*/ 2147483646 h 3"/>
                <a:gd name="T6" fmla="*/ 0 w 5"/>
                <a:gd name="T7" fmla="*/ 2147483646 h 3"/>
                <a:gd name="T8" fmla="*/ 0 w 5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3" name="Freeform 254"/>
            <p:cNvSpPr/>
            <p:nvPr/>
          </p:nvSpPr>
          <p:spPr bwMode="auto">
            <a:xfrm rot="521357">
              <a:off x="4136783" y="2637971"/>
              <a:ext cx="89829" cy="62349"/>
            </a:xfrm>
            <a:custGeom>
              <a:avLst/>
              <a:gdLst>
                <a:gd name="T0" fmla="*/ 0 w 57"/>
                <a:gd name="T1" fmla="*/ 2147483646 h 38"/>
                <a:gd name="T2" fmla="*/ 2147483646 w 57"/>
                <a:gd name="T3" fmla="*/ 2147483646 h 38"/>
                <a:gd name="T4" fmla="*/ 2147483646 w 57"/>
                <a:gd name="T5" fmla="*/ 0 h 38"/>
                <a:gd name="T6" fmla="*/ 2147483646 w 57"/>
                <a:gd name="T7" fmla="*/ 2147483646 h 38"/>
                <a:gd name="T8" fmla="*/ 2147483646 w 57"/>
                <a:gd name="T9" fmla="*/ 2147483646 h 38"/>
                <a:gd name="T10" fmla="*/ 2147483646 w 57"/>
                <a:gd name="T11" fmla="*/ 2147483646 h 38"/>
                <a:gd name="T12" fmla="*/ 0 w 57"/>
                <a:gd name="T13" fmla="*/ 2147483646 h 38"/>
                <a:gd name="T14" fmla="*/ 0 w 57"/>
                <a:gd name="T15" fmla="*/ 2147483646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7" h="38">
                  <a:moveTo>
                    <a:pt x="0" y="29"/>
                  </a:moveTo>
                  <a:lnTo>
                    <a:pt x="8" y="26"/>
                  </a:lnTo>
                  <a:lnTo>
                    <a:pt x="50" y="0"/>
                  </a:lnTo>
                  <a:lnTo>
                    <a:pt x="57" y="10"/>
                  </a:lnTo>
                  <a:lnTo>
                    <a:pt x="12" y="33"/>
                  </a:lnTo>
                  <a:lnTo>
                    <a:pt x="5" y="38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4" name="Freeform 255"/>
            <p:cNvSpPr/>
            <p:nvPr/>
          </p:nvSpPr>
          <p:spPr bwMode="auto">
            <a:xfrm rot="521357">
              <a:off x="4163698" y="2644166"/>
              <a:ext cx="297853" cy="255962"/>
            </a:xfrm>
            <a:custGeom>
              <a:avLst/>
              <a:gdLst>
                <a:gd name="T0" fmla="*/ 2147483646 w 80"/>
                <a:gd name="T1" fmla="*/ 2147483646 h 66"/>
                <a:gd name="T2" fmla="*/ 0 w 80"/>
                <a:gd name="T3" fmla="*/ 2147483646 h 66"/>
                <a:gd name="T4" fmla="*/ 2147483646 w 80"/>
                <a:gd name="T5" fmla="*/ 2147483646 h 66"/>
                <a:gd name="T6" fmla="*/ 2147483646 w 80"/>
                <a:gd name="T7" fmla="*/ 2147483646 h 66"/>
                <a:gd name="T8" fmla="*/ 2147483646 w 80"/>
                <a:gd name="T9" fmla="*/ 2147483646 h 66"/>
                <a:gd name="T10" fmla="*/ 2147483646 w 80"/>
                <a:gd name="T11" fmla="*/ 2147483646 h 66"/>
                <a:gd name="T12" fmla="*/ 2147483646 w 80"/>
                <a:gd name="T13" fmla="*/ 0 h 66"/>
                <a:gd name="T14" fmla="*/ 2147483646 w 80"/>
                <a:gd name="T15" fmla="*/ 2147483646 h 66"/>
                <a:gd name="T16" fmla="*/ 2147483646 w 80"/>
                <a:gd name="T17" fmla="*/ 2147483646 h 66"/>
                <a:gd name="T18" fmla="*/ 2147483646 w 80"/>
                <a:gd name="T19" fmla="*/ 2147483646 h 66"/>
                <a:gd name="T20" fmla="*/ 2147483646 w 80"/>
                <a:gd name="T21" fmla="*/ 2147483646 h 66"/>
                <a:gd name="T22" fmla="*/ 2147483646 w 80"/>
                <a:gd name="T23" fmla="*/ 2147483646 h 66"/>
                <a:gd name="T24" fmla="*/ 2147483646 w 80"/>
                <a:gd name="T25" fmla="*/ 2147483646 h 66"/>
                <a:gd name="T26" fmla="*/ 2147483646 w 80"/>
                <a:gd name="T27" fmla="*/ 2147483646 h 66"/>
                <a:gd name="T28" fmla="*/ 2147483646 w 80"/>
                <a:gd name="T29" fmla="*/ 2147483646 h 66"/>
                <a:gd name="T30" fmla="*/ 2147483646 w 80"/>
                <a:gd name="T31" fmla="*/ 2147483646 h 66"/>
                <a:gd name="T32" fmla="*/ 2147483646 w 80"/>
                <a:gd name="T33" fmla="*/ 2147483646 h 66"/>
                <a:gd name="T34" fmla="*/ 2147483646 w 80"/>
                <a:gd name="T35" fmla="*/ 2147483646 h 66"/>
                <a:gd name="T36" fmla="*/ 2147483646 w 80"/>
                <a:gd name="T37" fmla="*/ 2147483646 h 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0" h="66">
                  <a:moveTo>
                    <a:pt x="16" y="49"/>
                  </a:moveTo>
                  <a:cubicBezTo>
                    <a:pt x="10" y="48"/>
                    <a:pt x="4" y="44"/>
                    <a:pt x="0" y="39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55" y="46"/>
                    <a:pt x="68" y="38"/>
                    <a:pt x="80" y="32"/>
                  </a:cubicBezTo>
                  <a:cubicBezTo>
                    <a:pt x="78" y="34"/>
                    <a:pt x="76" y="36"/>
                    <a:pt x="74" y="38"/>
                  </a:cubicBezTo>
                  <a:cubicBezTo>
                    <a:pt x="72" y="40"/>
                    <a:pt x="70" y="42"/>
                    <a:pt x="67" y="43"/>
                  </a:cubicBezTo>
                  <a:cubicBezTo>
                    <a:pt x="66" y="44"/>
                    <a:pt x="64" y="45"/>
                    <a:pt x="63" y="45"/>
                  </a:cubicBezTo>
                  <a:cubicBezTo>
                    <a:pt x="55" y="53"/>
                    <a:pt x="49" y="60"/>
                    <a:pt x="47" y="66"/>
                  </a:cubicBezTo>
                  <a:cubicBezTo>
                    <a:pt x="16" y="49"/>
                    <a:pt x="16" y="49"/>
                    <a:pt x="16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5" name="Freeform 256"/>
            <p:cNvSpPr>
              <a:spLocks noEditPoints="1"/>
            </p:cNvSpPr>
            <p:nvPr/>
          </p:nvSpPr>
          <p:spPr bwMode="auto">
            <a:xfrm rot="521357">
              <a:off x="4199953" y="2657759"/>
              <a:ext cx="297853" cy="213300"/>
            </a:xfrm>
            <a:custGeom>
              <a:avLst/>
              <a:gdLst>
                <a:gd name="T0" fmla="*/ 0 w 80"/>
                <a:gd name="T1" fmla="*/ 2147483646 h 55"/>
                <a:gd name="T2" fmla="*/ 2147483646 w 80"/>
                <a:gd name="T3" fmla="*/ 2147483646 h 55"/>
                <a:gd name="T4" fmla="*/ 2147483646 w 80"/>
                <a:gd name="T5" fmla="*/ 2147483646 h 55"/>
                <a:gd name="T6" fmla="*/ 2147483646 w 80"/>
                <a:gd name="T7" fmla="*/ 2147483646 h 55"/>
                <a:gd name="T8" fmla="*/ 2147483646 w 80"/>
                <a:gd name="T9" fmla="*/ 0 h 55"/>
                <a:gd name="T10" fmla="*/ 2147483646 w 80"/>
                <a:gd name="T11" fmla="*/ 2147483646 h 55"/>
                <a:gd name="T12" fmla="*/ 2147483646 w 80"/>
                <a:gd name="T13" fmla="*/ 2147483646 h 55"/>
                <a:gd name="T14" fmla="*/ 2147483646 w 80"/>
                <a:gd name="T15" fmla="*/ 2147483646 h 55"/>
                <a:gd name="T16" fmla="*/ 0 w 80"/>
                <a:gd name="T17" fmla="*/ 2147483646 h 55"/>
                <a:gd name="T18" fmla="*/ 2147483646 w 80"/>
                <a:gd name="T19" fmla="*/ 2147483646 h 55"/>
                <a:gd name="T20" fmla="*/ 2147483646 w 80"/>
                <a:gd name="T21" fmla="*/ 2147483646 h 55"/>
                <a:gd name="T22" fmla="*/ 2147483646 w 80"/>
                <a:gd name="T23" fmla="*/ 2147483646 h 55"/>
                <a:gd name="T24" fmla="*/ 2147483646 w 80"/>
                <a:gd name="T25" fmla="*/ 2147483646 h 55"/>
                <a:gd name="T26" fmla="*/ 2147483646 w 80"/>
                <a:gd name="T27" fmla="*/ 2147483646 h 55"/>
                <a:gd name="T28" fmla="*/ 2147483646 w 80"/>
                <a:gd name="T29" fmla="*/ 2147483646 h 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0" h="55">
                  <a:moveTo>
                    <a:pt x="0" y="38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21"/>
                    <a:pt x="75" y="26"/>
                    <a:pt x="71" y="30"/>
                  </a:cubicBezTo>
                  <a:cubicBezTo>
                    <a:pt x="59" y="36"/>
                    <a:pt x="46" y="44"/>
                    <a:pt x="35" y="55"/>
                  </a:cubicBezTo>
                  <a:cubicBezTo>
                    <a:pt x="0" y="38"/>
                    <a:pt x="0" y="38"/>
                    <a:pt x="0" y="38"/>
                  </a:cubicBezTo>
                  <a:close/>
                  <a:moveTo>
                    <a:pt x="49" y="2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49" y="2"/>
                    <a:pt x="49" y="2"/>
                    <a:pt x="49" y="2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6" name="Freeform 257"/>
            <p:cNvSpPr/>
            <p:nvPr/>
          </p:nvSpPr>
          <p:spPr bwMode="auto">
            <a:xfrm rot="521357">
              <a:off x="4384247" y="2677726"/>
              <a:ext cx="111893" cy="105009"/>
            </a:xfrm>
            <a:custGeom>
              <a:avLst/>
              <a:gdLst>
                <a:gd name="T0" fmla="*/ 0 w 71"/>
                <a:gd name="T1" fmla="*/ 2147483646 h 64"/>
                <a:gd name="T2" fmla="*/ 2147483646 w 71"/>
                <a:gd name="T3" fmla="*/ 0 h 64"/>
                <a:gd name="T4" fmla="*/ 2147483646 w 71"/>
                <a:gd name="T5" fmla="*/ 2147483646 h 64"/>
                <a:gd name="T6" fmla="*/ 2147483646 w 71"/>
                <a:gd name="T7" fmla="*/ 2147483646 h 64"/>
                <a:gd name="T8" fmla="*/ 2147483646 w 71"/>
                <a:gd name="T9" fmla="*/ 2147483646 h 64"/>
                <a:gd name="T10" fmla="*/ 0 w 71"/>
                <a:gd name="T11" fmla="*/ 2147483646 h 64"/>
                <a:gd name="T12" fmla="*/ 0 w 71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1" h="64">
                  <a:moveTo>
                    <a:pt x="0" y="5"/>
                  </a:moveTo>
                  <a:lnTo>
                    <a:pt x="2" y="0"/>
                  </a:lnTo>
                  <a:lnTo>
                    <a:pt x="71" y="33"/>
                  </a:lnTo>
                  <a:lnTo>
                    <a:pt x="52" y="64"/>
                  </a:lnTo>
                  <a:lnTo>
                    <a:pt x="61" y="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7" name="Freeform 258"/>
            <p:cNvSpPr/>
            <p:nvPr/>
          </p:nvSpPr>
          <p:spPr bwMode="auto">
            <a:xfrm rot="521357">
              <a:off x="4277855" y="2568420"/>
              <a:ext cx="111893" cy="88602"/>
            </a:xfrm>
            <a:custGeom>
              <a:avLst/>
              <a:gdLst>
                <a:gd name="T0" fmla="*/ 2147483646 w 30"/>
                <a:gd name="T1" fmla="*/ 2147483646 h 23"/>
                <a:gd name="T2" fmla="*/ 2147483646 w 30"/>
                <a:gd name="T3" fmla="*/ 0 h 23"/>
                <a:gd name="T4" fmla="*/ 2147483646 w 30"/>
                <a:gd name="T5" fmla="*/ 2147483646 h 23"/>
                <a:gd name="T6" fmla="*/ 2147483646 w 30"/>
                <a:gd name="T7" fmla="*/ 2147483646 h 23"/>
                <a:gd name="T8" fmla="*/ 2147483646 w 30"/>
                <a:gd name="T9" fmla="*/ 2147483646 h 23"/>
                <a:gd name="T10" fmla="*/ 2147483646 w 30"/>
                <a:gd name="T11" fmla="*/ 2147483646 h 23"/>
                <a:gd name="T12" fmla="*/ 2147483646 w 30"/>
                <a:gd name="T13" fmla="*/ 2147483646 h 23"/>
                <a:gd name="T14" fmla="*/ 2147483646 w 30"/>
                <a:gd name="T15" fmla="*/ 2147483646 h 23"/>
                <a:gd name="T16" fmla="*/ 2147483646 w 30"/>
                <a:gd name="T17" fmla="*/ 2147483646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0" h="23">
                  <a:moveTo>
                    <a:pt x="2" y="2"/>
                  </a:moveTo>
                  <a:cubicBezTo>
                    <a:pt x="3" y="1"/>
                    <a:pt x="5" y="2"/>
                    <a:pt x="5" y="0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0" y="4"/>
                    <a:pt x="1" y="4"/>
                  </a:cubicBezTo>
                  <a:lnTo>
                    <a:pt x="2" y="2"/>
                  </a:ln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8" name="Freeform 259"/>
            <p:cNvSpPr/>
            <p:nvPr/>
          </p:nvSpPr>
          <p:spPr bwMode="auto">
            <a:xfrm rot="521357">
              <a:off x="4273145" y="2587752"/>
              <a:ext cx="111893" cy="111572"/>
            </a:xfrm>
            <a:custGeom>
              <a:avLst/>
              <a:gdLst>
                <a:gd name="T0" fmla="*/ 2147483646 w 71"/>
                <a:gd name="T1" fmla="*/ 2147483646 h 68"/>
                <a:gd name="T2" fmla="*/ 2147483646 w 71"/>
                <a:gd name="T3" fmla="*/ 2147483646 h 68"/>
                <a:gd name="T4" fmla="*/ 2147483646 w 71"/>
                <a:gd name="T5" fmla="*/ 2147483646 h 68"/>
                <a:gd name="T6" fmla="*/ 2147483646 w 71"/>
                <a:gd name="T7" fmla="*/ 2147483646 h 68"/>
                <a:gd name="T8" fmla="*/ 0 w 71"/>
                <a:gd name="T9" fmla="*/ 2147483646 h 68"/>
                <a:gd name="T10" fmla="*/ 2147483646 w 71"/>
                <a:gd name="T11" fmla="*/ 0 h 68"/>
                <a:gd name="T12" fmla="*/ 2147483646 w 71"/>
                <a:gd name="T13" fmla="*/ 2147483646 h 68"/>
                <a:gd name="T14" fmla="*/ 2147483646 w 71"/>
                <a:gd name="T15" fmla="*/ 2147483646 h 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1" h="68">
                  <a:moveTo>
                    <a:pt x="36" y="42"/>
                  </a:moveTo>
                  <a:lnTo>
                    <a:pt x="71" y="35"/>
                  </a:lnTo>
                  <a:lnTo>
                    <a:pt x="52" y="68"/>
                  </a:lnTo>
                  <a:lnTo>
                    <a:pt x="31" y="61"/>
                  </a:lnTo>
                  <a:lnTo>
                    <a:pt x="0" y="9"/>
                  </a:lnTo>
                  <a:lnTo>
                    <a:pt x="2" y="0"/>
                  </a:lnTo>
                  <a:lnTo>
                    <a:pt x="36" y="42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9" name="Freeform 260"/>
            <p:cNvSpPr/>
            <p:nvPr/>
          </p:nvSpPr>
          <p:spPr bwMode="auto">
            <a:xfrm rot="521357">
              <a:off x="4423875" y="2756142"/>
              <a:ext cx="371923" cy="283855"/>
            </a:xfrm>
            <a:custGeom>
              <a:avLst/>
              <a:gdLst>
                <a:gd name="T0" fmla="*/ 2147483646 w 100"/>
                <a:gd name="T1" fmla="*/ 0 h 73"/>
                <a:gd name="T2" fmla="*/ 2147483646 w 100"/>
                <a:gd name="T3" fmla="*/ 2147483646 h 73"/>
                <a:gd name="T4" fmla="*/ 2147483646 w 100"/>
                <a:gd name="T5" fmla="*/ 2147483646 h 73"/>
                <a:gd name="T6" fmla="*/ 2147483646 w 100"/>
                <a:gd name="T7" fmla="*/ 2147483646 h 73"/>
                <a:gd name="T8" fmla="*/ 2147483646 w 100"/>
                <a:gd name="T9" fmla="*/ 2147483646 h 73"/>
                <a:gd name="T10" fmla="*/ 2147483646 w 100"/>
                <a:gd name="T11" fmla="*/ 2147483646 h 73"/>
                <a:gd name="T12" fmla="*/ 2147483646 w 100"/>
                <a:gd name="T13" fmla="*/ 2147483646 h 73"/>
                <a:gd name="T14" fmla="*/ 2147483646 w 100"/>
                <a:gd name="T15" fmla="*/ 2147483646 h 73"/>
                <a:gd name="T16" fmla="*/ 2147483646 w 100"/>
                <a:gd name="T17" fmla="*/ 2147483646 h 73"/>
                <a:gd name="T18" fmla="*/ 2147483646 w 100"/>
                <a:gd name="T19" fmla="*/ 2147483646 h 73"/>
                <a:gd name="T20" fmla="*/ 2147483646 w 100"/>
                <a:gd name="T21" fmla="*/ 2147483646 h 73"/>
                <a:gd name="T22" fmla="*/ 2147483646 w 100"/>
                <a:gd name="T23" fmla="*/ 2147483646 h 73"/>
                <a:gd name="T24" fmla="*/ 2147483646 w 100"/>
                <a:gd name="T25" fmla="*/ 2147483646 h 73"/>
                <a:gd name="T26" fmla="*/ 0 w 100"/>
                <a:gd name="T27" fmla="*/ 2147483646 h 73"/>
                <a:gd name="T28" fmla="*/ 2147483646 w 100"/>
                <a:gd name="T29" fmla="*/ 2147483646 h 73"/>
                <a:gd name="T30" fmla="*/ 2147483646 w 100"/>
                <a:gd name="T31" fmla="*/ 0 h 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00" h="73">
                  <a:moveTo>
                    <a:pt x="15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6" y="23"/>
                    <a:pt x="22" y="26"/>
                    <a:pt x="29" y="27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44" y="40"/>
                    <a:pt x="52" y="44"/>
                    <a:pt x="60" y="46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100" y="70"/>
                    <a:pt x="100" y="70"/>
                    <a:pt x="100" y="70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89" y="67"/>
                    <a:pt x="83" y="64"/>
                    <a:pt x="76" y="62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47" y="48"/>
                    <a:pt x="39" y="44"/>
                    <a:pt x="34" y="37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15" y="30"/>
                    <a:pt x="7" y="27"/>
                    <a:pt x="0" y="21"/>
                  </a:cubicBezTo>
                  <a:cubicBezTo>
                    <a:pt x="2" y="19"/>
                    <a:pt x="4" y="17"/>
                    <a:pt x="6" y="15"/>
                  </a:cubicBezTo>
                  <a:cubicBezTo>
                    <a:pt x="10" y="11"/>
                    <a:pt x="13" y="6"/>
                    <a:pt x="15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0" name="Freeform 261"/>
            <p:cNvSpPr/>
            <p:nvPr/>
          </p:nvSpPr>
          <p:spPr bwMode="auto">
            <a:xfrm rot="521357">
              <a:off x="4303280" y="2819017"/>
              <a:ext cx="81949" cy="379020"/>
            </a:xfrm>
            <a:custGeom>
              <a:avLst/>
              <a:gdLst>
                <a:gd name="T0" fmla="*/ 2147483646 w 22"/>
                <a:gd name="T1" fmla="*/ 2147483646 h 98"/>
                <a:gd name="T2" fmla="*/ 2147483646 w 22"/>
                <a:gd name="T3" fmla="*/ 0 h 98"/>
                <a:gd name="T4" fmla="*/ 2147483646 w 22"/>
                <a:gd name="T5" fmla="*/ 2147483646 h 98"/>
                <a:gd name="T6" fmla="*/ 2147483646 w 22"/>
                <a:gd name="T7" fmla="*/ 2147483646 h 98"/>
                <a:gd name="T8" fmla="*/ 2147483646 w 22"/>
                <a:gd name="T9" fmla="*/ 2147483646 h 98"/>
                <a:gd name="T10" fmla="*/ 2147483646 w 22"/>
                <a:gd name="T11" fmla="*/ 2147483646 h 98"/>
                <a:gd name="T12" fmla="*/ 2147483646 w 22"/>
                <a:gd name="T13" fmla="*/ 2147483646 h 98"/>
                <a:gd name="T14" fmla="*/ 2147483646 w 22"/>
                <a:gd name="T15" fmla="*/ 2147483646 h 98"/>
                <a:gd name="T16" fmla="*/ 2147483646 w 22"/>
                <a:gd name="T17" fmla="*/ 2147483646 h 98"/>
                <a:gd name="T18" fmla="*/ 2147483646 w 22"/>
                <a:gd name="T19" fmla="*/ 2147483646 h 98"/>
                <a:gd name="T20" fmla="*/ 2147483646 w 22"/>
                <a:gd name="T21" fmla="*/ 2147483646 h 98"/>
                <a:gd name="T22" fmla="*/ 2147483646 w 22"/>
                <a:gd name="T23" fmla="*/ 2147483646 h 98"/>
                <a:gd name="T24" fmla="*/ 0 w 22"/>
                <a:gd name="T25" fmla="*/ 2147483646 h 98"/>
                <a:gd name="T26" fmla="*/ 2147483646 w 22"/>
                <a:gd name="T27" fmla="*/ 2147483646 h 9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2" h="98">
                  <a:moveTo>
                    <a:pt x="16" y="2"/>
                  </a:moveTo>
                  <a:cubicBezTo>
                    <a:pt x="17" y="2"/>
                    <a:pt x="19" y="1"/>
                    <a:pt x="20" y="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4" y="21"/>
                    <a:pt x="18" y="25"/>
                    <a:pt x="22" y="30"/>
                  </a:cubicBezTo>
                  <a:cubicBezTo>
                    <a:pt x="16" y="42"/>
                    <a:pt x="13" y="57"/>
                    <a:pt x="11" y="73"/>
                  </a:cubicBezTo>
                  <a:cubicBezTo>
                    <a:pt x="10" y="78"/>
                    <a:pt x="9" y="82"/>
                    <a:pt x="6" y="86"/>
                  </a:cubicBezTo>
                  <a:cubicBezTo>
                    <a:pt x="8" y="91"/>
                    <a:pt x="9" y="94"/>
                    <a:pt x="12" y="97"/>
                  </a:cubicBezTo>
                  <a:cubicBezTo>
                    <a:pt x="9" y="98"/>
                    <a:pt x="7" y="98"/>
                    <a:pt x="4" y="97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6" y="80"/>
                    <a:pt x="8" y="76"/>
                    <a:pt x="7" y="71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9"/>
                    <a:pt x="11" y="39"/>
                    <a:pt x="17" y="30"/>
                  </a:cubicBezTo>
                  <a:cubicBezTo>
                    <a:pt x="13" y="27"/>
                    <a:pt x="8" y="24"/>
                    <a:pt x="0" y="23"/>
                  </a:cubicBezTo>
                  <a:cubicBezTo>
                    <a:pt x="2" y="17"/>
                    <a:pt x="8" y="10"/>
                    <a:pt x="16" y="2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1" name="Freeform 262"/>
            <p:cNvSpPr>
              <a:spLocks noEditPoints="1"/>
            </p:cNvSpPr>
            <p:nvPr/>
          </p:nvSpPr>
          <p:spPr bwMode="auto">
            <a:xfrm rot="521357">
              <a:off x="4326597" y="2826535"/>
              <a:ext cx="133956" cy="375738"/>
            </a:xfrm>
            <a:custGeom>
              <a:avLst/>
              <a:gdLst>
                <a:gd name="T0" fmla="*/ 2147483646 w 36"/>
                <a:gd name="T1" fmla="*/ 0 h 97"/>
                <a:gd name="T2" fmla="*/ 2147483646 w 36"/>
                <a:gd name="T3" fmla="*/ 2147483646 h 97"/>
                <a:gd name="T4" fmla="*/ 2147483646 w 36"/>
                <a:gd name="T5" fmla="*/ 2147483646 h 97"/>
                <a:gd name="T6" fmla="*/ 2147483646 w 36"/>
                <a:gd name="T7" fmla="*/ 2147483646 h 97"/>
                <a:gd name="T8" fmla="*/ 2147483646 w 36"/>
                <a:gd name="T9" fmla="*/ 2147483646 h 97"/>
                <a:gd name="T10" fmla="*/ 2147483646 w 36"/>
                <a:gd name="T11" fmla="*/ 2147483646 h 97"/>
                <a:gd name="T12" fmla="*/ 2147483646 w 36"/>
                <a:gd name="T13" fmla="*/ 2147483646 h 97"/>
                <a:gd name="T14" fmla="*/ 0 w 36"/>
                <a:gd name="T15" fmla="*/ 2147483646 h 97"/>
                <a:gd name="T16" fmla="*/ 2147483646 w 36"/>
                <a:gd name="T17" fmla="*/ 2147483646 h 97"/>
                <a:gd name="T18" fmla="*/ 2147483646 w 36"/>
                <a:gd name="T19" fmla="*/ 2147483646 h 97"/>
                <a:gd name="T20" fmla="*/ 2147483646 w 36"/>
                <a:gd name="T21" fmla="*/ 2147483646 h 97"/>
                <a:gd name="T22" fmla="*/ 2147483646 w 36"/>
                <a:gd name="T23" fmla="*/ 0 h 97"/>
                <a:gd name="T24" fmla="*/ 2147483646 w 36"/>
                <a:gd name="T25" fmla="*/ 2147483646 h 97"/>
                <a:gd name="T26" fmla="*/ 2147483646 w 36"/>
                <a:gd name="T27" fmla="*/ 2147483646 h 97"/>
                <a:gd name="T28" fmla="*/ 2147483646 w 36"/>
                <a:gd name="T29" fmla="*/ 2147483646 h 97"/>
                <a:gd name="T30" fmla="*/ 2147483646 w 36"/>
                <a:gd name="T31" fmla="*/ 2147483646 h 97"/>
                <a:gd name="T32" fmla="*/ 2147483646 w 36"/>
                <a:gd name="T33" fmla="*/ 2147483646 h 97"/>
                <a:gd name="T34" fmla="*/ 2147483646 w 36"/>
                <a:gd name="T35" fmla="*/ 2147483646 h 97"/>
                <a:gd name="T36" fmla="*/ 2147483646 w 36"/>
                <a:gd name="T37" fmla="*/ 2147483646 h 97"/>
                <a:gd name="T38" fmla="*/ 2147483646 w 36"/>
                <a:gd name="T39" fmla="*/ 2147483646 h 97"/>
                <a:gd name="T40" fmla="*/ 2147483646 w 36"/>
                <a:gd name="T41" fmla="*/ 2147483646 h 97"/>
                <a:gd name="T42" fmla="*/ 2147483646 w 36"/>
                <a:gd name="T43" fmla="*/ 2147483646 h 97"/>
                <a:gd name="T44" fmla="*/ 2147483646 w 36"/>
                <a:gd name="T45" fmla="*/ 2147483646 h 97"/>
                <a:gd name="T46" fmla="*/ 2147483646 w 36"/>
                <a:gd name="T47" fmla="*/ 2147483646 h 97"/>
                <a:gd name="T48" fmla="*/ 2147483646 w 36"/>
                <a:gd name="T49" fmla="*/ 2147483646 h 9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6" h="97">
                  <a:moveTo>
                    <a:pt x="14" y="0"/>
                  </a:moveTo>
                  <a:cubicBezTo>
                    <a:pt x="24" y="7"/>
                    <a:pt x="24" y="7"/>
                    <a:pt x="24" y="7"/>
                  </a:cubicBezTo>
                  <a:cubicBezTo>
                    <a:pt x="34" y="14"/>
                    <a:pt x="36" y="24"/>
                    <a:pt x="30" y="36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3" y="69"/>
                    <a:pt x="10" y="78"/>
                    <a:pt x="10" y="8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9" y="96"/>
                    <a:pt x="7" y="97"/>
                    <a:pt x="6" y="97"/>
                  </a:cubicBezTo>
                  <a:cubicBezTo>
                    <a:pt x="3" y="94"/>
                    <a:pt x="2" y="91"/>
                    <a:pt x="0" y="86"/>
                  </a:cubicBezTo>
                  <a:cubicBezTo>
                    <a:pt x="3" y="82"/>
                    <a:pt x="4" y="78"/>
                    <a:pt x="5" y="73"/>
                  </a:cubicBezTo>
                  <a:cubicBezTo>
                    <a:pt x="7" y="57"/>
                    <a:pt x="10" y="42"/>
                    <a:pt x="16" y="30"/>
                  </a:cubicBezTo>
                  <a:cubicBezTo>
                    <a:pt x="12" y="25"/>
                    <a:pt x="8" y="21"/>
                    <a:pt x="3" y="18"/>
                  </a:cubicBezTo>
                  <a:cubicBezTo>
                    <a:pt x="14" y="0"/>
                    <a:pt x="14" y="0"/>
                    <a:pt x="14" y="0"/>
                  </a:cubicBezTo>
                  <a:close/>
                  <a:moveTo>
                    <a:pt x="31" y="20"/>
                  </a:moveTo>
                  <a:cubicBezTo>
                    <a:pt x="31" y="14"/>
                    <a:pt x="26" y="8"/>
                    <a:pt x="15" y="2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4" y="8"/>
                    <a:pt x="29" y="14"/>
                    <a:pt x="28" y="23"/>
                  </a:cubicBezTo>
                  <a:cubicBezTo>
                    <a:pt x="29" y="28"/>
                    <a:pt x="27" y="33"/>
                    <a:pt x="24" y="39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0" y="66"/>
                    <a:pt x="8" y="73"/>
                    <a:pt x="7" y="8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0" y="73"/>
                    <a:pt x="12" y="66"/>
                    <a:pt x="15" y="58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31" y="33"/>
                    <a:pt x="32" y="27"/>
                    <a:pt x="31" y="20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2" name="Freeform 263"/>
            <p:cNvSpPr/>
            <p:nvPr/>
          </p:nvSpPr>
          <p:spPr bwMode="auto">
            <a:xfrm rot="521357">
              <a:off x="4351883" y="2833822"/>
              <a:ext cx="92982" cy="360971"/>
            </a:xfrm>
            <a:custGeom>
              <a:avLst/>
              <a:gdLst>
                <a:gd name="T0" fmla="*/ 2147483646 w 25"/>
                <a:gd name="T1" fmla="*/ 0 h 93"/>
                <a:gd name="T2" fmla="*/ 2147483646 w 25"/>
                <a:gd name="T3" fmla="*/ 2147483646 h 93"/>
                <a:gd name="T4" fmla="*/ 2147483646 w 25"/>
                <a:gd name="T5" fmla="*/ 2147483646 h 93"/>
                <a:gd name="T6" fmla="*/ 2147483646 w 25"/>
                <a:gd name="T7" fmla="*/ 2147483646 h 93"/>
                <a:gd name="T8" fmla="*/ 2147483646 w 25"/>
                <a:gd name="T9" fmla="*/ 2147483646 h 93"/>
                <a:gd name="T10" fmla="*/ 2147483646 w 25"/>
                <a:gd name="T11" fmla="*/ 2147483646 h 93"/>
                <a:gd name="T12" fmla="*/ 0 w 25"/>
                <a:gd name="T13" fmla="*/ 2147483646 h 93"/>
                <a:gd name="T14" fmla="*/ 0 w 25"/>
                <a:gd name="T15" fmla="*/ 2147483646 h 93"/>
                <a:gd name="T16" fmla="*/ 2147483646 w 25"/>
                <a:gd name="T17" fmla="*/ 2147483646 h 93"/>
                <a:gd name="T18" fmla="*/ 2147483646 w 25"/>
                <a:gd name="T19" fmla="*/ 2147483646 h 93"/>
                <a:gd name="T20" fmla="*/ 2147483646 w 25"/>
                <a:gd name="T21" fmla="*/ 2147483646 h 93"/>
                <a:gd name="T22" fmla="*/ 2147483646 w 25"/>
                <a:gd name="T23" fmla="*/ 2147483646 h 93"/>
                <a:gd name="T24" fmla="*/ 2147483646 w 25"/>
                <a:gd name="T25" fmla="*/ 0 h 9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5" h="93">
                  <a:moveTo>
                    <a:pt x="8" y="0"/>
                  </a:moveTo>
                  <a:cubicBezTo>
                    <a:pt x="19" y="6"/>
                    <a:pt x="24" y="12"/>
                    <a:pt x="24" y="18"/>
                  </a:cubicBezTo>
                  <a:cubicBezTo>
                    <a:pt x="25" y="25"/>
                    <a:pt x="24" y="31"/>
                    <a:pt x="19" y="3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5" y="64"/>
                    <a:pt x="3" y="71"/>
                    <a:pt x="2" y="78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" y="71"/>
                    <a:pt x="3" y="64"/>
                    <a:pt x="6" y="56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1"/>
                    <a:pt x="22" y="26"/>
                    <a:pt x="21" y="21"/>
                  </a:cubicBezTo>
                  <a:cubicBezTo>
                    <a:pt x="22" y="12"/>
                    <a:pt x="17" y="6"/>
                    <a:pt x="7" y="2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3" name="Freeform 264"/>
            <p:cNvSpPr>
              <a:spLocks noEditPoints="1"/>
            </p:cNvSpPr>
            <p:nvPr/>
          </p:nvSpPr>
          <p:spPr bwMode="auto">
            <a:xfrm rot="521357">
              <a:off x="4465249" y="2764006"/>
              <a:ext cx="349859" cy="267447"/>
            </a:xfrm>
            <a:custGeom>
              <a:avLst/>
              <a:gdLst>
                <a:gd name="T0" fmla="*/ 2147483646 w 94"/>
                <a:gd name="T1" fmla="*/ 2147483646 h 69"/>
                <a:gd name="T2" fmla="*/ 2147483646 w 94"/>
                <a:gd name="T3" fmla="*/ 2147483646 h 69"/>
                <a:gd name="T4" fmla="*/ 0 w 94"/>
                <a:gd name="T5" fmla="*/ 2147483646 h 69"/>
                <a:gd name="T6" fmla="*/ 2147483646 w 94"/>
                <a:gd name="T7" fmla="*/ 0 h 69"/>
                <a:gd name="T8" fmla="*/ 2147483646 w 94"/>
                <a:gd name="T9" fmla="*/ 2147483646 h 69"/>
                <a:gd name="T10" fmla="*/ 2147483646 w 94"/>
                <a:gd name="T11" fmla="*/ 2147483646 h 69"/>
                <a:gd name="T12" fmla="*/ 2147483646 w 94"/>
                <a:gd name="T13" fmla="*/ 2147483646 h 69"/>
                <a:gd name="T14" fmla="*/ 2147483646 w 94"/>
                <a:gd name="T15" fmla="*/ 2147483646 h 69"/>
                <a:gd name="T16" fmla="*/ 2147483646 w 94"/>
                <a:gd name="T17" fmla="*/ 2147483646 h 69"/>
                <a:gd name="T18" fmla="*/ 2147483646 w 94"/>
                <a:gd name="T19" fmla="*/ 2147483646 h 69"/>
                <a:gd name="T20" fmla="*/ 2147483646 w 94"/>
                <a:gd name="T21" fmla="*/ 2147483646 h 69"/>
                <a:gd name="T22" fmla="*/ 2147483646 w 94"/>
                <a:gd name="T23" fmla="*/ 2147483646 h 69"/>
                <a:gd name="T24" fmla="*/ 2147483646 w 94"/>
                <a:gd name="T25" fmla="*/ 2147483646 h 69"/>
                <a:gd name="T26" fmla="*/ 2147483646 w 94"/>
                <a:gd name="T27" fmla="*/ 2147483646 h 69"/>
                <a:gd name="T28" fmla="*/ 2147483646 w 94"/>
                <a:gd name="T29" fmla="*/ 2147483646 h 69"/>
                <a:gd name="T30" fmla="*/ 2147483646 w 94"/>
                <a:gd name="T31" fmla="*/ 2147483646 h 69"/>
                <a:gd name="T32" fmla="*/ 2147483646 w 94"/>
                <a:gd name="T33" fmla="*/ 2147483646 h 69"/>
                <a:gd name="T34" fmla="*/ 2147483646 w 94"/>
                <a:gd name="T35" fmla="*/ 2147483646 h 69"/>
                <a:gd name="T36" fmla="*/ 2147483646 w 94"/>
                <a:gd name="T37" fmla="*/ 2147483646 h 69"/>
                <a:gd name="T38" fmla="*/ 2147483646 w 94"/>
                <a:gd name="T39" fmla="*/ 2147483646 h 69"/>
                <a:gd name="T40" fmla="*/ 2147483646 w 94"/>
                <a:gd name="T41" fmla="*/ 2147483646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4" h="69">
                  <a:moveTo>
                    <a:pt x="25" y="32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1" y="25"/>
                    <a:pt x="5" y="22"/>
                    <a:pt x="0" y="1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6" y="13"/>
                    <a:pt x="33" y="18"/>
                    <a:pt x="40" y="24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9" y="58"/>
                    <a:pt x="86" y="63"/>
                    <a:pt x="94" y="66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41" y="43"/>
                    <a:pt x="33" y="39"/>
                    <a:pt x="25" y="32"/>
                  </a:cubicBezTo>
                  <a:close/>
                  <a:moveTo>
                    <a:pt x="6" y="3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16" y="12"/>
                    <a:pt x="27" y="19"/>
                    <a:pt x="37" y="27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76" y="60"/>
                    <a:pt x="83" y="63"/>
                    <a:pt x="90" y="66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2" y="19"/>
                    <a:pt x="25" y="15"/>
                    <a:pt x="16" y="11"/>
                  </a:cubicBezTo>
                  <a:cubicBezTo>
                    <a:pt x="6" y="3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4" name="Freeform 265"/>
            <p:cNvSpPr/>
            <p:nvPr/>
          </p:nvSpPr>
          <p:spPr bwMode="auto">
            <a:xfrm rot="521357">
              <a:off x="4484010" y="2777481"/>
              <a:ext cx="316764" cy="242834"/>
            </a:xfrm>
            <a:custGeom>
              <a:avLst/>
              <a:gdLst>
                <a:gd name="T0" fmla="*/ 0 w 85"/>
                <a:gd name="T1" fmla="*/ 2147483646 h 63"/>
                <a:gd name="T2" fmla="*/ 2147483646 w 85"/>
                <a:gd name="T3" fmla="*/ 0 h 63"/>
                <a:gd name="T4" fmla="*/ 2147483646 w 85"/>
                <a:gd name="T5" fmla="*/ 2147483646 h 63"/>
                <a:gd name="T6" fmla="*/ 2147483646 w 85"/>
                <a:gd name="T7" fmla="*/ 2147483646 h 63"/>
                <a:gd name="T8" fmla="*/ 2147483646 w 85"/>
                <a:gd name="T9" fmla="*/ 2147483646 h 63"/>
                <a:gd name="T10" fmla="*/ 2147483646 w 85"/>
                <a:gd name="T11" fmla="*/ 2147483646 h 63"/>
                <a:gd name="T12" fmla="*/ 2147483646 w 85"/>
                <a:gd name="T13" fmla="*/ 2147483646 h 63"/>
                <a:gd name="T14" fmla="*/ 2147483646 w 85"/>
                <a:gd name="T15" fmla="*/ 2147483646 h 63"/>
                <a:gd name="T16" fmla="*/ 0 w 85"/>
                <a:gd name="T17" fmla="*/ 2147483646 h 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5" h="63">
                  <a:moveTo>
                    <a:pt x="0" y="3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20" y="12"/>
                    <a:pt x="27" y="16"/>
                    <a:pt x="34" y="22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78" y="60"/>
                    <a:pt x="71" y="57"/>
                    <a:pt x="64" y="52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22" y="16"/>
                    <a:pt x="11" y="9"/>
                    <a:pt x="0" y="3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5" name="Freeform 266"/>
            <p:cNvSpPr/>
            <p:nvPr/>
          </p:nvSpPr>
          <p:spPr bwMode="auto">
            <a:xfrm rot="521357">
              <a:off x="4272322" y="3089356"/>
              <a:ext cx="70918" cy="159156"/>
            </a:xfrm>
            <a:custGeom>
              <a:avLst/>
              <a:gdLst>
                <a:gd name="T0" fmla="*/ 2147483646 w 19"/>
                <a:gd name="T1" fmla="*/ 0 h 41"/>
                <a:gd name="T2" fmla="*/ 2147483646 w 19"/>
                <a:gd name="T3" fmla="*/ 2147483646 h 41"/>
                <a:gd name="T4" fmla="*/ 2147483646 w 19"/>
                <a:gd name="T5" fmla="*/ 2147483646 h 41"/>
                <a:gd name="T6" fmla="*/ 2147483646 w 19"/>
                <a:gd name="T7" fmla="*/ 2147483646 h 41"/>
                <a:gd name="T8" fmla="*/ 2147483646 w 19"/>
                <a:gd name="T9" fmla="*/ 2147483646 h 41"/>
                <a:gd name="T10" fmla="*/ 2147483646 w 19"/>
                <a:gd name="T11" fmla="*/ 2147483646 h 41"/>
                <a:gd name="T12" fmla="*/ 2147483646 w 19"/>
                <a:gd name="T13" fmla="*/ 2147483646 h 41"/>
                <a:gd name="T14" fmla="*/ 2147483646 w 19"/>
                <a:gd name="T15" fmla="*/ 2147483646 h 41"/>
                <a:gd name="T16" fmla="*/ 2147483646 w 19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41">
                  <a:moveTo>
                    <a:pt x="9" y="0"/>
                  </a:moveTo>
                  <a:cubicBezTo>
                    <a:pt x="10" y="5"/>
                    <a:pt x="8" y="9"/>
                    <a:pt x="5" y="12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9" y="27"/>
                    <a:pt x="11" y="27"/>
                    <a:pt x="14" y="26"/>
                  </a:cubicBezTo>
                  <a:cubicBezTo>
                    <a:pt x="15" y="26"/>
                    <a:pt x="17" y="25"/>
                    <a:pt x="19" y="24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9"/>
                    <a:pt x="14" y="41"/>
                    <a:pt x="7" y="38"/>
                  </a:cubicBezTo>
                  <a:cubicBezTo>
                    <a:pt x="4" y="33"/>
                    <a:pt x="3" y="25"/>
                    <a:pt x="3" y="16"/>
                  </a:cubicBezTo>
                  <a:cubicBezTo>
                    <a:pt x="0" y="10"/>
                    <a:pt x="2" y="4"/>
                    <a:pt x="9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5206" name="组合 195"/>
            <p:cNvGrpSpPr/>
            <p:nvPr/>
          </p:nvGrpSpPr>
          <p:grpSpPr bwMode="auto">
            <a:xfrm>
              <a:off x="4289030" y="2423803"/>
              <a:ext cx="124656" cy="95811"/>
              <a:chOff x="4519983" y="2236092"/>
              <a:chExt cx="134206" cy="103151"/>
            </a:xfrm>
          </p:grpSpPr>
          <p:sp>
            <p:nvSpPr>
              <p:cNvPr id="5207" name="Freeform 321"/>
              <p:cNvSpPr/>
              <p:nvPr/>
            </p:nvSpPr>
            <p:spPr bwMode="auto">
              <a:xfrm rot="521357">
                <a:off x="4519983" y="2236092"/>
                <a:ext cx="117071" cy="91857"/>
              </a:xfrm>
              <a:custGeom>
                <a:avLst/>
                <a:gdLst>
                  <a:gd name="T0" fmla="*/ 2147483646 w 29"/>
                  <a:gd name="T1" fmla="*/ 0 h 22"/>
                  <a:gd name="T2" fmla="*/ 2147483646 w 29"/>
                  <a:gd name="T3" fmla="*/ 2147483646 h 22"/>
                  <a:gd name="T4" fmla="*/ 2147483646 w 29"/>
                  <a:gd name="T5" fmla="*/ 2147483646 h 22"/>
                  <a:gd name="T6" fmla="*/ 2147483646 w 29"/>
                  <a:gd name="T7" fmla="*/ 2147483646 h 22"/>
                  <a:gd name="T8" fmla="*/ 2147483646 w 29"/>
                  <a:gd name="T9" fmla="*/ 2147483646 h 22"/>
                  <a:gd name="T10" fmla="*/ 2147483646 w 29"/>
                  <a:gd name="T11" fmla="*/ 2147483646 h 22"/>
                  <a:gd name="T12" fmla="*/ 2147483646 w 29"/>
                  <a:gd name="T13" fmla="*/ 2147483646 h 22"/>
                  <a:gd name="T14" fmla="*/ 0 w 29"/>
                  <a:gd name="T15" fmla="*/ 2147483646 h 22"/>
                  <a:gd name="T16" fmla="*/ 2147483646 w 29"/>
                  <a:gd name="T17" fmla="*/ 2147483646 h 22"/>
                  <a:gd name="T18" fmla="*/ 2147483646 w 29"/>
                  <a:gd name="T19" fmla="*/ 2147483646 h 22"/>
                  <a:gd name="T20" fmla="*/ 2147483646 w 29"/>
                  <a:gd name="T21" fmla="*/ 2147483646 h 22"/>
                  <a:gd name="T22" fmla="*/ 2147483646 w 29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22">
                    <a:moveTo>
                      <a:pt x="28" y="0"/>
                    </a:moveTo>
                    <a:cubicBezTo>
                      <a:pt x="28" y="0"/>
                      <a:pt x="29" y="1"/>
                      <a:pt x="28" y="2"/>
                    </a:cubicBezTo>
                    <a:cubicBezTo>
                      <a:pt x="28" y="3"/>
                      <a:pt x="27" y="3"/>
                      <a:pt x="2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19" y="11"/>
                      <a:pt x="17" y="13"/>
                      <a:pt x="14" y="14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3" y="21"/>
                      <a:pt x="2" y="21"/>
                      <a:pt x="0" y="2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0"/>
                      <a:pt x="9" y="10"/>
                    </a:cubicBezTo>
                    <a:cubicBezTo>
                      <a:pt x="11" y="7"/>
                      <a:pt x="14" y="5"/>
                      <a:pt x="18" y="4"/>
                    </a:cubicBezTo>
                    <a:cubicBezTo>
                      <a:pt x="23" y="1"/>
                      <a:pt x="26" y="0"/>
                      <a:pt x="28" y="0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08" name="Freeform 322"/>
              <p:cNvSpPr/>
              <p:nvPr/>
            </p:nvSpPr>
            <p:spPr bwMode="auto">
              <a:xfrm rot="521357">
                <a:off x="4533724" y="2247386"/>
                <a:ext cx="120465" cy="91857"/>
              </a:xfrm>
              <a:custGeom>
                <a:avLst/>
                <a:gdLst>
                  <a:gd name="T0" fmla="*/ 2147483646 w 30"/>
                  <a:gd name="T1" fmla="*/ 2147483646 h 22"/>
                  <a:gd name="T2" fmla="*/ 2147483646 w 30"/>
                  <a:gd name="T3" fmla="*/ 0 h 22"/>
                  <a:gd name="T4" fmla="*/ 2147483646 w 30"/>
                  <a:gd name="T5" fmla="*/ 2147483646 h 22"/>
                  <a:gd name="T6" fmla="*/ 2147483646 w 30"/>
                  <a:gd name="T7" fmla="*/ 2147483646 h 22"/>
                  <a:gd name="T8" fmla="*/ 2147483646 w 30"/>
                  <a:gd name="T9" fmla="*/ 2147483646 h 22"/>
                  <a:gd name="T10" fmla="*/ 2147483646 w 30"/>
                  <a:gd name="T11" fmla="*/ 2147483646 h 22"/>
                  <a:gd name="T12" fmla="*/ 2147483646 w 30"/>
                  <a:gd name="T13" fmla="*/ 2147483646 h 22"/>
                  <a:gd name="T14" fmla="*/ 0 w 30"/>
                  <a:gd name="T15" fmla="*/ 2147483646 h 22"/>
                  <a:gd name="T16" fmla="*/ 2147483646 w 30"/>
                  <a:gd name="T17" fmla="*/ 2147483646 h 22"/>
                  <a:gd name="T18" fmla="*/ 2147483646 w 30"/>
                  <a:gd name="T19" fmla="*/ 2147483646 h 22"/>
                  <a:gd name="T20" fmla="*/ 2147483646 w 30"/>
                  <a:gd name="T21" fmla="*/ 2147483646 h 2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0" h="22">
                    <a:moveTo>
                      <a:pt x="24" y="2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30" y="2"/>
                      <a:pt x="28" y="4"/>
                      <a:pt x="25" y="5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3" y="6"/>
                      <a:pt x="23" y="6"/>
                      <a:pt x="22" y="6"/>
                    </a:cubicBezTo>
                    <a:cubicBezTo>
                      <a:pt x="21" y="10"/>
                      <a:pt x="17" y="13"/>
                      <a:pt x="12" y="14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2" y="21"/>
                      <a:pt x="1" y="20"/>
                      <a:pt x="0" y="20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3" y="11"/>
                      <a:pt x="15" y="9"/>
                      <a:pt x="17" y="6"/>
                    </a:cubicBezTo>
                    <a:cubicBezTo>
                      <a:pt x="24" y="2"/>
                      <a:pt x="24" y="2"/>
                      <a:pt x="24" y="2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42" name="组合 241"/>
          <p:cNvGrpSpPr/>
          <p:nvPr/>
        </p:nvGrpSpPr>
        <p:grpSpPr bwMode="auto">
          <a:xfrm>
            <a:off x="2970213" y="2374900"/>
            <a:ext cx="708025" cy="739775"/>
            <a:chOff x="2970474" y="2375684"/>
            <a:chExt cx="708388" cy="739049"/>
          </a:xfrm>
        </p:grpSpPr>
        <p:sp>
          <p:nvSpPr>
            <p:cNvPr id="195" name="任意多边形 194"/>
            <p:cNvSpPr/>
            <p:nvPr/>
          </p:nvSpPr>
          <p:spPr>
            <a:xfrm>
              <a:off x="3504147" y="2375684"/>
              <a:ext cx="174715" cy="72953"/>
            </a:xfrm>
            <a:custGeom>
              <a:avLst/>
              <a:gdLst>
                <a:gd name="connsiteX0" fmla="*/ 0 w 215900"/>
                <a:gd name="connsiteY0" fmla="*/ 85839 h 85839"/>
                <a:gd name="connsiteX1" fmla="*/ 15875 w 215900"/>
                <a:gd name="connsiteY1" fmla="*/ 79489 h 85839"/>
                <a:gd name="connsiteX2" fmla="*/ 25400 w 215900"/>
                <a:gd name="connsiteY2" fmla="*/ 76314 h 85839"/>
                <a:gd name="connsiteX3" fmla="*/ 34925 w 215900"/>
                <a:gd name="connsiteY3" fmla="*/ 69964 h 85839"/>
                <a:gd name="connsiteX4" fmla="*/ 53975 w 215900"/>
                <a:gd name="connsiteY4" fmla="*/ 63614 h 85839"/>
                <a:gd name="connsiteX5" fmla="*/ 73025 w 215900"/>
                <a:gd name="connsiteY5" fmla="*/ 57264 h 85839"/>
                <a:gd name="connsiteX6" fmla="*/ 82550 w 215900"/>
                <a:gd name="connsiteY6" fmla="*/ 54089 h 85839"/>
                <a:gd name="connsiteX7" fmla="*/ 92075 w 215900"/>
                <a:gd name="connsiteY7" fmla="*/ 47739 h 85839"/>
                <a:gd name="connsiteX8" fmla="*/ 111125 w 215900"/>
                <a:gd name="connsiteY8" fmla="*/ 41389 h 85839"/>
                <a:gd name="connsiteX9" fmla="*/ 130175 w 215900"/>
                <a:gd name="connsiteY9" fmla="*/ 35039 h 85839"/>
                <a:gd name="connsiteX10" fmla="*/ 139700 w 215900"/>
                <a:gd name="connsiteY10" fmla="*/ 31864 h 85839"/>
                <a:gd name="connsiteX11" fmla="*/ 149225 w 215900"/>
                <a:gd name="connsiteY11" fmla="*/ 28689 h 85839"/>
                <a:gd name="connsiteX12" fmla="*/ 171450 w 215900"/>
                <a:gd name="connsiteY12" fmla="*/ 19164 h 85839"/>
                <a:gd name="connsiteX13" fmla="*/ 193675 w 215900"/>
                <a:gd name="connsiteY13" fmla="*/ 9639 h 85839"/>
                <a:gd name="connsiteX14" fmla="*/ 212725 w 215900"/>
                <a:gd name="connsiteY14" fmla="*/ 114 h 85839"/>
                <a:gd name="connsiteX15" fmla="*/ 215900 w 215900"/>
                <a:gd name="connsiteY15" fmla="*/ 114 h 8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5900" h="85839">
                  <a:moveTo>
                    <a:pt x="0" y="85839"/>
                  </a:moveTo>
                  <a:cubicBezTo>
                    <a:pt x="5292" y="83722"/>
                    <a:pt x="10539" y="81490"/>
                    <a:pt x="15875" y="79489"/>
                  </a:cubicBezTo>
                  <a:cubicBezTo>
                    <a:pt x="19009" y="78314"/>
                    <a:pt x="22407" y="77811"/>
                    <a:pt x="25400" y="76314"/>
                  </a:cubicBezTo>
                  <a:cubicBezTo>
                    <a:pt x="28813" y="74607"/>
                    <a:pt x="31438" y="71514"/>
                    <a:pt x="34925" y="69964"/>
                  </a:cubicBezTo>
                  <a:cubicBezTo>
                    <a:pt x="41042" y="67246"/>
                    <a:pt x="47625" y="65731"/>
                    <a:pt x="53975" y="63614"/>
                  </a:cubicBezTo>
                  <a:lnTo>
                    <a:pt x="73025" y="57264"/>
                  </a:lnTo>
                  <a:lnTo>
                    <a:pt x="82550" y="54089"/>
                  </a:lnTo>
                  <a:cubicBezTo>
                    <a:pt x="85725" y="51972"/>
                    <a:pt x="88588" y="49289"/>
                    <a:pt x="92075" y="47739"/>
                  </a:cubicBezTo>
                  <a:cubicBezTo>
                    <a:pt x="98192" y="45021"/>
                    <a:pt x="104775" y="43506"/>
                    <a:pt x="111125" y="41389"/>
                  </a:cubicBezTo>
                  <a:lnTo>
                    <a:pt x="130175" y="35039"/>
                  </a:lnTo>
                  <a:lnTo>
                    <a:pt x="139700" y="31864"/>
                  </a:lnTo>
                  <a:lnTo>
                    <a:pt x="149225" y="28689"/>
                  </a:lnTo>
                  <a:cubicBezTo>
                    <a:pt x="173138" y="12747"/>
                    <a:pt x="142747" y="31465"/>
                    <a:pt x="171450" y="19164"/>
                  </a:cubicBezTo>
                  <a:cubicBezTo>
                    <a:pt x="202147" y="6008"/>
                    <a:pt x="157214" y="18754"/>
                    <a:pt x="193675" y="9639"/>
                  </a:cubicBezTo>
                  <a:cubicBezTo>
                    <a:pt x="202987" y="3431"/>
                    <a:pt x="202209" y="2743"/>
                    <a:pt x="212725" y="114"/>
                  </a:cubicBezTo>
                  <a:cubicBezTo>
                    <a:pt x="213752" y="-143"/>
                    <a:pt x="214842" y="114"/>
                    <a:pt x="215900" y="114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6" name="任意多边形 65"/>
            <p:cNvSpPr/>
            <p:nvPr/>
          </p:nvSpPr>
          <p:spPr>
            <a:xfrm>
              <a:off x="2970474" y="2616747"/>
              <a:ext cx="381195" cy="497986"/>
            </a:xfrm>
            <a:custGeom>
              <a:avLst/>
              <a:gdLst>
                <a:gd name="connsiteX0" fmla="*/ 0 w 409890"/>
                <a:gd name="connsiteY0" fmla="*/ 428625 h 514350"/>
                <a:gd name="connsiteX1" fmla="*/ 42863 w 409890"/>
                <a:gd name="connsiteY1" fmla="*/ 461963 h 514350"/>
                <a:gd name="connsiteX2" fmla="*/ 52388 w 409890"/>
                <a:gd name="connsiteY2" fmla="*/ 476250 h 514350"/>
                <a:gd name="connsiteX3" fmla="*/ 95250 w 409890"/>
                <a:gd name="connsiteY3" fmla="*/ 500063 h 514350"/>
                <a:gd name="connsiteX4" fmla="*/ 133350 w 409890"/>
                <a:gd name="connsiteY4" fmla="*/ 514350 h 514350"/>
                <a:gd name="connsiteX5" fmla="*/ 204788 w 409890"/>
                <a:gd name="connsiteY5" fmla="*/ 504825 h 514350"/>
                <a:gd name="connsiteX6" fmla="*/ 233363 w 409890"/>
                <a:gd name="connsiteY6" fmla="*/ 495300 h 514350"/>
                <a:gd name="connsiteX7" fmla="*/ 247650 w 409890"/>
                <a:gd name="connsiteY7" fmla="*/ 490538 h 514350"/>
                <a:gd name="connsiteX8" fmla="*/ 290513 w 409890"/>
                <a:gd name="connsiteY8" fmla="*/ 466725 h 514350"/>
                <a:gd name="connsiteX9" fmla="*/ 304800 w 409890"/>
                <a:gd name="connsiteY9" fmla="*/ 438150 h 514350"/>
                <a:gd name="connsiteX10" fmla="*/ 314325 w 409890"/>
                <a:gd name="connsiteY10" fmla="*/ 423863 h 514350"/>
                <a:gd name="connsiteX11" fmla="*/ 309563 w 409890"/>
                <a:gd name="connsiteY11" fmla="*/ 223838 h 514350"/>
                <a:gd name="connsiteX12" fmla="*/ 304800 w 409890"/>
                <a:gd name="connsiteY12" fmla="*/ 209550 h 514350"/>
                <a:gd name="connsiteX13" fmla="*/ 314325 w 409890"/>
                <a:gd name="connsiteY13" fmla="*/ 142875 h 514350"/>
                <a:gd name="connsiteX14" fmla="*/ 319088 w 409890"/>
                <a:gd name="connsiteY14" fmla="*/ 128588 h 514350"/>
                <a:gd name="connsiteX15" fmla="*/ 328613 w 409890"/>
                <a:gd name="connsiteY15" fmla="*/ 114300 h 514350"/>
                <a:gd name="connsiteX16" fmla="*/ 342900 w 409890"/>
                <a:gd name="connsiteY16" fmla="*/ 85725 h 514350"/>
                <a:gd name="connsiteX17" fmla="*/ 357188 w 409890"/>
                <a:gd name="connsiteY17" fmla="*/ 76200 h 514350"/>
                <a:gd name="connsiteX18" fmla="*/ 376238 w 409890"/>
                <a:gd name="connsiteY18" fmla="*/ 47625 h 514350"/>
                <a:gd name="connsiteX19" fmla="*/ 385763 w 409890"/>
                <a:gd name="connsiteY19" fmla="*/ 33338 h 514350"/>
                <a:gd name="connsiteX20" fmla="*/ 409575 w 409890"/>
                <a:gd name="connsiteY20" fmla="*/ 4763 h 514350"/>
                <a:gd name="connsiteX21" fmla="*/ 409575 w 409890"/>
                <a:gd name="connsiteY21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09890" h="514350">
                  <a:moveTo>
                    <a:pt x="0" y="428625"/>
                  </a:moveTo>
                  <a:cubicBezTo>
                    <a:pt x="19915" y="441901"/>
                    <a:pt x="28873" y="445176"/>
                    <a:pt x="42863" y="461963"/>
                  </a:cubicBezTo>
                  <a:cubicBezTo>
                    <a:pt x="46527" y="466360"/>
                    <a:pt x="48080" y="472481"/>
                    <a:pt x="52388" y="476250"/>
                  </a:cubicBezTo>
                  <a:cubicBezTo>
                    <a:pt x="92428" y="511285"/>
                    <a:pt x="66907" y="485891"/>
                    <a:pt x="95250" y="500063"/>
                  </a:cubicBezTo>
                  <a:cubicBezTo>
                    <a:pt x="127948" y="516413"/>
                    <a:pt x="87415" y="505164"/>
                    <a:pt x="133350" y="514350"/>
                  </a:cubicBezTo>
                  <a:cubicBezTo>
                    <a:pt x="156294" y="512056"/>
                    <a:pt x="181940" y="511056"/>
                    <a:pt x="204788" y="504825"/>
                  </a:cubicBezTo>
                  <a:cubicBezTo>
                    <a:pt x="214474" y="502183"/>
                    <a:pt x="223838" y="498475"/>
                    <a:pt x="233363" y="495300"/>
                  </a:cubicBezTo>
                  <a:lnTo>
                    <a:pt x="247650" y="490538"/>
                  </a:lnTo>
                  <a:cubicBezTo>
                    <a:pt x="280402" y="468703"/>
                    <a:pt x="265365" y="475108"/>
                    <a:pt x="290513" y="466725"/>
                  </a:cubicBezTo>
                  <a:cubicBezTo>
                    <a:pt x="317810" y="425782"/>
                    <a:pt x="285083" y="477585"/>
                    <a:pt x="304800" y="438150"/>
                  </a:cubicBezTo>
                  <a:cubicBezTo>
                    <a:pt x="307360" y="433031"/>
                    <a:pt x="311150" y="428625"/>
                    <a:pt x="314325" y="423863"/>
                  </a:cubicBezTo>
                  <a:cubicBezTo>
                    <a:pt x="312738" y="357188"/>
                    <a:pt x="312524" y="290466"/>
                    <a:pt x="309563" y="223838"/>
                  </a:cubicBezTo>
                  <a:cubicBezTo>
                    <a:pt x="309340" y="218823"/>
                    <a:pt x="304800" y="214570"/>
                    <a:pt x="304800" y="209550"/>
                  </a:cubicBezTo>
                  <a:cubicBezTo>
                    <a:pt x="304800" y="184891"/>
                    <a:pt x="307915" y="165309"/>
                    <a:pt x="314325" y="142875"/>
                  </a:cubicBezTo>
                  <a:cubicBezTo>
                    <a:pt x="315704" y="138048"/>
                    <a:pt x="316843" y="133078"/>
                    <a:pt x="319088" y="128588"/>
                  </a:cubicBezTo>
                  <a:cubicBezTo>
                    <a:pt x="321648" y="123468"/>
                    <a:pt x="325438" y="119063"/>
                    <a:pt x="328613" y="114300"/>
                  </a:cubicBezTo>
                  <a:cubicBezTo>
                    <a:pt x="332486" y="102680"/>
                    <a:pt x="333668" y="94957"/>
                    <a:pt x="342900" y="85725"/>
                  </a:cubicBezTo>
                  <a:cubicBezTo>
                    <a:pt x="346947" y="81678"/>
                    <a:pt x="352425" y="79375"/>
                    <a:pt x="357188" y="76200"/>
                  </a:cubicBezTo>
                  <a:cubicBezTo>
                    <a:pt x="365557" y="51093"/>
                    <a:pt x="356419" y="71407"/>
                    <a:pt x="376238" y="47625"/>
                  </a:cubicBezTo>
                  <a:cubicBezTo>
                    <a:pt x="379902" y="43228"/>
                    <a:pt x="382099" y="37735"/>
                    <a:pt x="385763" y="33338"/>
                  </a:cubicBezTo>
                  <a:cubicBezTo>
                    <a:pt x="398925" y="17543"/>
                    <a:pt x="400709" y="22495"/>
                    <a:pt x="409575" y="4763"/>
                  </a:cubicBezTo>
                  <a:cubicBezTo>
                    <a:pt x="410285" y="3343"/>
                    <a:pt x="409575" y="1588"/>
                    <a:pt x="409575" y="0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161" name="矩形 160"/>
          <p:cNvSpPr/>
          <p:nvPr/>
        </p:nvSpPr>
        <p:spPr>
          <a:xfrm rot="161292">
            <a:off x="8591550" y="4908550"/>
            <a:ext cx="50800" cy="476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62" name="矩形 161"/>
          <p:cNvSpPr/>
          <p:nvPr/>
        </p:nvSpPr>
        <p:spPr>
          <a:xfrm rot="161292">
            <a:off x="8678863" y="4913313"/>
            <a:ext cx="50800" cy="47625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63" name="矩形 162"/>
          <p:cNvSpPr/>
          <p:nvPr/>
        </p:nvSpPr>
        <p:spPr>
          <a:xfrm rot="161292">
            <a:off x="8766175" y="4916488"/>
            <a:ext cx="52388" cy="476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64" name="矩形 163"/>
          <p:cNvSpPr/>
          <p:nvPr/>
        </p:nvSpPr>
        <p:spPr>
          <a:xfrm rot="161292">
            <a:off x="8855075" y="4921250"/>
            <a:ext cx="50800" cy="476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3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400" fill="hold"/>
                                        <p:tgtEl>
                                          <p:spTgt spid="6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400" fill="hold"/>
                                        <p:tgtEl>
                                          <p:spTgt spid="6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17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17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4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4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4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6" presetClass="entr" presetSubtype="37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1" dur="25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6" presetClass="entr" presetSubtype="37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4" dur="25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6" presetClass="entr" presetSubtype="37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7" dur="25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6" presetClass="entr" presetSubtype="37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0" dur="25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2" presetClass="entr" presetSubtype="8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2" presetClass="entr" presetSubtype="2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300"/>
                                        <p:tgtEl>
                                          <p:spTgt spid="2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63" dur="3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2" presetClass="entr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300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67" dur="3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4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4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 tmFilter="0, 0; .2, .5; .8, .5; 1, 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4" dur="250" autoRev="1" fill="hold"/>
                                        <p:tgtEl>
                                          <p:spTgt spid="1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4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4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 tmFilter="0, 0; .2, .5; .8, .5; 1, 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1" dur="250" autoRev="1" fill="hold"/>
                                        <p:tgtEl>
                                          <p:spTgt spid="1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4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4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 tmFilter="0, 0; .2, .5; .8, .5; 1, 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8" dur="250" autoRev="1" fill="hold"/>
                                        <p:tgtEl>
                                          <p:spTgt spid="1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4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4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 tmFilter="0, 0; .2, .5; .8, .5; 1, 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5" dur="250" autoRev="1" fill="hold"/>
                                        <p:tgtEl>
                                          <p:spTgt spid="1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1" grpId="0"/>
      <p:bldP spid="180" grpId="0"/>
      <p:bldP spid="197" grpId="0" animBg="1"/>
      <p:bldP spid="161" grpId="0" animBg="1"/>
      <p:bldP spid="161" grpId="1" animBg="1"/>
      <p:bldP spid="162" grpId="0" animBg="1"/>
      <p:bldP spid="162" grpId="1" animBg="1"/>
      <p:bldP spid="163" grpId="0" animBg="1"/>
      <p:bldP spid="163" grpId="1" animBg="1"/>
      <p:bldP spid="164" grpId="0" animBg="1"/>
      <p:bldP spid="164" grpId="1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4" name="组合 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435" name="组合 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8475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任意多边形 6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8436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437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438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" name="组合 16"/>
          <p:cNvGrpSpPr/>
          <p:nvPr/>
        </p:nvGrpSpPr>
        <p:grpSpPr bwMode="auto">
          <a:xfrm>
            <a:off x="769938" y="3302000"/>
            <a:ext cx="974725" cy="500063"/>
            <a:chOff x="770533" y="3302610"/>
            <a:chExt cx="974725" cy="499246"/>
          </a:xfrm>
        </p:grpSpPr>
        <p:sp>
          <p:nvSpPr>
            <p:cNvPr id="20" name="Freeform 7"/>
            <p:cNvSpPr/>
            <p:nvPr/>
          </p:nvSpPr>
          <p:spPr bwMode="auto">
            <a:xfrm>
              <a:off x="770533" y="3632271"/>
              <a:ext cx="974725" cy="169585"/>
            </a:xfrm>
            <a:custGeom>
              <a:avLst/>
              <a:gdLst>
                <a:gd name="T0" fmla="*/ 307 w 614"/>
                <a:gd name="T1" fmla="*/ 0 h 107"/>
                <a:gd name="T2" fmla="*/ 460 w 614"/>
                <a:gd name="T3" fmla="*/ 53 h 107"/>
                <a:gd name="T4" fmla="*/ 614 w 614"/>
                <a:gd name="T5" fmla="*/ 107 h 107"/>
                <a:gd name="T6" fmla="*/ 307 w 614"/>
                <a:gd name="T7" fmla="*/ 107 h 107"/>
                <a:gd name="T8" fmla="*/ 0 w 614"/>
                <a:gd name="T9" fmla="*/ 107 h 107"/>
                <a:gd name="T10" fmla="*/ 153 w 614"/>
                <a:gd name="T11" fmla="*/ 53 h 107"/>
                <a:gd name="T12" fmla="*/ 307 w 614"/>
                <a:gd name="T13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4" h="107">
                  <a:moveTo>
                    <a:pt x="307" y="0"/>
                  </a:moveTo>
                  <a:lnTo>
                    <a:pt x="460" y="53"/>
                  </a:lnTo>
                  <a:lnTo>
                    <a:pt x="614" y="107"/>
                  </a:lnTo>
                  <a:lnTo>
                    <a:pt x="307" y="107"/>
                  </a:lnTo>
                  <a:lnTo>
                    <a:pt x="0" y="107"/>
                  </a:lnTo>
                  <a:lnTo>
                    <a:pt x="153" y="53"/>
                  </a:lnTo>
                  <a:lnTo>
                    <a:pt x="307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23" name="TextBox 22"/>
            <p:cNvSpPr txBox="1"/>
            <p:nvPr/>
          </p:nvSpPr>
          <p:spPr bwMode="auto">
            <a:xfrm>
              <a:off x="1030883" y="3302610"/>
              <a:ext cx="473075" cy="30747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8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24" name="TextBox 23"/>
          <p:cNvSpPr txBox="1"/>
          <p:nvPr/>
        </p:nvSpPr>
        <p:spPr bwMode="auto">
          <a:xfrm>
            <a:off x="931863" y="3919538"/>
            <a:ext cx="61912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EBAC0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1700213" y="3919538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2513013" y="3919538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1400" spc="3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3354388" y="3919538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8BC92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4211638" y="3919538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2848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45" name="组合 44"/>
          <p:cNvGrpSpPr/>
          <p:nvPr/>
        </p:nvGrpSpPr>
        <p:grpSpPr bwMode="auto">
          <a:xfrm>
            <a:off x="4044950" y="2476500"/>
            <a:ext cx="974725" cy="1325563"/>
            <a:chOff x="4045546" y="2476614"/>
            <a:chExt cx="974725" cy="1325241"/>
          </a:xfrm>
        </p:grpSpPr>
        <p:sp>
          <p:nvSpPr>
            <p:cNvPr id="18465" name="Freeform 9"/>
            <p:cNvSpPr/>
            <p:nvPr/>
          </p:nvSpPr>
          <p:spPr bwMode="auto">
            <a:xfrm>
              <a:off x="4045546" y="2792205"/>
              <a:ext cx="974725" cy="1009650"/>
            </a:xfrm>
            <a:custGeom>
              <a:avLst/>
              <a:gdLst>
                <a:gd name="T0" fmla="*/ 2147483646 w 614"/>
                <a:gd name="T1" fmla="*/ 0 h 636"/>
                <a:gd name="T2" fmla="*/ 2147483646 w 614"/>
                <a:gd name="T3" fmla="*/ 2147483646 h 636"/>
                <a:gd name="T4" fmla="*/ 2147483646 w 614"/>
                <a:gd name="T5" fmla="*/ 2147483646 h 636"/>
                <a:gd name="T6" fmla="*/ 2147483646 w 614"/>
                <a:gd name="T7" fmla="*/ 2147483646 h 636"/>
                <a:gd name="T8" fmla="*/ 0 w 614"/>
                <a:gd name="T9" fmla="*/ 2147483646 h 636"/>
                <a:gd name="T10" fmla="*/ 2147483646 w 614"/>
                <a:gd name="T11" fmla="*/ 2147483646 h 636"/>
                <a:gd name="T12" fmla="*/ 2147483646 w 614"/>
                <a:gd name="T13" fmla="*/ 0 h 6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4" h="636">
                  <a:moveTo>
                    <a:pt x="307" y="0"/>
                  </a:moveTo>
                  <a:lnTo>
                    <a:pt x="461" y="321"/>
                  </a:lnTo>
                  <a:lnTo>
                    <a:pt x="614" y="636"/>
                  </a:lnTo>
                  <a:lnTo>
                    <a:pt x="307" y="636"/>
                  </a:lnTo>
                  <a:lnTo>
                    <a:pt x="0" y="636"/>
                  </a:lnTo>
                  <a:lnTo>
                    <a:pt x="154" y="321"/>
                  </a:lnTo>
                  <a:lnTo>
                    <a:pt x="307" y="0"/>
                  </a:lnTo>
                  <a:close/>
                </a:path>
              </a:pathLst>
            </a:custGeom>
            <a:solidFill>
              <a:srgbClr val="E6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4310659" y="2476614"/>
              <a:ext cx="473075" cy="30790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55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33" name="矩形 1"/>
          <p:cNvSpPr>
            <a:spLocks noChangeArrowheads="1"/>
          </p:cNvSpPr>
          <p:nvPr/>
        </p:nvSpPr>
        <p:spPr bwMode="auto">
          <a:xfrm>
            <a:off x="5375275" y="1847850"/>
            <a:ext cx="2998788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有中国最强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中国最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材商城，中国最火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论坛，中国最好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能培训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7" name="组合 46"/>
          <p:cNvGrpSpPr/>
          <p:nvPr/>
        </p:nvGrpSpPr>
        <p:grpSpPr bwMode="auto">
          <a:xfrm>
            <a:off x="5430838" y="1476375"/>
            <a:ext cx="2798762" cy="361950"/>
            <a:chOff x="5430578" y="1476728"/>
            <a:chExt cx="2798873" cy="361727"/>
          </a:xfrm>
        </p:grpSpPr>
        <p:cxnSp>
          <p:nvCxnSpPr>
            <p:cNvPr id="34" name="直接连接符 33"/>
            <p:cNvCxnSpPr/>
            <p:nvPr/>
          </p:nvCxnSpPr>
          <p:spPr>
            <a:xfrm>
              <a:off x="5449629" y="1838455"/>
              <a:ext cx="277982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458" name="组合 34"/>
            <p:cNvGrpSpPr/>
            <p:nvPr/>
          </p:nvGrpSpPr>
          <p:grpSpPr bwMode="auto">
            <a:xfrm>
              <a:off x="5430578" y="1476728"/>
              <a:ext cx="2076537" cy="322262"/>
              <a:chOff x="957895" y="1031498"/>
              <a:chExt cx="2076537" cy="322262"/>
            </a:xfrm>
          </p:grpSpPr>
          <p:sp>
            <p:nvSpPr>
              <p:cNvPr id="36" name="TextBox 265"/>
              <p:cNvSpPr txBox="1"/>
              <p:nvPr/>
            </p:nvSpPr>
            <p:spPr bwMode="auto">
              <a:xfrm>
                <a:off x="1156340" y="1031498"/>
                <a:ext cx="1101769" cy="32206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8460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8461" name="组合 37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40" name="流程图: 决策 166"/>
                <p:cNvSpPr/>
                <p:nvPr/>
              </p:nvSpPr>
              <p:spPr>
                <a:xfrm>
                  <a:off x="957895" y="1125103"/>
                  <a:ext cx="136530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41" name="流程图: 决策 166"/>
                <p:cNvSpPr/>
                <p:nvPr/>
              </p:nvSpPr>
              <p:spPr>
                <a:xfrm>
                  <a:off x="1107126" y="1126689"/>
                  <a:ext cx="90490" cy="168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39" name="直接连接符 38"/>
              <p:cNvCxnSpPr/>
              <p:nvPr/>
            </p:nvCxnSpPr>
            <p:spPr>
              <a:xfrm>
                <a:off x="2262872" y="1137795"/>
                <a:ext cx="0" cy="14437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2" name="组合 41"/>
          <p:cNvGrpSpPr/>
          <p:nvPr/>
        </p:nvGrpSpPr>
        <p:grpSpPr bwMode="auto">
          <a:xfrm>
            <a:off x="1563688" y="2817813"/>
            <a:ext cx="976312" cy="984250"/>
            <a:chOff x="1564283" y="2818299"/>
            <a:chExt cx="976313" cy="983556"/>
          </a:xfrm>
        </p:grpSpPr>
        <p:sp>
          <p:nvSpPr>
            <p:cNvPr id="29" name="TextBox 28"/>
            <p:cNvSpPr txBox="1"/>
            <p:nvPr/>
          </p:nvSpPr>
          <p:spPr bwMode="auto">
            <a:xfrm>
              <a:off x="1815108" y="2818299"/>
              <a:ext cx="473075" cy="30775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8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8456" name="Freeform 6"/>
            <p:cNvSpPr/>
            <p:nvPr/>
          </p:nvSpPr>
          <p:spPr bwMode="auto">
            <a:xfrm>
              <a:off x="1564283" y="3154155"/>
              <a:ext cx="976313" cy="647700"/>
            </a:xfrm>
            <a:custGeom>
              <a:avLst/>
              <a:gdLst>
                <a:gd name="T0" fmla="*/ 2147483646 w 615"/>
                <a:gd name="T1" fmla="*/ 0 h 408"/>
                <a:gd name="T2" fmla="*/ 2147483646 w 615"/>
                <a:gd name="T3" fmla="*/ 2147483646 h 408"/>
                <a:gd name="T4" fmla="*/ 2147483646 w 615"/>
                <a:gd name="T5" fmla="*/ 2147483646 h 408"/>
                <a:gd name="T6" fmla="*/ 2147483646 w 615"/>
                <a:gd name="T7" fmla="*/ 2147483646 h 408"/>
                <a:gd name="T8" fmla="*/ 0 w 615"/>
                <a:gd name="T9" fmla="*/ 2147483646 h 408"/>
                <a:gd name="T10" fmla="*/ 2147483646 w 615"/>
                <a:gd name="T11" fmla="*/ 2147483646 h 408"/>
                <a:gd name="T12" fmla="*/ 2147483646 w 615"/>
                <a:gd name="T13" fmla="*/ 0 h 40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5" h="408">
                  <a:moveTo>
                    <a:pt x="308" y="0"/>
                  </a:moveTo>
                  <a:lnTo>
                    <a:pt x="461" y="201"/>
                  </a:lnTo>
                  <a:lnTo>
                    <a:pt x="615" y="408"/>
                  </a:lnTo>
                  <a:lnTo>
                    <a:pt x="308" y="408"/>
                  </a:lnTo>
                  <a:lnTo>
                    <a:pt x="0" y="408"/>
                  </a:lnTo>
                  <a:lnTo>
                    <a:pt x="154" y="201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rgbClr val="009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3" name="组合 42"/>
          <p:cNvGrpSpPr/>
          <p:nvPr/>
        </p:nvGrpSpPr>
        <p:grpSpPr bwMode="auto">
          <a:xfrm>
            <a:off x="2390775" y="2101850"/>
            <a:ext cx="976313" cy="1700213"/>
            <a:chOff x="2391371" y="2102411"/>
            <a:chExt cx="976313" cy="1699445"/>
          </a:xfrm>
        </p:grpSpPr>
        <p:sp>
          <p:nvSpPr>
            <p:cNvPr id="18453" name="Freeform 5"/>
            <p:cNvSpPr/>
            <p:nvPr/>
          </p:nvSpPr>
          <p:spPr bwMode="auto">
            <a:xfrm>
              <a:off x="2391371" y="2431843"/>
              <a:ext cx="976313" cy="1370013"/>
            </a:xfrm>
            <a:custGeom>
              <a:avLst/>
              <a:gdLst>
                <a:gd name="T0" fmla="*/ 2147483646 w 615"/>
                <a:gd name="T1" fmla="*/ 0 h 863"/>
                <a:gd name="T2" fmla="*/ 2147483646 w 615"/>
                <a:gd name="T3" fmla="*/ 2147483646 h 863"/>
                <a:gd name="T4" fmla="*/ 2147483646 w 615"/>
                <a:gd name="T5" fmla="*/ 2147483646 h 863"/>
                <a:gd name="T6" fmla="*/ 2147483646 w 615"/>
                <a:gd name="T7" fmla="*/ 2147483646 h 863"/>
                <a:gd name="T8" fmla="*/ 0 w 615"/>
                <a:gd name="T9" fmla="*/ 2147483646 h 863"/>
                <a:gd name="T10" fmla="*/ 2147483646 w 615"/>
                <a:gd name="T11" fmla="*/ 2147483646 h 863"/>
                <a:gd name="T12" fmla="*/ 2147483646 w 615"/>
                <a:gd name="T13" fmla="*/ 0 h 8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5" h="863">
                  <a:moveTo>
                    <a:pt x="307" y="0"/>
                  </a:moveTo>
                  <a:lnTo>
                    <a:pt x="461" y="435"/>
                  </a:lnTo>
                  <a:lnTo>
                    <a:pt x="615" y="863"/>
                  </a:lnTo>
                  <a:lnTo>
                    <a:pt x="307" y="863"/>
                  </a:lnTo>
                  <a:lnTo>
                    <a:pt x="0" y="863"/>
                  </a:lnTo>
                  <a:lnTo>
                    <a:pt x="154" y="435"/>
                  </a:lnTo>
                  <a:lnTo>
                    <a:pt x="307" y="0"/>
                  </a:ln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" name="TextBox 29"/>
            <p:cNvSpPr txBox="1"/>
            <p:nvPr/>
          </p:nvSpPr>
          <p:spPr bwMode="auto">
            <a:xfrm>
              <a:off x="2651721" y="2102411"/>
              <a:ext cx="473075" cy="30783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97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44" name="组合 43"/>
          <p:cNvGrpSpPr/>
          <p:nvPr/>
        </p:nvGrpSpPr>
        <p:grpSpPr bwMode="auto">
          <a:xfrm>
            <a:off x="3217863" y="1306513"/>
            <a:ext cx="974725" cy="2495550"/>
            <a:chOff x="3218458" y="1306131"/>
            <a:chExt cx="974725" cy="2495725"/>
          </a:xfrm>
        </p:grpSpPr>
        <p:sp>
          <p:nvSpPr>
            <p:cNvPr id="18451" name="Freeform 8"/>
            <p:cNvSpPr/>
            <p:nvPr/>
          </p:nvSpPr>
          <p:spPr bwMode="auto">
            <a:xfrm>
              <a:off x="3218458" y="1634918"/>
              <a:ext cx="974725" cy="2166938"/>
            </a:xfrm>
            <a:custGeom>
              <a:avLst/>
              <a:gdLst>
                <a:gd name="T0" fmla="*/ 2147483646 w 614"/>
                <a:gd name="T1" fmla="*/ 0 h 1365"/>
                <a:gd name="T2" fmla="*/ 2147483646 w 614"/>
                <a:gd name="T3" fmla="*/ 2147483646 h 1365"/>
                <a:gd name="T4" fmla="*/ 2147483646 w 614"/>
                <a:gd name="T5" fmla="*/ 2147483646 h 1365"/>
                <a:gd name="T6" fmla="*/ 2147483646 w 614"/>
                <a:gd name="T7" fmla="*/ 2147483646 h 1365"/>
                <a:gd name="T8" fmla="*/ 0 w 614"/>
                <a:gd name="T9" fmla="*/ 2147483646 h 1365"/>
                <a:gd name="T10" fmla="*/ 2147483646 w 614"/>
                <a:gd name="T11" fmla="*/ 2147483646 h 1365"/>
                <a:gd name="T12" fmla="*/ 2147483646 w 614"/>
                <a:gd name="T13" fmla="*/ 0 h 13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4" h="1365">
                  <a:moveTo>
                    <a:pt x="307" y="0"/>
                  </a:moveTo>
                  <a:lnTo>
                    <a:pt x="461" y="682"/>
                  </a:lnTo>
                  <a:lnTo>
                    <a:pt x="614" y="1365"/>
                  </a:lnTo>
                  <a:lnTo>
                    <a:pt x="307" y="1365"/>
                  </a:lnTo>
                  <a:lnTo>
                    <a:pt x="0" y="1365"/>
                  </a:lnTo>
                  <a:lnTo>
                    <a:pt x="154" y="682"/>
                  </a:lnTo>
                  <a:lnTo>
                    <a:pt x="307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" name="TextBox 30"/>
            <p:cNvSpPr txBox="1"/>
            <p:nvPr/>
          </p:nvSpPr>
          <p:spPr bwMode="auto">
            <a:xfrm>
              <a:off x="3412133" y="1306131"/>
              <a:ext cx="617537" cy="30799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25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3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3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3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3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6" presetClass="emph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3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1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3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3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/>
      <p:bldP spid="28" grpId="0"/>
      <p:bldP spid="3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组合 452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54" name="任意多边形 45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55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459" name="组合 455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9513" name="矩形 456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8" name="任意多边形 457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9460" name="组合 458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460" name="任意多边形 459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61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461" name="组合 461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463" name="任意多边形 462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64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462" name="组合 46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66" name="任意多边形 46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67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433" name="6 - pic movie"/>
          <p:cNvPicPr preferRelativeResize="0">
            <a:picLocks noChangeAspect="1" noChangeArrowheads="1"/>
          </p:cNvPicPr>
          <p:nvPr/>
        </p:nvPicPr>
        <p:blipFill>
          <a:blip r:embed="rId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>
            <a:fillRect/>
          </a:stretch>
        </p:blipFill>
        <p:spPr bwMode="auto">
          <a:xfrm>
            <a:off x="1497013" y="1001713"/>
            <a:ext cx="8413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4" name="6 - pic movie"/>
          <p:cNvPicPr preferRelativeResize="0">
            <a:picLocks noChangeAspect="1" noChangeArrowheads="1"/>
          </p:cNvPicPr>
          <p:nvPr/>
        </p:nvPicPr>
        <p:blipFill>
          <a:blip r:embed="rId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>
            <a:fillRect/>
          </a:stretch>
        </p:blipFill>
        <p:spPr bwMode="auto">
          <a:xfrm>
            <a:off x="622300" y="2062163"/>
            <a:ext cx="8413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36" name="Group 4"/>
          <p:cNvGrpSpPr/>
          <p:nvPr/>
        </p:nvGrpSpPr>
        <p:grpSpPr bwMode="auto">
          <a:xfrm>
            <a:off x="6972300" y="2062163"/>
            <a:ext cx="841375" cy="1017587"/>
            <a:chOff x="780466" y="7239000"/>
            <a:chExt cx="1097281" cy="1097280"/>
          </a:xfrm>
        </p:grpSpPr>
        <p:sp>
          <p:nvSpPr>
            <p:cNvPr id="19505" name="Rectangle 70"/>
            <p:cNvSpPr>
              <a:spLocks noChangeArrowheads="1"/>
            </p:cNvSpPr>
            <p:nvPr/>
          </p:nvSpPr>
          <p:spPr bwMode="auto">
            <a:xfrm>
              <a:off x="780466" y="7239000"/>
              <a:ext cx="1097281" cy="109728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5" tIns="60957" rIns="121915" bIns="60957" anchor="b"/>
            <a:lstStyle>
              <a:lvl1pPr defTabSz="931545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endParaRPr lang="en-US" altLang="zh-CN" sz="15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9506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410" y="7334967"/>
              <a:ext cx="1077393" cy="862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41" name="Group 3"/>
          <p:cNvGrpSpPr/>
          <p:nvPr/>
        </p:nvGrpSpPr>
        <p:grpSpPr bwMode="auto">
          <a:xfrm>
            <a:off x="7848600" y="1001713"/>
            <a:ext cx="868363" cy="1017587"/>
            <a:chOff x="1922117" y="6096000"/>
            <a:chExt cx="1097280" cy="1097280"/>
          </a:xfrm>
        </p:grpSpPr>
        <p:sp>
          <p:nvSpPr>
            <p:cNvPr id="19497" name="Rectangle 37"/>
            <p:cNvSpPr>
              <a:spLocks noChangeArrowheads="1"/>
            </p:cNvSpPr>
            <p:nvPr/>
          </p:nvSpPr>
          <p:spPr bwMode="auto">
            <a:xfrm>
              <a:off x="1922117" y="6096000"/>
              <a:ext cx="1097280" cy="109728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5" tIns="60957" rIns="121915" bIns="60957" anchor="b"/>
            <a:lstStyle>
              <a:lvl1pPr defTabSz="931545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endParaRPr lang="en-US" altLang="zh-CN"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498" name="Group 45"/>
            <p:cNvGrpSpPr/>
            <p:nvPr/>
          </p:nvGrpSpPr>
          <p:grpSpPr bwMode="auto">
            <a:xfrm>
              <a:off x="1953542" y="6244627"/>
              <a:ext cx="1034431" cy="800024"/>
              <a:chOff x="8958986" y="4228507"/>
              <a:chExt cx="2623029" cy="2099049"/>
            </a:xfrm>
          </p:grpSpPr>
          <p:pic>
            <p:nvPicPr>
              <p:cNvPr id="19499" name="Picture 2" descr="E:\iPad_Assets\ipad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58986" y="4228507"/>
                <a:ext cx="1031089" cy="1456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0" name="Picture 3" descr="G:\MyPhotos\DVD\DVD_Art_08-10-2010\Artwork_Imagery\Hardware Photos\OEM HW\COMPUTERS - PC\Windows 7\AIOs\acer aspire z5610-all-in-one.png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77681" y="4311753"/>
                <a:ext cx="1704334" cy="1788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1" name="Picture 4" descr="\\SFP\Work\White_Whale\2-20426_Lees_MCB_Partner\Art\Images\Phones\VerizonDroidPhone_Full.png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25512" y="5087133"/>
                <a:ext cx="436093" cy="7945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2" name="Picture 5" descr="\\SFP\Work\White_Whale\2-xxxxx_Anderson_MMS\SFP_Art\Device Freedom\Symbian_Phone.pn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92954" y="5284139"/>
                <a:ext cx="477529" cy="8385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3" name="Picture 5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28485" y="5400328"/>
                <a:ext cx="431560" cy="7937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4" name="Picture 2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13542" y="5516707"/>
                <a:ext cx="459867" cy="810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5122" name="Picture 2" descr="E:\迅雷下载\shutterstock_1130209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113" y="1001713"/>
            <a:ext cx="2195512" cy="207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 descr="E:\迅雷下载\shutterstock_132642680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0" t="-507" r="8710" b="507"/>
          <a:stretch>
            <a:fillRect/>
          </a:stretch>
        </p:blipFill>
        <p:spPr bwMode="auto">
          <a:xfrm>
            <a:off x="4692650" y="989013"/>
            <a:ext cx="2208213" cy="209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76" name="组合 475"/>
          <p:cNvGrpSpPr/>
          <p:nvPr/>
        </p:nvGrpSpPr>
        <p:grpSpPr bwMode="auto">
          <a:xfrm>
            <a:off x="7848600" y="2062163"/>
            <a:ext cx="868363" cy="1017587"/>
            <a:chOff x="7559320" y="1935432"/>
            <a:chExt cx="771212" cy="840816"/>
          </a:xfrm>
        </p:grpSpPr>
        <p:sp>
          <p:nvSpPr>
            <p:cNvPr id="471" name="矩形 470"/>
            <p:cNvSpPr/>
            <p:nvPr/>
          </p:nvSpPr>
          <p:spPr>
            <a:xfrm>
              <a:off x="7559320" y="1935432"/>
              <a:ext cx="771212" cy="840816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9494" name="组合 474"/>
            <p:cNvGrpSpPr/>
            <p:nvPr/>
          </p:nvGrpSpPr>
          <p:grpSpPr bwMode="auto">
            <a:xfrm>
              <a:off x="7772729" y="2131012"/>
              <a:ext cx="357850" cy="449656"/>
              <a:chOff x="7744316" y="2131012"/>
              <a:chExt cx="357850" cy="449656"/>
            </a:xfrm>
          </p:grpSpPr>
          <p:sp>
            <p:nvSpPr>
              <p:cNvPr id="478" name="Oval 122"/>
              <p:cNvSpPr>
                <a:spLocks noChangeArrowheads="1"/>
              </p:cNvSpPr>
              <p:nvPr/>
            </p:nvSpPr>
            <p:spPr bwMode="auto">
              <a:xfrm>
                <a:off x="7743801" y="2130879"/>
                <a:ext cx="353883" cy="62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pPr defTabSz="124269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00" kern="0" dirty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79" name="Freeform 123"/>
              <p:cNvSpPr>
                <a:spLocks noEditPoints="1"/>
              </p:cNvSpPr>
              <p:nvPr/>
            </p:nvSpPr>
            <p:spPr bwMode="auto">
              <a:xfrm>
                <a:off x="7743801" y="2175478"/>
                <a:ext cx="358113" cy="405323"/>
              </a:xfrm>
              <a:custGeom>
                <a:avLst/>
                <a:gdLst>
                  <a:gd name="T0" fmla="*/ 480 w 480"/>
                  <a:gd name="T1" fmla="*/ 135 h 562"/>
                  <a:gd name="T2" fmla="*/ 480 w 480"/>
                  <a:gd name="T3" fmla="*/ 0 h 562"/>
                  <a:gd name="T4" fmla="*/ 240 w 480"/>
                  <a:gd name="T5" fmla="*/ 43 h 562"/>
                  <a:gd name="T6" fmla="*/ 0 w 480"/>
                  <a:gd name="T7" fmla="*/ 0 h 562"/>
                  <a:gd name="T8" fmla="*/ 0 w 480"/>
                  <a:gd name="T9" fmla="*/ 135 h 562"/>
                  <a:gd name="T10" fmla="*/ 15 w 480"/>
                  <a:gd name="T11" fmla="*/ 153 h 562"/>
                  <a:gd name="T12" fmla="*/ 0 w 480"/>
                  <a:gd name="T13" fmla="*/ 170 h 562"/>
                  <a:gd name="T14" fmla="*/ 0 w 480"/>
                  <a:gd name="T15" fmla="*/ 322 h 562"/>
                  <a:gd name="T16" fmla="*/ 15 w 480"/>
                  <a:gd name="T17" fmla="*/ 340 h 562"/>
                  <a:gd name="T18" fmla="*/ 0 w 480"/>
                  <a:gd name="T19" fmla="*/ 358 h 562"/>
                  <a:gd name="T20" fmla="*/ 0 w 480"/>
                  <a:gd name="T21" fmla="*/ 510 h 562"/>
                  <a:gd name="T22" fmla="*/ 240 w 480"/>
                  <a:gd name="T23" fmla="*/ 562 h 562"/>
                  <a:gd name="T24" fmla="*/ 480 w 480"/>
                  <a:gd name="T25" fmla="*/ 510 h 562"/>
                  <a:gd name="T26" fmla="*/ 480 w 480"/>
                  <a:gd name="T27" fmla="*/ 358 h 562"/>
                  <a:gd name="T28" fmla="*/ 466 w 480"/>
                  <a:gd name="T29" fmla="*/ 340 h 562"/>
                  <a:gd name="T30" fmla="*/ 480 w 480"/>
                  <a:gd name="T31" fmla="*/ 322 h 562"/>
                  <a:gd name="T32" fmla="*/ 480 w 480"/>
                  <a:gd name="T33" fmla="*/ 170 h 562"/>
                  <a:gd name="T34" fmla="*/ 466 w 480"/>
                  <a:gd name="T35" fmla="*/ 153 h 562"/>
                  <a:gd name="T36" fmla="*/ 480 w 480"/>
                  <a:gd name="T37" fmla="*/ 135 h 562"/>
                  <a:gd name="T38" fmla="*/ 458 w 480"/>
                  <a:gd name="T39" fmla="*/ 352 h 562"/>
                  <a:gd name="T40" fmla="*/ 240 w 480"/>
                  <a:gd name="T41" fmla="*/ 380 h 562"/>
                  <a:gd name="T42" fmla="*/ 23 w 480"/>
                  <a:gd name="T43" fmla="*/ 352 h 562"/>
                  <a:gd name="T44" fmla="*/ 23 w 480"/>
                  <a:gd name="T45" fmla="*/ 333 h 562"/>
                  <a:gd name="T46" fmla="*/ 240 w 480"/>
                  <a:gd name="T47" fmla="*/ 361 h 562"/>
                  <a:gd name="T48" fmla="*/ 458 w 480"/>
                  <a:gd name="T49" fmla="*/ 333 h 562"/>
                  <a:gd name="T50" fmla="*/ 458 w 480"/>
                  <a:gd name="T51" fmla="*/ 352 h 562"/>
                  <a:gd name="T52" fmla="*/ 458 w 480"/>
                  <a:gd name="T53" fmla="*/ 166 h 562"/>
                  <a:gd name="T54" fmla="*/ 240 w 480"/>
                  <a:gd name="T55" fmla="*/ 195 h 562"/>
                  <a:gd name="T56" fmla="*/ 23 w 480"/>
                  <a:gd name="T57" fmla="*/ 166 h 562"/>
                  <a:gd name="T58" fmla="*/ 23 w 480"/>
                  <a:gd name="T59" fmla="*/ 147 h 562"/>
                  <a:gd name="T60" fmla="*/ 240 w 480"/>
                  <a:gd name="T61" fmla="*/ 176 h 562"/>
                  <a:gd name="T62" fmla="*/ 458 w 480"/>
                  <a:gd name="T63" fmla="*/ 147 h 562"/>
                  <a:gd name="T64" fmla="*/ 458 w 480"/>
                  <a:gd name="T65" fmla="*/ 166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0" h="562">
                    <a:moveTo>
                      <a:pt x="480" y="135"/>
                    </a:moveTo>
                    <a:cubicBezTo>
                      <a:pt x="480" y="0"/>
                      <a:pt x="480" y="0"/>
                      <a:pt x="480" y="0"/>
                    </a:cubicBezTo>
                    <a:cubicBezTo>
                      <a:pt x="448" y="31"/>
                      <a:pt x="326" y="43"/>
                      <a:pt x="240" y="43"/>
                    </a:cubicBezTo>
                    <a:cubicBezTo>
                      <a:pt x="154" y="43"/>
                      <a:pt x="32" y="31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0" y="141"/>
                      <a:pt x="5" y="147"/>
                      <a:pt x="15" y="153"/>
                    </a:cubicBezTo>
                    <a:cubicBezTo>
                      <a:pt x="5" y="158"/>
                      <a:pt x="0" y="164"/>
                      <a:pt x="0" y="170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9"/>
                      <a:pt x="5" y="335"/>
                      <a:pt x="15" y="340"/>
                    </a:cubicBezTo>
                    <a:cubicBezTo>
                      <a:pt x="5" y="346"/>
                      <a:pt x="0" y="351"/>
                      <a:pt x="0" y="358"/>
                    </a:cubicBezTo>
                    <a:cubicBezTo>
                      <a:pt x="0" y="510"/>
                      <a:pt x="0" y="510"/>
                      <a:pt x="0" y="510"/>
                    </a:cubicBezTo>
                    <a:cubicBezTo>
                      <a:pt x="0" y="538"/>
                      <a:pt x="108" y="562"/>
                      <a:pt x="240" y="562"/>
                    </a:cubicBezTo>
                    <a:cubicBezTo>
                      <a:pt x="373" y="562"/>
                      <a:pt x="480" y="538"/>
                      <a:pt x="480" y="510"/>
                    </a:cubicBezTo>
                    <a:cubicBezTo>
                      <a:pt x="480" y="358"/>
                      <a:pt x="480" y="358"/>
                      <a:pt x="480" y="358"/>
                    </a:cubicBezTo>
                    <a:cubicBezTo>
                      <a:pt x="480" y="351"/>
                      <a:pt x="475" y="346"/>
                      <a:pt x="466" y="340"/>
                    </a:cubicBezTo>
                    <a:cubicBezTo>
                      <a:pt x="475" y="335"/>
                      <a:pt x="480" y="329"/>
                      <a:pt x="480" y="322"/>
                    </a:cubicBezTo>
                    <a:cubicBezTo>
                      <a:pt x="480" y="170"/>
                      <a:pt x="480" y="170"/>
                      <a:pt x="480" y="170"/>
                    </a:cubicBezTo>
                    <a:cubicBezTo>
                      <a:pt x="480" y="164"/>
                      <a:pt x="475" y="158"/>
                      <a:pt x="466" y="153"/>
                    </a:cubicBezTo>
                    <a:cubicBezTo>
                      <a:pt x="475" y="147"/>
                      <a:pt x="480" y="141"/>
                      <a:pt x="480" y="135"/>
                    </a:cubicBezTo>
                    <a:close/>
                    <a:moveTo>
                      <a:pt x="458" y="352"/>
                    </a:moveTo>
                    <a:cubicBezTo>
                      <a:pt x="458" y="368"/>
                      <a:pt x="361" y="380"/>
                      <a:pt x="240" y="380"/>
                    </a:cubicBezTo>
                    <a:cubicBezTo>
                      <a:pt x="120" y="380"/>
                      <a:pt x="23" y="368"/>
                      <a:pt x="23" y="352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49"/>
                      <a:pt x="120" y="361"/>
                      <a:pt x="240" y="361"/>
                    </a:cubicBezTo>
                    <a:cubicBezTo>
                      <a:pt x="361" y="361"/>
                      <a:pt x="458" y="349"/>
                      <a:pt x="458" y="333"/>
                    </a:cubicBezTo>
                    <a:lnTo>
                      <a:pt x="458" y="352"/>
                    </a:lnTo>
                    <a:close/>
                    <a:moveTo>
                      <a:pt x="458" y="166"/>
                    </a:moveTo>
                    <a:cubicBezTo>
                      <a:pt x="458" y="182"/>
                      <a:pt x="361" y="195"/>
                      <a:pt x="240" y="195"/>
                    </a:cubicBezTo>
                    <a:cubicBezTo>
                      <a:pt x="120" y="195"/>
                      <a:pt x="23" y="182"/>
                      <a:pt x="23" y="166"/>
                    </a:cubicBezTo>
                    <a:cubicBezTo>
                      <a:pt x="23" y="147"/>
                      <a:pt x="23" y="147"/>
                      <a:pt x="23" y="147"/>
                    </a:cubicBezTo>
                    <a:cubicBezTo>
                      <a:pt x="23" y="163"/>
                      <a:pt x="120" y="176"/>
                      <a:pt x="240" y="176"/>
                    </a:cubicBezTo>
                    <a:cubicBezTo>
                      <a:pt x="361" y="176"/>
                      <a:pt x="458" y="163"/>
                      <a:pt x="458" y="147"/>
                    </a:cubicBezTo>
                    <a:lnTo>
                      <a:pt x="458" y="16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pPr defTabSz="124269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00" kern="0" dirty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5124" name="组合 5123"/>
          <p:cNvGrpSpPr/>
          <p:nvPr/>
        </p:nvGrpSpPr>
        <p:grpSpPr bwMode="auto">
          <a:xfrm>
            <a:off x="1503363" y="2062163"/>
            <a:ext cx="835025" cy="1017587"/>
            <a:chOff x="1790713" y="1935432"/>
            <a:chExt cx="759922" cy="840816"/>
          </a:xfrm>
        </p:grpSpPr>
        <p:sp>
          <p:nvSpPr>
            <p:cNvPr id="472" name="矩形 471"/>
            <p:cNvSpPr/>
            <p:nvPr/>
          </p:nvSpPr>
          <p:spPr>
            <a:xfrm>
              <a:off x="1792157" y="1935432"/>
              <a:ext cx="758478" cy="84081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pic>
          <p:nvPicPr>
            <p:cNvPr id="19492" name="Picture 2" descr="\\MAGNUM\Projects\Microsoft\Cloud Power FY12\Design\ICONS_PNG\Secure_Elastic.png"/>
            <p:cNvPicPr>
              <a:picLocks noChangeAspect="1" noChangeArrowheads="1"/>
            </p:cNvPicPr>
            <p:nvPr/>
          </p:nvPicPr>
          <p:blipFill>
            <a:blip r:embed="rId11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0713" y="1975878"/>
              <a:ext cx="759922" cy="7599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120" name="组合 5119"/>
          <p:cNvGrpSpPr/>
          <p:nvPr/>
        </p:nvGrpSpPr>
        <p:grpSpPr bwMode="auto">
          <a:xfrm>
            <a:off x="6972300" y="1001713"/>
            <a:ext cx="833438" cy="1017587"/>
            <a:chOff x="6763380" y="1059582"/>
            <a:chExt cx="757756" cy="840816"/>
          </a:xfrm>
        </p:grpSpPr>
        <p:sp>
          <p:nvSpPr>
            <p:cNvPr id="470" name="矩形 469"/>
            <p:cNvSpPr/>
            <p:nvPr/>
          </p:nvSpPr>
          <p:spPr>
            <a:xfrm>
              <a:off x="6763380" y="1059582"/>
              <a:ext cx="757756" cy="840816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pic>
          <p:nvPicPr>
            <p:cNvPr id="19490" name="Picture 5" descr="\\MAGNUM\Projects\Microsoft\Cloud Power FY12\Design\Icons\PNGs\Stop_watch.png"/>
            <p:cNvPicPr>
              <a:picLocks noChangeAspect="1" noChangeArrowheads="1"/>
            </p:cNvPicPr>
            <p:nvPr/>
          </p:nvPicPr>
          <p:blipFill>
            <a:blip r:embed="rId12">
              <a:biLevel thresh="5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1617" y="1178735"/>
              <a:ext cx="701283" cy="632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125" name="组合 5124"/>
          <p:cNvGrpSpPr/>
          <p:nvPr/>
        </p:nvGrpSpPr>
        <p:grpSpPr bwMode="auto">
          <a:xfrm>
            <a:off x="622300" y="998538"/>
            <a:ext cx="833438" cy="1017587"/>
            <a:chOff x="990153" y="1056906"/>
            <a:chExt cx="757756" cy="840816"/>
          </a:xfrm>
        </p:grpSpPr>
        <p:sp>
          <p:nvSpPr>
            <p:cNvPr id="473" name="矩形 472"/>
            <p:cNvSpPr/>
            <p:nvPr/>
          </p:nvSpPr>
          <p:spPr>
            <a:xfrm>
              <a:off x="990153" y="1056906"/>
              <a:ext cx="757756" cy="84081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pic>
          <p:nvPicPr>
            <p:cNvPr id="19488" name="Picture 2" descr="\\MAGNUM\Projects\Microsoft\Cloud Power FY12\Design\ICONS_PNG\Devices.png"/>
            <p:cNvPicPr>
              <a:picLocks noChangeAspect="1" noChangeArrowheads="1"/>
            </p:cNvPicPr>
            <p:nvPr/>
          </p:nvPicPr>
          <p:blipFill>
            <a:blip r:embed="rId13">
              <a:lum bright="100000" contras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6264" y="1159066"/>
              <a:ext cx="645416" cy="645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127" name="组合 5126"/>
          <p:cNvGrpSpPr/>
          <p:nvPr/>
        </p:nvGrpSpPr>
        <p:grpSpPr bwMode="auto">
          <a:xfrm>
            <a:off x="787400" y="3363913"/>
            <a:ext cx="7704138" cy="958850"/>
            <a:chOff x="787674" y="3769505"/>
            <a:chExt cx="7703403" cy="959210"/>
          </a:xfrm>
        </p:grpSpPr>
        <p:sp>
          <p:nvSpPr>
            <p:cNvPr id="490" name="矩形 1"/>
            <p:cNvSpPr>
              <a:spLocks noChangeArrowheads="1"/>
            </p:cNvSpPr>
            <p:nvPr/>
          </p:nvSpPr>
          <p:spPr bwMode="auto">
            <a:xfrm>
              <a:off x="787674" y="4082359"/>
              <a:ext cx="7703403" cy="646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91" name="直接连接符 490"/>
            <p:cNvCxnSpPr/>
            <p:nvPr/>
          </p:nvCxnSpPr>
          <p:spPr>
            <a:xfrm>
              <a:off x="894027" y="4093477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480" name="组合 491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493" name="TextBox 265"/>
              <p:cNvSpPr txBox="1"/>
              <p:nvPr/>
            </p:nvSpPr>
            <p:spPr bwMode="auto">
              <a:xfrm>
                <a:off x="1156857" y="1031498"/>
                <a:ext cx="1101620" cy="32238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9482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9483" name="组合 494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497" name="流程图: 决策 166"/>
                <p:cNvSpPr/>
                <p:nvPr/>
              </p:nvSpPr>
              <p:spPr>
                <a:xfrm>
                  <a:off x="958439" y="1125195"/>
                  <a:ext cx="136512" cy="182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498" name="流程图: 决策 166"/>
                <p:cNvSpPr/>
                <p:nvPr/>
              </p:nvSpPr>
              <p:spPr>
                <a:xfrm>
                  <a:off x="1107650" y="1126784"/>
                  <a:ext cx="90478" cy="1794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496" name="直接连接符 495"/>
              <p:cNvCxnSpPr/>
              <p:nvPr/>
            </p:nvCxnSpPr>
            <p:spPr>
              <a:xfrm>
                <a:off x="2263240" y="1137900"/>
                <a:ext cx="0" cy="14451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99" name="矩形 498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00" name="矩形 499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01" name="矩形 500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02" name="矩形 501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51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1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400"/>
                                        <p:tgtEl>
                                          <p:spTgt spid="4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400"/>
                                        <p:tgtEl>
                                          <p:spTgt spid="4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400"/>
                                        <p:tgtEl>
                                          <p:spTgt spid="4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400"/>
                                        <p:tgtEl>
                                          <p:spTgt spid="4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400"/>
                                        <p:tgtEl>
                                          <p:spTgt spid="5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400"/>
                                        <p:tgtEl>
                                          <p:spTgt spid="5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400"/>
                                        <p:tgtEl>
                                          <p:spTgt spid="4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8" dur="400"/>
                                        <p:tgtEl>
                                          <p:spTgt spid="4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 tmFilter="0, 0; .2, .5; .8, .5; 1, 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6" dur="250" autoRev="1" fill="hold"/>
                                        <p:tgtEl>
                                          <p:spTgt spid="51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1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400"/>
                                        <p:tgtEl>
                                          <p:spTgt spid="5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0" dur="400"/>
                                        <p:tgtEl>
                                          <p:spTgt spid="5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400"/>
                                        <p:tgtEl>
                                          <p:spTgt spid="4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4" dur="400"/>
                                        <p:tgtEl>
                                          <p:spTgt spid="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400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8" dur="4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400"/>
                                        <p:tgtEl>
                                          <p:spTgt spid="4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52" dur="400"/>
                                        <p:tgtEl>
                                          <p:spTgt spid="4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5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82" name="组合 30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2" name="任意多边形 31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3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0483" name="组合 33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20550" name="矩形 34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任意多边形 35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20484" name="组合 3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38" name="任意多边形 3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0485" name="组合 39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41" name="任意多边形 40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2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0486" name="组合 42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4" name="任意多边形 43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5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" name="Freeform 134"/>
          <p:cNvSpPr/>
          <p:nvPr/>
        </p:nvSpPr>
        <p:spPr bwMode="auto">
          <a:xfrm>
            <a:off x="1270000" y="1196975"/>
            <a:ext cx="219075" cy="209550"/>
          </a:xfrm>
          <a:custGeom>
            <a:avLst/>
            <a:gdLst>
              <a:gd name="T0" fmla="*/ 2147483646 w 138"/>
              <a:gd name="T1" fmla="*/ 2147483646 h 132"/>
              <a:gd name="T2" fmla="*/ 2147483646 w 138"/>
              <a:gd name="T3" fmla="*/ 2147483646 h 132"/>
              <a:gd name="T4" fmla="*/ 2147483646 w 138"/>
              <a:gd name="T5" fmla="*/ 2147483646 h 132"/>
              <a:gd name="T6" fmla="*/ 2147483646 w 138"/>
              <a:gd name="T7" fmla="*/ 2147483646 h 132"/>
              <a:gd name="T8" fmla="*/ 0 w 138"/>
              <a:gd name="T9" fmla="*/ 2147483646 h 132"/>
              <a:gd name="T10" fmla="*/ 2147483646 w 138"/>
              <a:gd name="T11" fmla="*/ 2147483646 h 132"/>
              <a:gd name="T12" fmla="*/ 2147483646 w 138"/>
              <a:gd name="T13" fmla="*/ 0 h 132"/>
              <a:gd name="T14" fmla="*/ 2147483646 w 138"/>
              <a:gd name="T15" fmla="*/ 2147483646 h 132"/>
              <a:gd name="T16" fmla="*/ 2147483646 w 138"/>
              <a:gd name="T17" fmla="*/ 2147483646 h 132"/>
              <a:gd name="T18" fmla="*/ 2147483646 w 138"/>
              <a:gd name="T19" fmla="*/ 2147483646 h 132"/>
              <a:gd name="T20" fmla="*/ 2147483646 w 138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32">
                <a:moveTo>
                  <a:pt x="116" y="132"/>
                </a:moveTo>
                <a:lnTo>
                  <a:pt x="71" y="110"/>
                </a:lnTo>
                <a:lnTo>
                  <a:pt x="27" y="132"/>
                </a:lnTo>
                <a:lnTo>
                  <a:pt x="38" y="83"/>
                </a:lnTo>
                <a:lnTo>
                  <a:pt x="0" y="50"/>
                </a:lnTo>
                <a:lnTo>
                  <a:pt x="49" y="44"/>
                </a:lnTo>
                <a:lnTo>
                  <a:pt x="71" y="0"/>
                </a:lnTo>
                <a:lnTo>
                  <a:pt x="94" y="44"/>
                </a:lnTo>
                <a:lnTo>
                  <a:pt x="138" y="50"/>
                </a:lnTo>
                <a:lnTo>
                  <a:pt x="105" y="83"/>
                </a:lnTo>
                <a:lnTo>
                  <a:pt x="116" y="132"/>
                </a:lnTo>
                <a:close/>
              </a:path>
            </a:pathLst>
          </a:custGeom>
          <a:solidFill>
            <a:srgbClr val="0091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" name="Freeform 135"/>
          <p:cNvSpPr/>
          <p:nvPr/>
        </p:nvSpPr>
        <p:spPr bwMode="auto">
          <a:xfrm>
            <a:off x="1566863" y="119697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3"/>
                </a:lnTo>
                <a:lnTo>
                  <a:pt x="0" y="50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50"/>
                </a:lnTo>
                <a:lnTo>
                  <a:pt x="99" y="83"/>
                </a:lnTo>
                <a:lnTo>
                  <a:pt x="110" y="132"/>
                </a:lnTo>
                <a:close/>
              </a:path>
            </a:pathLst>
          </a:custGeom>
          <a:solidFill>
            <a:srgbClr val="0091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" name="Freeform 136"/>
          <p:cNvSpPr/>
          <p:nvPr/>
        </p:nvSpPr>
        <p:spPr bwMode="auto">
          <a:xfrm>
            <a:off x="1858963" y="119697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3"/>
                </a:lnTo>
                <a:lnTo>
                  <a:pt x="0" y="50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50"/>
                </a:lnTo>
                <a:lnTo>
                  <a:pt x="99" y="83"/>
                </a:lnTo>
                <a:lnTo>
                  <a:pt x="110" y="132"/>
                </a:lnTo>
                <a:close/>
              </a:path>
            </a:pathLst>
          </a:custGeom>
          <a:solidFill>
            <a:srgbClr val="0091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" name="Freeform 137"/>
          <p:cNvSpPr/>
          <p:nvPr/>
        </p:nvSpPr>
        <p:spPr bwMode="auto">
          <a:xfrm>
            <a:off x="1270000" y="1714500"/>
            <a:ext cx="219075" cy="200025"/>
          </a:xfrm>
          <a:custGeom>
            <a:avLst/>
            <a:gdLst>
              <a:gd name="T0" fmla="*/ 2147483646 w 138"/>
              <a:gd name="T1" fmla="*/ 2147483646 h 126"/>
              <a:gd name="T2" fmla="*/ 2147483646 w 138"/>
              <a:gd name="T3" fmla="*/ 2147483646 h 126"/>
              <a:gd name="T4" fmla="*/ 2147483646 w 138"/>
              <a:gd name="T5" fmla="*/ 2147483646 h 126"/>
              <a:gd name="T6" fmla="*/ 2147483646 w 138"/>
              <a:gd name="T7" fmla="*/ 2147483646 h 126"/>
              <a:gd name="T8" fmla="*/ 0 w 138"/>
              <a:gd name="T9" fmla="*/ 2147483646 h 126"/>
              <a:gd name="T10" fmla="*/ 2147483646 w 138"/>
              <a:gd name="T11" fmla="*/ 2147483646 h 126"/>
              <a:gd name="T12" fmla="*/ 2147483646 w 138"/>
              <a:gd name="T13" fmla="*/ 0 h 126"/>
              <a:gd name="T14" fmla="*/ 2147483646 w 138"/>
              <a:gd name="T15" fmla="*/ 2147483646 h 126"/>
              <a:gd name="T16" fmla="*/ 2147483646 w 138"/>
              <a:gd name="T17" fmla="*/ 2147483646 h 126"/>
              <a:gd name="T18" fmla="*/ 2147483646 w 138"/>
              <a:gd name="T19" fmla="*/ 2147483646 h 126"/>
              <a:gd name="T20" fmla="*/ 2147483646 w 138"/>
              <a:gd name="T21" fmla="*/ 2147483646 h 12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26">
                <a:moveTo>
                  <a:pt x="116" y="126"/>
                </a:moveTo>
                <a:lnTo>
                  <a:pt x="71" y="104"/>
                </a:lnTo>
                <a:lnTo>
                  <a:pt x="27" y="126"/>
                </a:lnTo>
                <a:lnTo>
                  <a:pt x="38" y="82"/>
                </a:lnTo>
                <a:lnTo>
                  <a:pt x="0" y="49"/>
                </a:lnTo>
                <a:lnTo>
                  <a:pt x="49" y="38"/>
                </a:lnTo>
                <a:lnTo>
                  <a:pt x="71" y="0"/>
                </a:lnTo>
                <a:lnTo>
                  <a:pt x="94" y="38"/>
                </a:lnTo>
                <a:lnTo>
                  <a:pt x="138" y="44"/>
                </a:lnTo>
                <a:lnTo>
                  <a:pt x="105" y="82"/>
                </a:lnTo>
                <a:lnTo>
                  <a:pt x="116" y="126"/>
                </a:lnTo>
                <a:close/>
              </a:path>
            </a:pathLst>
          </a:custGeom>
          <a:solidFill>
            <a:srgbClr val="E6B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" name="Freeform 138"/>
          <p:cNvSpPr/>
          <p:nvPr/>
        </p:nvSpPr>
        <p:spPr bwMode="auto">
          <a:xfrm>
            <a:off x="1566863" y="1714500"/>
            <a:ext cx="209550" cy="200025"/>
          </a:xfrm>
          <a:custGeom>
            <a:avLst/>
            <a:gdLst>
              <a:gd name="T0" fmla="*/ 2147483646 w 132"/>
              <a:gd name="T1" fmla="*/ 2147483646 h 126"/>
              <a:gd name="T2" fmla="*/ 2147483646 w 132"/>
              <a:gd name="T3" fmla="*/ 2147483646 h 126"/>
              <a:gd name="T4" fmla="*/ 2147483646 w 132"/>
              <a:gd name="T5" fmla="*/ 2147483646 h 126"/>
              <a:gd name="T6" fmla="*/ 2147483646 w 132"/>
              <a:gd name="T7" fmla="*/ 2147483646 h 126"/>
              <a:gd name="T8" fmla="*/ 0 w 132"/>
              <a:gd name="T9" fmla="*/ 2147483646 h 126"/>
              <a:gd name="T10" fmla="*/ 2147483646 w 132"/>
              <a:gd name="T11" fmla="*/ 2147483646 h 126"/>
              <a:gd name="T12" fmla="*/ 2147483646 w 132"/>
              <a:gd name="T13" fmla="*/ 0 h 126"/>
              <a:gd name="T14" fmla="*/ 2147483646 w 132"/>
              <a:gd name="T15" fmla="*/ 2147483646 h 126"/>
              <a:gd name="T16" fmla="*/ 2147483646 w 132"/>
              <a:gd name="T17" fmla="*/ 2147483646 h 126"/>
              <a:gd name="T18" fmla="*/ 2147483646 w 132"/>
              <a:gd name="T19" fmla="*/ 2147483646 h 126"/>
              <a:gd name="T20" fmla="*/ 2147483646 w 132"/>
              <a:gd name="T21" fmla="*/ 2147483646 h 12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26">
                <a:moveTo>
                  <a:pt x="110" y="126"/>
                </a:moveTo>
                <a:lnTo>
                  <a:pt x="66" y="104"/>
                </a:lnTo>
                <a:lnTo>
                  <a:pt x="28" y="126"/>
                </a:lnTo>
                <a:lnTo>
                  <a:pt x="33" y="82"/>
                </a:lnTo>
                <a:lnTo>
                  <a:pt x="0" y="49"/>
                </a:lnTo>
                <a:lnTo>
                  <a:pt x="44" y="38"/>
                </a:lnTo>
                <a:lnTo>
                  <a:pt x="66" y="0"/>
                </a:lnTo>
                <a:lnTo>
                  <a:pt x="88" y="38"/>
                </a:lnTo>
                <a:lnTo>
                  <a:pt x="132" y="44"/>
                </a:lnTo>
                <a:lnTo>
                  <a:pt x="99" y="82"/>
                </a:lnTo>
                <a:lnTo>
                  <a:pt x="110" y="126"/>
                </a:lnTo>
                <a:close/>
              </a:path>
            </a:pathLst>
          </a:custGeom>
          <a:solidFill>
            <a:srgbClr val="E6B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" name="Freeform 139"/>
          <p:cNvSpPr/>
          <p:nvPr/>
        </p:nvSpPr>
        <p:spPr bwMode="auto">
          <a:xfrm>
            <a:off x="1858963" y="1714500"/>
            <a:ext cx="209550" cy="200025"/>
          </a:xfrm>
          <a:custGeom>
            <a:avLst/>
            <a:gdLst>
              <a:gd name="T0" fmla="*/ 2147483646 w 132"/>
              <a:gd name="T1" fmla="*/ 2147483646 h 126"/>
              <a:gd name="T2" fmla="*/ 2147483646 w 132"/>
              <a:gd name="T3" fmla="*/ 2147483646 h 126"/>
              <a:gd name="T4" fmla="*/ 2147483646 w 132"/>
              <a:gd name="T5" fmla="*/ 2147483646 h 126"/>
              <a:gd name="T6" fmla="*/ 2147483646 w 132"/>
              <a:gd name="T7" fmla="*/ 2147483646 h 126"/>
              <a:gd name="T8" fmla="*/ 0 w 132"/>
              <a:gd name="T9" fmla="*/ 2147483646 h 126"/>
              <a:gd name="T10" fmla="*/ 2147483646 w 132"/>
              <a:gd name="T11" fmla="*/ 2147483646 h 126"/>
              <a:gd name="T12" fmla="*/ 2147483646 w 132"/>
              <a:gd name="T13" fmla="*/ 0 h 126"/>
              <a:gd name="T14" fmla="*/ 2147483646 w 132"/>
              <a:gd name="T15" fmla="*/ 2147483646 h 126"/>
              <a:gd name="T16" fmla="*/ 2147483646 w 132"/>
              <a:gd name="T17" fmla="*/ 2147483646 h 126"/>
              <a:gd name="T18" fmla="*/ 2147483646 w 132"/>
              <a:gd name="T19" fmla="*/ 2147483646 h 126"/>
              <a:gd name="T20" fmla="*/ 2147483646 w 132"/>
              <a:gd name="T21" fmla="*/ 2147483646 h 12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26">
                <a:moveTo>
                  <a:pt x="110" y="126"/>
                </a:moveTo>
                <a:lnTo>
                  <a:pt x="66" y="104"/>
                </a:lnTo>
                <a:lnTo>
                  <a:pt x="28" y="126"/>
                </a:lnTo>
                <a:lnTo>
                  <a:pt x="33" y="82"/>
                </a:lnTo>
                <a:lnTo>
                  <a:pt x="0" y="49"/>
                </a:lnTo>
                <a:lnTo>
                  <a:pt x="44" y="38"/>
                </a:lnTo>
                <a:lnTo>
                  <a:pt x="66" y="0"/>
                </a:lnTo>
                <a:lnTo>
                  <a:pt x="88" y="38"/>
                </a:lnTo>
                <a:lnTo>
                  <a:pt x="132" y="44"/>
                </a:lnTo>
                <a:lnTo>
                  <a:pt x="99" y="82"/>
                </a:lnTo>
                <a:lnTo>
                  <a:pt x="110" y="126"/>
                </a:lnTo>
                <a:close/>
              </a:path>
            </a:pathLst>
          </a:custGeom>
          <a:solidFill>
            <a:srgbClr val="E6B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9" name="Freeform 141"/>
          <p:cNvSpPr/>
          <p:nvPr/>
        </p:nvSpPr>
        <p:spPr bwMode="auto">
          <a:xfrm>
            <a:off x="1270000" y="2003425"/>
            <a:ext cx="219075" cy="209550"/>
          </a:xfrm>
          <a:custGeom>
            <a:avLst/>
            <a:gdLst>
              <a:gd name="T0" fmla="*/ 2147483646 w 138"/>
              <a:gd name="T1" fmla="*/ 2147483646 h 132"/>
              <a:gd name="T2" fmla="*/ 2147483646 w 138"/>
              <a:gd name="T3" fmla="*/ 2147483646 h 132"/>
              <a:gd name="T4" fmla="*/ 2147483646 w 138"/>
              <a:gd name="T5" fmla="*/ 2147483646 h 132"/>
              <a:gd name="T6" fmla="*/ 2147483646 w 138"/>
              <a:gd name="T7" fmla="*/ 2147483646 h 132"/>
              <a:gd name="T8" fmla="*/ 0 w 138"/>
              <a:gd name="T9" fmla="*/ 2147483646 h 132"/>
              <a:gd name="T10" fmla="*/ 2147483646 w 138"/>
              <a:gd name="T11" fmla="*/ 2147483646 h 132"/>
              <a:gd name="T12" fmla="*/ 2147483646 w 138"/>
              <a:gd name="T13" fmla="*/ 0 h 132"/>
              <a:gd name="T14" fmla="*/ 2147483646 w 138"/>
              <a:gd name="T15" fmla="*/ 2147483646 h 132"/>
              <a:gd name="T16" fmla="*/ 2147483646 w 138"/>
              <a:gd name="T17" fmla="*/ 2147483646 h 132"/>
              <a:gd name="T18" fmla="*/ 2147483646 w 138"/>
              <a:gd name="T19" fmla="*/ 2147483646 h 132"/>
              <a:gd name="T20" fmla="*/ 2147483646 w 138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32">
                <a:moveTo>
                  <a:pt x="116" y="132"/>
                </a:moveTo>
                <a:lnTo>
                  <a:pt x="71" y="110"/>
                </a:lnTo>
                <a:lnTo>
                  <a:pt x="27" y="132"/>
                </a:lnTo>
                <a:lnTo>
                  <a:pt x="38" y="82"/>
                </a:lnTo>
                <a:lnTo>
                  <a:pt x="0" y="49"/>
                </a:lnTo>
                <a:lnTo>
                  <a:pt x="49" y="44"/>
                </a:lnTo>
                <a:lnTo>
                  <a:pt x="71" y="0"/>
                </a:lnTo>
                <a:lnTo>
                  <a:pt x="94" y="44"/>
                </a:lnTo>
                <a:lnTo>
                  <a:pt x="138" y="49"/>
                </a:lnTo>
                <a:lnTo>
                  <a:pt x="105" y="82"/>
                </a:lnTo>
                <a:lnTo>
                  <a:pt x="116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0" name="Freeform 142"/>
          <p:cNvSpPr/>
          <p:nvPr/>
        </p:nvSpPr>
        <p:spPr bwMode="auto">
          <a:xfrm>
            <a:off x="1566863" y="200342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49"/>
                </a:lnTo>
                <a:lnTo>
                  <a:pt x="99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1" name="Freeform 143"/>
          <p:cNvSpPr/>
          <p:nvPr/>
        </p:nvSpPr>
        <p:spPr bwMode="auto">
          <a:xfrm>
            <a:off x="1858963" y="200342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49"/>
                </a:lnTo>
                <a:lnTo>
                  <a:pt x="99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" name="Freeform 144"/>
          <p:cNvSpPr/>
          <p:nvPr/>
        </p:nvSpPr>
        <p:spPr bwMode="auto">
          <a:xfrm>
            <a:off x="2147888" y="2003425"/>
            <a:ext cx="217487" cy="209550"/>
          </a:xfrm>
          <a:custGeom>
            <a:avLst/>
            <a:gdLst>
              <a:gd name="T0" fmla="*/ 2147483646 w 137"/>
              <a:gd name="T1" fmla="*/ 2147483646 h 132"/>
              <a:gd name="T2" fmla="*/ 2147483646 w 137"/>
              <a:gd name="T3" fmla="*/ 2147483646 h 132"/>
              <a:gd name="T4" fmla="*/ 2147483646 w 137"/>
              <a:gd name="T5" fmla="*/ 2147483646 h 132"/>
              <a:gd name="T6" fmla="*/ 2147483646 w 137"/>
              <a:gd name="T7" fmla="*/ 2147483646 h 132"/>
              <a:gd name="T8" fmla="*/ 0 w 137"/>
              <a:gd name="T9" fmla="*/ 2147483646 h 132"/>
              <a:gd name="T10" fmla="*/ 2147483646 w 137"/>
              <a:gd name="T11" fmla="*/ 2147483646 h 132"/>
              <a:gd name="T12" fmla="*/ 2147483646 w 137"/>
              <a:gd name="T13" fmla="*/ 0 h 132"/>
              <a:gd name="T14" fmla="*/ 2147483646 w 137"/>
              <a:gd name="T15" fmla="*/ 2147483646 h 132"/>
              <a:gd name="T16" fmla="*/ 2147483646 w 137"/>
              <a:gd name="T17" fmla="*/ 2147483646 h 132"/>
              <a:gd name="T18" fmla="*/ 2147483646 w 137"/>
              <a:gd name="T19" fmla="*/ 2147483646 h 132"/>
              <a:gd name="T20" fmla="*/ 2147483646 w 137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7" h="132">
                <a:moveTo>
                  <a:pt x="110" y="132"/>
                </a:moveTo>
                <a:lnTo>
                  <a:pt x="66" y="110"/>
                </a:lnTo>
                <a:lnTo>
                  <a:pt x="27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7" y="49"/>
                </a:lnTo>
                <a:lnTo>
                  <a:pt x="99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3" name="Freeform 145"/>
          <p:cNvSpPr/>
          <p:nvPr/>
        </p:nvSpPr>
        <p:spPr bwMode="auto">
          <a:xfrm>
            <a:off x="2436813" y="2003425"/>
            <a:ext cx="217487" cy="209550"/>
          </a:xfrm>
          <a:custGeom>
            <a:avLst/>
            <a:gdLst>
              <a:gd name="T0" fmla="*/ 2147483646 w 137"/>
              <a:gd name="T1" fmla="*/ 2147483646 h 132"/>
              <a:gd name="T2" fmla="*/ 2147483646 w 137"/>
              <a:gd name="T3" fmla="*/ 2147483646 h 132"/>
              <a:gd name="T4" fmla="*/ 2147483646 w 137"/>
              <a:gd name="T5" fmla="*/ 2147483646 h 132"/>
              <a:gd name="T6" fmla="*/ 2147483646 w 137"/>
              <a:gd name="T7" fmla="*/ 2147483646 h 132"/>
              <a:gd name="T8" fmla="*/ 0 w 137"/>
              <a:gd name="T9" fmla="*/ 2147483646 h 132"/>
              <a:gd name="T10" fmla="*/ 2147483646 w 137"/>
              <a:gd name="T11" fmla="*/ 2147483646 h 132"/>
              <a:gd name="T12" fmla="*/ 2147483646 w 137"/>
              <a:gd name="T13" fmla="*/ 0 h 132"/>
              <a:gd name="T14" fmla="*/ 2147483646 w 137"/>
              <a:gd name="T15" fmla="*/ 2147483646 h 132"/>
              <a:gd name="T16" fmla="*/ 2147483646 w 137"/>
              <a:gd name="T17" fmla="*/ 2147483646 h 132"/>
              <a:gd name="T18" fmla="*/ 2147483646 w 137"/>
              <a:gd name="T19" fmla="*/ 2147483646 h 132"/>
              <a:gd name="T20" fmla="*/ 2147483646 w 137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7" h="132">
                <a:moveTo>
                  <a:pt x="110" y="132"/>
                </a:moveTo>
                <a:lnTo>
                  <a:pt x="66" y="110"/>
                </a:lnTo>
                <a:lnTo>
                  <a:pt x="27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7" y="49"/>
                </a:lnTo>
                <a:lnTo>
                  <a:pt x="104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4" name="Freeform 146"/>
          <p:cNvSpPr/>
          <p:nvPr/>
        </p:nvSpPr>
        <p:spPr bwMode="auto">
          <a:xfrm>
            <a:off x="2724150" y="2003425"/>
            <a:ext cx="219075" cy="209550"/>
          </a:xfrm>
          <a:custGeom>
            <a:avLst/>
            <a:gdLst>
              <a:gd name="T0" fmla="*/ 2147483646 w 138"/>
              <a:gd name="T1" fmla="*/ 2147483646 h 132"/>
              <a:gd name="T2" fmla="*/ 2147483646 w 138"/>
              <a:gd name="T3" fmla="*/ 2147483646 h 132"/>
              <a:gd name="T4" fmla="*/ 2147483646 w 138"/>
              <a:gd name="T5" fmla="*/ 2147483646 h 132"/>
              <a:gd name="T6" fmla="*/ 2147483646 w 138"/>
              <a:gd name="T7" fmla="*/ 2147483646 h 132"/>
              <a:gd name="T8" fmla="*/ 0 w 138"/>
              <a:gd name="T9" fmla="*/ 2147483646 h 132"/>
              <a:gd name="T10" fmla="*/ 2147483646 w 138"/>
              <a:gd name="T11" fmla="*/ 2147483646 h 132"/>
              <a:gd name="T12" fmla="*/ 2147483646 w 138"/>
              <a:gd name="T13" fmla="*/ 0 h 132"/>
              <a:gd name="T14" fmla="*/ 2147483646 w 138"/>
              <a:gd name="T15" fmla="*/ 2147483646 h 132"/>
              <a:gd name="T16" fmla="*/ 2147483646 w 138"/>
              <a:gd name="T17" fmla="*/ 2147483646 h 132"/>
              <a:gd name="T18" fmla="*/ 2147483646 w 138"/>
              <a:gd name="T19" fmla="*/ 2147483646 h 132"/>
              <a:gd name="T20" fmla="*/ 2147483646 w 138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8" y="49"/>
                </a:lnTo>
                <a:lnTo>
                  <a:pt x="105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5" name="Freeform 147"/>
          <p:cNvSpPr/>
          <p:nvPr/>
        </p:nvSpPr>
        <p:spPr bwMode="auto">
          <a:xfrm>
            <a:off x="1270000" y="1447800"/>
            <a:ext cx="219075" cy="201613"/>
          </a:xfrm>
          <a:custGeom>
            <a:avLst/>
            <a:gdLst>
              <a:gd name="T0" fmla="*/ 2147483646 w 138"/>
              <a:gd name="T1" fmla="*/ 2147483646 h 127"/>
              <a:gd name="T2" fmla="*/ 2147483646 w 138"/>
              <a:gd name="T3" fmla="*/ 2147483646 h 127"/>
              <a:gd name="T4" fmla="*/ 2147483646 w 138"/>
              <a:gd name="T5" fmla="*/ 2147483646 h 127"/>
              <a:gd name="T6" fmla="*/ 2147483646 w 138"/>
              <a:gd name="T7" fmla="*/ 2147483646 h 127"/>
              <a:gd name="T8" fmla="*/ 0 w 138"/>
              <a:gd name="T9" fmla="*/ 2147483646 h 127"/>
              <a:gd name="T10" fmla="*/ 2147483646 w 138"/>
              <a:gd name="T11" fmla="*/ 2147483646 h 127"/>
              <a:gd name="T12" fmla="*/ 2147483646 w 138"/>
              <a:gd name="T13" fmla="*/ 0 h 127"/>
              <a:gd name="T14" fmla="*/ 2147483646 w 138"/>
              <a:gd name="T15" fmla="*/ 2147483646 h 127"/>
              <a:gd name="T16" fmla="*/ 2147483646 w 138"/>
              <a:gd name="T17" fmla="*/ 2147483646 h 127"/>
              <a:gd name="T18" fmla="*/ 2147483646 w 138"/>
              <a:gd name="T19" fmla="*/ 2147483646 h 127"/>
              <a:gd name="T20" fmla="*/ 2147483646 w 138"/>
              <a:gd name="T21" fmla="*/ 2147483646 h 12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27">
                <a:moveTo>
                  <a:pt x="116" y="127"/>
                </a:moveTo>
                <a:lnTo>
                  <a:pt x="71" y="105"/>
                </a:lnTo>
                <a:lnTo>
                  <a:pt x="27" y="127"/>
                </a:lnTo>
                <a:lnTo>
                  <a:pt x="38" y="83"/>
                </a:lnTo>
                <a:lnTo>
                  <a:pt x="0" y="50"/>
                </a:lnTo>
                <a:lnTo>
                  <a:pt x="49" y="39"/>
                </a:lnTo>
                <a:lnTo>
                  <a:pt x="71" y="0"/>
                </a:lnTo>
                <a:lnTo>
                  <a:pt x="94" y="39"/>
                </a:lnTo>
                <a:lnTo>
                  <a:pt x="138" y="44"/>
                </a:lnTo>
                <a:lnTo>
                  <a:pt x="105" y="83"/>
                </a:lnTo>
                <a:lnTo>
                  <a:pt x="116" y="127"/>
                </a:lnTo>
                <a:close/>
              </a:path>
            </a:pathLst>
          </a:custGeom>
          <a:solidFill>
            <a:srgbClr val="7EC23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6" name="Freeform 148"/>
          <p:cNvSpPr/>
          <p:nvPr/>
        </p:nvSpPr>
        <p:spPr bwMode="auto">
          <a:xfrm>
            <a:off x="1566863" y="1447800"/>
            <a:ext cx="209550" cy="201613"/>
          </a:xfrm>
          <a:custGeom>
            <a:avLst/>
            <a:gdLst>
              <a:gd name="T0" fmla="*/ 2147483646 w 132"/>
              <a:gd name="T1" fmla="*/ 2147483646 h 127"/>
              <a:gd name="T2" fmla="*/ 2147483646 w 132"/>
              <a:gd name="T3" fmla="*/ 2147483646 h 127"/>
              <a:gd name="T4" fmla="*/ 2147483646 w 132"/>
              <a:gd name="T5" fmla="*/ 2147483646 h 127"/>
              <a:gd name="T6" fmla="*/ 2147483646 w 132"/>
              <a:gd name="T7" fmla="*/ 2147483646 h 127"/>
              <a:gd name="T8" fmla="*/ 0 w 132"/>
              <a:gd name="T9" fmla="*/ 2147483646 h 127"/>
              <a:gd name="T10" fmla="*/ 2147483646 w 132"/>
              <a:gd name="T11" fmla="*/ 2147483646 h 127"/>
              <a:gd name="T12" fmla="*/ 2147483646 w 132"/>
              <a:gd name="T13" fmla="*/ 0 h 127"/>
              <a:gd name="T14" fmla="*/ 2147483646 w 132"/>
              <a:gd name="T15" fmla="*/ 2147483646 h 127"/>
              <a:gd name="T16" fmla="*/ 2147483646 w 132"/>
              <a:gd name="T17" fmla="*/ 2147483646 h 127"/>
              <a:gd name="T18" fmla="*/ 2147483646 w 132"/>
              <a:gd name="T19" fmla="*/ 2147483646 h 127"/>
              <a:gd name="T20" fmla="*/ 2147483646 w 132"/>
              <a:gd name="T21" fmla="*/ 2147483646 h 12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27">
                <a:moveTo>
                  <a:pt x="110" y="127"/>
                </a:moveTo>
                <a:lnTo>
                  <a:pt x="66" y="105"/>
                </a:lnTo>
                <a:lnTo>
                  <a:pt x="28" y="127"/>
                </a:lnTo>
                <a:lnTo>
                  <a:pt x="33" y="83"/>
                </a:lnTo>
                <a:lnTo>
                  <a:pt x="0" y="50"/>
                </a:lnTo>
                <a:lnTo>
                  <a:pt x="44" y="39"/>
                </a:lnTo>
                <a:lnTo>
                  <a:pt x="66" y="0"/>
                </a:lnTo>
                <a:lnTo>
                  <a:pt x="88" y="39"/>
                </a:lnTo>
                <a:lnTo>
                  <a:pt x="132" y="44"/>
                </a:lnTo>
                <a:lnTo>
                  <a:pt x="99" y="83"/>
                </a:lnTo>
                <a:lnTo>
                  <a:pt x="110" y="127"/>
                </a:lnTo>
                <a:close/>
              </a:path>
            </a:pathLst>
          </a:custGeom>
          <a:solidFill>
            <a:srgbClr val="7EC23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71" name="组合 70"/>
          <p:cNvGrpSpPr/>
          <p:nvPr/>
        </p:nvGrpSpPr>
        <p:grpSpPr bwMode="auto">
          <a:xfrm>
            <a:off x="1276350" y="2951163"/>
            <a:ext cx="3113088" cy="1573212"/>
            <a:chOff x="1275746" y="2950615"/>
            <a:chExt cx="3114055" cy="1573388"/>
          </a:xfrm>
        </p:grpSpPr>
        <p:sp>
          <p:nvSpPr>
            <p:cNvPr id="29" name="矩形 1"/>
            <p:cNvSpPr>
              <a:spLocks noChangeArrowheads="1"/>
            </p:cNvSpPr>
            <p:nvPr/>
          </p:nvSpPr>
          <p:spPr bwMode="auto">
            <a:xfrm>
              <a:off x="1275746" y="3323719"/>
              <a:ext cx="3114055" cy="1200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0535" name="组合 72"/>
            <p:cNvGrpSpPr/>
            <p:nvPr/>
          </p:nvGrpSpPr>
          <p:grpSpPr bwMode="auto">
            <a:xfrm>
              <a:off x="1357301" y="2950615"/>
              <a:ext cx="2954212" cy="361727"/>
              <a:chOff x="1351089" y="2958779"/>
              <a:chExt cx="2954212" cy="361727"/>
            </a:xfrm>
          </p:grpSpPr>
          <p:cxnSp>
            <p:nvCxnSpPr>
              <p:cNvPr id="46" name="直接连接符 45"/>
              <p:cNvCxnSpPr/>
              <p:nvPr/>
            </p:nvCxnSpPr>
            <p:spPr>
              <a:xfrm>
                <a:off x="1350522" y="3320769"/>
                <a:ext cx="295525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537" name="组合 46"/>
              <p:cNvGrpSpPr/>
              <p:nvPr/>
            </p:nvGrpSpPr>
            <p:grpSpPr bwMode="auto">
              <a:xfrm>
                <a:off x="1364569" y="2958779"/>
                <a:ext cx="2076537" cy="322262"/>
                <a:chOff x="957895" y="1031498"/>
                <a:chExt cx="2076537" cy="322262"/>
              </a:xfrm>
            </p:grpSpPr>
            <p:sp>
              <p:nvSpPr>
                <p:cNvPr id="48" name="TextBox 265"/>
                <p:cNvSpPr txBox="1"/>
                <p:nvPr/>
              </p:nvSpPr>
              <p:spPr bwMode="auto">
                <a:xfrm>
                  <a:off x="1143935" y="1031498"/>
                  <a:ext cx="1114771" cy="322298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0539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0540" name="组合 49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52" name="流程图: 决策 166"/>
                  <p:cNvSpPr/>
                  <p:nvPr/>
                </p:nvSpPr>
                <p:spPr>
                  <a:xfrm>
                    <a:off x="945435" y="1125170"/>
                    <a:ext cx="136568" cy="18258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53" name="流程图: 决策 166"/>
                  <p:cNvSpPr/>
                  <p:nvPr/>
                </p:nvSpPr>
                <p:spPr>
                  <a:xfrm>
                    <a:off x="1094707" y="1126758"/>
                    <a:ext cx="90516" cy="1794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51" name="直接连接符 50"/>
                <p:cNvCxnSpPr/>
                <p:nvPr/>
              </p:nvCxnSpPr>
              <p:spPr>
                <a:xfrm>
                  <a:off x="2263470" y="1137872"/>
                  <a:ext cx="0" cy="144479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72" name="组合 71"/>
          <p:cNvGrpSpPr/>
          <p:nvPr/>
        </p:nvGrpSpPr>
        <p:grpSpPr bwMode="auto">
          <a:xfrm>
            <a:off x="4754563" y="2951163"/>
            <a:ext cx="3113087" cy="1271587"/>
            <a:chOff x="4754200" y="2950615"/>
            <a:chExt cx="3114055" cy="1271897"/>
          </a:xfrm>
        </p:grpSpPr>
        <p:sp>
          <p:nvSpPr>
            <p:cNvPr id="30" name="矩形 1"/>
            <p:cNvSpPr>
              <a:spLocks noChangeArrowheads="1"/>
            </p:cNvSpPr>
            <p:nvPr/>
          </p:nvSpPr>
          <p:spPr bwMode="auto">
            <a:xfrm>
              <a:off x="4754200" y="3299950"/>
              <a:ext cx="3114055" cy="92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这里有中国最强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中国最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素材商城，中国最火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技术论坛，中国最好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技能培训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0525" name="组合 68"/>
            <p:cNvGrpSpPr/>
            <p:nvPr/>
          </p:nvGrpSpPr>
          <p:grpSpPr bwMode="auto">
            <a:xfrm>
              <a:off x="4865553" y="2950615"/>
              <a:ext cx="2945738" cy="361727"/>
              <a:chOff x="4859341" y="2958779"/>
              <a:chExt cx="2945738" cy="361727"/>
            </a:xfrm>
          </p:grpSpPr>
          <p:cxnSp>
            <p:nvCxnSpPr>
              <p:cNvPr id="61" name="直接连接符 60"/>
              <p:cNvCxnSpPr/>
              <p:nvPr/>
            </p:nvCxnSpPr>
            <p:spPr>
              <a:xfrm>
                <a:off x="4859148" y="3320817"/>
                <a:ext cx="2945728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527" name="组合 61"/>
              <p:cNvGrpSpPr/>
              <p:nvPr/>
            </p:nvGrpSpPr>
            <p:grpSpPr bwMode="auto">
              <a:xfrm>
                <a:off x="4872821" y="2958779"/>
                <a:ext cx="2076537" cy="322262"/>
                <a:chOff x="957895" y="1031498"/>
                <a:chExt cx="2076537" cy="322262"/>
              </a:xfrm>
            </p:grpSpPr>
            <p:sp>
              <p:nvSpPr>
                <p:cNvPr id="63" name="TextBox 265"/>
                <p:cNvSpPr txBox="1"/>
                <p:nvPr/>
              </p:nvSpPr>
              <p:spPr bwMode="auto">
                <a:xfrm>
                  <a:off x="1144309" y="1031498"/>
                  <a:ext cx="1113183" cy="322340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0529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0530" name="组合 64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67" name="流程图: 决策 166"/>
                  <p:cNvSpPr/>
                  <p:nvPr/>
                </p:nvSpPr>
                <p:spPr>
                  <a:xfrm>
                    <a:off x="945809" y="1125183"/>
                    <a:ext cx="136568" cy="1826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68" name="流程图: 决策 166"/>
                  <p:cNvSpPr/>
                  <p:nvPr/>
                </p:nvSpPr>
                <p:spPr>
                  <a:xfrm>
                    <a:off x="1095081" y="1126771"/>
                    <a:ext cx="90516" cy="17943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66" name="直接连接符 65"/>
                <p:cNvCxnSpPr/>
                <p:nvPr/>
              </p:nvCxnSpPr>
              <p:spPr>
                <a:xfrm>
                  <a:off x="2262257" y="1137886"/>
                  <a:ext cx="0" cy="144498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94" name="组合 93"/>
          <p:cNvGrpSpPr/>
          <p:nvPr/>
        </p:nvGrpSpPr>
        <p:grpSpPr bwMode="auto">
          <a:xfrm>
            <a:off x="6746875" y="1206500"/>
            <a:ext cx="1066800" cy="1527175"/>
            <a:chOff x="6746218" y="1205758"/>
            <a:chExt cx="1067838" cy="1528695"/>
          </a:xfrm>
        </p:grpSpPr>
        <p:grpSp>
          <p:nvGrpSpPr>
            <p:cNvPr id="20520" name="组合 57"/>
            <p:cNvGrpSpPr/>
            <p:nvPr/>
          </p:nvGrpSpPr>
          <p:grpSpPr bwMode="auto">
            <a:xfrm>
              <a:off x="6857184" y="1411233"/>
              <a:ext cx="954107" cy="1323220"/>
              <a:chOff x="6857184" y="1411233"/>
              <a:chExt cx="954107" cy="1323220"/>
            </a:xfrm>
          </p:grpSpPr>
          <p:sp>
            <p:nvSpPr>
              <p:cNvPr id="24" name="TextBox 682"/>
              <p:cNvSpPr txBox="1"/>
              <p:nvPr/>
            </p:nvSpPr>
            <p:spPr>
              <a:xfrm>
                <a:off x="6876520" y="1410750"/>
                <a:ext cx="807234" cy="52280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eaLnBrk="1" hangingPunct="1">
                  <a:defRPr/>
                </a:pPr>
                <a:r>
                  <a:rPr lang="en-US" altLang="zh-CN" sz="28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67%</a:t>
                </a:r>
                <a:endParaRPr lang="zh-CN" altLang="en-US" sz="28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 bwMode="auto">
              <a:xfrm>
                <a:off x="6857451" y="2457953"/>
                <a:ext cx="953426" cy="27650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spc="3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添加标题</a:t>
                </a:r>
                <a:endParaRPr lang="zh-CN" altLang="en-US" sz="12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4" name="空心弧 73"/>
            <p:cNvSpPr/>
            <p:nvPr/>
          </p:nvSpPr>
          <p:spPr>
            <a:xfrm>
              <a:off x="6746218" y="1205758"/>
              <a:ext cx="1067838" cy="1067862"/>
            </a:xfrm>
            <a:prstGeom prst="blockArc">
              <a:avLst>
                <a:gd name="adj1" fmla="val 5671786"/>
                <a:gd name="adj2" fmla="val 21243008"/>
                <a:gd name="adj3" fmla="val 379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组合 94"/>
          <p:cNvGrpSpPr/>
          <p:nvPr/>
        </p:nvGrpSpPr>
        <p:grpSpPr bwMode="auto">
          <a:xfrm>
            <a:off x="5592763" y="1157288"/>
            <a:ext cx="1071562" cy="1571625"/>
            <a:chOff x="5593534" y="1156773"/>
            <a:chExt cx="1071171" cy="1572124"/>
          </a:xfrm>
        </p:grpSpPr>
        <p:grpSp>
          <p:nvGrpSpPr>
            <p:cNvPr id="20516" name="组合 58"/>
            <p:cNvGrpSpPr/>
            <p:nvPr/>
          </p:nvGrpSpPr>
          <p:grpSpPr bwMode="auto">
            <a:xfrm>
              <a:off x="5593534" y="1411233"/>
              <a:ext cx="954107" cy="1317664"/>
              <a:chOff x="5593534" y="1411233"/>
              <a:chExt cx="954107" cy="1317664"/>
            </a:xfrm>
          </p:grpSpPr>
          <p:sp>
            <p:nvSpPr>
              <p:cNvPr id="23" name="TextBox 682"/>
              <p:cNvSpPr txBox="1"/>
              <p:nvPr/>
            </p:nvSpPr>
            <p:spPr>
              <a:xfrm>
                <a:off x="5726835" y="1410854"/>
                <a:ext cx="806156" cy="524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eaLnBrk="1" hangingPunct="1">
                  <a:defRPr/>
                </a:pPr>
                <a:r>
                  <a:rPr lang="en-US" altLang="zh-CN" sz="28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43%</a:t>
                </a:r>
                <a:endParaRPr lang="zh-CN" altLang="en-US" sz="28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 bwMode="auto">
              <a:xfrm>
                <a:off x="5593534" y="2452584"/>
                <a:ext cx="953739" cy="27631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1400" spc="300">
                    <a:solidFill>
                      <a:srgbClr val="EBAC0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pPr eaLnBrk="1" hangingPunct="1">
                  <a:defRPr/>
                </a:pPr>
                <a:r>
                  <a:rPr lang="zh-CN" alt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添加标题</a:t>
                </a:r>
                <a:endParaRPr lang="zh-CN" alt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sp>
          <p:nvSpPr>
            <p:cNvPr id="75" name="空心弧 74"/>
            <p:cNvSpPr/>
            <p:nvPr/>
          </p:nvSpPr>
          <p:spPr>
            <a:xfrm rot="15302194">
              <a:off x="5597138" y="1156343"/>
              <a:ext cx="1067139" cy="1067997"/>
            </a:xfrm>
            <a:prstGeom prst="blockArc">
              <a:avLst>
                <a:gd name="adj1" fmla="val 10728363"/>
                <a:gd name="adj2" fmla="val 21243008"/>
                <a:gd name="adj3" fmla="val 3798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6" name="组合 95"/>
          <p:cNvGrpSpPr/>
          <p:nvPr/>
        </p:nvGrpSpPr>
        <p:grpSpPr bwMode="auto">
          <a:xfrm>
            <a:off x="4316413" y="1189038"/>
            <a:ext cx="1066800" cy="1544637"/>
            <a:chOff x="4315667" y="1189013"/>
            <a:chExt cx="1067838" cy="1545439"/>
          </a:xfrm>
        </p:grpSpPr>
        <p:grpSp>
          <p:nvGrpSpPr>
            <p:cNvPr id="20512" name="组合 59"/>
            <p:cNvGrpSpPr/>
            <p:nvPr/>
          </p:nvGrpSpPr>
          <p:grpSpPr bwMode="auto">
            <a:xfrm>
              <a:off x="4401980" y="1411233"/>
              <a:ext cx="954107" cy="1323219"/>
              <a:chOff x="4401980" y="1411233"/>
              <a:chExt cx="954107" cy="1323219"/>
            </a:xfrm>
          </p:grpSpPr>
          <p:sp>
            <p:nvSpPr>
              <p:cNvPr id="22" name="TextBox 682"/>
              <p:cNvSpPr txBox="1"/>
              <p:nvPr/>
            </p:nvSpPr>
            <p:spPr>
              <a:xfrm>
                <a:off x="4445969" y="1411378"/>
                <a:ext cx="807234" cy="522558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eaLnBrk="1" hangingPunct="1">
                  <a:defRPr/>
                </a:pPr>
                <a:r>
                  <a:rPr lang="en-US" altLang="zh-CN" sz="28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19%</a:t>
                </a:r>
                <a:endParaRPr lang="zh-CN" altLang="en-US" sz="28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 bwMode="auto">
              <a:xfrm>
                <a:off x="4401476" y="2458084"/>
                <a:ext cx="955015" cy="276368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1200" spc="300">
                    <a:solidFill>
                      <a:srgbClr val="F8300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添加标题</a:t>
                </a:r>
                <a:endPara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sp>
          <p:nvSpPr>
            <p:cNvPr id="76" name="空心弧 75"/>
            <p:cNvSpPr/>
            <p:nvPr/>
          </p:nvSpPr>
          <p:spPr>
            <a:xfrm rot="11207433">
              <a:off x="4315667" y="1189013"/>
              <a:ext cx="1067838" cy="1067354"/>
            </a:xfrm>
            <a:prstGeom prst="blockArc">
              <a:avLst>
                <a:gd name="adj1" fmla="val 14537404"/>
                <a:gd name="adj2" fmla="val 21243008"/>
                <a:gd name="adj3" fmla="val 3798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7" name="组合 96"/>
          <p:cNvGrpSpPr/>
          <p:nvPr/>
        </p:nvGrpSpPr>
        <p:grpSpPr bwMode="auto">
          <a:xfrm>
            <a:off x="3094038" y="1138238"/>
            <a:ext cx="1068387" cy="1595437"/>
            <a:chOff x="3094450" y="1138924"/>
            <a:chExt cx="1067838" cy="1595529"/>
          </a:xfrm>
        </p:grpSpPr>
        <p:grpSp>
          <p:nvGrpSpPr>
            <p:cNvPr id="20508" name="组合 69"/>
            <p:cNvGrpSpPr/>
            <p:nvPr/>
          </p:nvGrpSpPr>
          <p:grpSpPr bwMode="auto">
            <a:xfrm>
              <a:off x="3143897" y="1411233"/>
              <a:ext cx="954107" cy="1323220"/>
              <a:chOff x="3143897" y="1411233"/>
              <a:chExt cx="954107" cy="1323220"/>
            </a:xfrm>
          </p:grpSpPr>
          <p:sp>
            <p:nvSpPr>
              <p:cNvPr id="21" name="TextBox 682"/>
              <p:cNvSpPr txBox="1"/>
              <p:nvPr/>
            </p:nvSpPr>
            <p:spPr>
              <a:xfrm>
                <a:off x="3253119" y="1411990"/>
                <a:ext cx="806035" cy="52231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eaLnBrk="1" hangingPunct="1">
                  <a:defRPr/>
                </a:pPr>
                <a:r>
                  <a:rPr lang="en-US" altLang="zh-CN" sz="28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52%</a:t>
                </a:r>
                <a:endParaRPr lang="zh-CN" altLang="en-US" sz="28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 bwMode="auto">
              <a:xfrm>
                <a:off x="3143637" y="2458212"/>
                <a:ext cx="953597" cy="2762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1200" spc="300">
                    <a:solidFill>
                      <a:srgbClr val="28484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添加标题</a:t>
                </a:r>
                <a:endPara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sp>
          <p:nvSpPr>
            <p:cNvPr id="77" name="空心弧 76"/>
            <p:cNvSpPr/>
            <p:nvPr/>
          </p:nvSpPr>
          <p:spPr>
            <a:xfrm rot="5962615">
              <a:off x="3094145" y="1139229"/>
              <a:ext cx="1068449" cy="1067838"/>
            </a:xfrm>
            <a:prstGeom prst="blockArc">
              <a:avLst>
                <a:gd name="adj1" fmla="val 9829458"/>
                <a:gd name="adj2" fmla="val 21243008"/>
                <a:gd name="adj3" fmla="val 3798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80" name="Freeform 136"/>
          <p:cNvSpPr/>
          <p:nvPr/>
        </p:nvSpPr>
        <p:spPr bwMode="auto">
          <a:xfrm>
            <a:off x="2147888" y="119697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3"/>
                </a:lnTo>
                <a:lnTo>
                  <a:pt x="0" y="50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50"/>
                </a:lnTo>
                <a:lnTo>
                  <a:pt x="99" y="83"/>
                </a:lnTo>
                <a:lnTo>
                  <a:pt x="110" y="132"/>
                </a:lnTo>
                <a:close/>
              </a:path>
            </a:pathLst>
          </a:custGeom>
          <a:solidFill>
            <a:srgbClr val="0091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3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3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3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3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42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6" name="组合 87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89" name="任意多边形 88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0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1507" name="组合 9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92" name="任意多边形 9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1566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508" name="组合 96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98" name="任意多边形 97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1564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509" name="组合 99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01" name="任意多边形 100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1562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510" name="组合 102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04" name="任意多边形 103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1560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1511" name="组合 77"/>
          <p:cNvGrpSpPr/>
          <p:nvPr/>
        </p:nvGrpSpPr>
        <p:grpSpPr bwMode="auto">
          <a:xfrm>
            <a:off x="2436813" y="1579563"/>
            <a:ext cx="449262" cy="395287"/>
            <a:chOff x="2627784" y="987574"/>
            <a:chExt cx="408310" cy="396044"/>
          </a:xfrm>
        </p:grpSpPr>
        <p:sp>
          <p:nvSpPr>
            <p:cNvPr id="79" name="圆角矩形 11"/>
            <p:cNvSpPr/>
            <p:nvPr/>
          </p:nvSpPr>
          <p:spPr>
            <a:xfrm>
              <a:off x="2627784" y="98757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1558" name="Freeform 31"/>
            <p:cNvSpPr>
              <a:spLocks noEditPoints="1"/>
            </p:cNvSpPr>
            <p:nvPr/>
          </p:nvSpPr>
          <p:spPr bwMode="auto">
            <a:xfrm>
              <a:off x="2744275" y="1108189"/>
              <a:ext cx="175328" cy="154814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1512" name="组合 80"/>
          <p:cNvGrpSpPr/>
          <p:nvPr/>
        </p:nvGrpSpPr>
        <p:grpSpPr bwMode="auto">
          <a:xfrm>
            <a:off x="2936875" y="1579563"/>
            <a:ext cx="3698875" cy="395287"/>
            <a:chOff x="3081814" y="987574"/>
            <a:chExt cx="3362395" cy="396044"/>
          </a:xfrm>
        </p:grpSpPr>
        <p:sp>
          <p:nvSpPr>
            <p:cNvPr id="82" name="圆角矩形 11"/>
            <p:cNvSpPr/>
            <p:nvPr/>
          </p:nvSpPr>
          <p:spPr>
            <a:xfrm>
              <a:off x="3081814" y="98757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3" name="矩形 82"/>
            <p:cNvSpPr/>
            <p:nvPr/>
          </p:nvSpPr>
          <p:spPr>
            <a:xfrm>
              <a:off x="3132323" y="1001888"/>
              <a:ext cx="3239732" cy="3594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21551" name="TextBox 10"/>
            <p:cNvSpPr txBox="1">
              <a:spLocks noChangeArrowheads="1"/>
            </p:cNvSpPr>
            <p:nvPr/>
          </p:nvSpPr>
          <p:spPr bwMode="auto">
            <a:xfrm>
              <a:off x="3383895" y="99754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2" name="矩形 91"/>
            <p:cNvSpPr>
              <a:spLocks noChangeArrowheads="1"/>
            </p:cNvSpPr>
            <p:nvPr/>
          </p:nvSpPr>
          <p:spPr bwMode="auto">
            <a:xfrm>
              <a:off x="4854826" y="1075799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1553" name="组合 8"/>
            <p:cNvGrpSpPr/>
            <p:nvPr/>
          </p:nvGrpSpPr>
          <p:grpSpPr bwMode="auto">
            <a:xfrm>
              <a:off x="6134630" y="1072343"/>
              <a:ext cx="209039" cy="209039"/>
              <a:chOff x="2719746" y="1662559"/>
              <a:chExt cx="190035" cy="190035"/>
            </a:xfrm>
          </p:grpSpPr>
          <p:sp>
            <p:nvSpPr>
              <p:cNvPr id="88" name="椭圆 87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91" name="燕尾形 90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87" name="直接连接符 86"/>
            <p:cNvCxnSpPr/>
            <p:nvPr/>
          </p:nvCxnSpPr>
          <p:spPr>
            <a:xfrm>
              <a:off x="4702402" y="1113226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3" name="组合 92"/>
          <p:cNvGrpSpPr/>
          <p:nvPr/>
        </p:nvGrpSpPr>
        <p:grpSpPr bwMode="auto">
          <a:xfrm>
            <a:off x="2936875" y="2103438"/>
            <a:ext cx="3698875" cy="395287"/>
            <a:chOff x="3081814" y="1491630"/>
            <a:chExt cx="3362395" cy="396044"/>
          </a:xfrm>
        </p:grpSpPr>
        <p:sp>
          <p:nvSpPr>
            <p:cNvPr id="94" name="圆角矩形 11"/>
            <p:cNvSpPr/>
            <p:nvPr/>
          </p:nvSpPr>
          <p:spPr>
            <a:xfrm>
              <a:off x="3081814" y="1491630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5" name="矩形 94"/>
            <p:cNvSpPr/>
            <p:nvPr/>
          </p:nvSpPr>
          <p:spPr>
            <a:xfrm>
              <a:off x="3132323" y="1505944"/>
              <a:ext cx="3239732" cy="359462"/>
            </a:xfrm>
            <a:prstGeom prst="rect">
              <a:avLst/>
            </a:prstGeom>
            <a:gradFill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21543" name="TextBox 10"/>
            <p:cNvSpPr txBox="1">
              <a:spLocks noChangeArrowheads="1"/>
            </p:cNvSpPr>
            <p:nvPr/>
          </p:nvSpPr>
          <p:spPr bwMode="auto">
            <a:xfrm>
              <a:off x="3383895" y="1511126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4" name="矩形 91"/>
            <p:cNvSpPr>
              <a:spLocks noChangeArrowheads="1"/>
            </p:cNvSpPr>
            <p:nvPr/>
          </p:nvSpPr>
          <p:spPr bwMode="auto">
            <a:xfrm>
              <a:off x="4854826" y="1579855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1545" name="组合 70"/>
            <p:cNvGrpSpPr/>
            <p:nvPr/>
          </p:nvGrpSpPr>
          <p:grpSpPr bwMode="auto">
            <a:xfrm>
              <a:off x="6134630" y="1576399"/>
              <a:ext cx="209039" cy="209039"/>
              <a:chOff x="2719746" y="1662559"/>
              <a:chExt cx="190035" cy="190035"/>
            </a:xfrm>
          </p:grpSpPr>
          <p:sp>
            <p:nvSpPr>
              <p:cNvPr id="102" name="椭圆 101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03" name="燕尾形 102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0" name="直接连接符 99"/>
            <p:cNvCxnSpPr/>
            <p:nvPr/>
          </p:nvCxnSpPr>
          <p:spPr>
            <a:xfrm>
              <a:off x="4702402" y="1617282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4" name="组合 104"/>
          <p:cNvGrpSpPr/>
          <p:nvPr/>
        </p:nvGrpSpPr>
        <p:grpSpPr bwMode="auto">
          <a:xfrm>
            <a:off x="2436813" y="2103438"/>
            <a:ext cx="449262" cy="395287"/>
            <a:chOff x="2627784" y="1491630"/>
            <a:chExt cx="408310" cy="396044"/>
          </a:xfrm>
        </p:grpSpPr>
        <p:sp>
          <p:nvSpPr>
            <p:cNvPr id="106" name="圆角矩形 11"/>
            <p:cNvSpPr/>
            <p:nvPr/>
          </p:nvSpPr>
          <p:spPr>
            <a:xfrm>
              <a:off x="2627784" y="1491630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08" name="组合 107"/>
            <p:cNvGrpSpPr/>
            <p:nvPr/>
          </p:nvGrpSpPr>
          <p:grpSpPr>
            <a:xfrm>
              <a:off x="2734196" y="1603181"/>
              <a:ext cx="195486" cy="172943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109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12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21515" name="组合 112"/>
          <p:cNvGrpSpPr/>
          <p:nvPr/>
        </p:nvGrpSpPr>
        <p:grpSpPr bwMode="auto">
          <a:xfrm>
            <a:off x="2936875" y="2625725"/>
            <a:ext cx="3698875" cy="396875"/>
            <a:chOff x="3081814" y="1952698"/>
            <a:chExt cx="3362395" cy="396044"/>
          </a:xfrm>
        </p:grpSpPr>
        <p:sp>
          <p:nvSpPr>
            <p:cNvPr id="114" name="圆角矩形 11"/>
            <p:cNvSpPr/>
            <p:nvPr/>
          </p:nvSpPr>
          <p:spPr>
            <a:xfrm>
              <a:off x="3081814" y="1952698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18" name="矩形 117"/>
            <p:cNvSpPr/>
            <p:nvPr/>
          </p:nvSpPr>
          <p:spPr>
            <a:xfrm>
              <a:off x="3132323" y="1966956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21533" name="TextBox 10"/>
            <p:cNvSpPr txBox="1">
              <a:spLocks noChangeArrowheads="1"/>
            </p:cNvSpPr>
            <p:nvPr/>
          </p:nvSpPr>
          <p:spPr bwMode="auto">
            <a:xfrm>
              <a:off x="3383895" y="1981719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4" name="矩形 91"/>
            <p:cNvSpPr>
              <a:spLocks noChangeArrowheads="1"/>
            </p:cNvSpPr>
            <p:nvPr/>
          </p:nvSpPr>
          <p:spPr bwMode="auto">
            <a:xfrm>
              <a:off x="4854826" y="2040923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1535" name="组合 81"/>
            <p:cNvGrpSpPr/>
            <p:nvPr/>
          </p:nvGrpSpPr>
          <p:grpSpPr bwMode="auto">
            <a:xfrm>
              <a:off x="6134630" y="2037467"/>
              <a:ext cx="209039" cy="209039"/>
              <a:chOff x="2719746" y="1662559"/>
              <a:chExt cx="190035" cy="190035"/>
            </a:xfrm>
          </p:grpSpPr>
          <p:sp>
            <p:nvSpPr>
              <p:cNvPr id="123" name="椭圆 122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24" name="燕尾形 123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22" name="直接连接符 121"/>
            <p:cNvCxnSpPr/>
            <p:nvPr/>
          </p:nvCxnSpPr>
          <p:spPr>
            <a:xfrm>
              <a:off x="4702402" y="2077848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6" name="组合 124"/>
          <p:cNvGrpSpPr/>
          <p:nvPr/>
        </p:nvGrpSpPr>
        <p:grpSpPr bwMode="auto">
          <a:xfrm>
            <a:off x="2436813" y="2625725"/>
            <a:ext cx="449262" cy="396875"/>
            <a:chOff x="2627784" y="1952698"/>
            <a:chExt cx="408310" cy="396044"/>
          </a:xfrm>
        </p:grpSpPr>
        <p:sp>
          <p:nvSpPr>
            <p:cNvPr id="126" name="圆角矩形 11"/>
            <p:cNvSpPr/>
            <p:nvPr/>
          </p:nvSpPr>
          <p:spPr>
            <a:xfrm>
              <a:off x="2627784" y="1952698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27" name="组合 126"/>
            <p:cNvGrpSpPr/>
            <p:nvPr/>
          </p:nvGrpSpPr>
          <p:grpSpPr>
            <a:xfrm>
              <a:off x="2728390" y="2073313"/>
              <a:ext cx="207098" cy="154814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128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29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30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31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32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37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41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53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58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21517" name="组合 161"/>
          <p:cNvGrpSpPr/>
          <p:nvPr/>
        </p:nvGrpSpPr>
        <p:grpSpPr bwMode="auto">
          <a:xfrm>
            <a:off x="2936875" y="3149600"/>
            <a:ext cx="3698875" cy="396875"/>
            <a:chOff x="3081814" y="2456754"/>
            <a:chExt cx="3362395" cy="396044"/>
          </a:xfrm>
        </p:grpSpPr>
        <p:sp>
          <p:nvSpPr>
            <p:cNvPr id="167" name="圆角矩形 11"/>
            <p:cNvSpPr/>
            <p:nvPr/>
          </p:nvSpPr>
          <p:spPr>
            <a:xfrm>
              <a:off x="3081814" y="245675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68" name="矩形 167"/>
            <p:cNvSpPr/>
            <p:nvPr/>
          </p:nvSpPr>
          <p:spPr>
            <a:xfrm>
              <a:off x="3132323" y="2471012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21523" name="TextBox 10"/>
            <p:cNvSpPr txBox="1">
              <a:spLocks noChangeArrowheads="1"/>
            </p:cNvSpPr>
            <p:nvPr/>
          </p:nvSpPr>
          <p:spPr bwMode="auto">
            <a:xfrm>
              <a:off x="3383895" y="248577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4" name="矩形 91"/>
            <p:cNvSpPr>
              <a:spLocks noChangeArrowheads="1"/>
            </p:cNvSpPr>
            <p:nvPr/>
          </p:nvSpPr>
          <p:spPr bwMode="auto">
            <a:xfrm>
              <a:off x="4854826" y="2544979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1525" name="组合 90"/>
            <p:cNvGrpSpPr/>
            <p:nvPr/>
          </p:nvGrpSpPr>
          <p:grpSpPr bwMode="auto">
            <a:xfrm>
              <a:off x="6134630" y="2541523"/>
              <a:ext cx="209039" cy="209039"/>
              <a:chOff x="2719746" y="1662559"/>
              <a:chExt cx="190035" cy="190035"/>
            </a:xfrm>
          </p:grpSpPr>
          <p:sp>
            <p:nvSpPr>
              <p:cNvPr id="184" name="椭圆 183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85" name="燕尾形 184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83" name="直接连接符 182"/>
            <p:cNvCxnSpPr/>
            <p:nvPr/>
          </p:nvCxnSpPr>
          <p:spPr>
            <a:xfrm>
              <a:off x="4702402" y="2581904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8" name="组合 185"/>
          <p:cNvGrpSpPr/>
          <p:nvPr/>
        </p:nvGrpSpPr>
        <p:grpSpPr bwMode="auto">
          <a:xfrm>
            <a:off x="2436813" y="3149600"/>
            <a:ext cx="449262" cy="396875"/>
            <a:chOff x="2627784" y="2456754"/>
            <a:chExt cx="408310" cy="396044"/>
          </a:xfrm>
        </p:grpSpPr>
        <p:sp>
          <p:nvSpPr>
            <p:cNvPr id="187" name="圆角矩形 11"/>
            <p:cNvSpPr/>
            <p:nvPr/>
          </p:nvSpPr>
          <p:spPr>
            <a:xfrm>
              <a:off x="2627784" y="245675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88" name="组合 187"/>
            <p:cNvGrpSpPr/>
            <p:nvPr/>
          </p:nvGrpSpPr>
          <p:grpSpPr>
            <a:xfrm>
              <a:off x="2732885" y="2568901"/>
              <a:ext cx="198109" cy="171751"/>
              <a:chOff x="4973638" y="2713038"/>
              <a:chExt cx="239712" cy="228601"/>
            </a:xfrm>
            <a:solidFill>
              <a:schemeClr val="bg1"/>
            </a:solidFill>
          </p:grpSpPr>
          <p:sp>
            <p:nvSpPr>
              <p:cNvPr id="189" name="Freeform 26"/>
              <p:cNvSpPr/>
              <p:nvPr/>
            </p:nvSpPr>
            <p:spPr bwMode="auto">
              <a:xfrm>
                <a:off x="4973638" y="2713038"/>
                <a:ext cx="142875" cy="228600"/>
              </a:xfrm>
              <a:custGeom>
                <a:avLst/>
                <a:gdLst>
                  <a:gd name="T0" fmla="*/ 31 w 38"/>
                  <a:gd name="T1" fmla="*/ 55 h 61"/>
                  <a:gd name="T2" fmla="*/ 31 w 38"/>
                  <a:gd name="T3" fmla="*/ 55 h 61"/>
                  <a:gd name="T4" fmla="*/ 30 w 38"/>
                  <a:gd name="T5" fmla="*/ 54 h 61"/>
                  <a:gd name="T6" fmla="*/ 30 w 38"/>
                  <a:gd name="T7" fmla="*/ 50 h 61"/>
                  <a:gd name="T8" fmla="*/ 38 w 38"/>
                  <a:gd name="T9" fmla="*/ 33 h 61"/>
                  <a:gd name="T10" fmla="*/ 28 w 38"/>
                  <a:gd name="T11" fmla="*/ 24 h 61"/>
                  <a:gd name="T12" fmla="*/ 25 w 38"/>
                  <a:gd name="T13" fmla="*/ 22 h 61"/>
                  <a:gd name="T14" fmla="*/ 27 w 38"/>
                  <a:gd name="T15" fmla="*/ 21 h 61"/>
                  <a:gd name="T16" fmla="*/ 33 w 38"/>
                  <a:gd name="T17" fmla="*/ 11 h 61"/>
                  <a:gd name="T18" fmla="*/ 21 w 38"/>
                  <a:gd name="T19" fmla="*/ 0 h 61"/>
                  <a:gd name="T20" fmla="*/ 8 w 38"/>
                  <a:gd name="T21" fmla="*/ 11 h 61"/>
                  <a:gd name="T22" fmla="*/ 14 w 38"/>
                  <a:gd name="T23" fmla="*/ 21 h 61"/>
                  <a:gd name="T24" fmla="*/ 17 w 38"/>
                  <a:gd name="T25" fmla="*/ 22 h 61"/>
                  <a:gd name="T26" fmla="*/ 14 w 38"/>
                  <a:gd name="T27" fmla="*/ 24 h 61"/>
                  <a:gd name="T28" fmla="*/ 0 w 38"/>
                  <a:gd name="T29" fmla="*/ 46 h 61"/>
                  <a:gd name="T30" fmla="*/ 0 w 38"/>
                  <a:gd name="T31" fmla="*/ 51 h 61"/>
                  <a:gd name="T32" fmla="*/ 21 w 38"/>
                  <a:gd name="T33" fmla="*/ 61 h 61"/>
                  <a:gd name="T34" fmla="*/ 33 w 38"/>
                  <a:gd name="T35" fmla="*/ 58 h 61"/>
                  <a:gd name="T36" fmla="*/ 31 w 38"/>
                  <a:gd name="T37" fmla="*/ 5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61">
                    <a:moveTo>
                      <a:pt x="31" y="55"/>
                    </a:moveTo>
                    <a:cubicBezTo>
                      <a:pt x="31" y="55"/>
                      <a:pt x="31" y="55"/>
                      <a:pt x="31" y="55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3"/>
                      <a:pt x="30" y="52"/>
                      <a:pt x="30" y="50"/>
                    </a:cubicBezTo>
                    <a:cubicBezTo>
                      <a:pt x="30" y="43"/>
                      <a:pt x="33" y="37"/>
                      <a:pt x="38" y="33"/>
                    </a:cubicBezTo>
                    <a:cubicBezTo>
                      <a:pt x="36" y="29"/>
                      <a:pt x="32" y="25"/>
                      <a:pt x="28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31" y="19"/>
                      <a:pt x="33" y="15"/>
                      <a:pt x="33" y="11"/>
                    </a:cubicBezTo>
                    <a:cubicBezTo>
                      <a:pt x="33" y="5"/>
                      <a:pt x="28" y="0"/>
                      <a:pt x="21" y="0"/>
                    </a:cubicBezTo>
                    <a:cubicBezTo>
                      <a:pt x="14" y="0"/>
                      <a:pt x="8" y="5"/>
                      <a:pt x="8" y="11"/>
                    </a:cubicBezTo>
                    <a:cubicBezTo>
                      <a:pt x="8" y="15"/>
                      <a:pt x="10" y="19"/>
                      <a:pt x="14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6" y="27"/>
                      <a:pt x="0" y="36"/>
                      <a:pt x="0" y="46"/>
                    </a:cubicBezTo>
                    <a:cubicBezTo>
                      <a:pt x="0" y="48"/>
                      <a:pt x="0" y="49"/>
                      <a:pt x="0" y="51"/>
                    </a:cubicBezTo>
                    <a:cubicBezTo>
                      <a:pt x="5" y="57"/>
                      <a:pt x="12" y="61"/>
                      <a:pt x="21" y="61"/>
                    </a:cubicBezTo>
                    <a:cubicBezTo>
                      <a:pt x="25" y="61"/>
                      <a:pt x="29" y="60"/>
                      <a:pt x="33" y="58"/>
                    </a:cubicBezTo>
                    <a:cubicBezTo>
                      <a:pt x="32" y="57"/>
                      <a:pt x="31" y="56"/>
                      <a:pt x="3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90" name="Freeform 27"/>
              <p:cNvSpPr/>
              <p:nvPr/>
            </p:nvSpPr>
            <p:spPr bwMode="auto">
              <a:xfrm>
                <a:off x="5097463" y="2768601"/>
                <a:ext cx="115887" cy="173038"/>
              </a:xfrm>
              <a:custGeom>
                <a:avLst/>
                <a:gdLst>
                  <a:gd name="T0" fmla="*/ 21 w 31"/>
                  <a:gd name="T1" fmla="*/ 18 h 46"/>
                  <a:gd name="T2" fmla="*/ 18 w 31"/>
                  <a:gd name="T3" fmla="*/ 17 h 46"/>
                  <a:gd name="T4" fmla="*/ 21 w 31"/>
                  <a:gd name="T5" fmla="*/ 15 h 46"/>
                  <a:gd name="T6" fmla="*/ 25 w 31"/>
                  <a:gd name="T7" fmla="*/ 9 h 46"/>
                  <a:gd name="T8" fmla="*/ 16 w 31"/>
                  <a:gd name="T9" fmla="*/ 0 h 46"/>
                  <a:gd name="T10" fmla="*/ 7 w 31"/>
                  <a:gd name="T11" fmla="*/ 9 h 46"/>
                  <a:gd name="T12" fmla="*/ 11 w 31"/>
                  <a:gd name="T13" fmla="*/ 15 h 46"/>
                  <a:gd name="T14" fmla="*/ 14 w 31"/>
                  <a:gd name="T15" fmla="*/ 17 h 46"/>
                  <a:gd name="T16" fmla="*/ 11 w 31"/>
                  <a:gd name="T17" fmla="*/ 18 h 46"/>
                  <a:gd name="T18" fmla="*/ 9 w 31"/>
                  <a:gd name="T19" fmla="*/ 19 h 46"/>
                  <a:gd name="T20" fmla="*/ 8 w 31"/>
                  <a:gd name="T21" fmla="*/ 20 h 46"/>
                  <a:gd name="T22" fmla="*/ 7 w 31"/>
                  <a:gd name="T23" fmla="*/ 21 h 46"/>
                  <a:gd name="T24" fmla="*/ 0 w 31"/>
                  <a:gd name="T25" fmla="*/ 35 h 46"/>
                  <a:gd name="T26" fmla="*/ 1 w 31"/>
                  <a:gd name="T27" fmla="*/ 38 h 46"/>
                  <a:gd name="T28" fmla="*/ 3 w 31"/>
                  <a:gd name="T29" fmla="*/ 41 h 46"/>
                  <a:gd name="T30" fmla="*/ 4 w 31"/>
                  <a:gd name="T31" fmla="*/ 42 h 46"/>
                  <a:gd name="T32" fmla="*/ 6 w 31"/>
                  <a:gd name="T33" fmla="*/ 43 h 46"/>
                  <a:gd name="T34" fmla="*/ 16 w 31"/>
                  <a:gd name="T35" fmla="*/ 46 h 46"/>
                  <a:gd name="T36" fmla="*/ 31 w 31"/>
                  <a:gd name="T37" fmla="*/ 38 h 46"/>
                  <a:gd name="T38" fmla="*/ 31 w 31"/>
                  <a:gd name="T39" fmla="*/ 35 h 46"/>
                  <a:gd name="T40" fmla="*/ 21 w 31"/>
                  <a:gd name="T41" fmla="*/ 1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46">
                    <a:moveTo>
                      <a:pt x="21" y="18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3" y="14"/>
                      <a:pt x="25" y="11"/>
                      <a:pt x="25" y="9"/>
                    </a:cubicBezTo>
                    <a:cubicBezTo>
                      <a:pt x="25" y="4"/>
                      <a:pt x="21" y="0"/>
                      <a:pt x="16" y="0"/>
                    </a:cubicBezTo>
                    <a:cubicBezTo>
                      <a:pt x="11" y="0"/>
                      <a:pt x="7" y="4"/>
                      <a:pt x="7" y="9"/>
                    </a:cubicBezTo>
                    <a:cubicBezTo>
                      <a:pt x="7" y="11"/>
                      <a:pt x="8" y="14"/>
                      <a:pt x="11" y="15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0" y="19"/>
                      <a:pt x="10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8" y="20"/>
                      <a:pt x="7" y="21"/>
                      <a:pt x="7" y="21"/>
                    </a:cubicBezTo>
                    <a:cubicBezTo>
                      <a:pt x="3" y="24"/>
                      <a:pt x="0" y="29"/>
                      <a:pt x="0" y="35"/>
                    </a:cubicBezTo>
                    <a:cubicBezTo>
                      <a:pt x="0" y="36"/>
                      <a:pt x="1" y="37"/>
                      <a:pt x="1" y="38"/>
                    </a:cubicBezTo>
                    <a:cubicBezTo>
                      <a:pt x="1" y="39"/>
                      <a:pt x="2" y="40"/>
                      <a:pt x="3" y="41"/>
                    </a:cubicBezTo>
                    <a:cubicBezTo>
                      <a:pt x="3" y="41"/>
                      <a:pt x="4" y="42"/>
                      <a:pt x="4" y="42"/>
                    </a:cubicBezTo>
                    <a:cubicBezTo>
                      <a:pt x="5" y="42"/>
                      <a:pt x="5" y="43"/>
                      <a:pt x="6" y="43"/>
                    </a:cubicBezTo>
                    <a:cubicBezTo>
                      <a:pt x="9" y="45"/>
                      <a:pt x="12" y="46"/>
                      <a:pt x="16" y="46"/>
                    </a:cubicBezTo>
                    <a:cubicBezTo>
                      <a:pt x="22" y="46"/>
                      <a:pt x="27" y="43"/>
                      <a:pt x="31" y="38"/>
                    </a:cubicBezTo>
                    <a:cubicBezTo>
                      <a:pt x="31" y="37"/>
                      <a:pt x="31" y="36"/>
                      <a:pt x="31" y="35"/>
                    </a:cubicBezTo>
                    <a:cubicBezTo>
                      <a:pt x="31" y="27"/>
                      <a:pt x="27" y="21"/>
                      <a:pt x="2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 hidden="1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610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60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606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组合 1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" name="组合 22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4" name="任意多边形 23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" name="组合 25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7" name="任意多边形 26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8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" name="组合 28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30" name="任意多边形 29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598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" name="组合 37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39" name="任意多边形 38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0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1" name="组合 40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42" name="任意多边形 41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3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4" name="组合 43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2591" name="矩形 44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任意多边形 45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47" name="组合 46"/>
          <p:cNvGrpSpPr/>
          <p:nvPr/>
        </p:nvGrpSpPr>
        <p:grpSpPr bwMode="auto">
          <a:xfrm>
            <a:off x="3973513" y="15875"/>
            <a:ext cx="1214437" cy="295275"/>
            <a:chOff x="2724938" y="16303"/>
            <a:chExt cx="1213794" cy="294898"/>
          </a:xfrm>
        </p:grpSpPr>
        <p:sp>
          <p:nvSpPr>
            <p:cNvPr id="48" name="任意多边形 47"/>
            <p:cNvSpPr/>
            <p:nvPr/>
          </p:nvSpPr>
          <p:spPr>
            <a:xfrm rot="5400000">
              <a:off x="3175660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590" name="矩形 91"/>
            <p:cNvSpPr>
              <a:spLocks noChangeArrowheads="1"/>
            </p:cNvSpPr>
            <p:nvPr/>
          </p:nvSpPr>
          <p:spPr bwMode="auto">
            <a:xfrm>
              <a:off x="2724938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5" name="Freeform 9"/>
          <p:cNvSpPr/>
          <p:nvPr/>
        </p:nvSpPr>
        <p:spPr bwMode="auto">
          <a:xfrm>
            <a:off x="3673475" y="2601913"/>
            <a:ext cx="660400" cy="1125537"/>
          </a:xfrm>
          <a:custGeom>
            <a:avLst/>
            <a:gdLst>
              <a:gd name="T0" fmla="*/ 2147483646 w 9905"/>
              <a:gd name="T1" fmla="*/ 2147483646 h 10320"/>
              <a:gd name="T2" fmla="*/ 0 w 9905"/>
              <a:gd name="T3" fmla="*/ 2147483646 h 10320"/>
              <a:gd name="T4" fmla="*/ 2147483646 w 9905"/>
              <a:gd name="T5" fmla="*/ 2147483646 h 10320"/>
              <a:gd name="T6" fmla="*/ 2147483646 w 9905"/>
              <a:gd name="T7" fmla="*/ 0 h 10320"/>
              <a:gd name="T8" fmla="*/ 2147483646 w 9905"/>
              <a:gd name="T9" fmla="*/ 2147483646 h 103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905" h="10320">
                <a:moveTo>
                  <a:pt x="5515" y="29"/>
                </a:moveTo>
                <a:cubicBezTo>
                  <a:pt x="5515" y="3124"/>
                  <a:pt x="3247" y="6272"/>
                  <a:pt x="0" y="8336"/>
                </a:cubicBezTo>
                <a:lnTo>
                  <a:pt x="3377" y="10320"/>
                </a:lnTo>
                <a:cubicBezTo>
                  <a:pt x="7532" y="7780"/>
                  <a:pt x="9905" y="3889"/>
                  <a:pt x="9905" y="0"/>
                </a:cubicBezTo>
                <a:lnTo>
                  <a:pt x="5515" y="29"/>
                </a:lnTo>
                <a:close/>
              </a:path>
            </a:pathLst>
          </a:custGeom>
          <a:solidFill>
            <a:srgbClr val="C00000"/>
          </a:solidFill>
          <a:ln w="9525">
            <a:solidFill>
              <a:schemeClr val="bg1"/>
            </a:solidFill>
            <a:rou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7" name="Freeform 11"/>
          <p:cNvSpPr/>
          <p:nvPr/>
        </p:nvSpPr>
        <p:spPr bwMode="auto">
          <a:xfrm>
            <a:off x="2781300" y="1020763"/>
            <a:ext cx="1100138" cy="684212"/>
          </a:xfrm>
          <a:custGeom>
            <a:avLst/>
            <a:gdLst>
              <a:gd name="T0" fmla="*/ 102 w 127"/>
              <a:gd name="T1" fmla="*/ 79 h 79"/>
              <a:gd name="T2" fmla="*/ 127 w 127"/>
              <a:gd name="T3" fmla="*/ 53 h 79"/>
              <a:gd name="T4" fmla="*/ 0 w 127"/>
              <a:gd name="T5" fmla="*/ 0 h 79"/>
              <a:gd name="T6" fmla="*/ 0 w 127"/>
              <a:gd name="T7" fmla="*/ 37 h 79"/>
              <a:gd name="T8" fmla="*/ 102 w 127"/>
              <a:gd name="T9" fmla="*/ 79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79">
                <a:moveTo>
                  <a:pt x="102" y="79"/>
                </a:moveTo>
                <a:cubicBezTo>
                  <a:pt x="127" y="53"/>
                  <a:pt x="127" y="53"/>
                  <a:pt x="127" y="53"/>
                </a:cubicBezTo>
                <a:cubicBezTo>
                  <a:pt x="95" y="20"/>
                  <a:pt x="50" y="0"/>
                  <a:pt x="0" y="0"/>
                </a:cubicBezTo>
                <a:cubicBezTo>
                  <a:pt x="0" y="37"/>
                  <a:pt x="0" y="37"/>
                  <a:pt x="0" y="37"/>
                </a:cubicBezTo>
                <a:cubicBezTo>
                  <a:pt x="40" y="37"/>
                  <a:pt x="76" y="53"/>
                  <a:pt x="102" y="7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58" name="Freeform 12"/>
          <p:cNvSpPr>
            <a:spLocks noEditPoints="1"/>
          </p:cNvSpPr>
          <p:nvPr/>
        </p:nvSpPr>
        <p:spPr bwMode="auto">
          <a:xfrm>
            <a:off x="2765425" y="1011238"/>
            <a:ext cx="1133475" cy="711200"/>
          </a:xfrm>
          <a:custGeom>
            <a:avLst/>
            <a:gdLst>
              <a:gd name="T0" fmla="*/ 2147483646 w 131"/>
              <a:gd name="T1" fmla="*/ 2147483646 h 82"/>
              <a:gd name="T2" fmla="*/ 2147483646 w 131"/>
              <a:gd name="T3" fmla="*/ 2147483646 h 82"/>
              <a:gd name="T4" fmla="*/ 2147483646 w 131"/>
              <a:gd name="T5" fmla="*/ 2147483646 h 82"/>
              <a:gd name="T6" fmla="*/ 0 w 131"/>
              <a:gd name="T7" fmla="*/ 2147483646 h 82"/>
              <a:gd name="T8" fmla="*/ 0 w 131"/>
              <a:gd name="T9" fmla="*/ 0 h 82"/>
              <a:gd name="T10" fmla="*/ 2147483646 w 131"/>
              <a:gd name="T11" fmla="*/ 0 h 82"/>
              <a:gd name="T12" fmla="*/ 2147483646 w 131"/>
              <a:gd name="T13" fmla="*/ 2147483646 h 82"/>
              <a:gd name="T14" fmla="*/ 2147483646 w 131"/>
              <a:gd name="T15" fmla="*/ 2147483646 h 82"/>
              <a:gd name="T16" fmla="*/ 2147483646 w 131"/>
              <a:gd name="T17" fmla="*/ 2147483646 h 82"/>
              <a:gd name="T18" fmla="*/ 2147483646 w 131"/>
              <a:gd name="T19" fmla="*/ 2147483646 h 82"/>
              <a:gd name="T20" fmla="*/ 2147483646 w 131"/>
              <a:gd name="T21" fmla="*/ 2147483646 h 82"/>
              <a:gd name="T22" fmla="*/ 2147483646 w 131"/>
              <a:gd name="T23" fmla="*/ 2147483646 h 82"/>
              <a:gd name="T24" fmla="*/ 2147483646 w 131"/>
              <a:gd name="T25" fmla="*/ 2147483646 h 82"/>
              <a:gd name="T26" fmla="*/ 2147483646 w 131"/>
              <a:gd name="T27" fmla="*/ 2147483646 h 8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31" h="82">
                <a:moveTo>
                  <a:pt x="104" y="82"/>
                </a:moveTo>
                <a:cubicBezTo>
                  <a:pt x="103" y="81"/>
                  <a:pt x="103" y="81"/>
                  <a:pt x="103" y="81"/>
                </a:cubicBezTo>
                <a:cubicBezTo>
                  <a:pt x="76" y="54"/>
                  <a:pt x="40" y="39"/>
                  <a:pt x="2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0"/>
                  <a:pt x="2" y="0"/>
                </a:cubicBezTo>
                <a:cubicBezTo>
                  <a:pt x="50" y="0"/>
                  <a:pt x="96" y="19"/>
                  <a:pt x="130" y="53"/>
                </a:cubicBezTo>
                <a:cubicBezTo>
                  <a:pt x="131" y="54"/>
                  <a:pt x="131" y="54"/>
                  <a:pt x="131" y="54"/>
                </a:cubicBezTo>
                <a:lnTo>
                  <a:pt x="104" y="82"/>
                </a:lnTo>
                <a:close/>
                <a:moveTo>
                  <a:pt x="3" y="36"/>
                </a:moveTo>
                <a:cubicBezTo>
                  <a:pt x="41" y="37"/>
                  <a:pt x="77" y="51"/>
                  <a:pt x="104" y="78"/>
                </a:cubicBezTo>
                <a:cubicBezTo>
                  <a:pt x="128" y="54"/>
                  <a:pt x="128" y="54"/>
                  <a:pt x="128" y="54"/>
                </a:cubicBezTo>
                <a:cubicBezTo>
                  <a:pt x="94" y="21"/>
                  <a:pt x="50" y="3"/>
                  <a:pt x="3" y="3"/>
                </a:cubicBezTo>
                <a:lnTo>
                  <a:pt x="3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9" name="Freeform 13"/>
          <p:cNvSpPr/>
          <p:nvPr/>
        </p:nvSpPr>
        <p:spPr bwMode="auto">
          <a:xfrm>
            <a:off x="1214438" y="2579688"/>
            <a:ext cx="658812" cy="1092200"/>
          </a:xfrm>
          <a:custGeom>
            <a:avLst/>
            <a:gdLst>
              <a:gd name="T0" fmla="*/ 2147483646 w 76"/>
              <a:gd name="T1" fmla="*/ 2147483646 h 126"/>
              <a:gd name="T2" fmla="*/ 2147483646 w 76"/>
              <a:gd name="T3" fmla="*/ 0 h 126"/>
              <a:gd name="T4" fmla="*/ 0 w 76"/>
              <a:gd name="T5" fmla="*/ 0 h 126"/>
              <a:gd name="T6" fmla="*/ 0 w 76"/>
              <a:gd name="T7" fmla="*/ 2147483646 h 126"/>
              <a:gd name="T8" fmla="*/ 2147483646 w 76"/>
              <a:gd name="T9" fmla="*/ 2147483646 h 126"/>
              <a:gd name="T10" fmla="*/ 2147483646 w 76"/>
              <a:gd name="T11" fmla="*/ 2147483646 h 126"/>
              <a:gd name="T12" fmla="*/ 2147483646 w 76"/>
              <a:gd name="T13" fmla="*/ 2147483646 h 1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76" h="126">
                <a:moveTo>
                  <a:pt x="36" y="1"/>
                </a:moveTo>
                <a:cubicBezTo>
                  <a:pt x="36" y="1"/>
                  <a:pt x="36" y="0"/>
                  <a:pt x="3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1"/>
                  <a:pt x="0" y="1"/>
                </a:cubicBezTo>
                <a:cubicBezTo>
                  <a:pt x="0" y="49"/>
                  <a:pt x="19" y="93"/>
                  <a:pt x="50" y="126"/>
                </a:cubicBezTo>
                <a:cubicBezTo>
                  <a:pt x="76" y="101"/>
                  <a:pt x="76" y="101"/>
                  <a:pt x="76" y="101"/>
                </a:cubicBezTo>
                <a:cubicBezTo>
                  <a:pt x="51" y="75"/>
                  <a:pt x="36" y="40"/>
                  <a:pt x="36" y="1"/>
                </a:cubicBezTo>
                <a:close/>
              </a:path>
            </a:pathLst>
          </a:custGeom>
          <a:solidFill>
            <a:srgbClr val="E6B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0" name="Freeform 14"/>
          <p:cNvSpPr>
            <a:spLocks noEditPoints="1"/>
          </p:cNvSpPr>
          <p:nvPr/>
        </p:nvSpPr>
        <p:spPr bwMode="auto">
          <a:xfrm>
            <a:off x="1206500" y="2562225"/>
            <a:ext cx="684213" cy="1127125"/>
          </a:xfrm>
          <a:custGeom>
            <a:avLst/>
            <a:gdLst>
              <a:gd name="T0" fmla="*/ 2147483646 w 79"/>
              <a:gd name="T1" fmla="*/ 2147483646 h 130"/>
              <a:gd name="T2" fmla="*/ 2147483646 w 79"/>
              <a:gd name="T3" fmla="*/ 2147483646 h 130"/>
              <a:gd name="T4" fmla="*/ 0 w 79"/>
              <a:gd name="T5" fmla="*/ 2147483646 h 130"/>
              <a:gd name="T6" fmla="*/ 0 w 79"/>
              <a:gd name="T7" fmla="*/ 2147483646 h 130"/>
              <a:gd name="T8" fmla="*/ 0 w 79"/>
              <a:gd name="T9" fmla="*/ 0 h 130"/>
              <a:gd name="T10" fmla="*/ 2147483646 w 79"/>
              <a:gd name="T11" fmla="*/ 0 h 130"/>
              <a:gd name="T12" fmla="*/ 2147483646 w 79"/>
              <a:gd name="T13" fmla="*/ 2147483646 h 130"/>
              <a:gd name="T14" fmla="*/ 2147483646 w 79"/>
              <a:gd name="T15" fmla="*/ 2147483646 h 130"/>
              <a:gd name="T16" fmla="*/ 2147483646 w 79"/>
              <a:gd name="T17" fmla="*/ 2147483646 h 130"/>
              <a:gd name="T18" fmla="*/ 2147483646 w 79"/>
              <a:gd name="T19" fmla="*/ 2147483646 h 130"/>
              <a:gd name="T20" fmla="*/ 2147483646 w 79"/>
              <a:gd name="T21" fmla="*/ 2147483646 h 130"/>
              <a:gd name="T22" fmla="*/ 2147483646 w 79"/>
              <a:gd name="T23" fmla="*/ 2147483646 h 130"/>
              <a:gd name="T24" fmla="*/ 2147483646 w 79"/>
              <a:gd name="T25" fmla="*/ 2147483646 h 130"/>
              <a:gd name="T26" fmla="*/ 2147483646 w 79"/>
              <a:gd name="T27" fmla="*/ 2147483646 h 130"/>
              <a:gd name="T28" fmla="*/ 2147483646 w 79"/>
              <a:gd name="T29" fmla="*/ 2147483646 h 130"/>
              <a:gd name="T30" fmla="*/ 2147483646 w 79"/>
              <a:gd name="T31" fmla="*/ 2147483646 h 13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9" h="130">
                <a:moveTo>
                  <a:pt x="51" y="130"/>
                </a:moveTo>
                <a:cubicBezTo>
                  <a:pt x="50" y="129"/>
                  <a:pt x="50" y="129"/>
                  <a:pt x="50" y="129"/>
                </a:cubicBezTo>
                <a:cubicBezTo>
                  <a:pt x="17" y="95"/>
                  <a:pt x="0" y="50"/>
                  <a:pt x="0" y="3"/>
                </a:cubicBezTo>
                <a:cubicBezTo>
                  <a:pt x="0" y="3"/>
                  <a:pt x="0" y="2"/>
                  <a:pt x="0" y="2"/>
                </a:cubicBezTo>
                <a:cubicBezTo>
                  <a:pt x="0" y="0"/>
                  <a:pt x="0" y="0"/>
                  <a:pt x="0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3"/>
                  <a:pt x="39" y="3"/>
                  <a:pt x="39" y="3"/>
                </a:cubicBezTo>
                <a:cubicBezTo>
                  <a:pt x="39" y="40"/>
                  <a:pt x="53" y="75"/>
                  <a:pt x="78" y="102"/>
                </a:cubicBezTo>
                <a:cubicBezTo>
                  <a:pt x="79" y="103"/>
                  <a:pt x="79" y="103"/>
                  <a:pt x="79" y="103"/>
                </a:cubicBezTo>
                <a:lnTo>
                  <a:pt x="51" y="130"/>
                </a:lnTo>
                <a:close/>
                <a:moveTo>
                  <a:pt x="2" y="3"/>
                </a:moveTo>
                <a:cubicBezTo>
                  <a:pt x="2" y="3"/>
                  <a:pt x="2" y="3"/>
                  <a:pt x="2" y="3"/>
                </a:cubicBezTo>
                <a:cubicBezTo>
                  <a:pt x="2" y="49"/>
                  <a:pt x="20" y="92"/>
                  <a:pt x="51" y="126"/>
                </a:cubicBezTo>
                <a:cubicBezTo>
                  <a:pt x="75" y="103"/>
                  <a:pt x="75" y="103"/>
                  <a:pt x="75" y="103"/>
                </a:cubicBezTo>
                <a:cubicBezTo>
                  <a:pt x="50" y="76"/>
                  <a:pt x="36" y="40"/>
                  <a:pt x="36" y="3"/>
                </a:cubicBezTo>
                <a:lnTo>
                  <a:pt x="2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3" name="组合 2"/>
          <p:cNvGrpSpPr/>
          <p:nvPr/>
        </p:nvGrpSpPr>
        <p:grpSpPr bwMode="auto">
          <a:xfrm>
            <a:off x="1682750" y="1401763"/>
            <a:ext cx="1125538" cy="884237"/>
            <a:chOff x="1682602" y="1401982"/>
            <a:chExt cx="1125538" cy="884238"/>
          </a:xfrm>
        </p:grpSpPr>
        <p:sp>
          <p:nvSpPr>
            <p:cNvPr id="63" name="Freeform 17"/>
            <p:cNvSpPr/>
            <p:nvPr/>
          </p:nvSpPr>
          <p:spPr bwMode="auto">
            <a:xfrm>
              <a:off x="1690540" y="1409919"/>
              <a:ext cx="1100137" cy="858839"/>
            </a:xfrm>
            <a:custGeom>
              <a:avLst/>
              <a:gdLst>
                <a:gd name="T0" fmla="*/ 126 w 127"/>
                <a:gd name="T1" fmla="*/ 41 h 99"/>
                <a:gd name="T2" fmla="*/ 127 w 127"/>
                <a:gd name="T3" fmla="*/ 41 h 99"/>
                <a:gd name="T4" fmla="*/ 127 w 127"/>
                <a:gd name="T5" fmla="*/ 0 h 99"/>
                <a:gd name="T6" fmla="*/ 126 w 127"/>
                <a:gd name="T7" fmla="*/ 0 h 99"/>
                <a:gd name="T8" fmla="*/ 0 w 127"/>
                <a:gd name="T9" fmla="*/ 84 h 99"/>
                <a:gd name="T10" fmla="*/ 39 w 127"/>
                <a:gd name="T11" fmla="*/ 99 h 99"/>
                <a:gd name="T12" fmla="*/ 126 w 127"/>
                <a:gd name="T13" fmla="*/ 4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99">
                  <a:moveTo>
                    <a:pt x="126" y="41"/>
                  </a:moveTo>
                  <a:cubicBezTo>
                    <a:pt x="126" y="41"/>
                    <a:pt x="127" y="41"/>
                    <a:pt x="127" y="41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6" y="0"/>
                    <a:pt x="126" y="0"/>
                  </a:cubicBezTo>
                  <a:cubicBezTo>
                    <a:pt x="70" y="0"/>
                    <a:pt x="21" y="34"/>
                    <a:pt x="0" y="84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53" y="65"/>
                    <a:pt x="87" y="41"/>
                    <a:pt x="126" y="4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22588" name="Freeform 18"/>
            <p:cNvSpPr>
              <a:spLocks noEditPoints="1"/>
            </p:cNvSpPr>
            <p:nvPr/>
          </p:nvSpPr>
          <p:spPr bwMode="auto">
            <a:xfrm>
              <a:off x="1682602" y="1401982"/>
              <a:ext cx="1125538" cy="884238"/>
            </a:xfrm>
            <a:custGeom>
              <a:avLst/>
              <a:gdLst>
                <a:gd name="T0" fmla="*/ 2147483646 w 130"/>
                <a:gd name="T1" fmla="*/ 2147483646 h 102"/>
                <a:gd name="T2" fmla="*/ 0 w 130"/>
                <a:gd name="T3" fmla="*/ 2147483646 h 102"/>
                <a:gd name="T4" fmla="*/ 0 w 130"/>
                <a:gd name="T5" fmla="*/ 2147483646 h 102"/>
                <a:gd name="T6" fmla="*/ 2147483646 w 130"/>
                <a:gd name="T7" fmla="*/ 0 h 102"/>
                <a:gd name="T8" fmla="*/ 2147483646 w 130"/>
                <a:gd name="T9" fmla="*/ 0 h 102"/>
                <a:gd name="T10" fmla="*/ 2147483646 w 130"/>
                <a:gd name="T11" fmla="*/ 2147483646 h 102"/>
                <a:gd name="T12" fmla="*/ 2147483646 w 130"/>
                <a:gd name="T13" fmla="*/ 2147483646 h 102"/>
                <a:gd name="T14" fmla="*/ 2147483646 w 130"/>
                <a:gd name="T15" fmla="*/ 2147483646 h 102"/>
                <a:gd name="T16" fmla="*/ 2147483646 w 130"/>
                <a:gd name="T17" fmla="*/ 2147483646 h 102"/>
                <a:gd name="T18" fmla="*/ 2147483646 w 130"/>
                <a:gd name="T19" fmla="*/ 2147483646 h 102"/>
                <a:gd name="T20" fmla="*/ 2147483646 w 130"/>
                <a:gd name="T21" fmla="*/ 2147483646 h 102"/>
                <a:gd name="T22" fmla="*/ 2147483646 w 130"/>
                <a:gd name="T23" fmla="*/ 2147483646 h 102"/>
                <a:gd name="T24" fmla="*/ 2147483646 w 130"/>
                <a:gd name="T25" fmla="*/ 2147483646 h 102"/>
                <a:gd name="T26" fmla="*/ 2147483646 w 130"/>
                <a:gd name="T27" fmla="*/ 2147483646 h 10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0" h="102">
                  <a:moveTo>
                    <a:pt x="41" y="102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2" y="33"/>
                    <a:pt x="71" y="0"/>
                    <a:pt x="127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90" y="44"/>
                    <a:pt x="56" y="66"/>
                    <a:pt x="41" y="101"/>
                  </a:cubicBezTo>
                  <a:lnTo>
                    <a:pt x="41" y="102"/>
                  </a:lnTo>
                  <a:close/>
                  <a:moveTo>
                    <a:pt x="3" y="84"/>
                  </a:moveTo>
                  <a:cubicBezTo>
                    <a:pt x="39" y="98"/>
                    <a:pt x="39" y="98"/>
                    <a:pt x="39" y="98"/>
                  </a:cubicBezTo>
                  <a:cubicBezTo>
                    <a:pt x="55" y="64"/>
                    <a:pt x="89" y="41"/>
                    <a:pt x="127" y="4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73" y="2"/>
                    <a:pt x="25" y="34"/>
                    <a:pt x="3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/>
        </p:nvGrpSpPr>
        <p:grpSpPr bwMode="auto">
          <a:xfrm>
            <a:off x="3354388" y="2085975"/>
            <a:ext cx="622300" cy="1350963"/>
            <a:chOff x="3354240" y="2086195"/>
            <a:chExt cx="622300" cy="1350963"/>
          </a:xfrm>
        </p:grpSpPr>
        <p:sp>
          <p:nvSpPr>
            <p:cNvPr id="22585" name="Freeform 23"/>
            <p:cNvSpPr/>
            <p:nvPr/>
          </p:nvSpPr>
          <p:spPr bwMode="auto">
            <a:xfrm>
              <a:off x="3370115" y="2103657"/>
              <a:ext cx="588963" cy="1316038"/>
            </a:xfrm>
            <a:custGeom>
              <a:avLst/>
              <a:gdLst>
                <a:gd name="T0" fmla="*/ 2147483646 w 68"/>
                <a:gd name="T1" fmla="*/ 0 h 152"/>
                <a:gd name="T2" fmla="*/ 2147483646 w 68"/>
                <a:gd name="T3" fmla="*/ 2147483646 h 152"/>
                <a:gd name="T4" fmla="*/ 2147483646 w 68"/>
                <a:gd name="T5" fmla="*/ 2147483646 h 152"/>
                <a:gd name="T6" fmla="*/ 0 w 68"/>
                <a:gd name="T7" fmla="*/ 2147483646 h 152"/>
                <a:gd name="T8" fmla="*/ 2147483646 w 68"/>
                <a:gd name="T9" fmla="*/ 2147483646 h 152"/>
                <a:gd name="T10" fmla="*/ 2147483646 w 68"/>
                <a:gd name="T11" fmla="*/ 2147483646 h 152"/>
                <a:gd name="T12" fmla="*/ 2147483646 w 68"/>
                <a:gd name="T13" fmla="*/ 0 h 1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8" h="152">
                  <a:moveTo>
                    <a:pt x="56" y="0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24" y="29"/>
                    <a:pt x="27" y="42"/>
                    <a:pt x="27" y="56"/>
                  </a:cubicBezTo>
                  <a:cubicBezTo>
                    <a:pt x="27" y="82"/>
                    <a:pt x="16" y="105"/>
                    <a:pt x="0" y="122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53" y="127"/>
                    <a:pt x="68" y="93"/>
                    <a:pt x="68" y="56"/>
                  </a:cubicBezTo>
                  <a:cubicBezTo>
                    <a:pt x="68" y="36"/>
                    <a:pt x="64" y="17"/>
                    <a:pt x="56" y="0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86" name="Freeform 24"/>
            <p:cNvSpPr>
              <a:spLocks noEditPoints="1"/>
            </p:cNvSpPr>
            <p:nvPr/>
          </p:nvSpPr>
          <p:spPr bwMode="auto">
            <a:xfrm>
              <a:off x="3354240" y="2086195"/>
              <a:ext cx="622300" cy="1350963"/>
            </a:xfrm>
            <a:custGeom>
              <a:avLst/>
              <a:gdLst>
                <a:gd name="T0" fmla="*/ 2147483646 w 72"/>
                <a:gd name="T1" fmla="*/ 2147483646 h 156"/>
                <a:gd name="T2" fmla="*/ 0 w 72"/>
                <a:gd name="T3" fmla="*/ 2147483646 h 156"/>
                <a:gd name="T4" fmla="*/ 2147483646 w 72"/>
                <a:gd name="T5" fmla="*/ 2147483646 h 156"/>
                <a:gd name="T6" fmla="*/ 2147483646 w 72"/>
                <a:gd name="T7" fmla="*/ 2147483646 h 156"/>
                <a:gd name="T8" fmla="*/ 2147483646 w 72"/>
                <a:gd name="T9" fmla="*/ 2147483646 h 156"/>
                <a:gd name="T10" fmla="*/ 2147483646 w 72"/>
                <a:gd name="T11" fmla="*/ 2147483646 h 156"/>
                <a:gd name="T12" fmla="*/ 2147483646 w 72"/>
                <a:gd name="T13" fmla="*/ 0 h 156"/>
                <a:gd name="T14" fmla="*/ 2147483646 w 72"/>
                <a:gd name="T15" fmla="*/ 2147483646 h 156"/>
                <a:gd name="T16" fmla="*/ 2147483646 w 72"/>
                <a:gd name="T17" fmla="*/ 2147483646 h 156"/>
                <a:gd name="T18" fmla="*/ 2147483646 w 72"/>
                <a:gd name="T19" fmla="*/ 2147483646 h 156"/>
                <a:gd name="T20" fmla="*/ 2147483646 w 72"/>
                <a:gd name="T21" fmla="*/ 2147483646 h 156"/>
                <a:gd name="T22" fmla="*/ 2147483646 w 72"/>
                <a:gd name="T23" fmla="*/ 2147483646 h 156"/>
                <a:gd name="T24" fmla="*/ 2147483646 w 72"/>
                <a:gd name="T25" fmla="*/ 2147483646 h 156"/>
                <a:gd name="T26" fmla="*/ 2147483646 w 72"/>
                <a:gd name="T27" fmla="*/ 2147483646 h 156"/>
                <a:gd name="T28" fmla="*/ 2147483646 w 72"/>
                <a:gd name="T29" fmla="*/ 2147483646 h 156"/>
                <a:gd name="T30" fmla="*/ 2147483646 w 72"/>
                <a:gd name="T31" fmla="*/ 2147483646 h 156"/>
                <a:gd name="T32" fmla="*/ 2147483646 w 72"/>
                <a:gd name="T33" fmla="*/ 2147483646 h 156"/>
                <a:gd name="T34" fmla="*/ 2147483646 w 72"/>
                <a:gd name="T35" fmla="*/ 2147483646 h 1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156">
                  <a:moveTo>
                    <a:pt x="31" y="156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" y="123"/>
                    <a:pt x="1" y="123"/>
                    <a:pt x="1" y="123"/>
                  </a:cubicBezTo>
                  <a:cubicBezTo>
                    <a:pt x="18" y="106"/>
                    <a:pt x="27" y="83"/>
                    <a:pt x="27" y="58"/>
                  </a:cubicBezTo>
                  <a:cubicBezTo>
                    <a:pt x="27" y="45"/>
                    <a:pt x="25" y="32"/>
                    <a:pt x="19" y="20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67" y="19"/>
                    <a:pt x="72" y="38"/>
                    <a:pt x="72" y="58"/>
                  </a:cubicBezTo>
                  <a:cubicBezTo>
                    <a:pt x="72" y="94"/>
                    <a:pt x="57" y="129"/>
                    <a:pt x="32" y="155"/>
                  </a:cubicBezTo>
                  <a:lnTo>
                    <a:pt x="31" y="156"/>
                  </a:lnTo>
                  <a:close/>
                  <a:moveTo>
                    <a:pt x="4" y="124"/>
                  </a:moveTo>
                  <a:cubicBezTo>
                    <a:pt x="31" y="152"/>
                    <a:pt x="31" y="152"/>
                    <a:pt x="31" y="152"/>
                  </a:cubicBezTo>
                  <a:cubicBezTo>
                    <a:pt x="55" y="127"/>
                    <a:pt x="69" y="93"/>
                    <a:pt x="69" y="58"/>
                  </a:cubicBezTo>
                  <a:cubicBezTo>
                    <a:pt x="69" y="39"/>
                    <a:pt x="65" y="21"/>
                    <a:pt x="57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7" y="32"/>
                    <a:pt x="30" y="45"/>
                    <a:pt x="30" y="58"/>
                  </a:cubicBezTo>
                  <a:cubicBezTo>
                    <a:pt x="30" y="83"/>
                    <a:pt x="21" y="106"/>
                    <a:pt x="4" y="1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" name="组合 1"/>
          <p:cNvGrpSpPr/>
          <p:nvPr/>
        </p:nvGrpSpPr>
        <p:grpSpPr bwMode="auto">
          <a:xfrm>
            <a:off x="1917700" y="2128838"/>
            <a:ext cx="1736725" cy="2722562"/>
            <a:chOff x="1917452" y="2128338"/>
            <a:chExt cx="1736726" cy="2722563"/>
          </a:xfrm>
        </p:grpSpPr>
        <p:sp>
          <p:nvSpPr>
            <p:cNvPr id="22583" name="Freeform 12"/>
            <p:cNvSpPr>
              <a:spLocks noEditPoints="1"/>
            </p:cNvSpPr>
            <p:nvPr/>
          </p:nvSpPr>
          <p:spPr bwMode="auto">
            <a:xfrm>
              <a:off x="1917452" y="2128338"/>
              <a:ext cx="1736726" cy="2722563"/>
            </a:xfrm>
            <a:custGeom>
              <a:avLst/>
              <a:gdLst>
                <a:gd name="T0" fmla="*/ 2147483646 w 106"/>
                <a:gd name="T1" fmla="*/ 2147483646 h 166"/>
                <a:gd name="T2" fmla="*/ 2147483646 w 106"/>
                <a:gd name="T3" fmla="*/ 2147483646 h 166"/>
                <a:gd name="T4" fmla="*/ 2147483646 w 106"/>
                <a:gd name="T5" fmla="*/ 2147483646 h 166"/>
                <a:gd name="T6" fmla="*/ 2147483646 w 106"/>
                <a:gd name="T7" fmla="*/ 2147483646 h 166"/>
                <a:gd name="T8" fmla="*/ 2147483646 w 106"/>
                <a:gd name="T9" fmla="*/ 0 h 166"/>
                <a:gd name="T10" fmla="*/ 2147483646 w 106"/>
                <a:gd name="T11" fmla="*/ 2147483646 h 166"/>
                <a:gd name="T12" fmla="*/ 2147483646 w 106"/>
                <a:gd name="T13" fmla="*/ 2147483646 h 166"/>
                <a:gd name="T14" fmla="*/ 2147483646 w 106"/>
                <a:gd name="T15" fmla="*/ 2147483646 h 166"/>
                <a:gd name="T16" fmla="*/ 2147483646 w 106"/>
                <a:gd name="T17" fmla="*/ 2147483646 h 166"/>
                <a:gd name="T18" fmla="*/ 2147483646 w 106"/>
                <a:gd name="T19" fmla="*/ 2147483646 h 166"/>
                <a:gd name="T20" fmla="*/ 2147483646 w 106"/>
                <a:gd name="T21" fmla="*/ 2147483646 h 166"/>
                <a:gd name="T22" fmla="*/ 2147483646 w 106"/>
                <a:gd name="T23" fmla="*/ 2147483646 h 166"/>
                <a:gd name="T24" fmla="*/ 2147483646 w 106"/>
                <a:gd name="T25" fmla="*/ 2147483646 h 166"/>
                <a:gd name="T26" fmla="*/ 2147483646 w 106"/>
                <a:gd name="T27" fmla="*/ 2147483646 h 166"/>
                <a:gd name="T28" fmla="*/ 2147483646 w 106"/>
                <a:gd name="T29" fmla="*/ 2147483646 h 166"/>
                <a:gd name="T30" fmla="*/ 2147483646 w 106"/>
                <a:gd name="T31" fmla="*/ 2147483646 h 166"/>
                <a:gd name="T32" fmla="*/ 2147483646 w 106"/>
                <a:gd name="T33" fmla="*/ 2147483646 h 166"/>
                <a:gd name="T34" fmla="*/ 2147483646 w 106"/>
                <a:gd name="T35" fmla="*/ 2147483646 h 166"/>
                <a:gd name="T36" fmla="*/ 2147483646 w 106"/>
                <a:gd name="T37" fmla="*/ 2147483646 h 166"/>
                <a:gd name="T38" fmla="*/ 2147483646 w 106"/>
                <a:gd name="T39" fmla="*/ 2147483646 h 166"/>
                <a:gd name="T40" fmla="*/ 2147483646 w 106"/>
                <a:gd name="T41" fmla="*/ 2147483646 h 166"/>
                <a:gd name="T42" fmla="*/ 2147483646 w 106"/>
                <a:gd name="T43" fmla="*/ 2147483646 h 166"/>
                <a:gd name="T44" fmla="*/ 2147483646 w 106"/>
                <a:gd name="T45" fmla="*/ 2147483646 h 1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6" h="166">
                  <a:moveTo>
                    <a:pt x="105" y="161"/>
                  </a:moveTo>
                  <a:cubicBezTo>
                    <a:pt x="65" y="50"/>
                    <a:pt x="65" y="50"/>
                    <a:pt x="65" y="50"/>
                  </a:cubicBezTo>
                  <a:cubicBezTo>
                    <a:pt x="64" y="47"/>
                    <a:pt x="65" y="43"/>
                    <a:pt x="67" y="41"/>
                  </a:cubicBezTo>
                  <a:cubicBezTo>
                    <a:pt x="67" y="41"/>
                    <a:pt x="77" y="33"/>
                    <a:pt x="77" y="23"/>
                  </a:cubicBezTo>
                  <a:cubicBezTo>
                    <a:pt x="77" y="10"/>
                    <a:pt x="66" y="0"/>
                    <a:pt x="53" y="0"/>
                  </a:cubicBezTo>
                  <a:cubicBezTo>
                    <a:pt x="40" y="0"/>
                    <a:pt x="30" y="10"/>
                    <a:pt x="30" y="23"/>
                  </a:cubicBezTo>
                  <a:cubicBezTo>
                    <a:pt x="30" y="33"/>
                    <a:pt x="39" y="41"/>
                    <a:pt x="39" y="41"/>
                  </a:cubicBezTo>
                  <a:cubicBezTo>
                    <a:pt x="42" y="43"/>
                    <a:pt x="43" y="47"/>
                    <a:pt x="42" y="50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4"/>
                    <a:pt x="2" y="166"/>
                    <a:pt x="5" y="165"/>
                  </a:cubicBezTo>
                  <a:cubicBezTo>
                    <a:pt x="5" y="165"/>
                    <a:pt x="34" y="152"/>
                    <a:pt x="53" y="152"/>
                  </a:cubicBezTo>
                  <a:cubicBezTo>
                    <a:pt x="73" y="152"/>
                    <a:pt x="102" y="165"/>
                    <a:pt x="102" y="165"/>
                  </a:cubicBezTo>
                  <a:cubicBezTo>
                    <a:pt x="105" y="166"/>
                    <a:pt x="106" y="164"/>
                    <a:pt x="105" y="161"/>
                  </a:cubicBezTo>
                  <a:close/>
                  <a:moveTo>
                    <a:pt x="53" y="68"/>
                  </a:moveTo>
                  <a:cubicBezTo>
                    <a:pt x="60" y="68"/>
                    <a:pt x="65" y="73"/>
                    <a:pt x="65" y="79"/>
                  </a:cubicBezTo>
                  <a:cubicBezTo>
                    <a:pt x="65" y="85"/>
                    <a:pt x="60" y="90"/>
                    <a:pt x="53" y="90"/>
                  </a:cubicBezTo>
                  <a:cubicBezTo>
                    <a:pt x="47" y="90"/>
                    <a:pt x="42" y="85"/>
                    <a:pt x="42" y="79"/>
                  </a:cubicBezTo>
                  <a:cubicBezTo>
                    <a:pt x="42" y="73"/>
                    <a:pt x="47" y="68"/>
                    <a:pt x="53" y="68"/>
                  </a:cubicBezTo>
                  <a:close/>
                  <a:moveTo>
                    <a:pt x="53" y="133"/>
                  </a:moveTo>
                  <a:cubicBezTo>
                    <a:pt x="44" y="133"/>
                    <a:pt x="36" y="126"/>
                    <a:pt x="36" y="116"/>
                  </a:cubicBezTo>
                  <a:cubicBezTo>
                    <a:pt x="36" y="106"/>
                    <a:pt x="44" y="99"/>
                    <a:pt x="53" y="99"/>
                  </a:cubicBezTo>
                  <a:cubicBezTo>
                    <a:pt x="63" y="99"/>
                    <a:pt x="71" y="106"/>
                    <a:pt x="71" y="116"/>
                  </a:cubicBezTo>
                  <a:cubicBezTo>
                    <a:pt x="71" y="126"/>
                    <a:pt x="63" y="133"/>
                    <a:pt x="53" y="133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84" name="TextBox 682"/>
            <p:cNvSpPr txBox="1">
              <a:spLocks noChangeArrowheads="1"/>
            </p:cNvSpPr>
            <p:nvPr/>
          </p:nvSpPr>
          <p:spPr bwMode="auto">
            <a:xfrm>
              <a:off x="2387153" y="2177128"/>
              <a:ext cx="806631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800">
                  <a:solidFill>
                    <a:schemeClr val="bg1"/>
                  </a:solidFill>
                </a:rPr>
                <a:t>35%</a:t>
              </a:r>
              <a:endParaRPr lang="zh-CN" altLang="en-US" sz="2800">
                <a:solidFill>
                  <a:schemeClr val="bg1"/>
                </a:solidFill>
              </a:endParaRPr>
            </a:p>
          </p:txBody>
        </p:sp>
      </p:grpSp>
      <p:grpSp>
        <p:nvGrpSpPr>
          <p:cNvPr id="91" name="组合 90"/>
          <p:cNvGrpSpPr/>
          <p:nvPr/>
        </p:nvGrpSpPr>
        <p:grpSpPr bwMode="auto">
          <a:xfrm>
            <a:off x="2781300" y="1401763"/>
            <a:ext cx="1092200" cy="866775"/>
            <a:chOff x="3203575" y="1614488"/>
            <a:chExt cx="1092200" cy="866775"/>
          </a:xfrm>
        </p:grpSpPr>
        <p:sp>
          <p:nvSpPr>
            <p:cNvPr id="22580" name="Freeform 19"/>
            <p:cNvSpPr/>
            <p:nvPr/>
          </p:nvSpPr>
          <p:spPr bwMode="auto">
            <a:xfrm>
              <a:off x="3213100" y="1622426"/>
              <a:ext cx="1065213" cy="841375"/>
            </a:xfrm>
            <a:custGeom>
              <a:avLst/>
              <a:gdLst>
                <a:gd name="T0" fmla="*/ 2147483646 w 123"/>
                <a:gd name="T1" fmla="*/ 2147483646 h 97"/>
                <a:gd name="T2" fmla="*/ 2147483646 w 123"/>
                <a:gd name="T3" fmla="*/ 2147483646 h 97"/>
                <a:gd name="T4" fmla="*/ 0 w 123"/>
                <a:gd name="T5" fmla="*/ 0 h 97"/>
                <a:gd name="T6" fmla="*/ 0 w 123"/>
                <a:gd name="T7" fmla="*/ 2147483646 h 97"/>
                <a:gd name="T8" fmla="*/ 2147483646 w 123"/>
                <a:gd name="T9" fmla="*/ 2147483646 h 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" h="97">
                  <a:moveTo>
                    <a:pt x="85" y="97"/>
                  </a:moveTo>
                  <a:cubicBezTo>
                    <a:pt x="123" y="80"/>
                    <a:pt x="123" y="80"/>
                    <a:pt x="123" y="80"/>
                  </a:cubicBezTo>
                  <a:cubicBezTo>
                    <a:pt x="102" y="33"/>
                    <a:pt x="55" y="0"/>
                    <a:pt x="0" y="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38" y="42"/>
                    <a:pt x="71" y="65"/>
                    <a:pt x="85" y="97"/>
                  </a:cubicBezTo>
                  <a:close/>
                </a:path>
              </a:pathLst>
            </a:custGeom>
            <a:solidFill>
              <a:srgbClr val="E6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81" name="Freeform 20"/>
            <p:cNvSpPr>
              <a:spLocks noEditPoints="1"/>
            </p:cNvSpPr>
            <p:nvPr/>
          </p:nvSpPr>
          <p:spPr bwMode="auto">
            <a:xfrm>
              <a:off x="3203575" y="1614488"/>
              <a:ext cx="1092200" cy="866775"/>
            </a:xfrm>
            <a:custGeom>
              <a:avLst/>
              <a:gdLst>
                <a:gd name="T0" fmla="*/ 2147483646 w 126"/>
                <a:gd name="T1" fmla="*/ 2147483646 h 100"/>
                <a:gd name="T2" fmla="*/ 2147483646 w 126"/>
                <a:gd name="T3" fmla="*/ 2147483646 h 100"/>
                <a:gd name="T4" fmla="*/ 2147483646 w 126"/>
                <a:gd name="T5" fmla="*/ 2147483646 h 100"/>
                <a:gd name="T6" fmla="*/ 0 w 126"/>
                <a:gd name="T7" fmla="*/ 2147483646 h 100"/>
                <a:gd name="T8" fmla="*/ 0 w 126"/>
                <a:gd name="T9" fmla="*/ 0 h 100"/>
                <a:gd name="T10" fmla="*/ 2147483646 w 126"/>
                <a:gd name="T11" fmla="*/ 0 h 100"/>
                <a:gd name="T12" fmla="*/ 2147483646 w 126"/>
                <a:gd name="T13" fmla="*/ 2147483646 h 100"/>
                <a:gd name="T14" fmla="*/ 2147483646 w 126"/>
                <a:gd name="T15" fmla="*/ 2147483646 h 100"/>
                <a:gd name="T16" fmla="*/ 2147483646 w 126"/>
                <a:gd name="T17" fmla="*/ 2147483646 h 100"/>
                <a:gd name="T18" fmla="*/ 2147483646 w 126"/>
                <a:gd name="T19" fmla="*/ 2147483646 h 100"/>
                <a:gd name="T20" fmla="*/ 2147483646 w 126"/>
                <a:gd name="T21" fmla="*/ 2147483646 h 100"/>
                <a:gd name="T22" fmla="*/ 2147483646 w 126"/>
                <a:gd name="T23" fmla="*/ 2147483646 h 100"/>
                <a:gd name="T24" fmla="*/ 2147483646 w 126"/>
                <a:gd name="T25" fmla="*/ 2147483646 h 100"/>
                <a:gd name="T26" fmla="*/ 2147483646 w 126"/>
                <a:gd name="T27" fmla="*/ 2147483646 h 1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26" h="100">
                  <a:moveTo>
                    <a:pt x="86" y="100"/>
                  </a:moveTo>
                  <a:cubicBezTo>
                    <a:pt x="85" y="99"/>
                    <a:pt x="85" y="99"/>
                    <a:pt x="85" y="99"/>
                  </a:cubicBezTo>
                  <a:cubicBezTo>
                    <a:pt x="70" y="66"/>
                    <a:pt x="37" y="44"/>
                    <a:pt x="1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5" y="0"/>
                    <a:pt x="103" y="32"/>
                    <a:pt x="125" y="81"/>
                  </a:cubicBezTo>
                  <a:cubicBezTo>
                    <a:pt x="126" y="82"/>
                    <a:pt x="126" y="82"/>
                    <a:pt x="126" y="82"/>
                  </a:cubicBezTo>
                  <a:lnTo>
                    <a:pt x="86" y="100"/>
                  </a:lnTo>
                  <a:close/>
                  <a:moveTo>
                    <a:pt x="3" y="41"/>
                  </a:moveTo>
                  <a:cubicBezTo>
                    <a:pt x="39" y="42"/>
                    <a:pt x="72" y="64"/>
                    <a:pt x="87" y="96"/>
                  </a:cubicBezTo>
                  <a:cubicBezTo>
                    <a:pt x="122" y="80"/>
                    <a:pt x="122" y="80"/>
                    <a:pt x="122" y="80"/>
                  </a:cubicBezTo>
                  <a:cubicBezTo>
                    <a:pt x="101" y="34"/>
                    <a:pt x="54" y="3"/>
                    <a:pt x="3" y="2"/>
                  </a:cubicBezTo>
                  <a:lnTo>
                    <a:pt x="3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3" name="TextBox 692"/>
            <p:cNvSpPr txBox="1"/>
            <p:nvPr/>
          </p:nvSpPr>
          <p:spPr bwMode="auto">
            <a:xfrm rot="2186682">
              <a:off x="3221230" y="1997576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8" name="组合 87"/>
          <p:cNvGrpSpPr/>
          <p:nvPr/>
        </p:nvGrpSpPr>
        <p:grpSpPr bwMode="auto">
          <a:xfrm>
            <a:off x="1206500" y="1454150"/>
            <a:ext cx="709613" cy="1135063"/>
            <a:chOff x="1628775" y="1666876"/>
            <a:chExt cx="709613" cy="1135063"/>
          </a:xfrm>
        </p:grpSpPr>
        <p:sp>
          <p:nvSpPr>
            <p:cNvPr id="22577" name="Freeform 15"/>
            <p:cNvSpPr/>
            <p:nvPr/>
          </p:nvSpPr>
          <p:spPr bwMode="auto">
            <a:xfrm>
              <a:off x="1636713" y="1684338"/>
              <a:ext cx="684213" cy="1108075"/>
            </a:xfrm>
            <a:custGeom>
              <a:avLst/>
              <a:gdLst>
                <a:gd name="T0" fmla="*/ 2147483646 w 79"/>
                <a:gd name="T1" fmla="*/ 2147483646 h 128"/>
                <a:gd name="T2" fmla="*/ 2147483646 w 79"/>
                <a:gd name="T3" fmla="*/ 0 h 128"/>
                <a:gd name="T4" fmla="*/ 0 w 79"/>
                <a:gd name="T5" fmla="*/ 2147483646 h 128"/>
                <a:gd name="T6" fmla="*/ 2147483646 w 79"/>
                <a:gd name="T7" fmla="*/ 2147483646 h 128"/>
                <a:gd name="T8" fmla="*/ 2147483646 w 79"/>
                <a:gd name="T9" fmla="*/ 2147483646 h 1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9" h="128">
                  <a:moveTo>
                    <a:pt x="79" y="26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21" y="33"/>
                    <a:pt x="0" y="78"/>
                    <a:pt x="0" y="12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37" y="88"/>
                    <a:pt x="53" y="52"/>
                    <a:pt x="79" y="26"/>
                  </a:cubicBezTo>
                  <a:close/>
                </a:path>
              </a:pathLst>
            </a:custGeom>
            <a:solidFill>
              <a:srgbClr val="009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78" name="Freeform 16"/>
            <p:cNvSpPr>
              <a:spLocks noEditPoints="1"/>
            </p:cNvSpPr>
            <p:nvPr/>
          </p:nvSpPr>
          <p:spPr bwMode="auto">
            <a:xfrm>
              <a:off x="1628775" y="1666876"/>
              <a:ext cx="709613" cy="1135063"/>
            </a:xfrm>
            <a:custGeom>
              <a:avLst/>
              <a:gdLst>
                <a:gd name="T0" fmla="*/ 2147483646 w 82"/>
                <a:gd name="T1" fmla="*/ 2147483646 h 131"/>
                <a:gd name="T2" fmla="*/ 0 w 82"/>
                <a:gd name="T3" fmla="*/ 2147483646 h 131"/>
                <a:gd name="T4" fmla="*/ 0 w 82"/>
                <a:gd name="T5" fmla="*/ 2147483646 h 131"/>
                <a:gd name="T6" fmla="*/ 2147483646 w 82"/>
                <a:gd name="T7" fmla="*/ 2147483646 h 131"/>
                <a:gd name="T8" fmla="*/ 2147483646 w 82"/>
                <a:gd name="T9" fmla="*/ 0 h 131"/>
                <a:gd name="T10" fmla="*/ 2147483646 w 82"/>
                <a:gd name="T11" fmla="*/ 2147483646 h 131"/>
                <a:gd name="T12" fmla="*/ 2147483646 w 82"/>
                <a:gd name="T13" fmla="*/ 2147483646 h 131"/>
                <a:gd name="T14" fmla="*/ 2147483646 w 82"/>
                <a:gd name="T15" fmla="*/ 2147483646 h 131"/>
                <a:gd name="T16" fmla="*/ 2147483646 w 82"/>
                <a:gd name="T17" fmla="*/ 2147483646 h 131"/>
                <a:gd name="T18" fmla="*/ 2147483646 w 82"/>
                <a:gd name="T19" fmla="*/ 2147483646 h 131"/>
                <a:gd name="T20" fmla="*/ 2147483646 w 82"/>
                <a:gd name="T21" fmla="*/ 2147483646 h 131"/>
                <a:gd name="T22" fmla="*/ 2147483646 w 82"/>
                <a:gd name="T23" fmla="*/ 2147483646 h 131"/>
                <a:gd name="T24" fmla="*/ 2147483646 w 82"/>
                <a:gd name="T25" fmla="*/ 2147483646 h 131"/>
                <a:gd name="T26" fmla="*/ 2147483646 w 82"/>
                <a:gd name="T27" fmla="*/ 2147483646 h 13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2" h="131">
                  <a:moveTo>
                    <a:pt x="39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81"/>
                    <a:pt x="19" y="35"/>
                    <a:pt x="54" y="1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54" y="56"/>
                    <a:pt x="39" y="92"/>
                    <a:pt x="39" y="130"/>
                  </a:cubicBezTo>
                  <a:lnTo>
                    <a:pt x="39" y="131"/>
                  </a:lnTo>
                  <a:close/>
                  <a:moveTo>
                    <a:pt x="2" y="128"/>
                  </a:moveTo>
                  <a:cubicBezTo>
                    <a:pt x="36" y="128"/>
                    <a:pt x="36" y="128"/>
                    <a:pt x="36" y="128"/>
                  </a:cubicBezTo>
                  <a:cubicBezTo>
                    <a:pt x="37" y="90"/>
                    <a:pt x="52" y="55"/>
                    <a:pt x="78" y="2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22" y="37"/>
                    <a:pt x="3" y="81"/>
                    <a:pt x="2" y="1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4" name="TextBox 692"/>
            <p:cNvSpPr txBox="1"/>
            <p:nvPr/>
          </p:nvSpPr>
          <p:spPr bwMode="auto">
            <a:xfrm rot="17560154">
              <a:off x="1571422" y="2166765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0" name="组合 89"/>
          <p:cNvGrpSpPr/>
          <p:nvPr/>
        </p:nvGrpSpPr>
        <p:grpSpPr bwMode="auto">
          <a:xfrm>
            <a:off x="3649663" y="1466850"/>
            <a:ext cx="709612" cy="1135063"/>
            <a:chOff x="4070350" y="1674813"/>
            <a:chExt cx="709613" cy="1135063"/>
          </a:xfrm>
        </p:grpSpPr>
        <p:sp>
          <p:nvSpPr>
            <p:cNvPr id="22574" name="Freeform 7"/>
            <p:cNvSpPr/>
            <p:nvPr/>
          </p:nvSpPr>
          <p:spPr bwMode="auto">
            <a:xfrm>
              <a:off x="4087813" y="1692276"/>
              <a:ext cx="674688" cy="1109663"/>
            </a:xfrm>
            <a:custGeom>
              <a:avLst/>
              <a:gdLst>
                <a:gd name="T0" fmla="*/ 2147483646 w 78"/>
                <a:gd name="T1" fmla="*/ 2147483646 h 128"/>
                <a:gd name="T2" fmla="*/ 2147483646 w 78"/>
                <a:gd name="T3" fmla="*/ 2147483646 h 128"/>
                <a:gd name="T4" fmla="*/ 2147483646 w 78"/>
                <a:gd name="T5" fmla="*/ 0 h 128"/>
                <a:gd name="T6" fmla="*/ 0 w 78"/>
                <a:gd name="T7" fmla="*/ 2147483646 h 128"/>
                <a:gd name="T8" fmla="*/ 2147483646 w 78"/>
                <a:gd name="T9" fmla="*/ 2147483646 h 1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8" h="128">
                  <a:moveTo>
                    <a:pt x="42" y="128"/>
                  </a:moveTo>
                  <a:cubicBezTo>
                    <a:pt x="78" y="128"/>
                    <a:pt x="78" y="128"/>
                    <a:pt x="78" y="128"/>
                  </a:cubicBezTo>
                  <a:cubicBezTo>
                    <a:pt x="78" y="78"/>
                    <a:pt x="58" y="33"/>
                    <a:pt x="25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6" y="52"/>
                    <a:pt x="42" y="88"/>
                    <a:pt x="42" y="128"/>
                  </a:cubicBezTo>
                  <a:close/>
                </a:path>
              </a:pathLst>
            </a:custGeom>
            <a:solidFill>
              <a:srgbClr val="009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75" name="Freeform 8"/>
            <p:cNvSpPr>
              <a:spLocks noEditPoints="1"/>
            </p:cNvSpPr>
            <p:nvPr/>
          </p:nvSpPr>
          <p:spPr bwMode="auto">
            <a:xfrm>
              <a:off x="4070350" y="1674813"/>
              <a:ext cx="709613" cy="1135063"/>
            </a:xfrm>
            <a:custGeom>
              <a:avLst/>
              <a:gdLst>
                <a:gd name="T0" fmla="*/ 2147483646 w 82"/>
                <a:gd name="T1" fmla="*/ 2147483646 h 131"/>
                <a:gd name="T2" fmla="*/ 2147483646 w 82"/>
                <a:gd name="T3" fmla="*/ 2147483646 h 131"/>
                <a:gd name="T4" fmla="*/ 2147483646 w 82"/>
                <a:gd name="T5" fmla="*/ 2147483646 h 131"/>
                <a:gd name="T6" fmla="*/ 2147483646 w 82"/>
                <a:gd name="T7" fmla="*/ 2147483646 h 131"/>
                <a:gd name="T8" fmla="*/ 0 w 82"/>
                <a:gd name="T9" fmla="*/ 2147483646 h 131"/>
                <a:gd name="T10" fmla="*/ 2147483646 w 82"/>
                <a:gd name="T11" fmla="*/ 0 h 131"/>
                <a:gd name="T12" fmla="*/ 2147483646 w 82"/>
                <a:gd name="T13" fmla="*/ 2147483646 h 131"/>
                <a:gd name="T14" fmla="*/ 2147483646 w 82"/>
                <a:gd name="T15" fmla="*/ 2147483646 h 131"/>
                <a:gd name="T16" fmla="*/ 2147483646 w 82"/>
                <a:gd name="T17" fmla="*/ 2147483646 h 131"/>
                <a:gd name="T18" fmla="*/ 2147483646 w 82"/>
                <a:gd name="T19" fmla="*/ 2147483646 h 131"/>
                <a:gd name="T20" fmla="*/ 2147483646 w 82"/>
                <a:gd name="T21" fmla="*/ 2147483646 h 131"/>
                <a:gd name="T22" fmla="*/ 2147483646 w 82"/>
                <a:gd name="T23" fmla="*/ 2147483646 h 131"/>
                <a:gd name="T24" fmla="*/ 2147483646 w 82"/>
                <a:gd name="T25" fmla="*/ 2147483646 h 131"/>
                <a:gd name="T26" fmla="*/ 2147483646 w 82"/>
                <a:gd name="T27" fmla="*/ 2147483646 h 13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2" h="131">
                  <a:moveTo>
                    <a:pt x="82" y="131"/>
                  </a:moveTo>
                  <a:cubicBezTo>
                    <a:pt x="43" y="131"/>
                    <a:pt x="43" y="131"/>
                    <a:pt x="43" y="131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92"/>
                    <a:pt x="28" y="56"/>
                    <a:pt x="1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63" y="36"/>
                    <a:pt x="82" y="81"/>
                    <a:pt x="82" y="130"/>
                  </a:cubicBezTo>
                  <a:lnTo>
                    <a:pt x="82" y="131"/>
                  </a:lnTo>
                  <a:close/>
                  <a:moveTo>
                    <a:pt x="45" y="129"/>
                  </a:moveTo>
                  <a:cubicBezTo>
                    <a:pt x="79" y="129"/>
                    <a:pt x="79" y="129"/>
                    <a:pt x="79" y="129"/>
                  </a:cubicBezTo>
                  <a:cubicBezTo>
                    <a:pt x="79" y="82"/>
                    <a:pt x="60" y="38"/>
                    <a:pt x="27" y="4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30" y="55"/>
                    <a:pt x="45" y="91"/>
                    <a:pt x="45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5" name="TextBox 692"/>
            <p:cNvSpPr txBox="1"/>
            <p:nvPr/>
          </p:nvSpPr>
          <p:spPr bwMode="auto">
            <a:xfrm rot="4070599">
              <a:off x="3877670" y="2174143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9" name="组合 88"/>
          <p:cNvGrpSpPr/>
          <p:nvPr/>
        </p:nvGrpSpPr>
        <p:grpSpPr bwMode="auto">
          <a:xfrm>
            <a:off x="1595438" y="2120900"/>
            <a:ext cx="623887" cy="1308100"/>
            <a:chOff x="2017713" y="2333626"/>
            <a:chExt cx="623888" cy="1308100"/>
          </a:xfrm>
        </p:grpSpPr>
        <p:sp>
          <p:nvSpPr>
            <p:cNvPr id="22571" name="Freeform 21"/>
            <p:cNvSpPr/>
            <p:nvPr/>
          </p:nvSpPr>
          <p:spPr bwMode="auto">
            <a:xfrm>
              <a:off x="2027238" y="2351088"/>
              <a:ext cx="596900" cy="1273175"/>
            </a:xfrm>
            <a:custGeom>
              <a:avLst/>
              <a:gdLst>
                <a:gd name="T0" fmla="*/ 2147483646 w 69"/>
                <a:gd name="T1" fmla="*/ 2147483646 h 147"/>
                <a:gd name="T2" fmla="*/ 2147483646 w 69"/>
                <a:gd name="T3" fmla="*/ 2147483646 h 147"/>
                <a:gd name="T4" fmla="*/ 2147483646 w 69"/>
                <a:gd name="T5" fmla="*/ 0 h 147"/>
                <a:gd name="T6" fmla="*/ 0 w 69"/>
                <a:gd name="T7" fmla="*/ 2147483646 h 147"/>
                <a:gd name="T8" fmla="*/ 2147483646 w 69"/>
                <a:gd name="T9" fmla="*/ 2147483646 h 147"/>
                <a:gd name="T10" fmla="*/ 2147483646 w 69"/>
                <a:gd name="T11" fmla="*/ 2147483646 h 147"/>
                <a:gd name="T12" fmla="*/ 2147483646 w 69"/>
                <a:gd name="T13" fmla="*/ 2147483646 h 1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47">
                  <a:moveTo>
                    <a:pt x="41" y="52"/>
                  </a:moveTo>
                  <a:cubicBezTo>
                    <a:pt x="41" y="39"/>
                    <a:pt x="44" y="26"/>
                    <a:pt x="49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16"/>
                    <a:pt x="0" y="33"/>
                    <a:pt x="0" y="52"/>
                  </a:cubicBezTo>
                  <a:cubicBezTo>
                    <a:pt x="0" y="89"/>
                    <a:pt x="15" y="123"/>
                    <a:pt x="39" y="147"/>
                  </a:cubicBezTo>
                  <a:cubicBezTo>
                    <a:pt x="69" y="118"/>
                    <a:pt x="69" y="118"/>
                    <a:pt x="69" y="118"/>
                  </a:cubicBezTo>
                  <a:cubicBezTo>
                    <a:pt x="52" y="101"/>
                    <a:pt x="41" y="78"/>
                    <a:pt x="41" y="52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72" name="Freeform 22"/>
            <p:cNvSpPr>
              <a:spLocks noEditPoints="1"/>
            </p:cNvSpPr>
            <p:nvPr/>
          </p:nvSpPr>
          <p:spPr bwMode="auto">
            <a:xfrm>
              <a:off x="2017713" y="2333626"/>
              <a:ext cx="623888" cy="1308100"/>
            </a:xfrm>
            <a:custGeom>
              <a:avLst/>
              <a:gdLst>
                <a:gd name="T0" fmla="*/ 2147483646 w 72"/>
                <a:gd name="T1" fmla="*/ 2147483646 h 151"/>
                <a:gd name="T2" fmla="*/ 2147483646 w 72"/>
                <a:gd name="T3" fmla="*/ 2147483646 h 151"/>
                <a:gd name="T4" fmla="*/ 0 w 72"/>
                <a:gd name="T5" fmla="*/ 2147483646 h 151"/>
                <a:gd name="T6" fmla="*/ 2147483646 w 72"/>
                <a:gd name="T7" fmla="*/ 2147483646 h 151"/>
                <a:gd name="T8" fmla="*/ 2147483646 w 72"/>
                <a:gd name="T9" fmla="*/ 0 h 151"/>
                <a:gd name="T10" fmla="*/ 2147483646 w 72"/>
                <a:gd name="T11" fmla="*/ 2147483646 h 151"/>
                <a:gd name="T12" fmla="*/ 2147483646 w 72"/>
                <a:gd name="T13" fmla="*/ 2147483646 h 151"/>
                <a:gd name="T14" fmla="*/ 2147483646 w 72"/>
                <a:gd name="T15" fmla="*/ 2147483646 h 151"/>
                <a:gd name="T16" fmla="*/ 2147483646 w 72"/>
                <a:gd name="T17" fmla="*/ 2147483646 h 151"/>
                <a:gd name="T18" fmla="*/ 2147483646 w 72"/>
                <a:gd name="T19" fmla="*/ 2147483646 h 151"/>
                <a:gd name="T20" fmla="*/ 2147483646 w 72"/>
                <a:gd name="T21" fmla="*/ 2147483646 h 151"/>
                <a:gd name="T22" fmla="*/ 2147483646 w 72"/>
                <a:gd name="T23" fmla="*/ 2147483646 h 151"/>
                <a:gd name="T24" fmla="*/ 2147483646 w 72"/>
                <a:gd name="T25" fmla="*/ 2147483646 h 151"/>
                <a:gd name="T26" fmla="*/ 2147483646 w 72"/>
                <a:gd name="T27" fmla="*/ 2147483646 h 151"/>
                <a:gd name="T28" fmla="*/ 2147483646 w 72"/>
                <a:gd name="T29" fmla="*/ 2147483646 h 151"/>
                <a:gd name="T30" fmla="*/ 2147483646 w 72"/>
                <a:gd name="T31" fmla="*/ 2147483646 h 151"/>
                <a:gd name="T32" fmla="*/ 2147483646 w 72"/>
                <a:gd name="T33" fmla="*/ 2147483646 h 151"/>
                <a:gd name="T34" fmla="*/ 2147483646 w 72"/>
                <a:gd name="T35" fmla="*/ 2147483646 h 15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151">
                  <a:moveTo>
                    <a:pt x="40" y="151"/>
                  </a:moveTo>
                  <a:cubicBezTo>
                    <a:pt x="39" y="150"/>
                    <a:pt x="39" y="150"/>
                    <a:pt x="39" y="150"/>
                  </a:cubicBezTo>
                  <a:cubicBezTo>
                    <a:pt x="14" y="124"/>
                    <a:pt x="0" y="90"/>
                    <a:pt x="0" y="54"/>
                  </a:cubicBezTo>
                  <a:cubicBezTo>
                    <a:pt x="0" y="36"/>
                    <a:pt x="3" y="18"/>
                    <a:pt x="10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46" y="29"/>
                    <a:pt x="44" y="41"/>
                    <a:pt x="44" y="54"/>
                  </a:cubicBezTo>
                  <a:cubicBezTo>
                    <a:pt x="44" y="79"/>
                    <a:pt x="53" y="102"/>
                    <a:pt x="71" y="119"/>
                  </a:cubicBezTo>
                  <a:cubicBezTo>
                    <a:pt x="72" y="120"/>
                    <a:pt x="72" y="120"/>
                    <a:pt x="72" y="120"/>
                  </a:cubicBezTo>
                  <a:lnTo>
                    <a:pt x="40" y="151"/>
                  </a:lnTo>
                  <a:close/>
                  <a:moveTo>
                    <a:pt x="12" y="3"/>
                  </a:moveTo>
                  <a:cubicBezTo>
                    <a:pt x="6" y="19"/>
                    <a:pt x="2" y="36"/>
                    <a:pt x="2" y="54"/>
                  </a:cubicBezTo>
                  <a:cubicBezTo>
                    <a:pt x="2" y="89"/>
                    <a:pt x="16" y="122"/>
                    <a:pt x="40" y="147"/>
                  </a:cubicBezTo>
                  <a:cubicBezTo>
                    <a:pt x="68" y="120"/>
                    <a:pt x="68" y="120"/>
                    <a:pt x="68" y="120"/>
                  </a:cubicBezTo>
                  <a:cubicBezTo>
                    <a:pt x="51" y="102"/>
                    <a:pt x="41" y="79"/>
                    <a:pt x="41" y="54"/>
                  </a:cubicBezTo>
                  <a:cubicBezTo>
                    <a:pt x="41" y="41"/>
                    <a:pt x="43" y="29"/>
                    <a:pt x="48" y="18"/>
                  </a:cubicBezTo>
                  <a:lnTo>
                    <a:pt x="1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6" name="TextBox 692"/>
            <p:cNvSpPr txBox="1"/>
            <p:nvPr/>
          </p:nvSpPr>
          <p:spPr bwMode="auto">
            <a:xfrm rot="15522238">
              <a:off x="1911496" y="2797597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7" name="组合 86"/>
          <p:cNvGrpSpPr/>
          <p:nvPr/>
        </p:nvGrpSpPr>
        <p:grpSpPr bwMode="auto">
          <a:xfrm>
            <a:off x="1665288" y="1011238"/>
            <a:ext cx="1146175" cy="701675"/>
            <a:chOff x="2087563" y="1223963"/>
            <a:chExt cx="1146687" cy="701675"/>
          </a:xfrm>
        </p:grpSpPr>
        <p:sp>
          <p:nvSpPr>
            <p:cNvPr id="22568" name="Freeform 5"/>
            <p:cNvSpPr/>
            <p:nvPr/>
          </p:nvSpPr>
          <p:spPr bwMode="auto">
            <a:xfrm>
              <a:off x="2105025" y="1233488"/>
              <a:ext cx="1098550" cy="674688"/>
            </a:xfrm>
            <a:custGeom>
              <a:avLst/>
              <a:gdLst>
                <a:gd name="T0" fmla="*/ 2147483646 w 127"/>
                <a:gd name="T1" fmla="*/ 2147483646 h 78"/>
                <a:gd name="T2" fmla="*/ 2147483646 w 127"/>
                <a:gd name="T3" fmla="*/ 0 h 78"/>
                <a:gd name="T4" fmla="*/ 0 w 127"/>
                <a:gd name="T5" fmla="*/ 2147483646 h 78"/>
                <a:gd name="T6" fmla="*/ 2147483646 w 127"/>
                <a:gd name="T7" fmla="*/ 2147483646 h 78"/>
                <a:gd name="T8" fmla="*/ 2147483646 w 127"/>
                <a:gd name="T9" fmla="*/ 2147483646 h 7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7" h="78">
                  <a:moveTo>
                    <a:pt x="127" y="37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77" y="0"/>
                    <a:pt x="33" y="20"/>
                    <a:pt x="0" y="52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51" y="52"/>
                    <a:pt x="87" y="37"/>
                    <a:pt x="127" y="37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69" name="Freeform 6"/>
            <p:cNvSpPr>
              <a:spLocks noEditPoints="1"/>
            </p:cNvSpPr>
            <p:nvPr/>
          </p:nvSpPr>
          <p:spPr bwMode="auto">
            <a:xfrm>
              <a:off x="2087563" y="1223963"/>
              <a:ext cx="1125538" cy="701675"/>
            </a:xfrm>
            <a:custGeom>
              <a:avLst/>
              <a:gdLst>
                <a:gd name="T0" fmla="*/ 2147483646 w 130"/>
                <a:gd name="T1" fmla="*/ 2147483646 h 81"/>
                <a:gd name="T2" fmla="*/ 0 w 130"/>
                <a:gd name="T3" fmla="*/ 2147483646 h 81"/>
                <a:gd name="T4" fmla="*/ 2147483646 w 130"/>
                <a:gd name="T5" fmla="*/ 2147483646 h 81"/>
                <a:gd name="T6" fmla="*/ 2147483646 w 130"/>
                <a:gd name="T7" fmla="*/ 0 h 81"/>
                <a:gd name="T8" fmla="*/ 2147483646 w 130"/>
                <a:gd name="T9" fmla="*/ 0 h 81"/>
                <a:gd name="T10" fmla="*/ 2147483646 w 130"/>
                <a:gd name="T11" fmla="*/ 2147483646 h 81"/>
                <a:gd name="T12" fmla="*/ 2147483646 w 130"/>
                <a:gd name="T13" fmla="*/ 2147483646 h 81"/>
                <a:gd name="T14" fmla="*/ 2147483646 w 130"/>
                <a:gd name="T15" fmla="*/ 2147483646 h 81"/>
                <a:gd name="T16" fmla="*/ 2147483646 w 130"/>
                <a:gd name="T17" fmla="*/ 2147483646 h 81"/>
                <a:gd name="T18" fmla="*/ 2147483646 w 130"/>
                <a:gd name="T19" fmla="*/ 2147483646 h 81"/>
                <a:gd name="T20" fmla="*/ 2147483646 w 130"/>
                <a:gd name="T21" fmla="*/ 2147483646 h 81"/>
                <a:gd name="T22" fmla="*/ 2147483646 w 130"/>
                <a:gd name="T23" fmla="*/ 2147483646 h 81"/>
                <a:gd name="T24" fmla="*/ 2147483646 w 130"/>
                <a:gd name="T25" fmla="*/ 2147483646 h 81"/>
                <a:gd name="T26" fmla="*/ 2147483646 w 130"/>
                <a:gd name="T27" fmla="*/ 2147483646 h 8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0" h="81">
                  <a:moveTo>
                    <a:pt x="27" y="81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35" y="18"/>
                    <a:pt x="81" y="0"/>
                    <a:pt x="129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0" y="39"/>
                    <a:pt x="130" y="39"/>
                    <a:pt x="130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91" y="39"/>
                    <a:pt x="55" y="54"/>
                    <a:pt x="28" y="80"/>
                  </a:cubicBezTo>
                  <a:lnTo>
                    <a:pt x="27" y="81"/>
                  </a:lnTo>
                  <a:close/>
                  <a:moveTo>
                    <a:pt x="4" y="53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54" y="51"/>
                    <a:pt x="90" y="37"/>
                    <a:pt x="127" y="36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81" y="3"/>
                    <a:pt x="37" y="21"/>
                    <a:pt x="4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7" name="TextBox 692"/>
            <p:cNvSpPr txBox="1"/>
            <p:nvPr/>
          </p:nvSpPr>
          <p:spPr bwMode="auto">
            <a:xfrm rot="20199188">
              <a:off x="2280143" y="1499444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8" name="矩形 1"/>
          <p:cNvSpPr>
            <a:spLocks noChangeArrowheads="1"/>
          </p:cNvSpPr>
          <p:nvPr/>
        </p:nvSpPr>
        <p:spPr bwMode="auto">
          <a:xfrm>
            <a:off x="4791075" y="1841500"/>
            <a:ext cx="3236913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有中国最强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中国最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材商城，中国最火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论坛，中国最好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能培训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29" name="组合 1028"/>
          <p:cNvGrpSpPr/>
          <p:nvPr/>
        </p:nvGrpSpPr>
        <p:grpSpPr bwMode="auto">
          <a:xfrm>
            <a:off x="4903788" y="1470025"/>
            <a:ext cx="3052762" cy="361950"/>
            <a:chOff x="4846160" y="1470506"/>
            <a:chExt cx="3053066" cy="361727"/>
          </a:xfrm>
        </p:grpSpPr>
        <p:cxnSp>
          <p:nvCxnSpPr>
            <p:cNvPr id="79" name="直接连接符 78"/>
            <p:cNvCxnSpPr/>
            <p:nvPr/>
          </p:nvCxnSpPr>
          <p:spPr>
            <a:xfrm>
              <a:off x="4865212" y="1832233"/>
              <a:ext cx="3034014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561" name="组合 79"/>
            <p:cNvGrpSpPr/>
            <p:nvPr/>
          </p:nvGrpSpPr>
          <p:grpSpPr bwMode="auto">
            <a:xfrm>
              <a:off x="4846160" y="1470506"/>
              <a:ext cx="2076537" cy="322262"/>
              <a:chOff x="957895" y="1031498"/>
              <a:chExt cx="2076537" cy="322262"/>
            </a:xfrm>
          </p:grpSpPr>
          <p:sp>
            <p:nvSpPr>
              <p:cNvPr id="81" name="TextBox 265"/>
              <p:cNvSpPr txBox="1"/>
              <p:nvPr/>
            </p:nvSpPr>
            <p:spPr bwMode="auto">
              <a:xfrm>
                <a:off x="1156352" y="1031498"/>
                <a:ext cx="1101835" cy="32206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22563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22564" name="组合 82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85" name="流程图: 决策 166"/>
                <p:cNvSpPr/>
                <p:nvPr/>
              </p:nvSpPr>
              <p:spPr>
                <a:xfrm>
                  <a:off x="957895" y="1125103"/>
                  <a:ext cx="136539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86" name="流程图: 决策 166"/>
                <p:cNvSpPr/>
                <p:nvPr/>
              </p:nvSpPr>
              <p:spPr>
                <a:xfrm>
                  <a:off x="1107135" y="1126689"/>
                  <a:ext cx="90496" cy="168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84" name="直接连接符 83"/>
              <p:cNvCxnSpPr/>
              <p:nvPr/>
            </p:nvCxnSpPr>
            <p:spPr>
              <a:xfrm>
                <a:off x="2262950" y="1137795"/>
                <a:ext cx="0" cy="14437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2" name="矩形 101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3" name="矩形 102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4" name="矩形 103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5" name="矩形 104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xit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3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7" dur="3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3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xit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3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15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2" presetClass="exit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19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3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4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xit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3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2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3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2" dur="3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xit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3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35" dur="3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3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0" dur="3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2" dur="4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43" dur="4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3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4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8" dur="4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2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120000">
                                      <p:cBhvr>
                                        <p:cTn id="50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1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2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3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4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26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25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7" dur="125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3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3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3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3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3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3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3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3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6" presetClass="emph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300" tmFilter="0, 0; .2, .5; .8, .5; 1, 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1" dur="150" autoRev="1" fill="hold"/>
                                        <p:tgtEl>
                                          <p:spTgt spid="8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26" presetClass="emph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300" tmFilter="0, 0; .2, .5; .8, .5; 1, 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4" dur="150" autoRev="1" fill="hold"/>
                                        <p:tgtEl>
                                          <p:spTgt spid="9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5" presetID="26" presetClass="emph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3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7" dur="1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8" presetID="26" presetClass="emph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3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0" dur="1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1" presetID="2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4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4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4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4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4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4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4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4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4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4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4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4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4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4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4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4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200" tmFilter="0, 0; .2, .5; .8, .5; 1, 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5" dur="100" autoRev="1" fill="hold"/>
                                        <p:tgtEl>
                                          <p:spTgt spid="5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6" presetID="2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200" tmFilter="0, 0; .2, .5; .8, .5; 1, 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8" dur="100" autoRev="1" fill="hold"/>
                                        <p:tgtEl>
                                          <p:spTgt spid="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9" presetID="2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0" dur="200" tmFilter="0, 0; .2, .5; .8, .5; 1, 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1" dur="100" autoRev="1" fill="hold"/>
                                        <p:tgtEl>
                                          <p:spTgt spid="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2" presetID="2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200" tmFilter="0, 0; .2, .5; .8, .5; 1, 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4" dur="100" autoRev="1" fill="hold"/>
                                        <p:tgtEl>
                                          <p:spTgt spid="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5" presetID="2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2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7" dur="10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2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200" tmFilter="0, 0; .2, .5; .8, .5; 1, 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0" dur="100" autoRev="1" fill="hold"/>
                                        <p:tgtEl>
                                          <p:spTgt spid="8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1" presetID="2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200" tmFilter="0, 0; .2, .5; .8, .5; 1, 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3" dur="100" autoRev="1" fill="hold"/>
                                        <p:tgtEl>
                                          <p:spTgt spid="9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4" presetID="26" presetClass="emph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200" tmFilter="0, 0; .2, .5; .8, .5; 1, 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6" dur="100" autoRev="1" fill="hold"/>
                                        <p:tgtEl>
                                          <p:spTgt spid="8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2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9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54" name="组合 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364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555" name="组合 4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3646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556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57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58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59" name="组合 1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60" name="组合 22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4" name="任意多边形 23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61" name="组合 25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3633" name="矩形 26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任意多边形 27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7" name="组合 16"/>
          <p:cNvGrpSpPr/>
          <p:nvPr/>
        </p:nvGrpSpPr>
        <p:grpSpPr bwMode="auto">
          <a:xfrm>
            <a:off x="863600" y="1135063"/>
            <a:ext cx="2049463" cy="479425"/>
            <a:chOff x="863588" y="1134566"/>
            <a:chExt cx="2050132" cy="480656"/>
          </a:xfrm>
        </p:grpSpPr>
        <p:sp>
          <p:nvSpPr>
            <p:cNvPr id="23628" name="Freeform 8"/>
            <p:cNvSpPr/>
            <p:nvPr/>
          </p:nvSpPr>
          <p:spPr bwMode="auto">
            <a:xfrm>
              <a:off x="904565" y="1516212"/>
              <a:ext cx="685800" cy="34925"/>
            </a:xfrm>
            <a:custGeom>
              <a:avLst/>
              <a:gdLst>
                <a:gd name="T0" fmla="*/ 2147483646 w 117"/>
                <a:gd name="T1" fmla="*/ 2147483646 h 6"/>
                <a:gd name="T2" fmla="*/ 2147483646 w 117"/>
                <a:gd name="T3" fmla="*/ 2147483646 h 6"/>
                <a:gd name="T4" fmla="*/ 2147483646 w 117"/>
                <a:gd name="T5" fmla="*/ 2147483646 h 6"/>
                <a:gd name="T6" fmla="*/ 0 w 117"/>
                <a:gd name="T7" fmla="*/ 2147483646 h 6"/>
                <a:gd name="T8" fmla="*/ 0 w 117"/>
                <a:gd name="T9" fmla="*/ 2147483646 h 6"/>
                <a:gd name="T10" fmla="*/ 2147483646 w 117"/>
                <a:gd name="T11" fmla="*/ 0 h 6"/>
                <a:gd name="T12" fmla="*/ 2147483646 w 117"/>
                <a:gd name="T13" fmla="*/ 0 h 6"/>
                <a:gd name="T14" fmla="*/ 2147483646 w 117"/>
                <a:gd name="T15" fmla="*/ 2147483646 h 6"/>
                <a:gd name="T16" fmla="*/ 2147483646 w 117"/>
                <a:gd name="T17" fmla="*/ 2147483646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17" h="6">
                  <a:moveTo>
                    <a:pt x="117" y="5"/>
                  </a:moveTo>
                  <a:cubicBezTo>
                    <a:pt x="117" y="6"/>
                    <a:pt x="116" y="6"/>
                    <a:pt x="115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6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6" y="0"/>
                    <a:pt x="117" y="0"/>
                    <a:pt x="117" y="1"/>
                  </a:cubicBezTo>
                  <a:lnTo>
                    <a:pt x="117" y="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29" name="Freeform 9"/>
            <p:cNvSpPr>
              <a:spLocks noEditPoints="1"/>
            </p:cNvSpPr>
            <p:nvPr/>
          </p:nvSpPr>
          <p:spPr bwMode="auto">
            <a:xfrm>
              <a:off x="945840" y="1151087"/>
              <a:ext cx="603250" cy="346075"/>
            </a:xfrm>
            <a:custGeom>
              <a:avLst/>
              <a:gdLst>
                <a:gd name="T0" fmla="*/ 2147483646 w 103"/>
                <a:gd name="T1" fmla="*/ 0 h 59"/>
                <a:gd name="T2" fmla="*/ 2147483646 w 103"/>
                <a:gd name="T3" fmla="*/ 0 h 59"/>
                <a:gd name="T4" fmla="*/ 0 w 103"/>
                <a:gd name="T5" fmla="*/ 2147483646 h 59"/>
                <a:gd name="T6" fmla="*/ 0 w 103"/>
                <a:gd name="T7" fmla="*/ 2147483646 h 59"/>
                <a:gd name="T8" fmla="*/ 2147483646 w 103"/>
                <a:gd name="T9" fmla="*/ 2147483646 h 59"/>
                <a:gd name="T10" fmla="*/ 2147483646 w 103"/>
                <a:gd name="T11" fmla="*/ 2147483646 h 59"/>
                <a:gd name="T12" fmla="*/ 2147483646 w 103"/>
                <a:gd name="T13" fmla="*/ 2147483646 h 59"/>
                <a:gd name="T14" fmla="*/ 2147483646 w 103"/>
                <a:gd name="T15" fmla="*/ 2147483646 h 59"/>
                <a:gd name="T16" fmla="*/ 2147483646 w 103"/>
                <a:gd name="T17" fmla="*/ 0 h 59"/>
                <a:gd name="T18" fmla="*/ 2147483646 w 103"/>
                <a:gd name="T19" fmla="*/ 2147483646 h 59"/>
                <a:gd name="T20" fmla="*/ 2147483646 w 103"/>
                <a:gd name="T21" fmla="*/ 2147483646 h 59"/>
                <a:gd name="T22" fmla="*/ 2147483646 w 103"/>
                <a:gd name="T23" fmla="*/ 2147483646 h 59"/>
                <a:gd name="T24" fmla="*/ 2147483646 w 103"/>
                <a:gd name="T25" fmla="*/ 2147483646 h 59"/>
                <a:gd name="T26" fmla="*/ 2147483646 w 103"/>
                <a:gd name="T27" fmla="*/ 2147483646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3" h="59">
                  <a:moveTo>
                    <a:pt x="9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7"/>
                    <a:pt x="2" y="59"/>
                    <a:pt x="5" y="59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101" y="59"/>
                    <a:pt x="103" y="57"/>
                    <a:pt x="103" y="54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2"/>
                    <a:pt x="101" y="0"/>
                    <a:pt x="99" y="0"/>
                  </a:cubicBezTo>
                  <a:close/>
                  <a:moveTo>
                    <a:pt x="99" y="55"/>
                  </a:moveTo>
                  <a:cubicBezTo>
                    <a:pt x="5" y="55"/>
                    <a:pt x="5" y="55"/>
                    <a:pt x="5" y="5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99" y="6"/>
                    <a:pt x="99" y="6"/>
                    <a:pt x="99" y="6"/>
                  </a:cubicBezTo>
                  <a:lnTo>
                    <a:pt x="99" y="5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1" name="直接连接符 60"/>
            <p:cNvCxnSpPr/>
            <p:nvPr/>
          </p:nvCxnSpPr>
          <p:spPr>
            <a:xfrm>
              <a:off x="863588" y="1615222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31" name="TextBox 682"/>
            <p:cNvSpPr txBox="1">
              <a:spLocks noChangeArrowheads="1"/>
            </p:cNvSpPr>
            <p:nvPr/>
          </p:nvSpPr>
          <p:spPr bwMode="auto">
            <a:xfrm>
              <a:off x="1591990" y="1166318"/>
              <a:ext cx="54373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400">
                  <a:solidFill>
                    <a:schemeClr val="bg1"/>
                  </a:solidFill>
                  <a:latin typeface="Arial" panose="020B0604020202020204" pitchFamily="34" charset="0"/>
                  <a:ea typeface="MStiffHeiHK-UltraBold" panose="00000900000000000000" pitchFamily="2" charset="-120"/>
                </a:rPr>
                <a:t>31%</a:t>
              </a:r>
              <a:endParaRPr lang="zh-CN" altLang="en-US" sz="1400">
                <a:solidFill>
                  <a:schemeClr val="bg1"/>
                </a:solidFill>
                <a:latin typeface="Arial" panose="020B0604020202020204" pitchFamily="34" charset="0"/>
                <a:ea typeface="MStiffHeiHK-UltraBold" panose="00000900000000000000" pitchFamily="2" charset="-120"/>
              </a:endParaRPr>
            </a:p>
          </p:txBody>
        </p:sp>
        <p:sp>
          <p:nvSpPr>
            <p:cNvPr id="81" name="TextBox 10"/>
            <p:cNvSpPr txBox="1">
              <a:spLocks noChangeArrowheads="1"/>
            </p:cNvSpPr>
            <p:nvPr/>
          </p:nvSpPr>
          <p:spPr bwMode="auto">
            <a:xfrm>
              <a:off x="1725882" y="1134566"/>
              <a:ext cx="1108437" cy="461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 bwMode="auto">
          <a:xfrm>
            <a:off x="3554413" y="987425"/>
            <a:ext cx="2049462" cy="627063"/>
            <a:chOff x="3553627" y="987574"/>
            <a:chExt cx="2050132" cy="627648"/>
          </a:xfrm>
        </p:grpSpPr>
        <p:sp>
          <p:nvSpPr>
            <p:cNvPr id="34" name="Freeform 1001"/>
            <p:cNvSpPr>
              <a:spLocks noEditPoints="1"/>
            </p:cNvSpPr>
            <p:nvPr/>
          </p:nvSpPr>
          <p:spPr bwMode="auto">
            <a:xfrm>
              <a:off x="3620324" y="987574"/>
              <a:ext cx="492286" cy="546609"/>
            </a:xfrm>
            <a:custGeom>
              <a:avLst/>
              <a:gdLst>
                <a:gd name="T0" fmla="*/ 56 w 84"/>
                <a:gd name="T1" fmla="*/ 32 h 93"/>
                <a:gd name="T2" fmla="*/ 64 w 84"/>
                <a:gd name="T3" fmla="*/ 14 h 93"/>
                <a:gd name="T4" fmla="*/ 67 w 84"/>
                <a:gd name="T5" fmla="*/ 12 h 93"/>
                <a:gd name="T6" fmla="*/ 65 w 84"/>
                <a:gd name="T7" fmla="*/ 10 h 93"/>
                <a:gd name="T8" fmla="*/ 65 w 84"/>
                <a:gd name="T9" fmla="*/ 10 h 93"/>
                <a:gd name="T10" fmla="*/ 64 w 84"/>
                <a:gd name="T11" fmla="*/ 10 h 93"/>
                <a:gd name="T12" fmla="*/ 63 w 84"/>
                <a:gd name="T13" fmla="*/ 12 h 93"/>
                <a:gd name="T14" fmla="*/ 45 w 84"/>
                <a:gd name="T15" fmla="*/ 28 h 93"/>
                <a:gd name="T16" fmla="*/ 41 w 84"/>
                <a:gd name="T17" fmla="*/ 28 h 93"/>
                <a:gd name="T18" fmla="*/ 40 w 84"/>
                <a:gd name="T19" fmla="*/ 28 h 93"/>
                <a:gd name="T20" fmla="*/ 19 w 84"/>
                <a:gd name="T21" fmla="*/ 2 h 93"/>
                <a:gd name="T22" fmla="*/ 15 w 84"/>
                <a:gd name="T23" fmla="*/ 2 h 93"/>
                <a:gd name="T24" fmla="*/ 17 w 84"/>
                <a:gd name="T25" fmla="*/ 4 h 93"/>
                <a:gd name="T26" fmla="*/ 34 w 84"/>
                <a:gd name="T27" fmla="*/ 29 h 93"/>
                <a:gd name="T28" fmla="*/ 5 w 84"/>
                <a:gd name="T29" fmla="*/ 32 h 93"/>
                <a:gd name="T30" fmla="*/ 0 w 84"/>
                <a:gd name="T31" fmla="*/ 87 h 93"/>
                <a:gd name="T32" fmla="*/ 7 w 84"/>
                <a:gd name="T33" fmla="*/ 92 h 93"/>
                <a:gd name="T34" fmla="*/ 17 w 84"/>
                <a:gd name="T35" fmla="*/ 93 h 93"/>
                <a:gd name="T36" fmla="*/ 67 w 84"/>
                <a:gd name="T37" fmla="*/ 92 h 93"/>
                <a:gd name="T38" fmla="*/ 78 w 84"/>
                <a:gd name="T39" fmla="*/ 93 h 93"/>
                <a:gd name="T40" fmla="*/ 79 w 84"/>
                <a:gd name="T41" fmla="*/ 92 h 93"/>
                <a:gd name="T42" fmla="*/ 84 w 84"/>
                <a:gd name="T43" fmla="*/ 37 h 93"/>
                <a:gd name="T44" fmla="*/ 71 w 84"/>
                <a:gd name="T45" fmla="*/ 80 h 93"/>
                <a:gd name="T46" fmla="*/ 13 w 84"/>
                <a:gd name="T47" fmla="*/ 88 h 93"/>
                <a:gd name="T48" fmla="*/ 4 w 84"/>
                <a:gd name="T49" fmla="*/ 44 h 93"/>
                <a:gd name="T50" fmla="*/ 63 w 84"/>
                <a:gd name="T51" fmla="*/ 36 h 93"/>
                <a:gd name="T52" fmla="*/ 71 w 84"/>
                <a:gd name="T53" fmla="*/ 80 h 93"/>
                <a:gd name="T54" fmla="*/ 74 w 84"/>
                <a:gd name="T55" fmla="*/ 51 h 93"/>
                <a:gd name="T56" fmla="*/ 80 w 84"/>
                <a:gd name="T57" fmla="*/ 51 h 93"/>
                <a:gd name="T58" fmla="*/ 77 w 84"/>
                <a:gd name="T59" fmla="*/ 46 h 93"/>
                <a:gd name="T60" fmla="*/ 77 w 84"/>
                <a:gd name="T61" fmla="*/ 39 h 93"/>
                <a:gd name="T62" fmla="*/ 77 w 84"/>
                <a:gd name="T63" fmla="*/ 4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4" h="93">
                  <a:moveTo>
                    <a:pt x="79" y="32"/>
                  </a:moveTo>
                  <a:cubicBezTo>
                    <a:pt x="56" y="32"/>
                    <a:pt x="56" y="32"/>
                    <a:pt x="56" y="32"/>
                  </a:cubicBezTo>
                  <a:cubicBezTo>
                    <a:pt x="54" y="31"/>
                    <a:pt x="51" y="29"/>
                    <a:pt x="47" y="28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5" y="14"/>
                  </a:cubicBezTo>
                  <a:cubicBezTo>
                    <a:pt x="66" y="14"/>
                    <a:pt x="67" y="13"/>
                    <a:pt x="67" y="12"/>
                  </a:cubicBezTo>
                  <a:cubicBezTo>
                    <a:pt x="67" y="11"/>
                    <a:pt x="66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4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3" y="11"/>
                    <a:pt x="63" y="11"/>
                    <a:pt x="63" y="12"/>
                  </a:cubicBezTo>
                  <a:cubicBezTo>
                    <a:pt x="63" y="12"/>
                    <a:pt x="63" y="13"/>
                    <a:pt x="63" y="13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4" y="28"/>
                    <a:pt x="43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9" y="3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ubicBezTo>
                    <a:pt x="15" y="3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6" y="28"/>
                    <a:pt x="35" y="28"/>
                    <a:pt x="34" y="29"/>
                  </a:cubicBezTo>
                  <a:cubicBezTo>
                    <a:pt x="31" y="30"/>
                    <a:pt x="28" y="31"/>
                    <a:pt x="27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3" y="32"/>
                    <a:pt x="0" y="34"/>
                    <a:pt x="0" y="3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0"/>
                    <a:pt x="3" y="92"/>
                    <a:pt x="5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7" y="93"/>
                    <a:pt x="67" y="93"/>
                    <a:pt x="67" y="9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2"/>
                    <a:pt x="78" y="92"/>
                    <a:pt x="78" y="92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82" y="92"/>
                    <a:pt x="84" y="90"/>
                    <a:pt x="84" y="8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4"/>
                    <a:pt x="82" y="32"/>
                    <a:pt x="79" y="32"/>
                  </a:cubicBezTo>
                  <a:close/>
                  <a:moveTo>
                    <a:pt x="71" y="80"/>
                  </a:moveTo>
                  <a:cubicBezTo>
                    <a:pt x="71" y="84"/>
                    <a:pt x="67" y="88"/>
                    <a:pt x="6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8" y="88"/>
                    <a:pt x="4" y="84"/>
                    <a:pt x="4" y="80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39"/>
                    <a:pt x="8" y="36"/>
                    <a:pt x="1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7" y="36"/>
                    <a:pt x="71" y="39"/>
                    <a:pt x="71" y="44"/>
                  </a:cubicBezTo>
                  <a:lnTo>
                    <a:pt x="71" y="80"/>
                  </a:lnTo>
                  <a:close/>
                  <a:moveTo>
                    <a:pt x="77" y="54"/>
                  </a:moveTo>
                  <a:cubicBezTo>
                    <a:pt x="75" y="54"/>
                    <a:pt x="74" y="52"/>
                    <a:pt x="74" y="51"/>
                  </a:cubicBezTo>
                  <a:cubicBezTo>
                    <a:pt x="74" y="49"/>
                    <a:pt x="75" y="47"/>
                    <a:pt x="77" y="47"/>
                  </a:cubicBezTo>
                  <a:cubicBezTo>
                    <a:pt x="79" y="47"/>
                    <a:pt x="80" y="49"/>
                    <a:pt x="80" y="51"/>
                  </a:cubicBezTo>
                  <a:cubicBezTo>
                    <a:pt x="80" y="52"/>
                    <a:pt x="79" y="54"/>
                    <a:pt x="77" y="54"/>
                  </a:cubicBezTo>
                  <a:close/>
                  <a:moveTo>
                    <a:pt x="77" y="46"/>
                  </a:moveTo>
                  <a:cubicBezTo>
                    <a:pt x="75" y="46"/>
                    <a:pt x="74" y="44"/>
                    <a:pt x="74" y="43"/>
                  </a:cubicBezTo>
                  <a:cubicBezTo>
                    <a:pt x="74" y="41"/>
                    <a:pt x="75" y="39"/>
                    <a:pt x="77" y="39"/>
                  </a:cubicBezTo>
                  <a:cubicBezTo>
                    <a:pt x="79" y="39"/>
                    <a:pt x="80" y="41"/>
                    <a:pt x="80" y="43"/>
                  </a:cubicBezTo>
                  <a:cubicBezTo>
                    <a:pt x="80" y="44"/>
                    <a:pt x="79" y="46"/>
                    <a:pt x="77" y="46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cxnSp>
          <p:nvCxnSpPr>
            <p:cNvPr id="67" name="直接连接符 66"/>
            <p:cNvCxnSpPr/>
            <p:nvPr/>
          </p:nvCxnSpPr>
          <p:spPr>
            <a:xfrm>
              <a:off x="3553627" y="1615222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10"/>
            <p:cNvSpPr txBox="1">
              <a:spLocks noChangeArrowheads="1"/>
            </p:cNvSpPr>
            <p:nvPr/>
          </p:nvSpPr>
          <p:spPr bwMode="auto">
            <a:xfrm>
              <a:off x="4320640" y="1135350"/>
              <a:ext cx="1106850" cy="460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" name="组合 18"/>
          <p:cNvGrpSpPr/>
          <p:nvPr/>
        </p:nvGrpSpPr>
        <p:grpSpPr bwMode="auto">
          <a:xfrm>
            <a:off x="6230938" y="1093788"/>
            <a:ext cx="2049462" cy="520700"/>
            <a:chOff x="6230280" y="1093937"/>
            <a:chExt cx="2050132" cy="521285"/>
          </a:xfrm>
        </p:grpSpPr>
        <p:sp>
          <p:nvSpPr>
            <p:cNvPr id="23621" name="Freeform 1002"/>
            <p:cNvSpPr>
              <a:spLocks noEditPoints="1"/>
            </p:cNvSpPr>
            <p:nvPr/>
          </p:nvSpPr>
          <p:spPr bwMode="auto">
            <a:xfrm>
              <a:off x="6319770" y="1133624"/>
              <a:ext cx="539750" cy="400050"/>
            </a:xfrm>
            <a:custGeom>
              <a:avLst/>
              <a:gdLst>
                <a:gd name="T0" fmla="*/ 2147483646 w 92"/>
                <a:gd name="T1" fmla="*/ 2147483646 h 68"/>
                <a:gd name="T2" fmla="*/ 2147483646 w 92"/>
                <a:gd name="T3" fmla="*/ 2147483646 h 68"/>
                <a:gd name="T4" fmla="*/ 2147483646 w 92"/>
                <a:gd name="T5" fmla="*/ 0 h 68"/>
                <a:gd name="T6" fmla="*/ 2147483646 w 92"/>
                <a:gd name="T7" fmla="*/ 2147483646 h 68"/>
                <a:gd name="T8" fmla="*/ 2147483646 w 92"/>
                <a:gd name="T9" fmla="*/ 2147483646 h 68"/>
                <a:gd name="T10" fmla="*/ 0 w 92"/>
                <a:gd name="T11" fmla="*/ 2147483646 h 68"/>
                <a:gd name="T12" fmla="*/ 0 w 92"/>
                <a:gd name="T13" fmla="*/ 2147483646 h 68"/>
                <a:gd name="T14" fmla="*/ 2147483646 w 92"/>
                <a:gd name="T15" fmla="*/ 2147483646 h 68"/>
                <a:gd name="T16" fmla="*/ 2147483646 w 92"/>
                <a:gd name="T17" fmla="*/ 2147483646 h 68"/>
                <a:gd name="T18" fmla="*/ 2147483646 w 92"/>
                <a:gd name="T19" fmla="*/ 2147483646 h 68"/>
                <a:gd name="T20" fmla="*/ 2147483646 w 92"/>
                <a:gd name="T21" fmla="*/ 2147483646 h 68"/>
                <a:gd name="T22" fmla="*/ 2147483646 w 92"/>
                <a:gd name="T23" fmla="*/ 2147483646 h 68"/>
                <a:gd name="T24" fmla="*/ 2147483646 w 92"/>
                <a:gd name="T25" fmla="*/ 2147483646 h 68"/>
                <a:gd name="T26" fmla="*/ 2147483646 w 92"/>
                <a:gd name="T27" fmla="*/ 2147483646 h 68"/>
                <a:gd name="T28" fmla="*/ 2147483646 w 92"/>
                <a:gd name="T29" fmla="*/ 2147483646 h 68"/>
                <a:gd name="T30" fmla="*/ 2147483646 w 92"/>
                <a:gd name="T31" fmla="*/ 2147483646 h 68"/>
                <a:gd name="T32" fmla="*/ 2147483646 w 92"/>
                <a:gd name="T33" fmla="*/ 2147483646 h 68"/>
                <a:gd name="T34" fmla="*/ 2147483646 w 92"/>
                <a:gd name="T35" fmla="*/ 2147483646 h 68"/>
                <a:gd name="T36" fmla="*/ 2147483646 w 92"/>
                <a:gd name="T37" fmla="*/ 2147483646 h 68"/>
                <a:gd name="T38" fmla="*/ 2147483646 w 92"/>
                <a:gd name="T39" fmla="*/ 2147483646 h 68"/>
                <a:gd name="T40" fmla="*/ 2147483646 w 92"/>
                <a:gd name="T41" fmla="*/ 2147483646 h 68"/>
                <a:gd name="T42" fmla="*/ 2147483646 w 92"/>
                <a:gd name="T43" fmla="*/ 2147483646 h 68"/>
                <a:gd name="T44" fmla="*/ 2147483646 w 92"/>
                <a:gd name="T45" fmla="*/ 2147483646 h 68"/>
                <a:gd name="T46" fmla="*/ 2147483646 w 92"/>
                <a:gd name="T47" fmla="*/ 2147483646 h 68"/>
                <a:gd name="T48" fmla="*/ 2147483646 w 92"/>
                <a:gd name="T49" fmla="*/ 2147483646 h 68"/>
                <a:gd name="T50" fmla="*/ 2147483646 w 92"/>
                <a:gd name="T51" fmla="*/ 2147483646 h 68"/>
                <a:gd name="T52" fmla="*/ 2147483646 w 92"/>
                <a:gd name="T53" fmla="*/ 2147483646 h 68"/>
                <a:gd name="T54" fmla="*/ 2147483646 w 92"/>
                <a:gd name="T55" fmla="*/ 2147483646 h 6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92" h="68">
                  <a:moveTo>
                    <a:pt x="92" y="34"/>
                  </a:moveTo>
                  <a:cubicBezTo>
                    <a:pt x="75" y="17"/>
                    <a:pt x="75" y="17"/>
                    <a:pt x="75" y="1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34"/>
                    <a:pt x="92" y="34"/>
                    <a:pt x="92" y="34"/>
                  </a:cubicBezTo>
                  <a:close/>
                  <a:moveTo>
                    <a:pt x="20" y="55"/>
                  </a:moveTo>
                  <a:cubicBezTo>
                    <a:pt x="7" y="55"/>
                    <a:pt x="7" y="55"/>
                    <a:pt x="7" y="55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20" y="42"/>
                    <a:pt x="20" y="42"/>
                    <a:pt x="20" y="42"/>
                  </a:cubicBezTo>
                  <a:lnTo>
                    <a:pt x="20" y="55"/>
                  </a:lnTo>
                  <a:close/>
                  <a:moveTo>
                    <a:pt x="40" y="55"/>
                  </a:moveTo>
                  <a:cubicBezTo>
                    <a:pt x="27" y="55"/>
                    <a:pt x="27" y="55"/>
                    <a:pt x="27" y="55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40" y="42"/>
                    <a:pt x="40" y="42"/>
                    <a:pt x="40" y="42"/>
                  </a:cubicBezTo>
                  <a:lnTo>
                    <a:pt x="40" y="55"/>
                  </a:lnTo>
                  <a:close/>
                  <a:moveTo>
                    <a:pt x="55" y="29"/>
                  </a:moveTo>
                  <a:cubicBezTo>
                    <a:pt x="52" y="29"/>
                    <a:pt x="49" y="26"/>
                    <a:pt x="49" y="22"/>
                  </a:cubicBezTo>
                  <a:cubicBezTo>
                    <a:pt x="49" y="19"/>
                    <a:pt x="52" y="16"/>
                    <a:pt x="55" y="16"/>
                  </a:cubicBezTo>
                  <a:cubicBezTo>
                    <a:pt x="59" y="16"/>
                    <a:pt x="61" y="19"/>
                    <a:pt x="61" y="22"/>
                  </a:cubicBezTo>
                  <a:cubicBezTo>
                    <a:pt x="61" y="26"/>
                    <a:pt x="59" y="29"/>
                    <a:pt x="55" y="29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22" name="Freeform 1003"/>
            <p:cNvSpPr/>
            <p:nvPr/>
          </p:nvSpPr>
          <p:spPr bwMode="auto">
            <a:xfrm>
              <a:off x="6295958" y="1093937"/>
              <a:ext cx="581025" cy="228600"/>
            </a:xfrm>
            <a:custGeom>
              <a:avLst/>
              <a:gdLst>
                <a:gd name="T0" fmla="*/ 2147483646 w 366"/>
                <a:gd name="T1" fmla="*/ 2147483646 h 144"/>
                <a:gd name="T2" fmla="*/ 2147483646 w 366"/>
                <a:gd name="T3" fmla="*/ 2147483646 h 144"/>
                <a:gd name="T4" fmla="*/ 2147483646 w 366"/>
                <a:gd name="T5" fmla="*/ 2147483646 h 144"/>
                <a:gd name="T6" fmla="*/ 2147483646 w 366"/>
                <a:gd name="T7" fmla="*/ 2147483646 h 144"/>
                <a:gd name="T8" fmla="*/ 2147483646 w 366"/>
                <a:gd name="T9" fmla="*/ 0 h 144"/>
                <a:gd name="T10" fmla="*/ 2147483646 w 366"/>
                <a:gd name="T11" fmla="*/ 2147483646 h 144"/>
                <a:gd name="T12" fmla="*/ 2147483646 w 366"/>
                <a:gd name="T13" fmla="*/ 2147483646 h 144"/>
                <a:gd name="T14" fmla="*/ 0 w 366"/>
                <a:gd name="T15" fmla="*/ 2147483646 h 144"/>
                <a:gd name="T16" fmla="*/ 2147483646 w 366"/>
                <a:gd name="T17" fmla="*/ 2147483646 h 144"/>
                <a:gd name="T18" fmla="*/ 2147483646 w 366"/>
                <a:gd name="T19" fmla="*/ 2147483646 h 144"/>
                <a:gd name="T20" fmla="*/ 2147483646 w 366"/>
                <a:gd name="T21" fmla="*/ 2147483646 h 144"/>
                <a:gd name="T22" fmla="*/ 2147483646 w 366"/>
                <a:gd name="T23" fmla="*/ 2147483646 h 144"/>
                <a:gd name="T24" fmla="*/ 2147483646 w 366"/>
                <a:gd name="T25" fmla="*/ 2147483646 h 144"/>
                <a:gd name="T26" fmla="*/ 2147483646 w 366"/>
                <a:gd name="T27" fmla="*/ 2147483646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66" h="144">
                  <a:moveTo>
                    <a:pt x="329" y="103"/>
                  </a:moveTo>
                  <a:lnTo>
                    <a:pt x="329" y="33"/>
                  </a:lnTo>
                  <a:lnTo>
                    <a:pt x="300" y="33"/>
                  </a:lnTo>
                  <a:lnTo>
                    <a:pt x="300" y="73"/>
                  </a:lnTo>
                  <a:lnTo>
                    <a:pt x="229" y="0"/>
                  </a:lnTo>
                  <a:lnTo>
                    <a:pt x="163" y="66"/>
                  </a:lnTo>
                  <a:lnTo>
                    <a:pt x="74" y="70"/>
                  </a:lnTo>
                  <a:lnTo>
                    <a:pt x="0" y="144"/>
                  </a:lnTo>
                  <a:lnTo>
                    <a:pt x="100" y="144"/>
                  </a:lnTo>
                  <a:lnTo>
                    <a:pt x="229" y="11"/>
                  </a:lnTo>
                  <a:lnTo>
                    <a:pt x="359" y="144"/>
                  </a:lnTo>
                  <a:lnTo>
                    <a:pt x="366" y="140"/>
                  </a:lnTo>
                  <a:lnTo>
                    <a:pt x="329" y="10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0" name="直接连接符 69"/>
            <p:cNvCxnSpPr/>
            <p:nvPr/>
          </p:nvCxnSpPr>
          <p:spPr>
            <a:xfrm>
              <a:off x="6230280" y="1615222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10"/>
            <p:cNvSpPr txBox="1">
              <a:spLocks noChangeArrowheads="1"/>
            </p:cNvSpPr>
            <p:nvPr/>
          </p:nvSpPr>
          <p:spPr bwMode="auto">
            <a:xfrm>
              <a:off x="6984589" y="1135258"/>
              <a:ext cx="1108437" cy="4608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1" name="组合 30"/>
          <p:cNvGrpSpPr/>
          <p:nvPr/>
        </p:nvGrpSpPr>
        <p:grpSpPr bwMode="auto">
          <a:xfrm>
            <a:off x="6230938" y="1949450"/>
            <a:ext cx="2049462" cy="555625"/>
            <a:chOff x="6230280" y="1949599"/>
            <a:chExt cx="2050132" cy="555310"/>
          </a:xfrm>
        </p:grpSpPr>
        <p:sp>
          <p:nvSpPr>
            <p:cNvPr id="23615" name="Freeform 1011"/>
            <p:cNvSpPr/>
            <p:nvPr/>
          </p:nvSpPr>
          <p:spPr bwMode="auto">
            <a:xfrm>
              <a:off x="6578532" y="1949599"/>
              <a:ext cx="46038" cy="111125"/>
            </a:xfrm>
            <a:custGeom>
              <a:avLst/>
              <a:gdLst>
                <a:gd name="T0" fmla="*/ 2147483646 w 8"/>
                <a:gd name="T1" fmla="*/ 2147483646 h 19"/>
                <a:gd name="T2" fmla="*/ 2147483646 w 8"/>
                <a:gd name="T3" fmla="*/ 2147483646 h 19"/>
                <a:gd name="T4" fmla="*/ 2147483646 w 8"/>
                <a:gd name="T5" fmla="*/ 2147483646 h 19"/>
                <a:gd name="T6" fmla="*/ 0 w 8"/>
                <a:gd name="T7" fmla="*/ 2147483646 h 19"/>
                <a:gd name="T8" fmla="*/ 0 w 8"/>
                <a:gd name="T9" fmla="*/ 2147483646 h 19"/>
                <a:gd name="T10" fmla="*/ 2147483646 w 8"/>
                <a:gd name="T11" fmla="*/ 0 h 19"/>
                <a:gd name="T12" fmla="*/ 2147483646 w 8"/>
                <a:gd name="T13" fmla="*/ 0 h 19"/>
                <a:gd name="T14" fmla="*/ 2147483646 w 8"/>
                <a:gd name="T15" fmla="*/ 2147483646 h 19"/>
                <a:gd name="T16" fmla="*/ 2147483646 w 8"/>
                <a:gd name="T17" fmla="*/ 2147483646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19">
                  <a:moveTo>
                    <a:pt x="8" y="15"/>
                  </a:moveTo>
                  <a:cubicBezTo>
                    <a:pt x="8" y="17"/>
                    <a:pt x="6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7"/>
                    <a:pt x="0" y="1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lnTo>
                    <a:pt x="8" y="15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6" name="Freeform 1012"/>
            <p:cNvSpPr/>
            <p:nvPr/>
          </p:nvSpPr>
          <p:spPr bwMode="auto">
            <a:xfrm>
              <a:off x="6689657" y="1949599"/>
              <a:ext cx="52388" cy="111125"/>
            </a:xfrm>
            <a:custGeom>
              <a:avLst/>
              <a:gdLst>
                <a:gd name="T0" fmla="*/ 2147483646 w 9"/>
                <a:gd name="T1" fmla="*/ 2147483646 h 19"/>
                <a:gd name="T2" fmla="*/ 2147483646 w 9"/>
                <a:gd name="T3" fmla="*/ 2147483646 h 19"/>
                <a:gd name="T4" fmla="*/ 2147483646 w 9"/>
                <a:gd name="T5" fmla="*/ 2147483646 h 19"/>
                <a:gd name="T6" fmla="*/ 0 w 9"/>
                <a:gd name="T7" fmla="*/ 2147483646 h 19"/>
                <a:gd name="T8" fmla="*/ 0 w 9"/>
                <a:gd name="T9" fmla="*/ 2147483646 h 19"/>
                <a:gd name="T10" fmla="*/ 2147483646 w 9"/>
                <a:gd name="T11" fmla="*/ 0 h 19"/>
                <a:gd name="T12" fmla="*/ 2147483646 w 9"/>
                <a:gd name="T13" fmla="*/ 0 h 19"/>
                <a:gd name="T14" fmla="*/ 2147483646 w 9"/>
                <a:gd name="T15" fmla="*/ 2147483646 h 19"/>
                <a:gd name="T16" fmla="*/ 2147483646 w 9"/>
                <a:gd name="T17" fmla="*/ 2147483646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9" y="17"/>
                    <a:pt x="7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7"/>
                    <a:pt x="0" y="1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7" name="Freeform 1013"/>
            <p:cNvSpPr/>
            <p:nvPr/>
          </p:nvSpPr>
          <p:spPr bwMode="auto">
            <a:xfrm>
              <a:off x="6543607" y="2084537"/>
              <a:ext cx="233363" cy="204788"/>
            </a:xfrm>
            <a:custGeom>
              <a:avLst/>
              <a:gdLst>
                <a:gd name="T0" fmla="*/ 2147483646 w 40"/>
                <a:gd name="T1" fmla="*/ 0 h 35"/>
                <a:gd name="T2" fmla="*/ 2147483646 w 40"/>
                <a:gd name="T3" fmla="*/ 0 h 35"/>
                <a:gd name="T4" fmla="*/ 0 w 40"/>
                <a:gd name="T5" fmla="*/ 0 h 35"/>
                <a:gd name="T6" fmla="*/ 0 w 40"/>
                <a:gd name="T7" fmla="*/ 2147483646 h 35"/>
                <a:gd name="T8" fmla="*/ 0 w 40"/>
                <a:gd name="T9" fmla="*/ 2147483646 h 35"/>
                <a:gd name="T10" fmla="*/ 0 w 40"/>
                <a:gd name="T11" fmla="*/ 2147483646 h 35"/>
                <a:gd name="T12" fmla="*/ 2147483646 w 40"/>
                <a:gd name="T13" fmla="*/ 2147483646 h 35"/>
                <a:gd name="T14" fmla="*/ 2147483646 w 40"/>
                <a:gd name="T15" fmla="*/ 2147483646 h 35"/>
                <a:gd name="T16" fmla="*/ 2147483646 w 40"/>
                <a:gd name="T17" fmla="*/ 2147483646 h 35"/>
                <a:gd name="T18" fmla="*/ 2147483646 w 40"/>
                <a:gd name="T19" fmla="*/ 2147483646 h 35"/>
                <a:gd name="T20" fmla="*/ 2147483646 w 40"/>
                <a:gd name="T21" fmla="*/ 2147483646 h 35"/>
                <a:gd name="T22" fmla="*/ 2147483646 w 40"/>
                <a:gd name="T23" fmla="*/ 2147483646 h 35"/>
                <a:gd name="T24" fmla="*/ 2147483646 w 40"/>
                <a:gd name="T25" fmla="*/ 2147483646 h 35"/>
                <a:gd name="T26" fmla="*/ 2147483646 w 40"/>
                <a:gd name="T27" fmla="*/ 2147483646 h 35"/>
                <a:gd name="T28" fmla="*/ 2147483646 w 40"/>
                <a:gd name="T29" fmla="*/ 2147483646 h 35"/>
                <a:gd name="T30" fmla="*/ 2147483646 w 40"/>
                <a:gd name="T31" fmla="*/ 0 h 35"/>
                <a:gd name="T32" fmla="*/ 2147483646 w 40"/>
                <a:gd name="T33" fmla="*/ 0 h 3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5">
                  <a:moveTo>
                    <a:pt x="3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9"/>
                    <a:pt x="2" y="31"/>
                    <a:pt x="5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3"/>
                    <a:pt x="14" y="35"/>
                    <a:pt x="16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7" y="35"/>
                    <a:pt x="29" y="33"/>
                    <a:pt x="29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8" y="31"/>
                    <a:pt x="40" y="29"/>
                    <a:pt x="40" y="27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8" name="Freeform 1014"/>
            <p:cNvSpPr/>
            <p:nvPr/>
          </p:nvSpPr>
          <p:spPr bwMode="auto">
            <a:xfrm>
              <a:off x="6395970" y="2284562"/>
              <a:ext cx="280988" cy="157163"/>
            </a:xfrm>
            <a:custGeom>
              <a:avLst/>
              <a:gdLst>
                <a:gd name="T0" fmla="*/ 2147483646 w 48"/>
                <a:gd name="T1" fmla="*/ 2147483646 h 27"/>
                <a:gd name="T2" fmla="*/ 2147483646 w 48"/>
                <a:gd name="T3" fmla="*/ 2147483646 h 27"/>
                <a:gd name="T4" fmla="*/ 2147483646 w 48"/>
                <a:gd name="T5" fmla="*/ 2147483646 h 27"/>
                <a:gd name="T6" fmla="*/ 2147483646 w 48"/>
                <a:gd name="T7" fmla="*/ 2147483646 h 27"/>
                <a:gd name="T8" fmla="*/ 2147483646 w 48"/>
                <a:gd name="T9" fmla="*/ 2147483646 h 27"/>
                <a:gd name="T10" fmla="*/ 2147483646 w 48"/>
                <a:gd name="T11" fmla="*/ 0 h 27"/>
                <a:gd name="T12" fmla="*/ 0 w 48"/>
                <a:gd name="T13" fmla="*/ 2147483646 h 27"/>
                <a:gd name="T14" fmla="*/ 2147483646 w 48"/>
                <a:gd name="T15" fmla="*/ 2147483646 h 27"/>
                <a:gd name="T16" fmla="*/ 2147483646 w 48"/>
                <a:gd name="T17" fmla="*/ 2147483646 h 27"/>
                <a:gd name="T18" fmla="*/ 2147483646 w 48"/>
                <a:gd name="T19" fmla="*/ 2147483646 h 27"/>
                <a:gd name="T20" fmla="*/ 2147483646 w 48"/>
                <a:gd name="T21" fmla="*/ 2147483646 h 27"/>
                <a:gd name="T22" fmla="*/ 2147483646 w 48"/>
                <a:gd name="T23" fmla="*/ 2147483646 h 27"/>
                <a:gd name="T24" fmla="*/ 2147483646 w 48"/>
                <a:gd name="T25" fmla="*/ 2147483646 h 27"/>
                <a:gd name="T26" fmla="*/ 2147483646 w 48"/>
                <a:gd name="T27" fmla="*/ 2147483646 h 27"/>
                <a:gd name="T28" fmla="*/ 2147483646 w 48"/>
                <a:gd name="T29" fmla="*/ 2147483646 h 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7">
                  <a:moveTo>
                    <a:pt x="45" y="2"/>
                  </a:moveTo>
                  <a:cubicBezTo>
                    <a:pt x="44" y="2"/>
                    <a:pt x="43" y="3"/>
                    <a:pt x="43" y="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8"/>
                    <a:pt x="39" y="21"/>
                    <a:pt x="35" y="21"/>
                  </a:cubicBezTo>
                  <a:cubicBezTo>
                    <a:pt x="30" y="21"/>
                    <a:pt x="27" y="18"/>
                    <a:pt x="27" y="13"/>
                  </a:cubicBezTo>
                  <a:cubicBezTo>
                    <a:pt x="27" y="6"/>
                    <a:pt x="21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5"/>
                    <a:pt x="1" y="16"/>
                    <a:pt x="3" y="16"/>
                  </a:cubicBezTo>
                  <a:cubicBezTo>
                    <a:pt x="4" y="16"/>
                    <a:pt x="6" y="15"/>
                    <a:pt x="6" y="13"/>
                  </a:cubicBezTo>
                  <a:cubicBezTo>
                    <a:pt x="6" y="9"/>
                    <a:pt x="9" y="5"/>
                    <a:pt x="13" y="5"/>
                  </a:cubicBezTo>
                  <a:cubicBezTo>
                    <a:pt x="18" y="5"/>
                    <a:pt x="21" y="9"/>
                    <a:pt x="21" y="13"/>
                  </a:cubicBezTo>
                  <a:cubicBezTo>
                    <a:pt x="21" y="21"/>
                    <a:pt x="27" y="27"/>
                    <a:pt x="35" y="27"/>
                  </a:cubicBezTo>
                  <a:cubicBezTo>
                    <a:pt x="42" y="27"/>
                    <a:pt x="48" y="21"/>
                    <a:pt x="48" y="13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3"/>
                    <a:pt x="47" y="2"/>
                    <a:pt x="45" y="2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1" name="直接连接符 70"/>
            <p:cNvCxnSpPr/>
            <p:nvPr/>
          </p:nvCxnSpPr>
          <p:spPr>
            <a:xfrm>
              <a:off x="6230280" y="2504909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TextBox 10"/>
            <p:cNvSpPr txBox="1">
              <a:spLocks noChangeArrowheads="1"/>
            </p:cNvSpPr>
            <p:nvPr/>
          </p:nvSpPr>
          <p:spPr bwMode="auto">
            <a:xfrm>
              <a:off x="6984589" y="1981331"/>
              <a:ext cx="1108437" cy="461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0" name="组合 29"/>
          <p:cNvGrpSpPr/>
          <p:nvPr/>
        </p:nvGrpSpPr>
        <p:grpSpPr bwMode="auto">
          <a:xfrm>
            <a:off x="3554413" y="1981200"/>
            <a:ext cx="2049462" cy="523875"/>
            <a:chOff x="3553627" y="1980703"/>
            <a:chExt cx="2050132" cy="524206"/>
          </a:xfrm>
        </p:grpSpPr>
        <p:sp>
          <p:nvSpPr>
            <p:cNvPr id="23609" name="Rectangle 1026"/>
            <p:cNvSpPr>
              <a:spLocks noChangeArrowheads="1"/>
            </p:cNvSpPr>
            <p:nvPr/>
          </p:nvSpPr>
          <p:spPr bwMode="auto">
            <a:xfrm>
              <a:off x="3638309" y="2424262"/>
              <a:ext cx="315913" cy="3016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23610" name="Freeform 1027"/>
            <p:cNvSpPr/>
            <p:nvPr/>
          </p:nvSpPr>
          <p:spPr bwMode="auto">
            <a:xfrm>
              <a:off x="3954222" y="2025799"/>
              <a:ext cx="82550" cy="134938"/>
            </a:xfrm>
            <a:custGeom>
              <a:avLst/>
              <a:gdLst>
                <a:gd name="T0" fmla="*/ 2147483646 w 14"/>
                <a:gd name="T1" fmla="*/ 2147483646 h 23"/>
                <a:gd name="T2" fmla="*/ 2147483646 w 14"/>
                <a:gd name="T3" fmla="*/ 2147483646 h 23"/>
                <a:gd name="T4" fmla="*/ 2147483646 w 14"/>
                <a:gd name="T5" fmla="*/ 2147483646 h 23"/>
                <a:gd name="T6" fmla="*/ 2147483646 w 14"/>
                <a:gd name="T7" fmla="*/ 2147483646 h 23"/>
                <a:gd name="T8" fmla="*/ 2147483646 w 14"/>
                <a:gd name="T9" fmla="*/ 2147483646 h 23"/>
                <a:gd name="T10" fmla="*/ 2147483646 w 14"/>
                <a:gd name="T11" fmla="*/ 2147483646 h 23"/>
                <a:gd name="T12" fmla="*/ 2147483646 w 14"/>
                <a:gd name="T13" fmla="*/ 2147483646 h 23"/>
                <a:gd name="T14" fmla="*/ 2147483646 w 14"/>
                <a:gd name="T15" fmla="*/ 2147483646 h 23"/>
                <a:gd name="T16" fmla="*/ 2147483646 w 14"/>
                <a:gd name="T17" fmla="*/ 2147483646 h 23"/>
                <a:gd name="T18" fmla="*/ 2147483646 w 14"/>
                <a:gd name="T19" fmla="*/ 2147483646 h 23"/>
                <a:gd name="T20" fmla="*/ 2147483646 w 14"/>
                <a:gd name="T21" fmla="*/ 2147483646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4" h="23">
                  <a:moveTo>
                    <a:pt x="13" y="10"/>
                  </a:moveTo>
                  <a:cubicBezTo>
                    <a:pt x="13" y="9"/>
                    <a:pt x="13" y="8"/>
                    <a:pt x="12" y="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4"/>
                    <a:pt x="1" y="5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1"/>
                    <a:pt x="9" y="23"/>
                    <a:pt x="11" y="23"/>
                  </a:cubicBezTo>
                  <a:cubicBezTo>
                    <a:pt x="12" y="23"/>
                    <a:pt x="14" y="21"/>
                    <a:pt x="14" y="2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1" name="Freeform 1028"/>
            <p:cNvSpPr/>
            <p:nvPr/>
          </p:nvSpPr>
          <p:spPr bwMode="auto">
            <a:xfrm>
              <a:off x="3954222" y="2184549"/>
              <a:ext cx="82550" cy="228600"/>
            </a:xfrm>
            <a:custGeom>
              <a:avLst/>
              <a:gdLst>
                <a:gd name="T0" fmla="*/ 2147483646 w 14"/>
                <a:gd name="T1" fmla="*/ 0 h 39"/>
                <a:gd name="T2" fmla="*/ 2147483646 w 14"/>
                <a:gd name="T3" fmla="*/ 2147483646 h 39"/>
                <a:gd name="T4" fmla="*/ 2147483646 w 14"/>
                <a:gd name="T5" fmla="*/ 2147483646 h 39"/>
                <a:gd name="T6" fmla="*/ 2147483646 w 14"/>
                <a:gd name="T7" fmla="*/ 2147483646 h 39"/>
                <a:gd name="T8" fmla="*/ 2147483646 w 14"/>
                <a:gd name="T9" fmla="*/ 2147483646 h 39"/>
                <a:gd name="T10" fmla="*/ 0 w 14"/>
                <a:gd name="T11" fmla="*/ 2147483646 h 39"/>
                <a:gd name="T12" fmla="*/ 0 w 14"/>
                <a:gd name="T13" fmla="*/ 2147483646 h 39"/>
                <a:gd name="T14" fmla="*/ 2147483646 w 14"/>
                <a:gd name="T15" fmla="*/ 2147483646 h 39"/>
                <a:gd name="T16" fmla="*/ 2147483646 w 14"/>
                <a:gd name="T17" fmla="*/ 2147483646 h 39"/>
                <a:gd name="T18" fmla="*/ 2147483646 w 14"/>
                <a:gd name="T19" fmla="*/ 0 h 39"/>
                <a:gd name="T20" fmla="*/ 2147483646 w 14"/>
                <a:gd name="T21" fmla="*/ 0 h 3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4" h="39">
                  <a:moveTo>
                    <a:pt x="10" y="0"/>
                  </a:moveTo>
                  <a:cubicBezTo>
                    <a:pt x="10" y="32"/>
                    <a:pt x="10" y="32"/>
                    <a:pt x="10" y="32"/>
                  </a:cubicBezTo>
                  <a:cubicBezTo>
                    <a:pt x="10" y="34"/>
                    <a:pt x="9" y="35"/>
                    <a:pt x="7" y="35"/>
                  </a:cubicBezTo>
                  <a:cubicBezTo>
                    <a:pt x="5" y="35"/>
                    <a:pt x="3" y="34"/>
                    <a:pt x="3" y="3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3" y="39"/>
                    <a:pt x="7" y="39"/>
                  </a:cubicBezTo>
                  <a:cubicBezTo>
                    <a:pt x="10" y="39"/>
                    <a:pt x="14" y="35"/>
                    <a:pt x="14" y="32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2" name="Freeform 1029"/>
            <p:cNvSpPr>
              <a:spLocks noEditPoints="1"/>
            </p:cNvSpPr>
            <p:nvPr/>
          </p:nvSpPr>
          <p:spPr bwMode="auto">
            <a:xfrm>
              <a:off x="3666884" y="1990874"/>
              <a:ext cx="265113" cy="411163"/>
            </a:xfrm>
            <a:custGeom>
              <a:avLst/>
              <a:gdLst>
                <a:gd name="T0" fmla="*/ 2147483646 w 45"/>
                <a:gd name="T1" fmla="*/ 0 h 70"/>
                <a:gd name="T2" fmla="*/ 2147483646 w 45"/>
                <a:gd name="T3" fmla="*/ 0 h 70"/>
                <a:gd name="T4" fmla="*/ 0 w 45"/>
                <a:gd name="T5" fmla="*/ 2147483646 h 70"/>
                <a:gd name="T6" fmla="*/ 0 w 45"/>
                <a:gd name="T7" fmla="*/ 2147483646 h 70"/>
                <a:gd name="T8" fmla="*/ 0 w 45"/>
                <a:gd name="T9" fmla="*/ 2147483646 h 70"/>
                <a:gd name="T10" fmla="*/ 0 w 45"/>
                <a:gd name="T11" fmla="*/ 2147483646 h 70"/>
                <a:gd name="T12" fmla="*/ 2147483646 w 45"/>
                <a:gd name="T13" fmla="*/ 2147483646 h 70"/>
                <a:gd name="T14" fmla="*/ 2147483646 w 45"/>
                <a:gd name="T15" fmla="*/ 2147483646 h 70"/>
                <a:gd name="T16" fmla="*/ 2147483646 w 45"/>
                <a:gd name="T17" fmla="*/ 2147483646 h 70"/>
                <a:gd name="T18" fmla="*/ 2147483646 w 45"/>
                <a:gd name="T19" fmla="*/ 2147483646 h 70"/>
                <a:gd name="T20" fmla="*/ 2147483646 w 45"/>
                <a:gd name="T21" fmla="*/ 0 h 70"/>
                <a:gd name="T22" fmla="*/ 2147483646 w 45"/>
                <a:gd name="T23" fmla="*/ 2147483646 h 70"/>
                <a:gd name="T24" fmla="*/ 2147483646 w 45"/>
                <a:gd name="T25" fmla="*/ 2147483646 h 70"/>
                <a:gd name="T26" fmla="*/ 2147483646 w 45"/>
                <a:gd name="T27" fmla="*/ 2147483646 h 70"/>
                <a:gd name="T28" fmla="*/ 2147483646 w 45"/>
                <a:gd name="T29" fmla="*/ 2147483646 h 70"/>
                <a:gd name="T30" fmla="*/ 2147483646 w 45"/>
                <a:gd name="T31" fmla="*/ 2147483646 h 70"/>
                <a:gd name="T32" fmla="*/ 2147483646 w 45"/>
                <a:gd name="T33" fmla="*/ 2147483646 h 70"/>
                <a:gd name="T34" fmla="*/ 2147483646 w 45"/>
                <a:gd name="T35" fmla="*/ 2147483646 h 70"/>
                <a:gd name="T36" fmla="*/ 2147483646 w 45"/>
                <a:gd name="T37" fmla="*/ 2147483646 h 70"/>
                <a:gd name="T38" fmla="*/ 2147483646 w 45"/>
                <a:gd name="T39" fmla="*/ 2147483646 h 7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45" h="70">
                  <a:moveTo>
                    <a:pt x="3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3"/>
                    <a:pt x="42" y="0"/>
                    <a:pt x="39" y="0"/>
                  </a:cubicBezTo>
                  <a:close/>
                  <a:moveTo>
                    <a:pt x="7" y="15"/>
                  </a:moveTo>
                  <a:cubicBezTo>
                    <a:pt x="7" y="12"/>
                    <a:pt x="10" y="9"/>
                    <a:pt x="13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4" y="9"/>
                    <a:pt x="37" y="12"/>
                    <a:pt x="37" y="15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21"/>
                    <a:pt x="34" y="24"/>
                    <a:pt x="31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" y="24"/>
                    <a:pt x="7" y="21"/>
                    <a:pt x="7" y="18"/>
                  </a:cubicBezTo>
                  <a:lnTo>
                    <a:pt x="7" y="1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8" name="直接连接符 67"/>
            <p:cNvCxnSpPr/>
            <p:nvPr/>
          </p:nvCxnSpPr>
          <p:spPr>
            <a:xfrm>
              <a:off x="3553627" y="2504909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10"/>
            <p:cNvSpPr txBox="1">
              <a:spLocks noChangeArrowheads="1"/>
            </p:cNvSpPr>
            <p:nvPr/>
          </p:nvSpPr>
          <p:spPr bwMode="auto">
            <a:xfrm>
              <a:off x="4320640" y="1980703"/>
              <a:ext cx="1106850" cy="462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 bwMode="auto">
          <a:xfrm>
            <a:off x="863600" y="1966913"/>
            <a:ext cx="2049463" cy="538162"/>
            <a:chOff x="863588" y="1967062"/>
            <a:chExt cx="2050132" cy="537847"/>
          </a:xfrm>
        </p:grpSpPr>
        <p:sp>
          <p:nvSpPr>
            <p:cNvPr id="23604" name="Freeform 1016"/>
            <p:cNvSpPr/>
            <p:nvPr/>
          </p:nvSpPr>
          <p:spPr bwMode="auto">
            <a:xfrm>
              <a:off x="939490" y="1967062"/>
              <a:ext cx="293688" cy="352425"/>
            </a:xfrm>
            <a:custGeom>
              <a:avLst/>
              <a:gdLst>
                <a:gd name="T0" fmla="*/ 2147483646 w 50"/>
                <a:gd name="T1" fmla="*/ 2147483646 h 60"/>
                <a:gd name="T2" fmla="*/ 2147483646 w 50"/>
                <a:gd name="T3" fmla="*/ 0 h 60"/>
                <a:gd name="T4" fmla="*/ 0 w 50"/>
                <a:gd name="T5" fmla="*/ 2147483646 h 60"/>
                <a:gd name="T6" fmla="*/ 2147483646 w 50"/>
                <a:gd name="T7" fmla="*/ 2147483646 h 60"/>
                <a:gd name="T8" fmla="*/ 2147483646 w 50"/>
                <a:gd name="T9" fmla="*/ 2147483646 h 60"/>
                <a:gd name="T10" fmla="*/ 2147483646 w 50"/>
                <a:gd name="T11" fmla="*/ 2147483646 h 60"/>
                <a:gd name="T12" fmla="*/ 2147483646 w 50"/>
                <a:gd name="T13" fmla="*/ 2147483646 h 60"/>
                <a:gd name="T14" fmla="*/ 2147483646 w 50"/>
                <a:gd name="T15" fmla="*/ 2147483646 h 60"/>
                <a:gd name="T16" fmla="*/ 2147483646 w 50"/>
                <a:gd name="T17" fmla="*/ 2147483646 h 60"/>
                <a:gd name="T18" fmla="*/ 2147483646 w 50"/>
                <a:gd name="T19" fmla="*/ 2147483646 h 60"/>
                <a:gd name="T20" fmla="*/ 2147483646 w 50"/>
                <a:gd name="T21" fmla="*/ 2147483646 h 60"/>
                <a:gd name="T22" fmla="*/ 2147483646 w 50"/>
                <a:gd name="T23" fmla="*/ 2147483646 h 60"/>
                <a:gd name="T24" fmla="*/ 2147483646 w 50"/>
                <a:gd name="T25" fmla="*/ 2147483646 h 60"/>
                <a:gd name="T26" fmla="*/ 2147483646 w 50"/>
                <a:gd name="T27" fmla="*/ 2147483646 h 60"/>
                <a:gd name="T28" fmla="*/ 2147483646 w 50"/>
                <a:gd name="T29" fmla="*/ 2147483646 h 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0" h="60">
                  <a:moveTo>
                    <a:pt x="50" y="23"/>
                  </a:moveTo>
                  <a:cubicBezTo>
                    <a:pt x="50" y="10"/>
                    <a:pt x="39" y="0"/>
                    <a:pt x="25" y="0"/>
                  </a:cubicBezTo>
                  <a:cubicBezTo>
                    <a:pt x="11" y="0"/>
                    <a:pt x="0" y="10"/>
                    <a:pt x="0" y="23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3"/>
                    <a:pt x="4" y="35"/>
                    <a:pt x="5" y="36"/>
                  </a:cubicBezTo>
                  <a:cubicBezTo>
                    <a:pt x="9" y="43"/>
                    <a:pt x="13" y="55"/>
                    <a:pt x="13" y="58"/>
                  </a:cubicBezTo>
                  <a:cubicBezTo>
                    <a:pt x="13" y="59"/>
                    <a:pt x="15" y="60"/>
                    <a:pt x="17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5" y="60"/>
                    <a:pt x="37" y="59"/>
                    <a:pt x="37" y="58"/>
                  </a:cubicBezTo>
                  <a:cubicBezTo>
                    <a:pt x="37" y="55"/>
                    <a:pt x="41" y="43"/>
                    <a:pt x="45" y="36"/>
                  </a:cubicBezTo>
                  <a:cubicBezTo>
                    <a:pt x="46" y="35"/>
                    <a:pt x="47" y="33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9" y="29"/>
                    <a:pt x="50" y="26"/>
                    <a:pt x="50" y="23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05" name="Freeform 1017"/>
            <p:cNvSpPr/>
            <p:nvPr/>
          </p:nvSpPr>
          <p:spPr bwMode="auto">
            <a:xfrm>
              <a:off x="1015690" y="2343299"/>
              <a:ext cx="141288" cy="22225"/>
            </a:xfrm>
            <a:custGeom>
              <a:avLst/>
              <a:gdLst>
                <a:gd name="T0" fmla="*/ 2147483646 w 24"/>
                <a:gd name="T1" fmla="*/ 2147483646 h 4"/>
                <a:gd name="T2" fmla="*/ 2147483646 w 24"/>
                <a:gd name="T3" fmla="*/ 0 h 4"/>
                <a:gd name="T4" fmla="*/ 2147483646 w 24"/>
                <a:gd name="T5" fmla="*/ 0 h 4"/>
                <a:gd name="T6" fmla="*/ 0 w 24"/>
                <a:gd name="T7" fmla="*/ 2147483646 h 4"/>
                <a:gd name="T8" fmla="*/ 0 w 24"/>
                <a:gd name="T9" fmla="*/ 2147483646 h 4"/>
                <a:gd name="T10" fmla="*/ 2147483646 w 24"/>
                <a:gd name="T11" fmla="*/ 2147483646 h 4"/>
                <a:gd name="T12" fmla="*/ 2147483646 w 24"/>
                <a:gd name="T13" fmla="*/ 2147483646 h 4"/>
                <a:gd name="T14" fmla="*/ 2147483646 w 24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2" y="0"/>
                    <a:pt x="21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2" y="4"/>
                    <a:pt x="24" y="3"/>
                    <a:pt x="24" y="2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06" name="Freeform 1018"/>
            <p:cNvSpPr/>
            <p:nvPr/>
          </p:nvSpPr>
          <p:spPr bwMode="auto">
            <a:xfrm>
              <a:off x="1015690" y="2382987"/>
              <a:ext cx="141288" cy="30163"/>
            </a:xfrm>
            <a:custGeom>
              <a:avLst/>
              <a:gdLst>
                <a:gd name="T0" fmla="*/ 2147483646 w 24"/>
                <a:gd name="T1" fmla="*/ 2147483646 h 5"/>
                <a:gd name="T2" fmla="*/ 2147483646 w 24"/>
                <a:gd name="T3" fmla="*/ 0 h 5"/>
                <a:gd name="T4" fmla="*/ 2147483646 w 24"/>
                <a:gd name="T5" fmla="*/ 0 h 5"/>
                <a:gd name="T6" fmla="*/ 0 w 24"/>
                <a:gd name="T7" fmla="*/ 2147483646 h 5"/>
                <a:gd name="T8" fmla="*/ 0 w 24"/>
                <a:gd name="T9" fmla="*/ 2147483646 h 5"/>
                <a:gd name="T10" fmla="*/ 2147483646 w 24"/>
                <a:gd name="T11" fmla="*/ 2147483646 h 5"/>
                <a:gd name="T12" fmla="*/ 2147483646 w 24"/>
                <a:gd name="T13" fmla="*/ 2147483646 h 5"/>
                <a:gd name="T14" fmla="*/ 2147483646 w 24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4" h="5">
                  <a:moveTo>
                    <a:pt x="24" y="2"/>
                  </a:moveTo>
                  <a:cubicBezTo>
                    <a:pt x="24" y="1"/>
                    <a:pt x="22" y="0"/>
                    <a:pt x="21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5"/>
                    <a:pt x="24" y="4"/>
                    <a:pt x="24" y="2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2" name="直接连接符 61"/>
            <p:cNvCxnSpPr/>
            <p:nvPr/>
          </p:nvCxnSpPr>
          <p:spPr>
            <a:xfrm>
              <a:off x="863588" y="2504909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Box 10"/>
            <p:cNvSpPr txBox="1">
              <a:spLocks noChangeArrowheads="1"/>
            </p:cNvSpPr>
            <p:nvPr/>
          </p:nvSpPr>
          <p:spPr bwMode="auto">
            <a:xfrm>
              <a:off x="1725882" y="1981341"/>
              <a:ext cx="1108437" cy="461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3" name="组合 72"/>
          <p:cNvGrpSpPr/>
          <p:nvPr/>
        </p:nvGrpSpPr>
        <p:grpSpPr bwMode="auto">
          <a:xfrm>
            <a:off x="863600" y="2824163"/>
            <a:ext cx="2049463" cy="619125"/>
            <a:chOff x="863588" y="2824312"/>
            <a:chExt cx="2050132" cy="619711"/>
          </a:xfrm>
        </p:grpSpPr>
        <p:sp>
          <p:nvSpPr>
            <p:cNvPr id="23596" name="Freeform 1004"/>
            <p:cNvSpPr/>
            <p:nvPr/>
          </p:nvSpPr>
          <p:spPr bwMode="auto">
            <a:xfrm>
              <a:off x="991878" y="2917974"/>
              <a:ext cx="357188" cy="76200"/>
            </a:xfrm>
            <a:custGeom>
              <a:avLst/>
              <a:gdLst>
                <a:gd name="T0" fmla="*/ 2147483646 w 61"/>
                <a:gd name="T1" fmla="*/ 0 h 13"/>
                <a:gd name="T2" fmla="*/ 2147483646 w 61"/>
                <a:gd name="T3" fmla="*/ 0 h 13"/>
                <a:gd name="T4" fmla="*/ 0 w 61"/>
                <a:gd name="T5" fmla="*/ 2147483646 h 13"/>
                <a:gd name="T6" fmla="*/ 0 w 61"/>
                <a:gd name="T7" fmla="*/ 2147483646 h 13"/>
                <a:gd name="T8" fmla="*/ 2147483646 w 61"/>
                <a:gd name="T9" fmla="*/ 2147483646 h 13"/>
                <a:gd name="T10" fmla="*/ 2147483646 w 61"/>
                <a:gd name="T11" fmla="*/ 2147483646 h 13"/>
                <a:gd name="T12" fmla="*/ 2147483646 w 61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13">
                  <a:moveTo>
                    <a:pt x="5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2"/>
                    <a:pt x="58" y="0"/>
                    <a:pt x="54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7" name="Rectangle 1005"/>
            <p:cNvSpPr>
              <a:spLocks noChangeArrowheads="1"/>
            </p:cNvSpPr>
            <p:nvPr/>
          </p:nvSpPr>
          <p:spPr bwMode="auto">
            <a:xfrm>
              <a:off x="991878" y="3005287"/>
              <a:ext cx="141288" cy="301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23598" name="Oval 1006"/>
            <p:cNvSpPr>
              <a:spLocks noChangeArrowheads="1"/>
            </p:cNvSpPr>
            <p:nvPr/>
          </p:nvSpPr>
          <p:spPr bwMode="auto">
            <a:xfrm>
              <a:off x="1144278" y="2824312"/>
              <a:ext cx="76200" cy="7620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23599" name="Oval 1007"/>
            <p:cNvSpPr>
              <a:spLocks noChangeArrowheads="1"/>
            </p:cNvSpPr>
            <p:nvPr/>
          </p:nvSpPr>
          <p:spPr bwMode="auto">
            <a:xfrm>
              <a:off x="1255403" y="2824312"/>
              <a:ext cx="76200" cy="7620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23600" name="Oval 1008"/>
            <p:cNvSpPr>
              <a:spLocks noChangeArrowheads="1"/>
            </p:cNvSpPr>
            <p:nvPr/>
          </p:nvSpPr>
          <p:spPr bwMode="auto">
            <a:xfrm>
              <a:off x="1220478" y="2846537"/>
              <a:ext cx="34925" cy="3651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23601" name="Freeform 1010"/>
            <p:cNvSpPr/>
            <p:nvPr/>
          </p:nvSpPr>
          <p:spPr bwMode="auto">
            <a:xfrm>
              <a:off x="939490" y="3064024"/>
              <a:ext cx="239713" cy="300038"/>
            </a:xfrm>
            <a:custGeom>
              <a:avLst/>
              <a:gdLst>
                <a:gd name="T0" fmla="*/ 2147483646 w 41"/>
                <a:gd name="T1" fmla="*/ 2147483646 h 51"/>
                <a:gd name="T2" fmla="*/ 2147483646 w 41"/>
                <a:gd name="T3" fmla="*/ 2147483646 h 51"/>
                <a:gd name="T4" fmla="*/ 2147483646 w 41"/>
                <a:gd name="T5" fmla="*/ 2147483646 h 51"/>
                <a:gd name="T6" fmla="*/ 2147483646 w 41"/>
                <a:gd name="T7" fmla="*/ 0 h 51"/>
                <a:gd name="T8" fmla="*/ 2147483646 w 41"/>
                <a:gd name="T9" fmla="*/ 2147483646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51">
                  <a:moveTo>
                    <a:pt x="34" y="25"/>
                  </a:moveTo>
                  <a:cubicBezTo>
                    <a:pt x="41" y="39"/>
                    <a:pt x="35" y="51"/>
                    <a:pt x="21" y="51"/>
                  </a:cubicBezTo>
                  <a:cubicBezTo>
                    <a:pt x="6" y="51"/>
                    <a:pt x="0" y="39"/>
                    <a:pt x="7" y="25"/>
                  </a:cubicBezTo>
                  <a:cubicBezTo>
                    <a:pt x="14" y="11"/>
                    <a:pt x="20" y="0"/>
                    <a:pt x="21" y="0"/>
                  </a:cubicBezTo>
                  <a:cubicBezTo>
                    <a:pt x="21" y="0"/>
                    <a:pt x="27" y="11"/>
                    <a:pt x="34" y="25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3" name="直接连接符 62"/>
            <p:cNvCxnSpPr/>
            <p:nvPr/>
          </p:nvCxnSpPr>
          <p:spPr>
            <a:xfrm>
              <a:off x="863588" y="3444023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10"/>
            <p:cNvSpPr txBox="1">
              <a:spLocks noChangeArrowheads="1"/>
            </p:cNvSpPr>
            <p:nvPr/>
          </p:nvSpPr>
          <p:spPr bwMode="auto">
            <a:xfrm>
              <a:off x="1725882" y="2878338"/>
              <a:ext cx="1108437" cy="460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6" name="组合 65"/>
          <p:cNvGrpSpPr/>
          <p:nvPr/>
        </p:nvGrpSpPr>
        <p:grpSpPr bwMode="auto">
          <a:xfrm>
            <a:off x="3554413" y="2811463"/>
            <a:ext cx="2049462" cy="631825"/>
            <a:chOff x="3553627" y="2811612"/>
            <a:chExt cx="2050132" cy="632411"/>
          </a:xfrm>
        </p:grpSpPr>
        <p:sp>
          <p:nvSpPr>
            <p:cNvPr id="23588" name="Freeform 1020"/>
            <p:cNvSpPr/>
            <p:nvPr/>
          </p:nvSpPr>
          <p:spPr bwMode="auto">
            <a:xfrm>
              <a:off x="3666884" y="3152924"/>
              <a:ext cx="223838" cy="146050"/>
            </a:xfrm>
            <a:custGeom>
              <a:avLst/>
              <a:gdLst>
                <a:gd name="T0" fmla="*/ 2147483646 w 38"/>
                <a:gd name="T1" fmla="*/ 0 h 25"/>
                <a:gd name="T2" fmla="*/ 2147483646 w 38"/>
                <a:gd name="T3" fmla="*/ 0 h 25"/>
                <a:gd name="T4" fmla="*/ 0 w 38"/>
                <a:gd name="T5" fmla="*/ 2147483646 h 25"/>
                <a:gd name="T6" fmla="*/ 0 w 38"/>
                <a:gd name="T7" fmla="*/ 2147483646 h 25"/>
                <a:gd name="T8" fmla="*/ 2147483646 w 38"/>
                <a:gd name="T9" fmla="*/ 2147483646 h 25"/>
                <a:gd name="T10" fmla="*/ 2147483646 w 38"/>
                <a:gd name="T11" fmla="*/ 2147483646 h 25"/>
                <a:gd name="T12" fmla="*/ 2147483646 w 38"/>
                <a:gd name="T13" fmla="*/ 2147483646 h 25"/>
                <a:gd name="T14" fmla="*/ 2147483646 w 38"/>
                <a:gd name="T15" fmla="*/ 2147483646 h 25"/>
                <a:gd name="T16" fmla="*/ 2147483646 w 38"/>
                <a:gd name="T17" fmla="*/ 2147483646 h 25"/>
                <a:gd name="T18" fmla="*/ 2147483646 w 38"/>
                <a:gd name="T19" fmla="*/ 2147483646 h 25"/>
                <a:gd name="T20" fmla="*/ 2147483646 w 38"/>
                <a:gd name="T21" fmla="*/ 2147483646 h 25"/>
                <a:gd name="T22" fmla="*/ 2147483646 w 38"/>
                <a:gd name="T23" fmla="*/ 2147483646 h 25"/>
                <a:gd name="T24" fmla="*/ 2147483646 w 38"/>
                <a:gd name="T25" fmla="*/ 2147483646 h 25"/>
                <a:gd name="T26" fmla="*/ 2147483646 w 38"/>
                <a:gd name="T27" fmla="*/ 2147483646 h 25"/>
                <a:gd name="T28" fmla="*/ 2147483646 w 38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8" h="25">
                  <a:moveTo>
                    <a:pt x="3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1" y="14"/>
                    <a:pt x="2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2"/>
                    <a:pt x="8" y="25"/>
                    <a:pt x="11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9" y="25"/>
                    <a:pt x="32" y="22"/>
                    <a:pt x="32" y="19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7" y="14"/>
                    <a:pt x="38" y="13"/>
                    <a:pt x="38" y="11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1"/>
                    <a:pt x="37" y="0"/>
                    <a:pt x="35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9" name="Freeform 1021"/>
            <p:cNvSpPr/>
            <p:nvPr/>
          </p:nvSpPr>
          <p:spPr bwMode="auto">
            <a:xfrm>
              <a:off x="3720859" y="3305324"/>
              <a:ext cx="111125" cy="17463"/>
            </a:xfrm>
            <a:custGeom>
              <a:avLst/>
              <a:gdLst>
                <a:gd name="T0" fmla="*/ 2147483646 w 19"/>
                <a:gd name="T1" fmla="*/ 2147483646 h 3"/>
                <a:gd name="T2" fmla="*/ 2147483646 w 19"/>
                <a:gd name="T3" fmla="*/ 2147483646 h 3"/>
                <a:gd name="T4" fmla="*/ 2147483646 w 19"/>
                <a:gd name="T5" fmla="*/ 2147483646 h 3"/>
                <a:gd name="T6" fmla="*/ 0 w 19"/>
                <a:gd name="T7" fmla="*/ 2147483646 h 3"/>
                <a:gd name="T8" fmla="*/ 0 w 19"/>
                <a:gd name="T9" fmla="*/ 2147483646 h 3"/>
                <a:gd name="T10" fmla="*/ 2147483646 w 19"/>
                <a:gd name="T11" fmla="*/ 0 h 3"/>
                <a:gd name="T12" fmla="*/ 2147483646 w 19"/>
                <a:gd name="T13" fmla="*/ 0 h 3"/>
                <a:gd name="T14" fmla="*/ 2147483646 w 19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3">
                  <a:moveTo>
                    <a:pt x="19" y="2"/>
                  </a:moveTo>
                  <a:cubicBezTo>
                    <a:pt x="19" y="2"/>
                    <a:pt x="19" y="3"/>
                    <a:pt x="18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19" y="1"/>
                    <a:pt x="19" y="2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0" name="Freeform 1022"/>
            <p:cNvSpPr/>
            <p:nvPr/>
          </p:nvSpPr>
          <p:spPr bwMode="auto">
            <a:xfrm>
              <a:off x="3743084" y="3333899"/>
              <a:ext cx="65088" cy="17463"/>
            </a:xfrm>
            <a:custGeom>
              <a:avLst/>
              <a:gdLst>
                <a:gd name="T0" fmla="*/ 2147483646 w 11"/>
                <a:gd name="T1" fmla="*/ 2147483646 h 3"/>
                <a:gd name="T2" fmla="*/ 0 w 11"/>
                <a:gd name="T3" fmla="*/ 2147483646 h 3"/>
                <a:gd name="T4" fmla="*/ 0 w 11"/>
                <a:gd name="T5" fmla="*/ 2147483646 h 3"/>
                <a:gd name="T6" fmla="*/ 2147483646 w 11"/>
                <a:gd name="T7" fmla="*/ 0 h 3"/>
                <a:gd name="T8" fmla="*/ 2147483646 w 11"/>
                <a:gd name="T9" fmla="*/ 0 h 3"/>
                <a:gd name="T10" fmla="*/ 2147483646 w 11"/>
                <a:gd name="T11" fmla="*/ 2147483646 h 3"/>
                <a:gd name="T12" fmla="*/ 2147483646 w 11"/>
                <a:gd name="T13" fmla="*/ 2147483646 h 3"/>
                <a:gd name="T14" fmla="*/ 2147483646 w 11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1" h="3">
                  <a:moveTo>
                    <a:pt x="1" y="3"/>
                  </a:move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3"/>
                    <a:pt x="11" y="3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1" name="Freeform 1023"/>
            <p:cNvSpPr/>
            <p:nvPr/>
          </p:nvSpPr>
          <p:spPr bwMode="auto">
            <a:xfrm>
              <a:off x="3743084" y="2811612"/>
              <a:ext cx="65088" cy="328613"/>
            </a:xfrm>
            <a:custGeom>
              <a:avLst/>
              <a:gdLst>
                <a:gd name="T0" fmla="*/ 2147483646 w 11"/>
                <a:gd name="T1" fmla="*/ 2147483646 h 56"/>
                <a:gd name="T2" fmla="*/ 2147483646 w 11"/>
                <a:gd name="T3" fmla="*/ 0 h 56"/>
                <a:gd name="T4" fmla="*/ 2147483646 w 11"/>
                <a:gd name="T5" fmla="*/ 0 h 56"/>
                <a:gd name="T6" fmla="*/ 0 w 11"/>
                <a:gd name="T7" fmla="*/ 2147483646 h 56"/>
                <a:gd name="T8" fmla="*/ 0 w 11"/>
                <a:gd name="T9" fmla="*/ 2147483646 h 56"/>
                <a:gd name="T10" fmla="*/ 2147483646 w 11"/>
                <a:gd name="T11" fmla="*/ 2147483646 h 56"/>
                <a:gd name="T12" fmla="*/ 2147483646 w 11"/>
                <a:gd name="T13" fmla="*/ 2147483646 h 56"/>
                <a:gd name="T14" fmla="*/ 2147483646 w 11"/>
                <a:gd name="T15" fmla="*/ 2147483646 h 56"/>
                <a:gd name="T16" fmla="*/ 2147483646 w 11"/>
                <a:gd name="T17" fmla="*/ 2147483646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1" h="56">
                  <a:moveTo>
                    <a:pt x="11" y="6"/>
                  </a:moveTo>
                  <a:cubicBezTo>
                    <a:pt x="11" y="3"/>
                    <a:pt x="9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2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9" y="56"/>
                    <a:pt x="11" y="53"/>
                    <a:pt x="11" y="50"/>
                  </a:cubicBezTo>
                  <a:lnTo>
                    <a:pt x="11" y="6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2" name="Freeform 1024"/>
            <p:cNvSpPr/>
            <p:nvPr/>
          </p:nvSpPr>
          <p:spPr bwMode="auto">
            <a:xfrm>
              <a:off x="3685934" y="2835424"/>
              <a:ext cx="46038" cy="304800"/>
            </a:xfrm>
            <a:custGeom>
              <a:avLst/>
              <a:gdLst>
                <a:gd name="T0" fmla="*/ 2147483646 w 8"/>
                <a:gd name="T1" fmla="*/ 2147483646 h 52"/>
                <a:gd name="T2" fmla="*/ 2147483646 w 8"/>
                <a:gd name="T3" fmla="*/ 0 h 52"/>
                <a:gd name="T4" fmla="*/ 2147483646 w 8"/>
                <a:gd name="T5" fmla="*/ 0 h 52"/>
                <a:gd name="T6" fmla="*/ 0 w 8"/>
                <a:gd name="T7" fmla="*/ 2147483646 h 52"/>
                <a:gd name="T8" fmla="*/ 0 w 8"/>
                <a:gd name="T9" fmla="*/ 2147483646 h 52"/>
                <a:gd name="T10" fmla="*/ 2147483646 w 8"/>
                <a:gd name="T11" fmla="*/ 2147483646 h 52"/>
                <a:gd name="T12" fmla="*/ 2147483646 w 8"/>
                <a:gd name="T13" fmla="*/ 2147483646 h 52"/>
                <a:gd name="T14" fmla="*/ 2147483646 w 8"/>
                <a:gd name="T15" fmla="*/ 2147483646 h 52"/>
                <a:gd name="T16" fmla="*/ 2147483646 w 8"/>
                <a:gd name="T17" fmla="*/ 21474836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52">
                  <a:moveTo>
                    <a:pt x="8" y="5"/>
                  </a:moveTo>
                  <a:cubicBezTo>
                    <a:pt x="8" y="2"/>
                    <a:pt x="6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6" y="52"/>
                    <a:pt x="8" y="50"/>
                    <a:pt x="8" y="47"/>
                  </a:cubicBezTo>
                  <a:lnTo>
                    <a:pt x="8" y="5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3" name="Freeform 1025"/>
            <p:cNvSpPr/>
            <p:nvPr/>
          </p:nvSpPr>
          <p:spPr bwMode="auto">
            <a:xfrm>
              <a:off x="3825634" y="2835424"/>
              <a:ext cx="47625" cy="304800"/>
            </a:xfrm>
            <a:custGeom>
              <a:avLst/>
              <a:gdLst>
                <a:gd name="T0" fmla="*/ 2147483646 w 8"/>
                <a:gd name="T1" fmla="*/ 2147483646 h 52"/>
                <a:gd name="T2" fmla="*/ 2147483646 w 8"/>
                <a:gd name="T3" fmla="*/ 0 h 52"/>
                <a:gd name="T4" fmla="*/ 2147483646 w 8"/>
                <a:gd name="T5" fmla="*/ 0 h 52"/>
                <a:gd name="T6" fmla="*/ 0 w 8"/>
                <a:gd name="T7" fmla="*/ 2147483646 h 52"/>
                <a:gd name="T8" fmla="*/ 0 w 8"/>
                <a:gd name="T9" fmla="*/ 2147483646 h 52"/>
                <a:gd name="T10" fmla="*/ 2147483646 w 8"/>
                <a:gd name="T11" fmla="*/ 2147483646 h 52"/>
                <a:gd name="T12" fmla="*/ 2147483646 w 8"/>
                <a:gd name="T13" fmla="*/ 2147483646 h 52"/>
                <a:gd name="T14" fmla="*/ 2147483646 w 8"/>
                <a:gd name="T15" fmla="*/ 2147483646 h 52"/>
                <a:gd name="T16" fmla="*/ 2147483646 w 8"/>
                <a:gd name="T17" fmla="*/ 21474836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52">
                  <a:moveTo>
                    <a:pt x="8" y="5"/>
                  </a:moveTo>
                  <a:cubicBezTo>
                    <a:pt x="8" y="2"/>
                    <a:pt x="6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6" y="52"/>
                    <a:pt x="8" y="50"/>
                    <a:pt x="8" y="47"/>
                  </a:cubicBezTo>
                  <a:lnTo>
                    <a:pt x="8" y="5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9" name="直接连接符 68"/>
            <p:cNvCxnSpPr/>
            <p:nvPr/>
          </p:nvCxnSpPr>
          <p:spPr>
            <a:xfrm>
              <a:off x="3553627" y="3444023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10"/>
            <p:cNvSpPr txBox="1">
              <a:spLocks noChangeArrowheads="1"/>
            </p:cNvSpPr>
            <p:nvPr/>
          </p:nvSpPr>
          <p:spPr bwMode="auto">
            <a:xfrm>
              <a:off x="4320640" y="2878349"/>
              <a:ext cx="1106850" cy="4608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5" name="组合 64"/>
          <p:cNvGrpSpPr/>
          <p:nvPr/>
        </p:nvGrpSpPr>
        <p:grpSpPr bwMode="auto">
          <a:xfrm>
            <a:off x="6230938" y="2878138"/>
            <a:ext cx="2049462" cy="565150"/>
            <a:chOff x="6230280" y="2877641"/>
            <a:chExt cx="2050132" cy="566382"/>
          </a:xfrm>
        </p:grpSpPr>
        <p:sp>
          <p:nvSpPr>
            <p:cNvPr id="23585" name="Freeform 1015"/>
            <p:cNvSpPr/>
            <p:nvPr/>
          </p:nvSpPr>
          <p:spPr bwMode="auto">
            <a:xfrm>
              <a:off x="6395970" y="2900512"/>
              <a:ext cx="457200" cy="415925"/>
            </a:xfrm>
            <a:custGeom>
              <a:avLst/>
              <a:gdLst>
                <a:gd name="T0" fmla="*/ 2147483646 w 78"/>
                <a:gd name="T1" fmla="*/ 2147483646 h 71"/>
                <a:gd name="T2" fmla="*/ 2147483646 w 78"/>
                <a:gd name="T3" fmla="*/ 2147483646 h 71"/>
                <a:gd name="T4" fmla="*/ 2147483646 w 78"/>
                <a:gd name="T5" fmla="*/ 2147483646 h 71"/>
                <a:gd name="T6" fmla="*/ 2147483646 w 78"/>
                <a:gd name="T7" fmla="*/ 2147483646 h 71"/>
                <a:gd name="T8" fmla="*/ 2147483646 w 78"/>
                <a:gd name="T9" fmla="*/ 0 h 71"/>
                <a:gd name="T10" fmla="*/ 2147483646 w 78"/>
                <a:gd name="T11" fmla="*/ 2147483646 h 71"/>
                <a:gd name="T12" fmla="*/ 2147483646 w 78"/>
                <a:gd name="T13" fmla="*/ 2147483646 h 71"/>
                <a:gd name="T14" fmla="*/ 2147483646 w 78"/>
                <a:gd name="T15" fmla="*/ 2147483646 h 7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8" h="71">
                  <a:moveTo>
                    <a:pt x="1" y="69"/>
                  </a:moveTo>
                  <a:cubicBezTo>
                    <a:pt x="1" y="69"/>
                    <a:pt x="0" y="71"/>
                    <a:pt x="5" y="70"/>
                  </a:cubicBezTo>
                  <a:cubicBezTo>
                    <a:pt x="4" y="67"/>
                    <a:pt x="14" y="55"/>
                    <a:pt x="14" y="55"/>
                  </a:cubicBezTo>
                  <a:cubicBezTo>
                    <a:pt x="14" y="55"/>
                    <a:pt x="32" y="67"/>
                    <a:pt x="49" y="48"/>
                  </a:cubicBezTo>
                  <a:cubicBezTo>
                    <a:pt x="66" y="29"/>
                    <a:pt x="54" y="13"/>
                    <a:pt x="78" y="0"/>
                  </a:cubicBezTo>
                  <a:cubicBezTo>
                    <a:pt x="21" y="12"/>
                    <a:pt x="9" y="30"/>
                    <a:pt x="10" y="53"/>
                  </a:cubicBezTo>
                  <a:cubicBezTo>
                    <a:pt x="15" y="42"/>
                    <a:pt x="29" y="27"/>
                    <a:pt x="42" y="21"/>
                  </a:cubicBezTo>
                  <a:cubicBezTo>
                    <a:pt x="21" y="36"/>
                    <a:pt x="7" y="58"/>
                    <a:pt x="1" y="69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2" name="直接连接符 71"/>
            <p:cNvCxnSpPr/>
            <p:nvPr/>
          </p:nvCxnSpPr>
          <p:spPr>
            <a:xfrm>
              <a:off x="6230280" y="3444023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10"/>
            <p:cNvSpPr txBox="1">
              <a:spLocks noChangeArrowheads="1"/>
            </p:cNvSpPr>
            <p:nvPr/>
          </p:nvSpPr>
          <p:spPr bwMode="auto">
            <a:xfrm>
              <a:off x="6984589" y="2877641"/>
              <a:ext cx="1108437" cy="461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4" name="组合 73"/>
          <p:cNvGrpSpPr/>
          <p:nvPr/>
        </p:nvGrpSpPr>
        <p:grpSpPr bwMode="auto">
          <a:xfrm>
            <a:off x="787400" y="3768725"/>
            <a:ext cx="7704138" cy="960438"/>
            <a:chOff x="787674" y="3769505"/>
            <a:chExt cx="7703403" cy="959210"/>
          </a:xfrm>
        </p:grpSpPr>
        <p:sp>
          <p:nvSpPr>
            <p:cNvPr id="91" name="矩形 1"/>
            <p:cNvSpPr>
              <a:spLocks noChangeArrowheads="1"/>
            </p:cNvSpPr>
            <p:nvPr/>
          </p:nvSpPr>
          <p:spPr bwMode="auto">
            <a:xfrm>
              <a:off x="787674" y="4081843"/>
              <a:ext cx="7703403" cy="646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92" name="直接连接符 91"/>
            <p:cNvCxnSpPr/>
            <p:nvPr/>
          </p:nvCxnSpPr>
          <p:spPr>
            <a:xfrm>
              <a:off x="894027" y="4092941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578" name="组合 92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94" name="TextBox 265"/>
              <p:cNvSpPr txBox="1"/>
              <p:nvPr/>
            </p:nvSpPr>
            <p:spPr bwMode="auto">
              <a:xfrm>
                <a:off x="1156857" y="1031498"/>
                <a:ext cx="1101620" cy="3218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23580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23581" name="组合 95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98" name="流程图: 决策 166"/>
                <p:cNvSpPr/>
                <p:nvPr/>
              </p:nvSpPr>
              <p:spPr>
                <a:xfrm>
                  <a:off x="958439" y="1125041"/>
                  <a:ext cx="136512" cy="1712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99" name="流程图: 决策 166"/>
                <p:cNvSpPr/>
                <p:nvPr/>
              </p:nvSpPr>
              <p:spPr>
                <a:xfrm>
                  <a:off x="1107650" y="1126626"/>
                  <a:ext cx="90478" cy="1680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97" name="直接连接符 96"/>
              <p:cNvCxnSpPr/>
              <p:nvPr/>
            </p:nvCxnSpPr>
            <p:spPr>
              <a:xfrm>
                <a:off x="2263240" y="1137725"/>
                <a:ext cx="0" cy="14427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0" name="矩形 99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1" name="矩形 100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2" name="矩形 101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3" name="矩形 102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8" name="组合 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4654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579" name="组合 4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4652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580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1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2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3" name="组合 16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9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4" name="组合 1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5" name="组合 22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4639" name="矩形 23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任意多边形 24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4184650" y="1646757"/>
            <a:ext cx="812800" cy="1365250"/>
            <a:chOff x="4184650" y="1646757"/>
            <a:chExt cx="812800" cy="1365250"/>
          </a:xfrm>
          <a:solidFill>
            <a:srgbClr val="C00000"/>
          </a:solidFill>
        </p:grpSpPr>
        <p:sp>
          <p:nvSpPr>
            <p:cNvPr id="26" name="Freeform 1169"/>
            <p:cNvSpPr/>
            <p:nvPr/>
          </p:nvSpPr>
          <p:spPr bwMode="auto">
            <a:xfrm>
              <a:off x="4184650" y="1646757"/>
              <a:ext cx="812800" cy="993775"/>
            </a:xfrm>
            <a:custGeom>
              <a:avLst/>
              <a:gdLst>
                <a:gd name="T0" fmla="*/ 144 w 144"/>
                <a:gd name="T1" fmla="*/ 68 h 176"/>
                <a:gd name="T2" fmla="*/ 72 w 144"/>
                <a:gd name="T3" fmla="*/ 0 h 176"/>
                <a:gd name="T4" fmla="*/ 0 w 144"/>
                <a:gd name="T5" fmla="*/ 68 h 176"/>
                <a:gd name="T6" fmla="*/ 6 w 144"/>
                <a:gd name="T7" fmla="*/ 94 h 176"/>
                <a:gd name="T8" fmla="*/ 6 w 144"/>
                <a:gd name="T9" fmla="*/ 94 h 176"/>
                <a:gd name="T10" fmla="*/ 13 w 144"/>
                <a:gd name="T11" fmla="*/ 106 h 176"/>
                <a:gd name="T12" fmla="*/ 38 w 144"/>
                <a:gd name="T13" fmla="*/ 169 h 176"/>
                <a:gd name="T14" fmla="*/ 48 w 144"/>
                <a:gd name="T15" fmla="*/ 176 h 176"/>
                <a:gd name="T16" fmla="*/ 96 w 144"/>
                <a:gd name="T17" fmla="*/ 176 h 176"/>
                <a:gd name="T18" fmla="*/ 106 w 144"/>
                <a:gd name="T19" fmla="*/ 169 h 176"/>
                <a:gd name="T20" fmla="*/ 131 w 144"/>
                <a:gd name="T21" fmla="*/ 106 h 176"/>
                <a:gd name="T22" fmla="*/ 138 w 144"/>
                <a:gd name="T23" fmla="*/ 94 h 176"/>
                <a:gd name="T24" fmla="*/ 138 w 144"/>
                <a:gd name="T25" fmla="*/ 94 h 176"/>
                <a:gd name="T26" fmla="*/ 138 w 144"/>
                <a:gd name="T27" fmla="*/ 94 h 176"/>
                <a:gd name="T28" fmla="*/ 144 w 144"/>
                <a:gd name="T29" fmla="*/ 6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176">
                  <a:moveTo>
                    <a:pt x="144" y="68"/>
                  </a:moveTo>
                  <a:cubicBezTo>
                    <a:pt x="144" y="30"/>
                    <a:pt x="111" y="0"/>
                    <a:pt x="72" y="0"/>
                  </a:cubicBezTo>
                  <a:cubicBezTo>
                    <a:pt x="32" y="0"/>
                    <a:pt x="0" y="30"/>
                    <a:pt x="0" y="68"/>
                  </a:cubicBezTo>
                  <a:cubicBezTo>
                    <a:pt x="0" y="77"/>
                    <a:pt x="2" y="86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8" y="98"/>
                    <a:pt x="10" y="102"/>
                    <a:pt x="13" y="106"/>
                  </a:cubicBezTo>
                  <a:cubicBezTo>
                    <a:pt x="24" y="125"/>
                    <a:pt x="38" y="161"/>
                    <a:pt x="38" y="169"/>
                  </a:cubicBezTo>
                  <a:cubicBezTo>
                    <a:pt x="38" y="173"/>
                    <a:pt x="42" y="176"/>
                    <a:pt x="48" y="176"/>
                  </a:cubicBezTo>
                  <a:cubicBezTo>
                    <a:pt x="96" y="176"/>
                    <a:pt x="96" y="176"/>
                    <a:pt x="96" y="176"/>
                  </a:cubicBezTo>
                  <a:cubicBezTo>
                    <a:pt x="102" y="176"/>
                    <a:pt x="106" y="173"/>
                    <a:pt x="106" y="169"/>
                  </a:cubicBezTo>
                  <a:cubicBezTo>
                    <a:pt x="106" y="161"/>
                    <a:pt x="119" y="125"/>
                    <a:pt x="131" y="106"/>
                  </a:cubicBezTo>
                  <a:cubicBezTo>
                    <a:pt x="133" y="102"/>
                    <a:pt x="136" y="98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42" y="86"/>
                    <a:pt x="144" y="77"/>
                    <a:pt x="144" y="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7" name="Freeform 1170"/>
            <p:cNvSpPr/>
            <p:nvPr/>
          </p:nvSpPr>
          <p:spPr bwMode="auto">
            <a:xfrm>
              <a:off x="4398963" y="2691332"/>
              <a:ext cx="384175" cy="73025"/>
            </a:xfrm>
            <a:custGeom>
              <a:avLst/>
              <a:gdLst>
                <a:gd name="T0" fmla="*/ 68 w 68"/>
                <a:gd name="T1" fmla="*/ 7 h 13"/>
                <a:gd name="T2" fmla="*/ 60 w 68"/>
                <a:gd name="T3" fmla="*/ 0 h 13"/>
                <a:gd name="T4" fmla="*/ 8 w 68"/>
                <a:gd name="T5" fmla="*/ 0 h 13"/>
                <a:gd name="T6" fmla="*/ 0 w 68"/>
                <a:gd name="T7" fmla="*/ 7 h 13"/>
                <a:gd name="T8" fmla="*/ 0 w 68"/>
                <a:gd name="T9" fmla="*/ 7 h 13"/>
                <a:gd name="T10" fmla="*/ 8 w 68"/>
                <a:gd name="T11" fmla="*/ 13 h 13"/>
                <a:gd name="T12" fmla="*/ 60 w 68"/>
                <a:gd name="T13" fmla="*/ 13 h 13"/>
                <a:gd name="T14" fmla="*/ 68 w 68"/>
                <a:gd name="T1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13">
                  <a:moveTo>
                    <a:pt x="68" y="7"/>
                  </a:moveTo>
                  <a:cubicBezTo>
                    <a:pt x="68" y="3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1"/>
                    <a:pt x="4" y="13"/>
                    <a:pt x="8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4" y="13"/>
                    <a:pt x="68" y="11"/>
                    <a:pt x="68" y="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8" name="Freeform 1171"/>
            <p:cNvSpPr/>
            <p:nvPr/>
          </p:nvSpPr>
          <p:spPr bwMode="auto">
            <a:xfrm>
              <a:off x="4398963" y="2819920"/>
              <a:ext cx="384175" cy="74613"/>
            </a:xfrm>
            <a:custGeom>
              <a:avLst/>
              <a:gdLst>
                <a:gd name="T0" fmla="*/ 68 w 68"/>
                <a:gd name="T1" fmla="*/ 6 h 13"/>
                <a:gd name="T2" fmla="*/ 60 w 68"/>
                <a:gd name="T3" fmla="*/ 0 h 13"/>
                <a:gd name="T4" fmla="*/ 8 w 68"/>
                <a:gd name="T5" fmla="*/ 0 h 13"/>
                <a:gd name="T6" fmla="*/ 0 w 68"/>
                <a:gd name="T7" fmla="*/ 6 h 13"/>
                <a:gd name="T8" fmla="*/ 0 w 68"/>
                <a:gd name="T9" fmla="*/ 6 h 13"/>
                <a:gd name="T10" fmla="*/ 8 w 68"/>
                <a:gd name="T11" fmla="*/ 13 h 13"/>
                <a:gd name="T12" fmla="*/ 60 w 68"/>
                <a:gd name="T13" fmla="*/ 13 h 13"/>
                <a:gd name="T14" fmla="*/ 68 w 68"/>
                <a:gd name="T1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13">
                  <a:moveTo>
                    <a:pt x="68" y="6"/>
                  </a:moveTo>
                  <a:cubicBezTo>
                    <a:pt x="68" y="3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0"/>
                    <a:pt x="4" y="13"/>
                    <a:pt x="8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4" y="13"/>
                    <a:pt x="68" y="10"/>
                    <a:pt x="68" y="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9" name="Freeform 1172"/>
            <p:cNvSpPr/>
            <p:nvPr/>
          </p:nvSpPr>
          <p:spPr bwMode="auto">
            <a:xfrm>
              <a:off x="4483100" y="2945332"/>
              <a:ext cx="214312" cy="66675"/>
            </a:xfrm>
            <a:custGeom>
              <a:avLst/>
              <a:gdLst>
                <a:gd name="T0" fmla="*/ 38 w 38"/>
                <a:gd name="T1" fmla="*/ 6 h 12"/>
                <a:gd name="T2" fmla="*/ 31 w 38"/>
                <a:gd name="T3" fmla="*/ 12 h 12"/>
                <a:gd name="T4" fmla="*/ 6 w 38"/>
                <a:gd name="T5" fmla="*/ 12 h 12"/>
                <a:gd name="T6" fmla="*/ 0 w 38"/>
                <a:gd name="T7" fmla="*/ 6 h 12"/>
                <a:gd name="T8" fmla="*/ 0 w 38"/>
                <a:gd name="T9" fmla="*/ 6 h 12"/>
                <a:gd name="T10" fmla="*/ 6 w 38"/>
                <a:gd name="T11" fmla="*/ 0 h 12"/>
                <a:gd name="T12" fmla="*/ 31 w 38"/>
                <a:gd name="T13" fmla="*/ 0 h 12"/>
                <a:gd name="T14" fmla="*/ 38 w 38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12">
                  <a:moveTo>
                    <a:pt x="38" y="6"/>
                  </a:moveTo>
                  <a:cubicBezTo>
                    <a:pt x="38" y="9"/>
                    <a:pt x="35" y="12"/>
                    <a:pt x="31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5" y="0"/>
                    <a:pt x="38" y="2"/>
                    <a:pt x="38" y="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38" name="Freeform 1181"/>
          <p:cNvSpPr/>
          <p:nvPr/>
        </p:nvSpPr>
        <p:spPr bwMode="auto">
          <a:xfrm>
            <a:off x="5268913" y="1001713"/>
            <a:ext cx="504825" cy="388937"/>
          </a:xfrm>
          <a:custGeom>
            <a:avLst/>
            <a:gdLst>
              <a:gd name="T0" fmla="*/ 2147483646 w 57"/>
              <a:gd name="T1" fmla="*/ 0 h 44"/>
              <a:gd name="T2" fmla="*/ 0 w 57"/>
              <a:gd name="T3" fmla="*/ 2147483646 h 44"/>
              <a:gd name="T4" fmla="*/ 2147483646 w 57"/>
              <a:gd name="T5" fmla="*/ 2147483646 h 44"/>
              <a:gd name="T6" fmla="*/ 2147483646 w 57"/>
              <a:gd name="T7" fmla="*/ 2147483646 h 44"/>
              <a:gd name="T8" fmla="*/ 2147483646 w 57"/>
              <a:gd name="T9" fmla="*/ 2147483646 h 44"/>
              <a:gd name="T10" fmla="*/ 2147483646 w 57"/>
              <a:gd name="T11" fmla="*/ 2147483646 h 44"/>
              <a:gd name="T12" fmla="*/ 2147483646 w 57"/>
              <a:gd name="T13" fmla="*/ 2147483646 h 44"/>
              <a:gd name="T14" fmla="*/ 2147483646 w 57"/>
              <a:gd name="T15" fmla="*/ 0 h 4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" h="44">
                <a:moveTo>
                  <a:pt x="29" y="0"/>
                </a:moveTo>
                <a:cubicBezTo>
                  <a:pt x="13" y="0"/>
                  <a:pt x="0" y="9"/>
                  <a:pt x="0" y="19"/>
                </a:cubicBezTo>
                <a:cubicBezTo>
                  <a:pt x="0" y="27"/>
                  <a:pt x="6" y="33"/>
                  <a:pt x="14" y="36"/>
                </a:cubicBezTo>
                <a:cubicBezTo>
                  <a:pt x="8" y="44"/>
                  <a:pt x="8" y="44"/>
                  <a:pt x="8" y="44"/>
                </a:cubicBezTo>
                <a:cubicBezTo>
                  <a:pt x="19" y="38"/>
                  <a:pt x="19" y="38"/>
                  <a:pt x="19" y="38"/>
                </a:cubicBezTo>
                <a:cubicBezTo>
                  <a:pt x="22" y="39"/>
                  <a:pt x="25" y="39"/>
                  <a:pt x="29" y="39"/>
                </a:cubicBezTo>
                <a:cubicBezTo>
                  <a:pt x="45" y="39"/>
                  <a:pt x="57" y="30"/>
                  <a:pt x="57" y="19"/>
                </a:cubicBezTo>
                <a:cubicBezTo>
                  <a:pt x="57" y="9"/>
                  <a:pt x="45" y="0"/>
                  <a:pt x="29" y="0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9" name="Freeform 1182"/>
          <p:cNvSpPr/>
          <p:nvPr/>
        </p:nvSpPr>
        <p:spPr bwMode="auto">
          <a:xfrm>
            <a:off x="3425825" y="2738438"/>
            <a:ext cx="469900" cy="452437"/>
          </a:xfrm>
          <a:custGeom>
            <a:avLst/>
            <a:gdLst>
              <a:gd name="T0" fmla="*/ 2147483646 w 53"/>
              <a:gd name="T1" fmla="*/ 2147483646 h 51"/>
              <a:gd name="T2" fmla="*/ 2147483646 w 53"/>
              <a:gd name="T3" fmla="*/ 2147483646 h 51"/>
              <a:gd name="T4" fmla="*/ 2147483646 w 53"/>
              <a:gd name="T5" fmla="*/ 2147483646 h 51"/>
              <a:gd name="T6" fmla="*/ 2147483646 w 53"/>
              <a:gd name="T7" fmla="*/ 2147483646 h 51"/>
              <a:gd name="T8" fmla="*/ 2147483646 w 53"/>
              <a:gd name="T9" fmla="*/ 2147483646 h 51"/>
              <a:gd name="T10" fmla="*/ 2147483646 w 53"/>
              <a:gd name="T11" fmla="*/ 2147483646 h 51"/>
              <a:gd name="T12" fmla="*/ 2147483646 w 53"/>
              <a:gd name="T13" fmla="*/ 2147483646 h 51"/>
              <a:gd name="T14" fmla="*/ 2147483646 w 53"/>
              <a:gd name="T15" fmla="*/ 2147483646 h 51"/>
              <a:gd name="T16" fmla="*/ 2147483646 w 53"/>
              <a:gd name="T17" fmla="*/ 2147483646 h 51"/>
              <a:gd name="T18" fmla="*/ 2147483646 w 53"/>
              <a:gd name="T19" fmla="*/ 2147483646 h 51"/>
              <a:gd name="T20" fmla="*/ 2147483646 w 53"/>
              <a:gd name="T21" fmla="*/ 2147483646 h 51"/>
              <a:gd name="T22" fmla="*/ 2147483646 w 53"/>
              <a:gd name="T23" fmla="*/ 2147483646 h 51"/>
              <a:gd name="T24" fmla="*/ 2147483646 w 53"/>
              <a:gd name="T25" fmla="*/ 2147483646 h 51"/>
              <a:gd name="T26" fmla="*/ 2147483646 w 53"/>
              <a:gd name="T27" fmla="*/ 2147483646 h 51"/>
              <a:gd name="T28" fmla="*/ 2147483646 w 53"/>
              <a:gd name="T29" fmla="*/ 2147483646 h 51"/>
              <a:gd name="T30" fmla="*/ 2147483646 w 53"/>
              <a:gd name="T31" fmla="*/ 2147483646 h 51"/>
              <a:gd name="T32" fmla="*/ 2147483646 w 53"/>
              <a:gd name="T33" fmla="*/ 2147483646 h 51"/>
              <a:gd name="T34" fmla="*/ 2147483646 w 53"/>
              <a:gd name="T35" fmla="*/ 2147483646 h 51"/>
              <a:gd name="T36" fmla="*/ 2147483646 w 53"/>
              <a:gd name="T37" fmla="*/ 2147483646 h 51"/>
              <a:gd name="T38" fmla="*/ 2147483646 w 53"/>
              <a:gd name="T39" fmla="*/ 2147483646 h 51"/>
              <a:gd name="T40" fmla="*/ 2147483646 w 53"/>
              <a:gd name="T41" fmla="*/ 2147483646 h 51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3" h="51">
                <a:moveTo>
                  <a:pt x="25" y="2"/>
                </a:moveTo>
                <a:cubicBezTo>
                  <a:pt x="26" y="0"/>
                  <a:pt x="27" y="0"/>
                  <a:pt x="28" y="2"/>
                </a:cubicBezTo>
                <a:cubicBezTo>
                  <a:pt x="34" y="13"/>
                  <a:pt x="34" y="13"/>
                  <a:pt x="34" y="13"/>
                </a:cubicBezTo>
                <a:cubicBezTo>
                  <a:pt x="35" y="15"/>
                  <a:pt x="37" y="17"/>
                  <a:pt x="39" y="17"/>
                </a:cubicBezTo>
                <a:cubicBezTo>
                  <a:pt x="51" y="19"/>
                  <a:pt x="51" y="19"/>
                  <a:pt x="51" y="19"/>
                </a:cubicBezTo>
                <a:cubicBezTo>
                  <a:pt x="53" y="19"/>
                  <a:pt x="53" y="20"/>
                  <a:pt x="52" y="21"/>
                </a:cubicBezTo>
                <a:cubicBezTo>
                  <a:pt x="43" y="30"/>
                  <a:pt x="43" y="30"/>
                  <a:pt x="43" y="30"/>
                </a:cubicBezTo>
                <a:cubicBezTo>
                  <a:pt x="42" y="31"/>
                  <a:pt x="41" y="34"/>
                  <a:pt x="41" y="36"/>
                </a:cubicBezTo>
                <a:cubicBezTo>
                  <a:pt x="43" y="48"/>
                  <a:pt x="43" y="48"/>
                  <a:pt x="43" y="48"/>
                </a:cubicBezTo>
                <a:cubicBezTo>
                  <a:pt x="44" y="50"/>
                  <a:pt x="42" y="51"/>
                  <a:pt x="41" y="50"/>
                </a:cubicBezTo>
                <a:cubicBezTo>
                  <a:pt x="30" y="44"/>
                  <a:pt x="30" y="44"/>
                  <a:pt x="30" y="44"/>
                </a:cubicBezTo>
                <a:cubicBezTo>
                  <a:pt x="28" y="43"/>
                  <a:pt x="25" y="43"/>
                  <a:pt x="24" y="44"/>
                </a:cubicBezTo>
                <a:cubicBezTo>
                  <a:pt x="13" y="50"/>
                  <a:pt x="13" y="50"/>
                  <a:pt x="13" y="50"/>
                </a:cubicBezTo>
                <a:cubicBezTo>
                  <a:pt x="11" y="51"/>
                  <a:pt x="10" y="50"/>
                  <a:pt x="10" y="48"/>
                </a:cubicBezTo>
                <a:cubicBezTo>
                  <a:pt x="12" y="36"/>
                  <a:pt x="12" y="36"/>
                  <a:pt x="12" y="36"/>
                </a:cubicBezTo>
                <a:cubicBezTo>
                  <a:pt x="13" y="34"/>
                  <a:pt x="12" y="31"/>
                  <a:pt x="11" y="30"/>
                </a:cubicBezTo>
                <a:cubicBezTo>
                  <a:pt x="2" y="21"/>
                  <a:pt x="2" y="21"/>
                  <a:pt x="2" y="21"/>
                </a:cubicBezTo>
                <a:cubicBezTo>
                  <a:pt x="0" y="20"/>
                  <a:pt x="1" y="19"/>
                  <a:pt x="3" y="19"/>
                </a:cubicBezTo>
                <a:cubicBezTo>
                  <a:pt x="15" y="17"/>
                  <a:pt x="15" y="17"/>
                  <a:pt x="15" y="17"/>
                </a:cubicBezTo>
                <a:cubicBezTo>
                  <a:pt x="17" y="17"/>
                  <a:pt x="19" y="15"/>
                  <a:pt x="20" y="13"/>
                </a:cubicBezTo>
                <a:lnTo>
                  <a:pt x="25" y="2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0" name="Freeform 1183"/>
          <p:cNvSpPr/>
          <p:nvPr/>
        </p:nvSpPr>
        <p:spPr bwMode="auto">
          <a:xfrm>
            <a:off x="3322638" y="987425"/>
            <a:ext cx="344487" cy="371475"/>
          </a:xfrm>
          <a:custGeom>
            <a:avLst/>
            <a:gdLst>
              <a:gd name="T0" fmla="*/ 2147483646 w 39"/>
              <a:gd name="T1" fmla="*/ 2147483646 h 42"/>
              <a:gd name="T2" fmla="*/ 2147483646 w 39"/>
              <a:gd name="T3" fmla="*/ 2147483646 h 42"/>
              <a:gd name="T4" fmla="*/ 2147483646 w 39"/>
              <a:gd name="T5" fmla="*/ 0 h 42"/>
              <a:gd name="T6" fmla="*/ 2147483646 w 39"/>
              <a:gd name="T7" fmla="*/ 2147483646 h 42"/>
              <a:gd name="T8" fmla="*/ 2147483646 w 39"/>
              <a:gd name="T9" fmla="*/ 2147483646 h 42"/>
              <a:gd name="T10" fmla="*/ 0 w 39"/>
              <a:gd name="T11" fmla="*/ 2147483646 h 42"/>
              <a:gd name="T12" fmla="*/ 2147483646 w 39"/>
              <a:gd name="T13" fmla="*/ 2147483646 h 42"/>
              <a:gd name="T14" fmla="*/ 2147483646 w 39"/>
              <a:gd name="T15" fmla="*/ 2147483646 h 4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9" h="42">
                <a:moveTo>
                  <a:pt x="25" y="18"/>
                </a:moveTo>
                <a:cubicBezTo>
                  <a:pt x="27" y="16"/>
                  <a:pt x="29" y="13"/>
                  <a:pt x="29" y="10"/>
                </a:cubicBezTo>
                <a:cubicBezTo>
                  <a:pt x="29" y="4"/>
                  <a:pt x="25" y="0"/>
                  <a:pt x="19" y="0"/>
                </a:cubicBezTo>
                <a:cubicBezTo>
                  <a:pt x="14" y="0"/>
                  <a:pt x="9" y="4"/>
                  <a:pt x="9" y="10"/>
                </a:cubicBezTo>
                <a:cubicBezTo>
                  <a:pt x="9" y="13"/>
                  <a:pt x="11" y="16"/>
                  <a:pt x="14" y="18"/>
                </a:cubicBezTo>
                <a:cubicBezTo>
                  <a:pt x="7" y="21"/>
                  <a:pt x="1" y="30"/>
                  <a:pt x="0" y="42"/>
                </a:cubicBezTo>
                <a:cubicBezTo>
                  <a:pt x="39" y="42"/>
                  <a:pt x="39" y="42"/>
                  <a:pt x="39" y="42"/>
                </a:cubicBezTo>
                <a:cubicBezTo>
                  <a:pt x="37" y="30"/>
                  <a:pt x="32" y="21"/>
                  <a:pt x="25" y="18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1" name="Freeform 1184"/>
          <p:cNvSpPr/>
          <p:nvPr/>
        </p:nvSpPr>
        <p:spPr bwMode="auto">
          <a:xfrm>
            <a:off x="5303838" y="2751138"/>
            <a:ext cx="469900" cy="415925"/>
          </a:xfrm>
          <a:custGeom>
            <a:avLst/>
            <a:gdLst>
              <a:gd name="T0" fmla="*/ 2147483646 w 53"/>
              <a:gd name="T1" fmla="*/ 2147483646 h 47"/>
              <a:gd name="T2" fmla="*/ 2147483646 w 53"/>
              <a:gd name="T3" fmla="*/ 0 h 47"/>
              <a:gd name="T4" fmla="*/ 2147483646 w 53"/>
              <a:gd name="T5" fmla="*/ 2147483646 h 47"/>
              <a:gd name="T6" fmla="*/ 2147483646 w 53"/>
              <a:gd name="T7" fmla="*/ 2147483646 h 47"/>
              <a:gd name="T8" fmla="*/ 2147483646 w 53"/>
              <a:gd name="T9" fmla="*/ 2147483646 h 47"/>
              <a:gd name="T10" fmla="*/ 2147483646 w 53"/>
              <a:gd name="T11" fmla="*/ 2147483646 h 47"/>
              <a:gd name="T12" fmla="*/ 2147483646 w 53"/>
              <a:gd name="T13" fmla="*/ 2147483646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47">
                <a:moveTo>
                  <a:pt x="27" y="10"/>
                </a:moveTo>
                <a:cubicBezTo>
                  <a:pt x="24" y="4"/>
                  <a:pt x="20" y="0"/>
                  <a:pt x="13" y="0"/>
                </a:cubicBezTo>
                <a:cubicBezTo>
                  <a:pt x="4" y="1"/>
                  <a:pt x="0" y="8"/>
                  <a:pt x="1" y="16"/>
                </a:cubicBezTo>
                <a:cubicBezTo>
                  <a:pt x="2" y="27"/>
                  <a:pt x="16" y="33"/>
                  <a:pt x="26" y="47"/>
                </a:cubicBezTo>
                <a:cubicBezTo>
                  <a:pt x="36" y="34"/>
                  <a:pt x="51" y="27"/>
                  <a:pt x="52" y="17"/>
                </a:cubicBezTo>
                <a:cubicBezTo>
                  <a:pt x="53" y="8"/>
                  <a:pt x="49" y="1"/>
                  <a:pt x="40" y="1"/>
                </a:cubicBezTo>
                <a:cubicBezTo>
                  <a:pt x="33" y="0"/>
                  <a:pt x="29" y="4"/>
                  <a:pt x="27" y="10"/>
                </a:cubicBez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32" name="组合 31"/>
          <p:cNvGrpSpPr/>
          <p:nvPr/>
        </p:nvGrpSpPr>
        <p:grpSpPr bwMode="auto">
          <a:xfrm>
            <a:off x="5189538" y="968375"/>
            <a:ext cx="2906712" cy="1624013"/>
            <a:chOff x="5190180" y="968808"/>
            <a:chExt cx="2906020" cy="1622918"/>
          </a:xfrm>
        </p:grpSpPr>
        <p:sp>
          <p:nvSpPr>
            <p:cNvPr id="43" name="矩形 1"/>
            <p:cNvSpPr>
              <a:spLocks noChangeArrowheads="1"/>
            </p:cNvSpPr>
            <p:nvPr/>
          </p:nvSpPr>
          <p:spPr bwMode="auto">
            <a:xfrm>
              <a:off x="5190180" y="1390798"/>
              <a:ext cx="2906020" cy="1200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，坚持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30" name="组合 50"/>
            <p:cNvGrpSpPr/>
            <p:nvPr/>
          </p:nvGrpSpPr>
          <p:grpSpPr bwMode="auto">
            <a:xfrm>
              <a:off x="5917102" y="968808"/>
              <a:ext cx="2076537" cy="361727"/>
              <a:chOff x="4846160" y="1470506"/>
              <a:chExt cx="2076537" cy="361727"/>
            </a:xfrm>
          </p:grpSpPr>
          <p:cxnSp>
            <p:nvCxnSpPr>
              <p:cNvPr id="52" name="直接连接符 51"/>
              <p:cNvCxnSpPr/>
              <p:nvPr/>
            </p:nvCxnSpPr>
            <p:spPr>
              <a:xfrm>
                <a:off x="4865185" y="1832212"/>
                <a:ext cx="2056911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632" name="组合 52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54" name="TextBox 265"/>
                <p:cNvSpPr txBox="1"/>
                <p:nvPr/>
              </p:nvSpPr>
              <p:spPr bwMode="auto">
                <a:xfrm>
                  <a:off x="1156265" y="1031498"/>
                  <a:ext cx="1101463" cy="32204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4634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4635" name="组合 55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58" name="流程图: 决策 166"/>
                  <p:cNvSpPr/>
                  <p:nvPr/>
                </p:nvSpPr>
                <p:spPr>
                  <a:xfrm>
                    <a:off x="957875" y="1125098"/>
                    <a:ext cx="136493" cy="1713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59" name="流程图: 决策 166"/>
                  <p:cNvSpPr/>
                  <p:nvPr/>
                </p:nvSpPr>
                <p:spPr>
                  <a:xfrm>
                    <a:off x="1107065" y="1126684"/>
                    <a:ext cx="90466" cy="16816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57" name="直接连接符 56"/>
                <p:cNvCxnSpPr/>
                <p:nvPr/>
              </p:nvCxnSpPr>
              <p:spPr>
                <a:xfrm>
                  <a:off x="2262490" y="1137789"/>
                  <a:ext cx="0" cy="144365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30" name="组合 29"/>
          <p:cNvGrpSpPr/>
          <p:nvPr/>
        </p:nvGrpSpPr>
        <p:grpSpPr bwMode="auto">
          <a:xfrm>
            <a:off x="755650" y="968375"/>
            <a:ext cx="2995613" cy="1624013"/>
            <a:chOff x="755576" y="968808"/>
            <a:chExt cx="2994893" cy="1622918"/>
          </a:xfrm>
        </p:grpSpPr>
        <p:sp>
          <p:nvSpPr>
            <p:cNvPr id="42" name="矩形 1"/>
            <p:cNvSpPr>
              <a:spLocks noChangeArrowheads="1"/>
            </p:cNvSpPr>
            <p:nvPr/>
          </p:nvSpPr>
          <p:spPr bwMode="auto">
            <a:xfrm>
              <a:off x="755576" y="1390798"/>
              <a:ext cx="2994893" cy="1200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，坚持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20" name="组合 70"/>
            <p:cNvGrpSpPr/>
            <p:nvPr/>
          </p:nvGrpSpPr>
          <p:grpSpPr bwMode="auto">
            <a:xfrm flipH="1">
              <a:off x="899592" y="968808"/>
              <a:ext cx="2292561" cy="361727"/>
              <a:chOff x="4846160" y="1470506"/>
              <a:chExt cx="2292561" cy="361727"/>
            </a:xfrm>
          </p:grpSpPr>
          <p:cxnSp>
            <p:nvCxnSpPr>
              <p:cNvPr id="72" name="直接连接符 71"/>
              <p:cNvCxnSpPr/>
              <p:nvPr/>
            </p:nvCxnSpPr>
            <p:spPr>
              <a:xfrm>
                <a:off x="4865555" y="1832212"/>
                <a:ext cx="227275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622" name="组合 72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74" name="TextBox 265"/>
                <p:cNvSpPr txBox="1"/>
                <p:nvPr/>
              </p:nvSpPr>
              <p:spPr bwMode="auto">
                <a:xfrm>
                  <a:off x="1156635" y="1031498"/>
                  <a:ext cx="1101460" cy="32204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4624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4625" name="组合 75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78" name="流程图: 决策 166"/>
                  <p:cNvSpPr/>
                  <p:nvPr/>
                </p:nvSpPr>
                <p:spPr>
                  <a:xfrm>
                    <a:off x="958245" y="1125098"/>
                    <a:ext cx="136492" cy="1713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79" name="流程图: 决策 166"/>
                  <p:cNvSpPr/>
                  <p:nvPr/>
                </p:nvSpPr>
                <p:spPr>
                  <a:xfrm>
                    <a:off x="1107434" y="1126684"/>
                    <a:ext cx="90466" cy="16816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77" name="直接连接符 76"/>
                <p:cNvCxnSpPr/>
                <p:nvPr/>
              </p:nvCxnSpPr>
              <p:spPr>
                <a:xfrm>
                  <a:off x="2262856" y="1137789"/>
                  <a:ext cx="0" cy="144365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33" name="组合 32"/>
          <p:cNvGrpSpPr/>
          <p:nvPr/>
        </p:nvGrpSpPr>
        <p:grpSpPr bwMode="auto">
          <a:xfrm>
            <a:off x="5189538" y="2874963"/>
            <a:ext cx="2906712" cy="1573212"/>
            <a:chOff x="5190180" y="2874267"/>
            <a:chExt cx="2906020" cy="1573462"/>
          </a:xfrm>
        </p:grpSpPr>
        <p:sp>
          <p:nvSpPr>
            <p:cNvPr id="45" name="矩形 1"/>
            <p:cNvSpPr>
              <a:spLocks noChangeArrowheads="1"/>
            </p:cNvSpPr>
            <p:nvPr/>
          </p:nvSpPr>
          <p:spPr bwMode="auto">
            <a:xfrm>
              <a:off x="5190180" y="3247388"/>
              <a:ext cx="2906020" cy="1200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，坚持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10" name="组合 80"/>
            <p:cNvGrpSpPr/>
            <p:nvPr/>
          </p:nvGrpSpPr>
          <p:grpSpPr bwMode="auto">
            <a:xfrm>
              <a:off x="5917102" y="2874267"/>
              <a:ext cx="2076537" cy="361727"/>
              <a:chOff x="4846160" y="1470506"/>
              <a:chExt cx="2076537" cy="361727"/>
            </a:xfrm>
          </p:grpSpPr>
          <p:cxnSp>
            <p:nvCxnSpPr>
              <p:cNvPr id="82" name="直接连接符 81"/>
              <p:cNvCxnSpPr/>
              <p:nvPr/>
            </p:nvCxnSpPr>
            <p:spPr>
              <a:xfrm>
                <a:off x="4865185" y="1832513"/>
                <a:ext cx="2056911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612" name="组合 82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84" name="TextBox 265"/>
                <p:cNvSpPr txBox="1"/>
                <p:nvPr/>
              </p:nvSpPr>
              <p:spPr bwMode="auto">
                <a:xfrm>
                  <a:off x="1156265" y="1031498"/>
                  <a:ext cx="1101463" cy="32231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4614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4615" name="组合 85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88" name="流程图: 决策 166"/>
                  <p:cNvSpPr/>
                  <p:nvPr/>
                </p:nvSpPr>
                <p:spPr>
                  <a:xfrm>
                    <a:off x="957875" y="1125175"/>
                    <a:ext cx="136493" cy="18259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89" name="流程图: 决策 166"/>
                  <p:cNvSpPr/>
                  <p:nvPr/>
                </p:nvSpPr>
                <p:spPr>
                  <a:xfrm>
                    <a:off x="1107065" y="1126763"/>
                    <a:ext cx="90466" cy="1794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87" name="直接连接符 86"/>
                <p:cNvCxnSpPr/>
                <p:nvPr/>
              </p:nvCxnSpPr>
              <p:spPr>
                <a:xfrm>
                  <a:off x="2262490" y="1137877"/>
                  <a:ext cx="0" cy="14448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31" name="组合 30"/>
          <p:cNvGrpSpPr/>
          <p:nvPr/>
        </p:nvGrpSpPr>
        <p:grpSpPr bwMode="auto">
          <a:xfrm>
            <a:off x="755650" y="2874963"/>
            <a:ext cx="2995613" cy="1573212"/>
            <a:chOff x="755576" y="2874267"/>
            <a:chExt cx="2994893" cy="1573462"/>
          </a:xfrm>
        </p:grpSpPr>
        <p:sp>
          <p:nvSpPr>
            <p:cNvPr id="44" name="矩形 1"/>
            <p:cNvSpPr>
              <a:spLocks noChangeArrowheads="1"/>
            </p:cNvSpPr>
            <p:nvPr/>
          </p:nvSpPr>
          <p:spPr bwMode="auto">
            <a:xfrm>
              <a:off x="755576" y="3247388"/>
              <a:ext cx="2994893" cy="1200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，坚持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00" name="组合 89"/>
            <p:cNvGrpSpPr/>
            <p:nvPr/>
          </p:nvGrpSpPr>
          <p:grpSpPr bwMode="auto">
            <a:xfrm flipH="1">
              <a:off x="899592" y="2874267"/>
              <a:ext cx="2292561" cy="361727"/>
              <a:chOff x="4846160" y="1470506"/>
              <a:chExt cx="2292561" cy="361727"/>
            </a:xfrm>
          </p:grpSpPr>
          <p:cxnSp>
            <p:nvCxnSpPr>
              <p:cNvPr id="91" name="直接连接符 90"/>
              <p:cNvCxnSpPr/>
              <p:nvPr/>
            </p:nvCxnSpPr>
            <p:spPr>
              <a:xfrm>
                <a:off x="4865555" y="1832513"/>
                <a:ext cx="227275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602" name="组合 91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93" name="TextBox 265"/>
                <p:cNvSpPr txBox="1"/>
                <p:nvPr/>
              </p:nvSpPr>
              <p:spPr bwMode="auto">
                <a:xfrm>
                  <a:off x="1156635" y="1031498"/>
                  <a:ext cx="1101460" cy="32231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4604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4605" name="组合 94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97" name="流程图: 决策 166"/>
                  <p:cNvSpPr/>
                  <p:nvPr/>
                </p:nvSpPr>
                <p:spPr>
                  <a:xfrm>
                    <a:off x="958245" y="1125175"/>
                    <a:ext cx="136492" cy="18259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98" name="流程图: 决策 166"/>
                  <p:cNvSpPr/>
                  <p:nvPr/>
                </p:nvSpPr>
                <p:spPr>
                  <a:xfrm>
                    <a:off x="1107434" y="1126763"/>
                    <a:ext cx="90466" cy="1794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96" name="直接连接符 95"/>
                <p:cNvCxnSpPr/>
                <p:nvPr/>
              </p:nvCxnSpPr>
              <p:spPr>
                <a:xfrm>
                  <a:off x="2262856" y="1137877"/>
                  <a:ext cx="0" cy="14448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99" name="矩形 98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0" name="矩形 99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1" name="矩形 100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2" name="矩形 101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25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125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2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02" name="组合 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5652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603" name="组合 4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5650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604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5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6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7" name="组合 16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9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8" name="组合 1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9" name="组合 22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5637" name="矩形 23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任意多边形 24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pic>
        <p:nvPicPr>
          <p:cNvPr id="1026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1"/>
          <a:srcRect l="68653" t="3928" r="12131" b="3928"/>
          <a:stretch>
            <a:fillRect/>
          </a:stretch>
        </p:blipFill>
        <p:spPr bwMode="auto">
          <a:xfrm>
            <a:off x="6653213" y="949325"/>
            <a:ext cx="1285875" cy="26416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2"/>
          <a:srcRect l="32513" t="6663" r="52313" b="58644"/>
          <a:stretch>
            <a:fillRect/>
          </a:stretch>
        </p:blipFill>
        <p:spPr bwMode="auto">
          <a:xfrm>
            <a:off x="1204913" y="949325"/>
            <a:ext cx="1303337" cy="128111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3"/>
          <a:srcRect l="29978" t="44576" r="48223" b="4018"/>
          <a:stretch>
            <a:fillRect/>
          </a:stretch>
        </p:blipFill>
        <p:spPr bwMode="auto">
          <a:xfrm>
            <a:off x="5303838" y="2309813"/>
            <a:ext cx="1285875" cy="12811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4"/>
          <a:srcRect l="1086" t="44723" r="76245" b="4503"/>
          <a:stretch>
            <a:fillRect/>
          </a:stretch>
        </p:blipFill>
        <p:spPr bwMode="auto">
          <a:xfrm>
            <a:off x="2601913" y="2309813"/>
            <a:ext cx="1285875" cy="12811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5"/>
          <a:srcRect l="902" t="5420" r="71068" b="62748"/>
          <a:stretch>
            <a:fillRect/>
          </a:stretch>
        </p:blipFill>
        <p:spPr bwMode="auto">
          <a:xfrm>
            <a:off x="3952875" y="949325"/>
            <a:ext cx="2636838" cy="128111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4" name="组合 1023"/>
          <p:cNvGrpSpPr/>
          <p:nvPr/>
        </p:nvGrpSpPr>
        <p:grpSpPr bwMode="auto">
          <a:xfrm>
            <a:off x="3954463" y="2309813"/>
            <a:ext cx="1285875" cy="1281112"/>
            <a:chOff x="3954111" y="2310349"/>
            <a:chExt cx="1286358" cy="1281320"/>
          </a:xfrm>
        </p:grpSpPr>
        <p:sp>
          <p:nvSpPr>
            <p:cNvPr id="66" name="矩形 65"/>
            <p:cNvSpPr/>
            <p:nvPr/>
          </p:nvSpPr>
          <p:spPr>
            <a:xfrm>
              <a:off x="3954111" y="2310349"/>
              <a:ext cx="1286358" cy="1281320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72" name="组合 71"/>
            <p:cNvGrpSpPr/>
            <p:nvPr/>
          </p:nvGrpSpPr>
          <p:grpSpPr>
            <a:xfrm>
              <a:off x="4389583" y="2514804"/>
              <a:ext cx="415415" cy="282308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73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4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5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6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7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8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9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0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1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  <p:sp>
          <p:nvSpPr>
            <p:cNvPr id="25636" name="TextBox 10"/>
            <p:cNvSpPr txBox="1">
              <a:spLocks noChangeArrowheads="1"/>
            </p:cNvSpPr>
            <p:nvPr/>
          </p:nvSpPr>
          <p:spPr bwMode="auto">
            <a:xfrm>
              <a:off x="4107794" y="289159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25" name="组合 1024"/>
          <p:cNvGrpSpPr/>
          <p:nvPr/>
        </p:nvGrpSpPr>
        <p:grpSpPr bwMode="auto">
          <a:xfrm>
            <a:off x="1204913" y="2309813"/>
            <a:ext cx="1303337" cy="1281112"/>
            <a:chOff x="1204800" y="2310349"/>
            <a:chExt cx="1303825" cy="1281320"/>
          </a:xfrm>
        </p:grpSpPr>
        <p:sp>
          <p:nvSpPr>
            <p:cNvPr id="67" name="矩形 66"/>
            <p:cNvSpPr/>
            <p:nvPr/>
          </p:nvSpPr>
          <p:spPr>
            <a:xfrm>
              <a:off x="1204800" y="2310349"/>
              <a:ext cx="1303825" cy="1281320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69" name="组合 68"/>
            <p:cNvGrpSpPr/>
            <p:nvPr/>
          </p:nvGrpSpPr>
          <p:grpSpPr>
            <a:xfrm>
              <a:off x="1632312" y="2514804"/>
              <a:ext cx="431336" cy="346904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70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600">
                  <a:latin typeface="+mn-lt"/>
                  <a:ea typeface="+mn-ea"/>
                </a:endParaRPr>
              </a:p>
            </p:txBody>
          </p:sp>
          <p:sp>
            <p:nvSpPr>
              <p:cNvPr id="71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600">
                  <a:latin typeface="+mn-lt"/>
                  <a:ea typeface="+mn-ea"/>
                </a:endParaRPr>
              </a:p>
            </p:txBody>
          </p:sp>
        </p:grpSp>
        <p:sp>
          <p:nvSpPr>
            <p:cNvPr id="25633" name="TextBox 10"/>
            <p:cNvSpPr txBox="1">
              <a:spLocks noChangeArrowheads="1"/>
            </p:cNvSpPr>
            <p:nvPr/>
          </p:nvSpPr>
          <p:spPr bwMode="auto">
            <a:xfrm>
              <a:off x="1361421" y="289159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5" name="组合 94"/>
          <p:cNvGrpSpPr/>
          <p:nvPr/>
        </p:nvGrpSpPr>
        <p:grpSpPr bwMode="auto">
          <a:xfrm>
            <a:off x="2601913" y="949325"/>
            <a:ext cx="1285875" cy="1281113"/>
            <a:chOff x="2601540" y="949474"/>
            <a:chExt cx="1286358" cy="1281320"/>
          </a:xfrm>
        </p:grpSpPr>
        <p:sp>
          <p:nvSpPr>
            <p:cNvPr id="60" name="矩形 59"/>
            <p:cNvSpPr/>
            <p:nvPr/>
          </p:nvSpPr>
          <p:spPr>
            <a:xfrm>
              <a:off x="2601540" y="949474"/>
              <a:ext cx="1286358" cy="1281320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5629" name="Freeform 31"/>
            <p:cNvSpPr>
              <a:spLocks noEditPoints="1"/>
            </p:cNvSpPr>
            <p:nvPr/>
          </p:nvSpPr>
          <p:spPr bwMode="auto">
            <a:xfrm>
              <a:off x="3034550" y="1085591"/>
              <a:ext cx="389316" cy="312513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630" name="TextBox 10"/>
            <p:cNvSpPr txBox="1">
              <a:spLocks noChangeArrowheads="1"/>
            </p:cNvSpPr>
            <p:nvPr/>
          </p:nvSpPr>
          <p:spPr bwMode="auto">
            <a:xfrm>
              <a:off x="2733804" y="1543824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27" name="组合 1026"/>
          <p:cNvGrpSpPr/>
          <p:nvPr/>
        </p:nvGrpSpPr>
        <p:grpSpPr bwMode="auto">
          <a:xfrm>
            <a:off x="787400" y="3781425"/>
            <a:ext cx="7704138" cy="958850"/>
            <a:chOff x="787674" y="3781288"/>
            <a:chExt cx="7703403" cy="959210"/>
          </a:xfrm>
        </p:grpSpPr>
        <p:sp>
          <p:nvSpPr>
            <p:cNvPr id="86" name="矩形 1"/>
            <p:cNvSpPr>
              <a:spLocks noChangeArrowheads="1"/>
            </p:cNvSpPr>
            <p:nvPr/>
          </p:nvSpPr>
          <p:spPr bwMode="auto">
            <a:xfrm>
              <a:off x="787674" y="4094143"/>
              <a:ext cx="7703403" cy="6463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87" name="直接连接符 86"/>
            <p:cNvCxnSpPr/>
            <p:nvPr/>
          </p:nvCxnSpPr>
          <p:spPr>
            <a:xfrm>
              <a:off x="894027" y="4105260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21" name="组合 87"/>
            <p:cNvGrpSpPr/>
            <p:nvPr/>
          </p:nvGrpSpPr>
          <p:grpSpPr bwMode="auto">
            <a:xfrm>
              <a:off x="899832" y="3781288"/>
              <a:ext cx="2076537" cy="322262"/>
              <a:chOff x="957895" y="1031498"/>
              <a:chExt cx="2076537" cy="322262"/>
            </a:xfrm>
          </p:grpSpPr>
          <p:sp>
            <p:nvSpPr>
              <p:cNvPr id="89" name="TextBox 265"/>
              <p:cNvSpPr txBox="1"/>
              <p:nvPr/>
            </p:nvSpPr>
            <p:spPr bwMode="auto">
              <a:xfrm>
                <a:off x="1156857" y="1031498"/>
                <a:ext cx="1101620" cy="32238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25623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25624" name="组合 90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93" name="流程图: 决策 166"/>
                <p:cNvSpPr/>
                <p:nvPr/>
              </p:nvSpPr>
              <p:spPr>
                <a:xfrm>
                  <a:off x="958439" y="1125196"/>
                  <a:ext cx="136512" cy="1826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94" name="流程图: 决策 166"/>
                <p:cNvSpPr/>
                <p:nvPr/>
              </p:nvSpPr>
              <p:spPr>
                <a:xfrm>
                  <a:off x="1107650" y="1126784"/>
                  <a:ext cx="90478" cy="17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92" name="直接连接符 91"/>
              <p:cNvCxnSpPr/>
              <p:nvPr/>
            </p:nvCxnSpPr>
            <p:spPr>
              <a:xfrm>
                <a:off x="2263240" y="1137901"/>
                <a:ext cx="0" cy="1445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300" tmFilter="0, 0; .2, .5; .8, .5; 1, 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150" autoRev="1" fill="hold"/>
                                        <p:tgtEl>
                                          <p:spTgt spid="10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300" tmFilter="0, 0; .2, .5; .8, .5; 1, 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" dur="150" autoRev="1" fill="hold"/>
                                        <p:tgtEl>
                                          <p:spTgt spid="9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300" tmFilter="0, 0; .2, .5; .8, .5; 1, 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" dur="150" autoRev="1" fill="hold"/>
                                        <p:tgtEl>
                                          <p:spTgt spid="10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26" name="组合 2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2" name="任意多边形 2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6691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627" name="组合 2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5" name="任意多边形 2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6689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628" name="组合 2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8" name="任意多边形 2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29" name="组合 2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1" name="任意多边形 3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2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30" name="组合 32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4" name="任意多边形 3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5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31" name="组合 35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37" name="任意多边形 36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8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32" name="组合 38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40" name="任意多边形 39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1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33" name="组合 41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6676" name="矩形 42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2" name="Freeform 1179"/>
          <p:cNvSpPr>
            <a:spLocks noEditPoints="1"/>
          </p:cNvSpPr>
          <p:nvPr/>
        </p:nvSpPr>
        <p:spPr bwMode="auto">
          <a:xfrm>
            <a:off x="1449388" y="1484313"/>
            <a:ext cx="1270000" cy="790575"/>
          </a:xfrm>
          <a:custGeom>
            <a:avLst/>
            <a:gdLst>
              <a:gd name="T0" fmla="*/ 2147483646 w 140"/>
              <a:gd name="T1" fmla="*/ 2147483646 h 87"/>
              <a:gd name="T2" fmla="*/ 2147483646 w 140"/>
              <a:gd name="T3" fmla="*/ 0 h 87"/>
              <a:gd name="T4" fmla="*/ 0 w 140"/>
              <a:gd name="T5" fmla="*/ 2147483646 h 87"/>
              <a:gd name="T6" fmla="*/ 2147483646 w 140"/>
              <a:gd name="T7" fmla="*/ 2147483646 h 87"/>
              <a:gd name="T8" fmla="*/ 2147483646 w 140"/>
              <a:gd name="T9" fmla="*/ 2147483646 h 87"/>
              <a:gd name="T10" fmla="*/ 2147483646 w 140"/>
              <a:gd name="T11" fmla="*/ 2147483646 h 87"/>
              <a:gd name="T12" fmla="*/ 2147483646 w 140"/>
              <a:gd name="T13" fmla="*/ 2147483646 h 87"/>
              <a:gd name="T14" fmla="*/ 2147483646 w 140"/>
              <a:gd name="T15" fmla="*/ 2147483646 h 87"/>
              <a:gd name="T16" fmla="*/ 2147483646 w 140"/>
              <a:gd name="T17" fmla="*/ 2147483646 h 87"/>
              <a:gd name="T18" fmla="*/ 2147483646 w 140"/>
              <a:gd name="T19" fmla="*/ 2147483646 h 87"/>
              <a:gd name="T20" fmla="*/ 2147483646 w 140"/>
              <a:gd name="T21" fmla="*/ 2147483646 h 87"/>
              <a:gd name="T22" fmla="*/ 2147483646 w 140"/>
              <a:gd name="T23" fmla="*/ 2147483646 h 87"/>
              <a:gd name="T24" fmla="*/ 2147483646 w 140"/>
              <a:gd name="T25" fmla="*/ 2147483646 h 87"/>
              <a:gd name="T26" fmla="*/ 2147483646 w 140"/>
              <a:gd name="T27" fmla="*/ 2147483646 h 87"/>
              <a:gd name="T28" fmla="*/ 2147483646 w 140"/>
              <a:gd name="T29" fmla="*/ 2147483646 h 87"/>
              <a:gd name="T30" fmla="*/ 2147483646 w 140"/>
              <a:gd name="T31" fmla="*/ 2147483646 h 87"/>
              <a:gd name="T32" fmla="*/ 2147483646 w 140"/>
              <a:gd name="T33" fmla="*/ 2147483646 h 87"/>
              <a:gd name="T34" fmla="*/ 2147483646 w 140"/>
              <a:gd name="T35" fmla="*/ 2147483646 h 87"/>
              <a:gd name="T36" fmla="*/ 2147483646 w 140"/>
              <a:gd name="T37" fmla="*/ 2147483646 h 87"/>
              <a:gd name="T38" fmla="*/ 2147483646 w 140"/>
              <a:gd name="T39" fmla="*/ 2147483646 h 87"/>
              <a:gd name="T40" fmla="*/ 2147483646 w 140"/>
              <a:gd name="T41" fmla="*/ 2147483646 h 87"/>
              <a:gd name="T42" fmla="*/ 2147483646 w 140"/>
              <a:gd name="T43" fmla="*/ 2147483646 h 87"/>
              <a:gd name="T44" fmla="*/ 2147483646 w 140"/>
              <a:gd name="T45" fmla="*/ 2147483646 h 87"/>
              <a:gd name="T46" fmla="*/ 2147483646 w 140"/>
              <a:gd name="T47" fmla="*/ 2147483646 h 87"/>
              <a:gd name="T48" fmla="*/ 2147483646 w 140"/>
              <a:gd name="T49" fmla="*/ 2147483646 h 87"/>
              <a:gd name="T50" fmla="*/ 2147483646 w 140"/>
              <a:gd name="T51" fmla="*/ 2147483646 h 87"/>
              <a:gd name="T52" fmla="*/ 2147483646 w 140"/>
              <a:gd name="T53" fmla="*/ 2147483646 h 87"/>
              <a:gd name="T54" fmla="*/ 2147483646 w 140"/>
              <a:gd name="T55" fmla="*/ 2147483646 h 87"/>
              <a:gd name="T56" fmla="*/ 2147483646 w 140"/>
              <a:gd name="T57" fmla="*/ 2147483646 h 87"/>
              <a:gd name="T58" fmla="*/ 2147483646 w 140"/>
              <a:gd name="T59" fmla="*/ 2147483646 h 87"/>
              <a:gd name="T60" fmla="*/ 2147483646 w 140"/>
              <a:gd name="T61" fmla="*/ 2147483646 h 87"/>
              <a:gd name="T62" fmla="*/ 2147483646 w 140"/>
              <a:gd name="T63" fmla="*/ 2147483646 h 87"/>
              <a:gd name="T64" fmla="*/ 2147483646 w 140"/>
              <a:gd name="T65" fmla="*/ 2147483646 h 87"/>
              <a:gd name="T66" fmla="*/ 2147483646 w 140"/>
              <a:gd name="T67" fmla="*/ 2147483646 h 87"/>
              <a:gd name="T68" fmla="*/ 2147483646 w 140"/>
              <a:gd name="T69" fmla="*/ 2147483646 h 87"/>
              <a:gd name="T70" fmla="*/ 2147483646 w 140"/>
              <a:gd name="T71" fmla="*/ 2147483646 h 87"/>
              <a:gd name="T72" fmla="*/ 2147483646 w 140"/>
              <a:gd name="T73" fmla="*/ 2147483646 h 87"/>
              <a:gd name="T74" fmla="*/ 2147483646 w 140"/>
              <a:gd name="T75" fmla="*/ 2147483646 h 87"/>
              <a:gd name="T76" fmla="*/ 2147483646 w 140"/>
              <a:gd name="T77" fmla="*/ 2147483646 h 87"/>
              <a:gd name="T78" fmla="*/ 2147483646 w 140"/>
              <a:gd name="T79" fmla="*/ 2147483646 h 87"/>
              <a:gd name="T80" fmla="*/ 2147483646 w 140"/>
              <a:gd name="T81" fmla="*/ 2147483646 h 87"/>
              <a:gd name="T82" fmla="*/ 2147483646 w 140"/>
              <a:gd name="T83" fmla="*/ 2147483646 h 87"/>
              <a:gd name="T84" fmla="*/ 2147483646 w 140"/>
              <a:gd name="T85" fmla="*/ 2147483646 h 87"/>
              <a:gd name="T86" fmla="*/ 2147483646 w 140"/>
              <a:gd name="T87" fmla="*/ 2147483646 h 87"/>
              <a:gd name="T88" fmla="*/ 2147483646 w 140"/>
              <a:gd name="T89" fmla="*/ 2147483646 h 87"/>
              <a:gd name="T90" fmla="*/ 2147483646 w 140"/>
              <a:gd name="T91" fmla="*/ 2147483646 h 87"/>
              <a:gd name="T92" fmla="*/ 2147483646 w 140"/>
              <a:gd name="T93" fmla="*/ 2147483646 h 87"/>
              <a:gd name="T94" fmla="*/ 2147483646 w 140"/>
              <a:gd name="T95" fmla="*/ 2147483646 h 87"/>
              <a:gd name="T96" fmla="*/ 2147483646 w 140"/>
              <a:gd name="T97" fmla="*/ 2147483646 h 87"/>
              <a:gd name="T98" fmla="*/ 2147483646 w 140"/>
              <a:gd name="T99" fmla="*/ 2147483646 h 87"/>
              <a:gd name="T100" fmla="*/ 2147483646 w 140"/>
              <a:gd name="T101" fmla="*/ 2147483646 h 87"/>
              <a:gd name="T102" fmla="*/ 2147483646 w 140"/>
              <a:gd name="T103" fmla="*/ 2147483646 h 8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140" h="87">
                <a:moveTo>
                  <a:pt x="130" y="28"/>
                </a:moveTo>
                <a:cubicBezTo>
                  <a:pt x="121" y="12"/>
                  <a:pt x="96" y="0"/>
                  <a:pt x="67" y="0"/>
                </a:cubicBezTo>
                <a:cubicBezTo>
                  <a:pt x="30" y="0"/>
                  <a:pt x="0" y="19"/>
                  <a:pt x="0" y="44"/>
                </a:cubicBezTo>
                <a:cubicBezTo>
                  <a:pt x="0" y="68"/>
                  <a:pt x="30" y="87"/>
                  <a:pt x="67" y="87"/>
                </a:cubicBezTo>
                <a:cubicBezTo>
                  <a:pt x="72" y="87"/>
                  <a:pt x="76" y="87"/>
                  <a:pt x="80" y="87"/>
                </a:cubicBezTo>
                <a:cubicBezTo>
                  <a:pt x="82" y="85"/>
                  <a:pt x="84" y="84"/>
                  <a:pt x="83" y="81"/>
                </a:cubicBezTo>
                <a:cubicBezTo>
                  <a:pt x="80" y="73"/>
                  <a:pt x="72" y="64"/>
                  <a:pt x="79" y="62"/>
                </a:cubicBezTo>
                <a:cubicBezTo>
                  <a:pt x="85" y="59"/>
                  <a:pt x="102" y="60"/>
                  <a:pt x="110" y="60"/>
                </a:cubicBezTo>
                <a:cubicBezTo>
                  <a:pt x="118" y="60"/>
                  <a:pt x="140" y="56"/>
                  <a:pt x="130" y="28"/>
                </a:cubicBezTo>
                <a:close/>
                <a:moveTo>
                  <a:pt x="36" y="55"/>
                </a:moveTo>
                <a:cubicBezTo>
                  <a:pt x="34" y="56"/>
                  <a:pt x="31" y="57"/>
                  <a:pt x="30" y="56"/>
                </a:cubicBezTo>
                <a:cubicBezTo>
                  <a:pt x="28" y="55"/>
                  <a:pt x="20" y="56"/>
                  <a:pt x="15" y="56"/>
                </a:cubicBezTo>
                <a:cubicBezTo>
                  <a:pt x="11" y="55"/>
                  <a:pt x="12" y="53"/>
                  <a:pt x="12" y="53"/>
                </a:cubicBezTo>
                <a:cubicBezTo>
                  <a:pt x="12" y="53"/>
                  <a:pt x="12" y="52"/>
                  <a:pt x="12" y="52"/>
                </a:cubicBezTo>
                <a:cubicBezTo>
                  <a:pt x="11" y="51"/>
                  <a:pt x="11" y="50"/>
                  <a:pt x="12" y="48"/>
                </a:cubicBezTo>
                <a:cubicBezTo>
                  <a:pt x="13" y="46"/>
                  <a:pt x="19" y="47"/>
                  <a:pt x="22" y="45"/>
                </a:cubicBezTo>
                <a:cubicBezTo>
                  <a:pt x="25" y="42"/>
                  <a:pt x="32" y="45"/>
                  <a:pt x="36" y="48"/>
                </a:cubicBezTo>
                <a:cubicBezTo>
                  <a:pt x="39" y="50"/>
                  <a:pt x="38" y="53"/>
                  <a:pt x="36" y="55"/>
                </a:cubicBezTo>
                <a:close/>
                <a:moveTo>
                  <a:pt x="37" y="33"/>
                </a:moveTo>
                <a:cubicBezTo>
                  <a:pt x="34" y="33"/>
                  <a:pt x="31" y="33"/>
                  <a:pt x="28" y="30"/>
                </a:cubicBezTo>
                <a:cubicBezTo>
                  <a:pt x="26" y="27"/>
                  <a:pt x="22" y="27"/>
                  <a:pt x="22" y="27"/>
                </a:cubicBezTo>
                <a:cubicBezTo>
                  <a:pt x="18" y="18"/>
                  <a:pt x="29" y="21"/>
                  <a:pt x="32" y="18"/>
                </a:cubicBezTo>
                <a:cubicBezTo>
                  <a:pt x="34" y="15"/>
                  <a:pt x="38" y="17"/>
                  <a:pt x="39" y="18"/>
                </a:cubicBezTo>
                <a:cubicBezTo>
                  <a:pt x="40" y="19"/>
                  <a:pt x="45" y="18"/>
                  <a:pt x="49" y="23"/>
                </a:cubicBezTo>
                <a:cubicBezTo>
                  <a:pt x="53" y="28"/>
                  <a:pt x="40" y="32"/>
                  <a:pt x="37" y="33"/>
                </a:cubicBezTo>
                <a:close/>
                <a:moveTo>
                  <a:pt x="78" y="15"/>
                </a:moveTo>
                <a:cubicBezTo>
                  <a:pt x="77" y="15"/>
                  <a:pt x="76" y="15"/>
                  <a:pt x="76" y="15"/>
                </a:cubicBezTo>
                <a:cubicBezTo>
                  <a:pt x="74" y="16"/>
                  <a:pt x="72" y="17"/>
                  <a:pt x="70" y="17"/>
                </a:cubicBezTo>
                <a:cubicBezTo>
                  <a:pt x="67" y="17"/>
                  <a:pt x="65" y="16"/>
                  <a:pt x="64" y="14"/>
                </a:cubicBezTo>
                <a:cubicBezTo>
                  <a:pt x="60" y="13"/>
                  <a:pt x="57" y="12"/>
                  <a:pt x="57" y="9"/>
                </a:cubicBezTo>
                <a:cubicBezTo>
                  <a:pt x="57" y="6"/>
                  <a:pt x="63" y="4"/>
                  <a:pt x="69" y="4"/>
                </a:cubicBezTo>
                <a:cubicBezTo>
                  <a:pt x="72" y="4"/>
                  <a:pt x="75" y="4"/>
                  <a:pt x="77" y="5"/>
                </a:cubicBezTo>
                <a:cubicBezTo>
                  <a:pt x="77" y="5"/>
                  <a:pt x="77" y="5"/>
                  <a:pt x="78" y="5"/>
                </a:cubicBezTo>
                <a:cubicBezTo>
                  <a:pt x="81" y="5"/>
                  <a:pt x="83" y="7"/>
                  <a:pt x="83" y="10"/>
                </a:cubicBezTo>
                <a:cubicBezTo>
                  <a:pt x="83" y="13"/>
                  <a:pt x="81" y="15"/>
                  <a:pt x="78" y="15"/>
                </a:cubicBezTo>
                <a:close/>
                <a:moveTo>
                  <a:pt x="97" y="53"/>
                </a:moveTo>
                <a:cubicBezTo>
                  <a:pt x="92" y="53"/>
                  <a:pt x="88" y="51"/>
                  <a:pt x="88" y="48"/>
                </a:cubicBezTo>
                <a:cubicBezTo>
                  <a:pt x="88" y="45"/>
                  <a:pt x="92" y="42"/>
                  <a:pt x="97" y="42"/>
                </a:cubicBezTo>
                <a:cubicBezTo>
                  <a:pt x="102" y="42"/>
                  <a:pt x="106" y="45"/>
                  <a:pt x="106" y="48"/>
                </a:cubicBezTo>
                <a:cubicBezTo>
                  <a:pt x="106" y="51"/>
                  <a:pt x="102" y="53"/>
                  <a:pt x="97" y="53"/>
                </a:cubicBezTo>
                <a:close/>
                <a:moveTo>
                  <a:pt x="118" y="26"/>
                </a:moveTo>
                <a:cubicBezTo>
                  <a:pt x="118" y="29"/>
                  <a:pt x="113" y="32"/>
                  <a:pt x="106" y="32"/>
                </a:cubicBezTo>
                <a:cubicBezTo>
                  <a:pt x="104" y="32"/>
                  <a:pt x="102" y="31"/>
                  <a:pt x="100" y="31"/>
                </a:cubicBezTo>
                <a:cubicBezTo>
                  <a:pt x="100" y="31"/>
                  <a:pt x="99" y="32"/>
                  <a:pt x="98" y="32"/>
                </a:cubicBezTo>
                <a:cubicBezTo>
                  <a:pt x="95" y="32"/>
                  <a:pt x="92" y="29"/>
                  <a:pt x="92" y="25"/>
                </a:cubicBezTo>
                <a:cubicBezTo>
                  <a:pt x="92" y="22"/>
                  <a:pt x="95" y="19"/>
                  <a:pt x="98" y="19"/>
                </a:cubicBezTo>
                <a:cubicBezTo>
                  <a:pt x="100" y="19"/>
                  <a:pt x="101" y="19"/>
                  <a:pt x="102" y="20"/>
                </a:cubicBezTo>
                <a:cubicBezTo>
                  <a:pt x="102" y="20"/>
                  <a:pt x="103" y="20"/>
                  <a:pt x="103" y="20"/>
                </a:cubicBezTo>
                <a:cubicBezTo>
                  <a:pt x="105" y="18"/>
                  <a:pt x="107" y="17"/>
                  <a:pt x="110" y="17"/>
                </a:cubicBezTo>
                <a:cubicBezTo>
                  <a:pt x="115" y="17"/>
                  <a:pt x="118" y="20"/>
                  <a:pt x="118" y="24"/>
                </a:cubicBezTo>
                <a:cubicBezTo>
                  <a:pt x="118" y="24"/>
                  <a:pt x="118" y="25"/>
                  <a:pt x="118" y="25"/>
                </a:cubicBezTo>
                <a:cubicBezTo>
                  <a:pt x="118" y="25"/>
                  <a:pt x="118" y="25"/>
                  <a:pt x="118" y="26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56" name="组合 55"/>
          <p:cNvGrpSpPr/>
          <p:nvPr/>
        </p:nvGrpSpPr>
        <p:grpSpPr bwMode="auto">
          <a:xfrm>
            <a:off x="4164013" y="1276350"/>
            <a:ext cx="815975" cy="1093788"/>
            <a:chOff x="3280764" y="1707654"/>
            <a:chExt cx="559853" cy="752561"/>
          </a:xfrm>
        </p:grpSpPr>
        <p:sp>
          <p:nvSpPr>
            <p:cNvPr id="26673" name="Freeform 1176"/>
            <p:cNvSpPr/>
            <p:nvPr/>
          </p:nvSpPr>
          <p:spPr bwMode="auto">
            <a:xfrm>
              <a:off x="3305684" y="2146232"/>
              <a:ext cx="505030" cy="313983"/>
            </a:xfrm>
            <a:custGeom>
              <a:avLst/>
              <a:gdLst>
                <a:gd name="T0" fmla="*/ 2147483646 w 304"/>
                <a:gd name="T1" fmla="*/ 2147483646 h 189"/>
                <a:gd name="T2" fmla="*/ 2147483646 w 304"/>
                <a:gd name="T3" fmla="*/ 0 h 189"/>
                <a:gd name="T4" fmla="*/ 2147483646 w 304"/>
                <a:gd name="T5" fmla="*/ 2147483646 h 189"/>
                <a:gd name="T6" fmla="*/ 2147483646 w 304"/>
                <a:gd name="T7" fmla="*/ 2147483646 h 189"/>
                <a:gd name="T8" fmla="*/ 2147483646 w 304"/>
                <a:gd name="T9" fmla="*/ 0 h 189"/>
                <a:gd name="T10" fmla="*/ 0 w 304"/>
                <a:gd name="T11" fmla="*/ 2147483646 h 189"/>
                <a:gd name="T12" fmla="*/ 2147483646 w 304"/>
                <a:gd name="T13" fmla="*/ 2147483646 h 189"/>
                <a:gd name="T14" fmla="*/ 2147483646 w 304"/>
                <a:gd name="T15" fmla="*/ 2147483646 h 189"/>
                <a:gd name="T16" fmla="*/ 2147483646 w 304"/>
                <a:gd name="T17" fmla="*/ 2147483646 h 189"/>
                <a:gd name="T18" fmla="*/ 2147483646 w 304"/>
                <a:gd name="T19" fmla="*/ 2147483646 h 189"/>
                <a:gd name="T20" fmla="*/ 2147483646 w 304"/>
                <a:gd name="T21" fmla="*/ 2147483646 h 189"/>
                <a:gd name="T22" fmla="*/ 2147483646 w 304"/>
                <a:gd name="T23" fmla="*/ 2147483646 h 189"/>
                <a:gd name="T24" fmla="*/ 2147483646 w 304"/>
                <a:gd name="T25" fmla="*/ 2147483646 h 18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4" h="189">
                  <a:moveTo>
                    <a:pt x="304" y="189"/>
                  </a:moveTo>
                  <a:lnTo>
                    <a:pt x="163" y="0"/>
                  </a:lnTo>
                  <a:lnTo>
                    <a:pt x="155" y="3"/>
                  </a:lnTo>
                  <a:lnTo>
                    <a:pt x="148" y="0"/>
                  </a:lnTo>
                  <a:lnTo>
                    <a:pt x="0" y="189"/>
                  </a:lnTo>
                  <a:lnTo>
                    <a:pt x="22" y="189"/>
                  </a:lnTo>
                  <a:lnTo>
                    <a:pt x="144" y="29"/>
                  </a:lnTo>
                  <a:lnTo>
                    <a:pt x="144" y="148"/>
                  </a:lnTo>
                  <a:lnTo>
                    <a:pt x="163" y="148"/>
                  </a:lnTo>
                  <a:lnTo>
                    <a:pt x="163" y="33"/>
                  </a:lnTo>
                  <a:lnTo>
                    <a:pt x="282" y="189"/>
                  </a:lnTo>
                  <a:lnTo>
                    <a:pt x="304" y="189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6674" name="Freeform 1177"/>
            <p:cNvSpPr>
              <a:spLocks noEditPoints="1"/>
            </p:cNvSpPr>
            <p:nvPr/>
          </p:nvSpPr>
          <p:spPr bwMode="auto">
            <a:xfrm>
              <a:off x="3280764" y="1707654"/>
              <a:ext cx="559853" cy="456853"/>
            </a:xfrm>
            <a:custGeom>
              <a:avLst/>
              <a:gdLst>
                <a:gd name="T0" fmla="*/ 2147483646 w 91"/>
                <a:gd name="T1" fmla="*/ 2147483646 h 74"/>
                <a:gd name="T2" fmla="*/ 2147483646 w 91"/>
                <a:gd name="T3" fmla="*/ 2147483646 h 74"/>
                <a:gd name="T4" fmla="*/ 0 w 91"/>
                <a:gd name="T5" fmla="*/ 2147483646 h 74"/>
                <a:gd name="T6" fmla="*/ 0 w 91"/>
                <a:gd name="T7" fmla="*/ 2147483646 h 74"/>
                <a:gd name="T8" fmla="*/ 2147483646 w 91"/>
                <a:gd name="T9" fmla="*/ 0 h 74"/>
                <a:gd name="T10" fmla="*/ 2147483646 w 91"/>
                <a:gd name="T11" fmla="*/ 0 h 74"/>
                <a:gd name="T12" fmla="*/ 2147483646 w 91"/>
                <a:gd name="T13" fmla="*/ 2147483646 h 74"/>
                <a:gd name="T14" fmla="*/ 2147483646 w 91"/>
                <a:gd name="T15" fmla="*/ 2147483646 h 74"/>
                <a:gd name="T16" fmla="*/ 2147483646 w 91"/>
                <a:gd name="T17" fmla="*/ 2147483646 h 74"/>
                <a:gd name="T18" fmla="*/ 2147483646 w 91"/>
                <a:gd name="T19" fmla="*/ 2147483646 h 74"/>
                <a:gd name="T20" fmla="*/ 2147483646 w 91"/>
                <a:gd name="T21" fmla="*/ 2147483646 h 74"/>
                <a:gd name="T22" fmla="*/ 2147483646 w 91"/>
                <a:gd name="T23" fmla="*/ 2147483646 h 74"/>
                <a:gd name="T24" fmla="*/ 2147483646 w 91"/>
                <a:gd name="T25" fmla="*/ 2147483646 h 74"/>
                <a:gd name="T26" fmla="*/ 2147483646 w 91"/>
                <a:gd name="T27" fmla="*/ 2147483646 h 74"/>
                <a:gd name="T28" fmla="*/ 2147483646 w 91"/>
                <a:gd name="T29" fmla="*/ 2147483646 h 74"/>
                <a:gd name="T30" fmla="*/ 2147483646 w 91"/>
                <a:gd name="T31" fmla="*/ 2147483646 h 74"/>
                <a:gd name="T32" fmla="*/ 2147483646 w 91"/>
                <a:gd name="T33" fmla="*/ 2147483646 h 74"/>
                <a:gd name="T34" fmla="*/ 2147483646 w 91"/>
                <a:gd name="T35" fmla="*/ 2147483646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1" h="74">
                  <a:moveTo>
                    <a:pt x="86" y="74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2" y="74"/>
                    <a:pt x="0" y="71"/>
                    <a:pt x="0" y="6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1" y="2"/>
                    <a:pt x="91" y="5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1" y="71"/>
                    <a:pt x="89" y="74"/>
                    <a:pt x="86" y="74"/>
                  </a:cubicBezTo>
                  <a:close/>
                  <a:moveTo>
                    <a:pt x="5" y="3"/>
                  </a:moveTo>
                  <a:cubicBezTo>
                    <a:pt x="4" y="3"/>
                    <a:pt x="3" y="4"/>
                    <a:pt x="3" y="5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9"/>
                    <a:pt x="4" y="70"/>
                    <a:pt x="5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7" y="70"/>
                    <a:pt x="88" y="69"/>
                    <a:pt x="88" y="68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4"/>
                    <a:pt x="87" y="3"/>
                    <a:pt x="8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6675" name="Freeform 1178"/>
            <p:cNvSpPr>
              <a:spLocks noEditPoints="1"/>
            </p:cNvSpPr>
            <p:nvPr/>
          </p:nvSpPr>
          <p:spPr bwMode="auto">
            <a:xfrm>
              <a:off x="3328942" y="1750847"/>
              <a:ext cx="463498" cy="363821"/>
            </a:xfrm>
            <a:custGeom>
              <a:avLst/>
              <a:gdLst>
                <a:gd name="T0" fmla="*/ 2147483646 w 75"/>
                <a:gd name="T1" fmla="*/ 0 h 59"/>
                <a:gd name="T2" fmla="*/ 2147483646 w 75"/>
                <a:gd name="T3" fmla="*/ 0 h 59"/>
                <a:gd name="T4" fmla="*/ 0 w 75"/>
                <a:gd name="T5" fmla="*/ 2147483646 h 59"/>
                <a:gd name="T6" fmla="*/ 0 w 75"/>
                <a:gd name="T7" fmla="*/ 2147483646 h 59"/>
                <a:gd name="T8" fmla="*/ 2147483646 w 75"/>
                <a:gd name="T9" fmla="*/ 2147483646 h 59"/>
                <a:gd name="T10" fmla="*/ 2147483646 w 75"/>
                <a:gd name="T11" fmla="*/ 2147483646 h 59"/>
                <a:gd name="T12" fmla="*/ 2147483646 w 75"/>
                <a:gd name="T13" fmla="*/ 2147483646 h 59"/>
                <a:gd name="T14" fmla="*/ 2147483646 w 75"/>
                <a:gd name="T15" fmla="*/ 2147483646 h 59"/>
                <a:gd name="T16" fmla="*/ 2147483646 w 75"/>
                <a:gd name="T17" fmla="*/ 0 h 59"/>
                <a:gd name="T18" fmla="*/ 2147483646 w 75"/>
                <a:gd name="T19" fmla="*/ 2147483646 h 59"/>
                <a:gd name="T20" fmla="*/ 2147483646 w 75"/>
                <a:gd name="T21" fmla="*/ 2147483646 h 59"/>
                <a:gd name="T22" fmla="*/ 2147483646 w 75"/>
                <a:gd name="T23" fmla="*/ 2147483646 h 59"/>
                <a:gd name="T24" fmla="*/ 2147483646 w 75"/>
                <a:gd name="T25" fmla="*/ 2147483646 h 59"/>
                <a:gd name="T26" fmla="*/ 2147483646 w 75"/>
                <a:gd name="T27" fmla="*/ 2147483646 h 59"/>
                <a:gd name="T28" fmla="*/ 2147483646 w 75"/>
                <a:gd name="T29" fmla="*/ 2147483646 h 59"/>
                <a:gd name="T30" fmla="*/ 2147483646 w 75"/>
                <a:gd name="T31" fmla="*/ 2147483646 h 59"/>
                <a:gd name="T32" fmla="*/ 2147483646 w 75"/>
                <a:gd name="T33" fmla="*/ 2147483646 h 59"/>
                <a:gd name="T34" fmla="*/ 2147483646 w 75"/>
                <a:gd name="T35" fmla="*/ 2147483646 h 59"/>
                <a:gd name="T36" fmla="*/ 2147483646 w 75"/>
                <a:gd name="T37" fmla="*/ 2147483646 h 59"/>
                <a:gd name="T38" fmla="*/ 2147483646 w 75"/>
                <a:gd name="T39" fmla="*/ 2147483646 h 59"/>
                <a:gd name="T40" fmla="*/ 2147483646 w 75"/>
                <a:gd name="T41" fmla="*/ 2147483646 h 59"/>
                <a:gd name="T42" fmla="*/ 2147483646 w 75"/>
                <a:gd name="T43" fmla="*/ 2147483646 h 59"/>
                <a:gd name="T44" fmla="*/ 2147483646 w 75"/>
                <a:gd name="T45" fmla="*/ 2147483646 h 59"/>
                <a:gd name="T46" fmla="*/ 2147483646 w 75"/>
                <a:gd name="T47" fmla="*/ 2147483646 h 59"/>
                <a:gd name="T48" fmla="*/ 2147483646 w 75"/>
                <a:gd name="T49" fmla="*/ 2147483646 h 59"/>
                <a:gd name="T50" fmla="*/ 2147483646 w 75"/>
                <a:gd name="T51" fmla="*/ 2147483646 h 59"/>
                <a:gd name="T52" fmla="*/ 2147483646 w 75"/>
                <a:gd name="T53" fmla="*/ 2147483646 h 59"/>
                <a:gd name="T54" fmla="*/ 2147483646 w 75"/>
                <a:gd name="T55" fmla="*/ 2147483646 h 59"/>
                <a:gd name="T56" fmla="*/ 2147483646 w 75"/>
                <a:gd name="T57" fmla="*/ 2147483646 h 59"/>
                <a:gd name="T58" fmla="*/ 2147483646 w 75"/>
                <a:gd name="T59" fmla="*/ 2147483646 h 59"/>
                <a:gd name="T60" fmla="*/ 2147483646 w 75"/>
                <a:gd name="T61" fmla="*/ 2147483646 h 59"/>
                <a:gd name="T62" fmla="*/ 2147483646 w 75"/>
                <a:gd name="T63" fmla="*/ 2147483646 h 59"/>
                <a:gd name="T64" fmla="*/ 2147483646 w 75"/>
                <a:gd name="T65" fmla="*/ 2147483646 h 59"/>
                <a:gd name="T66" fmla="*/ 2147483646 w 75"/>
                <a:gd name="T67" fmla="*/ 2147483646 h 5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75" h="59">
                  <a:moveTo>
                    <a:pt x="7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8"/>
                    <a:pt x="2" y="59"/>
                    <a:pt x="3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4" y="59"/>
                    <a:pt x="75" y="58"/>
                    <a:pt x="75" y="56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1"/>
                    <a:pt x="74" y="0"/>
                    <a:pt x="72" y="0"/>
                  </a:cubicBezTo>
                  <a:close/>
                  <a:moveTo>
                    <a:pt x="39" y="52"/>
                  </a:moveTo>
                  <a:cubicBezTo>
                    <a:pt x="39" y="52"/>
                    <a:pt x="39" y="52"/>
                    <a:pt x="3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8" y="52"/>
                    <a:pt x="48" y="52"/>
                    <a:pt x="48" y="52"/>
                  </a:cubicBezTo>
                  <a:lnTo>
                    <a:pt x="39" y="52"/>
                  </a:lnTo>
                  <a:close/>
                  <a:moveTo>
                    <a:pt x="58" y="21"/>
                  </a:moveTo>
                  <a:cubicBezTo>
                    <a:pt x="54" y="21"/>
                    <a:pt x="51" y="18"/>
                    <a:pt x="51" y="14"/>
                  </a:cubicBezTo>
                  <a:cubicBezTo>
                    <a:pt x="51" y="11"/>
                    <a:pt x="54" y="8"/>
                    <a:pt x="58" y="8"/>
                  </a:cubicBezTo>
                  <a:cubicBezTo>
                    <a:pt x="61" y="8"/>
                    <a:pt x="64" y="11"/>
                    <a:pt x="64" y="14"/>
                  </a:cubicBezTo>
                  <a:cubicBezTo>
                    <a:pt x="64" y="18"/>
                    <a:pt x="61" y="21"/>
                    <a:pt x="58" y="2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6555063" y="1348371"/>
            <a:ext cx="1009356" cy="853499"/>
            <a:chOff x="5162687" y="1825604"/>
            <a:chExt cx="677803" cy="573142"/>
          </a:xfrm>
          <a:solidFill>
            <a:srgbClr val="7EC234"/>
          </a:solidFill>
        </p:grpSpPr>
        <p:sp>
          <p:nvSpPr>
            <p:cNvPr id="10" name="Oval 1169"/>
            <p:cNvSpPr>
              <a:spLocks noChangeArrowheads="1"/>
            </p:cNvSpPr>
            <p:nvPr/>
          </p:nvSpPr>
          <p:spPr bwMode="auto">
            <a:xfrm>
              <a:off x="5428492" y="2028281"/>
              <a:ext cx="289063" cy="289063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11" name="Freeform 1170"/>
            <p:cNvSpPr>
              <a:spLocks noEditPoints="1"/>
            </p:cNvSpPr>
            <p:nvPr/>
          </p:nvSpPr>
          <p:spPr bwMode="auto">
            <a:xfrm>
              <a:off x="5162687" y="1825604"/>
              <a:ext cx="677803" cy="573142"/>
            </a:xfrm>
            <a:custGeom>
              <a:avLst/>
              <a:gdLst>
                <a:gd name="T0" fmla="*/ 98 w 110"/>
                <a:gd name="T1" fmla="*/ 19 h 93"/>
                <a:gd name="T2" fmla="*/ 89 w 110"/>
                <a:gd name="T3" fmla="*/ 19 h 93"/>
                <a:gd name="T4" fmla="*/ 77 w 110"/>
                <a:gd name="T5" fmla="*/ 0 h 93"/>
                <a:gd name="T6" fmla="*/ 56 w 110"/>
                <a:gd name="T7" fmla="*/ 0 h 93"/>
                <a:gd name="T8" fmla="*/ 44 w 110"/>
                <a:gd name="T9" fmla="*/ 19 h 93"/>
                <a:gd name="T10" fmla="*/ 37 w 110"/>
                <a:gd name="T11" fmla="*/ 19 h 93"/>
                <a:gd name="T12" fmla="*/ 31 w 110"/>
                <a:gd name="T13" fmla="*/ 15 h 93"/>
                <a:gd name="T14" fmla="*/ 19 w 110"/>
                <a:gd name="T15" fmla="*/ 15 h 93"/>
                <a:gd name="T16" fmla="*/ 14 w 110"/>
                <a:gd name="T17" fmla="*/ 19 h 93"/>
                <a:gd name="T18" fmla="*/ 13 w 110"/>
                <a:gd name="T19" fmla="*/ 19 h 93"/>
                <a:gd name="T20" fmla="*/ 0 w 110"/>
                <a:gd name="T21" fmla="*/ 32 h 93"/>
                <a:gd name="T22" fmla="*/ 0 w 110"/>
                <a:gd name="T23" fmla="*/ 81 h 93"/>
                <a:gd name="T24" fmla="*/ 13 w 110"/>
                <a:gd name="T25" fmla="*/ 93 h 93"/>
                <a:gd name="T26" fmla="*/ 98 w 110"/>
                <a:gd name="T27" fmla="*/ 93 h 93"/>
                <a:gd name="T28" fmla="*/ 110 w 110"/>
                <a:gd name="T29" fmla="*/ 81 h 93"/>
                <a:gd name="T30" fmla="*/ 110 w 110"/>
                <a:gd name="T31" fmla="*/ 32 h 93"/>
                <a:gd name="T32" fmla="*/ 98 w 110"/>
                <a:gd name="T33" fmla="*/ 19 h 93"/>
                <a:gd name="T34" fmla="*/ 58 w 110"/>
                <a:gd name="T35" fmla="*/ 7 h 93"/>
                <a:gd name="T36" fmla="*/ 74 w 110"/>
                <a:gd name="T37" fmla="*/ 7 h 93"/>
                <a:gd name="T38" fmla="*/ 74 w 110"/>
                <a:gd name="T39" fmla="*/ 15 h 93"/>
                <a:gd name="T40" fmla="*/ 58 w 110"/>
                <a:gd name="T41" fmla="*/ 15 h 93"/>
                <a:gd name="T42" fmla="*/ 58 w 110"/>
                <a:gd name="T43" fmla="*/ 7 h 93"/>
                <a:gd name="T44" fmla="*/ 31 w 110"/>
                <a:gd name="T45" fmla="*/ 31 h 93"/>
                <a:gd name="T46" fmla="*/ 34 w 110"/>
                <a:gd name="T47" fmla="*/ 28 h 93"/>
                <a:gd name="T48" fmla="*/ 38 w 110"/>
                <a:gd name="T49" fmla="*/ 31 h 93"/>
                <a:gd name="T50" fmla="*/ 34 w 110"/>
                <a:gd name="T51" fmla="*/ 35 h 93"/>
                <a:gd name="T52" fmla="*/ 31 w 110"/>
                <a:gd name="T53" fmla="*/ 31 h 93"/>
                <a:gd name="T54" fmla="*/ 66 w 110"/>
                <a:gd name="T55" fmla="*/ 86 h 93"/>
                <a:gd name="T56" fmla="*/ 36 w 110"/>
                <a:gd name="T57" fmla="*/ 56 h 93"/>
                <a:gd name="T58" fmla="*/ 66 w 110"/>
                <a:gd name="T59" fmla="*/ 26 h 93"/>
                <a:gd name="T60" fmla="*/ 96 w 110"/>
                <a:gd name="T61" fmla="*/ 56 h 93"/>
                <a:gd name="T62" fmla="*/ 66 w 110"/>
                <a:gd name="T63" fmla="*/ 8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0" h="93">
                  <a:moveTo>
                    <a:pt x="98" y="19"/>
                  </a:moveTo>
                  <a:cubicBezTo>
                    <a:pt x="89" y="19"/>
                    <a:pt x="89" y="19"/>
                    <a:pt x="89" y="19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17"/>
                    <a:pt x="34" y="15"/>
                    <a:pt x="31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6" y="15"/>
                    <a:pt x="14" y="17"/>
                    <a:pt x="14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6" y="19"/>
                    <a:pt x="0" y="25"/>
                    <a:pt x="0" y="3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8"/>
                    <a:pt x="6" y="93"/>
                    <a:pt x="13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105" y="93"/>
                    <a:pt x="110" y="88"/>
                    <a:pt x="110" y="81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25"/>
                    <a:pt x="105" y="19"/>
                    <a:pt x="98" y="19"/>
                  </a:cubicBezTo>
                  <a:close/>
                  <a:moveTo>
                    <a:pt x="58" y="7"/>
                  </a:moveTo>
                  <a:cubicBezTo>
                    <a:pt x="74" y="7"/>
                    <a:pt x="74" y="7"/>
                    <a:pt x="74" y="7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58" y="15"/>
                    <a:pt x="58" y="15"/>
                    <a:pt x="58" y="15"/>
                  </a:cubicBezTo>
                  <a:lnTo>
                    <a:pt x="58" y="7"/>
                  </a:lnTo>
                  <a:close/>
                  <a:moveTo>
                    <a:pt x="31" y="31"/>
                  </a:moveTo>
                  <a:cubicBezTo>
                    <a:pt x="31" y="29"/>
                    <a:pt x="33" y="28"/>
                    <a:pt x="34" y="28"/>
                  </a:cubicBezTo>
                  <a:cubicBezTo>
                    <a:pt x="36" y="28"/>
                    <a:pt x="38" y="29"/>
                    <a:pt x="38" y="31"/>
                  </a:cubicBezTo>
                  <a:cubicBezTo>
                    <a:pt x="38" y="33"/>
                    <a:pt x="36" y="35"/>
                    <a:pt x="34" y="35"/>
                  </a:cubicBezTo>
                  <a:cubicBezTo>
                    <a:pt x="33" y="35"/>
                    <a:pt x="31" y="33"/>
                    <a:pt x="31" y="31"/>
                  </a:cubicBezTo>
                  <a:close/>
                  <a:moveTo>
                    <a:pt x="66" y="86"/>
                  </a:moveTo>
                  <a:cubicBezTo>
                    <a:pt x="50" y="86"/>
                    <a:pt x="36" y="73"/>
                    <a:pt x="36" y="56"/>
                  </a:cubicBezTo>
                  <a:cubicBezTo>
                    <a:pt x="36" y="40"/>
                    <a:pt x="50" y="26"/>
                    <a:pt x="66" y="26"/>
                  </a:cubicBezTo>
                  <a:cubicBezTo>
                    <a:pt x="83" y="26"/>
                    <a:pt x="96" y="40"/>
                    <a:pt x="96" y="56"/>
                  </a:cubicBezTo>
                  <a:cubicBezTo>
                    <a:pt x="96" y="73"/>
                    <a:pt x="83" y="86"/>
                    <a:pt x="66" y="86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</p:grpSp>
      <p:grpSp>
        <p:nvGrpSpPr>
          <p:cNvPr id="60" name="组合 59"/>
          <p:cNvGrpSpPr/>
          <p:nvPr/>
        </p:nvGrpSpPr>
        <p:grpSpPr bwMode="auto">
          <a:xfrm>
            <a:off x="857250" y="2703513"/>
            <a:ext cx="2454275" cy="1236662"/>
            <a:chOff x="827583" y="2499742"/>
            <a:chExt cx="2453181" cy="1236438"/>
          </a:xfrm>
        </p:grpSpPr>
        <p:sp>
          <p:nvSpPr>
            <p:cNvPr id="4" name="矩形 1"/>
            <p:cNvSpPr>
              <a:spLocks noChangeArrowheads="1"/>
            </p:cNvSpPr>
            <p:nvPr/>
          </p:nvSpPr>
          <p:spPr bwMode="auto">
            <a:xfrm>
              <a:off x="827583" y="2882260"/>
              <a:ext cx="2453181" cy="853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中国专业</a:t>
              </a:r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领跑者，坚持精益求精、拒绝平庸的做事精神，为您创造卓越价值。</a:t>
              </a:r>
              <a:endPara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664" name="组合 44"/>
            <p:cNvGrpSpPr/>
            <p:nvPr/>
          </p:nvGrpSpPr>
          <p:grpSpPr bwMode="auto">
            <a:xfrm>
              <a:off x="925880" y="2499742"/>
              <a:ext cx="2133952" cy="361727"/>
              <a:chOff x="4846160" y="1470506"/>
              <a:chExt cx="2133952" cy="361727"/>
            </a:xfrm>
          </p:grpSpPr>
          <p:cxnSp>
            <p:nvCxnSpPr>
              <p:cNvPr id="46" name="直接连接符 45"/>
              <p:cNvCxnSpPr/>
              <p:nvPr/>
            </p:nvCxnSpPr>
            <p:spPr>
              <a:xfrm>
                <a:off x="4865285" y="1832390"/>
                <a:ext cx="211519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666" name="组合 46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48" name="TextBox 265"/>
                <p:cNvSpPr txBox="1"/>
                <p:nvPr/>
              </p:nvSpPr>
              <p:spPr bwMode="auto">
                <a:xfrm>
                  <a:off x="1156329" y="1031498"/>
                  <a:ext cx="1102820" cy="32220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6668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6669" name="组合 49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52" name="流程图: 决策 166"/>
                  <p:cNvSpPr/>
                  <p:nvPr/>
                </p:nvSpPr>
                <p:spPr>
                  <a:xfrm>
                    <a:off x="957979" y="1125143"/>
                    <a:ext cx="136464" cy="1730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53" name="流程图: 决策 166"/>
                  <p:cNvSpPr/>
                  <p:nvPr/>
                </p:nvSpPr>
                <p:spPr>
                  <a:xfrm>
                    <a:off x="1107138" y="1126731"/>
                    <a:ext cx="90448" cy="1714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51" name="直接连接符 50"/>
                <p:cNvCxnSpPr/>
                <p:nvPr/>
              </p:nvCxnSpPr>
              <p:spPr>
                <a:xfrm>
                  <a:off x="2263910" y="1137841"/>
                  <a:ext cx="0" cy="144437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61" name="组合 60"/>
          <p:cNvGrpSpPr/>
          <p:nvPr/>
        </p:nvGrpSpPr>
        <p:grpSpPr bwMode="auto">
          <a:xfrm>
            <a:off x="3344863" y="2703513"/>
            <a:ext cx="2454275" cy="1236662"/>
            <a:chOff x="827583" y="2499742"/>
            <a:chExt cx="2453181" cy="1236438"/>
          </a:xfrm>
        </p:grpSpPr>
        <p:sp>
          <p:nvSpPr>
            <p:cNvPr id="62" name="矩形 1"/>
            <p:cNvSpPr>
              <a:spLocks noChangeArrowheads="1"/>
            </p:cNvSpPr>
            <p:nvPr/>
          </p:nvSpPr>
          <p:spPr bwMode="auto">
            <a:xfrm>
              <a:off x="827583" y="2882260"/>
              <a:ext cx="2453181" cy="853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中国专业</a:t>
              </a:r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领跑者，坚持精益求精、拒绝平庸的做事精神，为您创造卓越价值。</a:t>
              </a:r>
              <a:endPara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654" name="组合 62"/>
            <p:cNvGrpSpPr/>
            <p:nvPr/>
          </p:nvGrpSpPr>
          <p:grpSpPr bwMode="auto">
            <a:xfrm>
              <a:off x="925880" y="2499742"/>
              <a:ext cx="2133952" cy="361727"/>
              <a:chOff x="4846160" y="1470506"/>
              <a:chExt cx="2133952" cy="361727"/>
            </a:xfrm>
          </p:grpSpPr>
          <p:cxnSp>
            <p:nvCxnSpPr>
              <p:cNvPr id="64" name="直接连接符 63"/>
              <p:cNvCxnSpPr/>
              <p:nvPr/>
            </p:nvCxnSpPr>
            <p:spPr>
              <a:xfrm>
                <a:off x="4865285" y="1832390"/>
                <a:ext cx="2115193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656" name="组合 64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66" name="TextBox 265"/>
                <p:cNvSpPr txBox="1"/>
                <p:nvPr/>
              </p:nvSpPr>
              <p:spPr bwMode="auto">
                <a:xfrm>
                  <a:off x="1156328" y="1031498"/>
                  <a:ext cx="1102821" cy="32220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6658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6659" name="组合 67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70" name="流程图: 决策 166"/>
                  <p:cNvSpPr/>
                  <p:nvPr/>
                </p:nvSpPr>
                <p:spPr>
                  <a:xfrm>
                    <a:off x="957979" y="1125143"/>
                    <a:ext cx="136464" cy="1730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71" name="流程图: 决策 166"/>
                  <p:cNvSpPr/>
                  <p:nvPr/>
                </p:nvSpPr>
                <p:spPr>
                  <a:xfrm>
                    <a:off x="1107138" y="1126731"/>
                    <a:ext cx="90447" cy="1714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69" name="直接连接符 68"/>
                <p:cNvCxnSpPr/>
                <p:nvPr/>
              </p:nvCxnSpPr>
              <p:spPr>
                <a:xfrm>
                  <a:off x="2263909" y="1137841"/>
                  <a:ext cx="0" cy="144437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72" name="组合 71"/>
          <p:cNvGrpSpPr/>
          <p:nvPr/>
        </p:nvGrpSpPr>
        <p:grpSpPr bwMode="auto">
          <a:xfrm>
            <a:off x="5832475" y="2703513"/>
            <a:ext cx="2454275" cy="1236662"/>
            <a:chOff x="827583" y="2499742"/>
            <a:chExt cx="2453181" cy="1236438"/>
          </a:xfrm>
        </p:grpSpPr>
        <p:sp>
          <p:nvSpPr>
            <p:cNvPr id="73" name="矩形 1"/>
            <p:cNvSpPr>
              <a:spLocks noChangeArrowheads="1"/>
            </p:cNvSpPr>
            <p:nvPr/>
          </p:nvSpPr>
          <p:spPr bwMode="auto">
            <a:xfrm>
              <a:off x="827583" y="2882260"/>
              <a:ext cx="2453181" cy="853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中国专业</a:t>
              </a:r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领跑者，坚持精益求精、拒绝平庸的做事精神，为您创造卓越价值。</a:t>
              </a:r>
              <a:endPara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644" name="组合 73"/>
            <p:cNvGrpSpPr/>
            <p:nvPr/>
          </p:nvGrpSpPr>
          <p:grpSpPr bwMode="auto">
            <a:xfrm>
              <a:off x="925880" y="2499742"/>
              <a:ext cx="2133952" cy="361727"/>
              <a:chOff x="4846160" y="1470506"/>
              <a:chExt cx="2133952" cy="361727"/>
            </a:xfrm>
          </p:grpSpPr>
          <p:cxnSp>
            <p:nvCxnSpPr>
              <p:cNvPr id="75" name="直接连接符 74"/>
              <p:cNvCxnSpPr/>
              <p:nvPr/>
            </p:nvCxnSpPr>
            <p:spPr>
              <a:xfrm>
                <a:off x="4865285" y="1832390"/>
                <a:ext cx="211519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646" name="组合 75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77" name="TextBox 265"/>
                <p:cNvSpPr txBox="1"/>
                <p:nvPr/>
              </p:nvSpPr>
              <p:spPr bwMode="auto">
                <a:xfrm>
                  <a:off x="1156329" y="1031498"/>
                  <a:ext cx="1102820" cy="32220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6648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6649" name="组合 78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81" name="流程图: 决策 166"/>
                  <p:cNvSpPr/>
                  <p:nvPr/>
                </p:nvSpPr>
                <p:spPr>
                  <a:xfrm>
                    <a:off x="957979" y="1125143"/>
                    <a:ext cx="136464" cy="1730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82" name="流程图: 决策 166"/>
                  <p:cNvSpPr/>
                  <p:nvPr/>
                </p:nvSpPr>
                <p:spPr>
                  <a:xfrm>
                    <a:off x="1107138" y="1126731"/>
                    <a:ext cx="90448" cy="1714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80" name="直接连接符 79"/>
                <p:cNvCxnSpPr/>
                <p:nvPr/>
              </p:nvCxnSpPr>
              <p:spPr>
                <a:xfrm>
                  <a:off x="2263910" y="1137841"/>
                  <a:ext cx="0" cy="144437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85" name="矩形 84"/>
          <p:cNvSpPr/>
          <p:nvPr/>
        </p:nvSpPr>
        <p:spPr>
          <a:xfrm>
            <a:off x="8272463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86" name="矩形 85"/>
          <p:cNvSpPr/>
          <p:nvPr/>
        </p:nvSpPr>
        <p:spPr>
          <a:xfrm>
            <a:off x="8443913" y="4668838"/>
            <a:ext cx="101600" cy="1016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latin typeface="+mn-lt"/>
              <a:ea typeface="+mn-ea"/>
            </a:endParaRPr>
          </a:p>
        </p:txBody>
      </p:sp>
      <p:sp>
        <p:nvSpPr>
          <p:cNvPr id="26642" name="矩形 88"/>
          <p:cNvSpPr>
            <a:spLocks noChangeArrowheads="1"/>
          </p:cNvSpPr>
          <p:nvPr/>
        </p:nvSpPr>
        <p:spPr bwMode="auto">
          <a:xfrm>
            <a:off x="8629650" y="4668838"/>
            <a:ext cx="100013" cy="1016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5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 tmFilter="0, 0; .2, .5; .8, .5; 1, 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250" autoRev="1" fill="hold"/>
                                        <p:tgtEl>
                                          <p:spTgt spid="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组合 44"/>
          <p:cNvGrpSpPr/>
          <p:nvPr/>
        </p:nvGrpSpPr>
        <p:grpSpPr>
          <a:xfrm>
            <a:off x="995351" y="2389188"/>
            <a:ext cx="906462" cy="477838"/>
            <a:chOff x="1067545" y="2389188"/>
            <a:chExt cx="906462" cy="477838"/>
          </a:xfrm>
          <a:solidFill>
            <a:srgbClr val="FFCC00"/>
          </a:solidFill>
        </p:grpSpPr>
        <p:sp>
          <p:nvSpPr>
            <p:cNvPr id="2" name="Oval 5"/>
            <p:cNvSpPr>
              <a:spLocks noChangeArrowheads="1"/>
            </p:cNvSpPr>
            <p:nvPr/>
          </p:nvSpPr>
          <p:spPr bwMode="auto">
            <a:xfrm>
              <a:off x="1186607" y="2693988"/>
              <a:ext cx="171450" cy="173038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3" name="Freeform 6"/>
            <p:cNvSpPr/>
            <p:nvPr/>
          </p:nvSpPr>
          <p:spPr bwMode="auto">
            <a:xfrm>
              <a:off x="1067545" y="2389188"/>
              <a:ext cx="906462" cy="390525"/>
            </a:xfrm>
            <a:custGeom>
              <a:avLst/>
              <a:gdLst>
                <a:gd name="T0" fmla="*/ 130 w 137"/>
                <a:gd name="T1" fmla="*/ 32 h 59"/>
                <a:gd name="T2" fmla="*/ 115 w 137"/>
                <a:gd name="T3" fmla="*/ 26 h 59"/>
                <a:gd name="T4" fmla="*/ 105 w 137"/>
                <a:gd name="T5" fmla="*/ 17 h 59"/>
                <a:gd name="T6" fmla="*/ 101 w 137"/>
                <a:gd name="T7" fmla="*/ 7 h 59"/>
                <a:gd name="T8" fmla="*/ 91 w 137"/>
                <a:gd name="T9" fmla="*/ 0 h 59"/>
                <a:gd name="T10" fmla="*/ 43 w 137"/>
                <a:gd name="T11" fmla="*/ 0 h 59"/>
                <a:gd name="T12" fmla="*/ 31 w 137"/>
                <a:gd name="T13" fmla="*/ 5 h 59"/>
                <a:gd name="T14" fmla="*/ 5 w 137"/>
                <a:gd name="T15" fmla="*/ 32 h 59"/>
                <a:gd name="T16" fmla="*/ 0 w 137"/>
                <a:gd name="T17" fmla="*/ 45 h 59"/>
                <a:gd name="T18" fmla="*/ 0 w 137"/>
                <a:gd name="T19" fmla="*/ 52 h 59"/>
                <a:gd name="T20" fmla="*/ 7 w 137"/>
                <a:gd name="T21" fmla="*/ 59 h 59"/>
                <a:gd name="T22" fmla="*/ 14 w 137"/>
                <a:gd name="T23" fmla="*/ 59 h 59"/>
                <a:gd name="T24" fmla="*/ 31 w 137"/>
                <a:gd name="T25" fmla="*/ 42 h 59"/>
                <a:gd name="T26" fmla="*/ 49 w 137"/>
                <a:gd name="T27" fmla="*/ 59 h 59"/>
                <a:gd name="T28" fmla="*/ 84 w 137"/>
                <a:gd name="T29" fmla="*/ 59 h 59"/>
                <a:gd name="T30" fmla="*/ 101 w 137"/>
                <a:gd name="T31" fmla="*/ 42 h 59"/>
                <a:gd name="T32" fmla="*/ 118 w 137"/>
                <a:gd name="T33" fmla="*/ 59 h 59"/>
                <a:gd name="T34" fmla="*/ 130 w 137"/>
                <a:gd name="T35" fmla="*/ 59 h 59"/>
                <a:gd name="T36" fmla="*/ 137 w 137"/>
                <a:gd name="T37" fmla="*/ 52 h 59"/>
                <a:gd name="T38" fmla="*/ 137 w 137"/>
                <a:gd name="T39" fmla="*/ 42 h 59"/>
                <a:gd name="T40" fmla="*/ 130 w 137"/>
                <a:gd name="T41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7" h="59">
                  <a:moveTo>
                    <a:pt x="130" y="32"/>
                  </a:moveTo>
                  <a:cubicBezTo>
                    <a:pt x="115" y="26"/>
                    <a:pt x="115" y="26"/>
                    <a:pt x="115" y="26"/>
                  </a:cubicBezTo>
                  <a:cubicBezTo>
                    <a:pt x="111" y="25"/>
                    <a:pt x="107" y="21"/>
                    <a:pt x="105" y="17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99" y="3"/>
                    <a:pt x="95" y="0"/>
                    <a:pt x="91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9" y="0"/>
                    <a:pt x="34" y="2"/>
                    <a:pt x="31" y="5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2" y="35"/>
                    <a:pt x="0" y="41"/>
                    <a:pt x="0" y="4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6"/>
                    <a:pt x="3" y="59"/>
                    <a:pt x="7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49"/>
                    <a:pt x="22" y="42"/>
                    <a:pt x="31" y="42"/>
                  </a:cubicBezTo>
                  <a:cubicBezTo>
                    <a:pt x="41" y="42"/>
                    <a:pt x="49" y="49"/>
                    <a:pt x="49" y="59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49"/>
                    <a:pt x="91" y="42"/>
                    <a:pt x="101" y="42"/>
                  </a:cubicBezTo>
                  <a:cubicBezTo>
                    <a:pt x="111" y="42"/>
                    <a:pt x="118" y="49"/>
                    <a:pt x="118" y="59"/>
                  </a:cubicBezTo>
                  <a:cubicBezTo>
                    <a:pt x="130" y="59"/>
                    <a:pt x="130" y="59"/>
                    <a:pt x="130" y="59"/>
                  </a:cubicBezTo>
                  <a:cubicBezTo>
                    <a:pt x="134" y="59"/>
                    <a:pt x="137" y="56"/>
                    <a:pt x="137" y="5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7" y="38"/>
                    <a:pt x="134" y="34"/>
                    <a:pt x="13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4" name="Oval 7"/>
            <p:cNvSpPr>
              <a:spLocks noChangeArrowheads="1"/>
            </p:cNvSpPr>
            <p:nvPr/>
          </p:nvSpPr>
          <p:spPr bwMode="auto">
            <a:xfrm>
              <a:off x="1650157" y="2693988"/>
              <a:ext cx="171450" cy="173038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</p:grpSp>
      <p:sp>
        <p:nvSpPr>
          <p:cNvPr id="5" name="Freeform 8"/>
          <p:cNvSpPr/>
          <p:nvPr/>
        </p:nvSpPr>
        <p:spPr bwMode="auto">
          <a:xfrm>
            <a:off x="1014413" y="1039813"/>
            <a:ext cx="895350" cy="774700"/>
          </a:xfrm>
          <a:custGeom>
            <a:avLst/>
            <a:gdLst>
              <a:gd name="T0" fmla="*/ 2147483646 w 135"/>
              <a:gd name="T1" fmla="*/ 2147483646 h 117"/>
              <a:gd name="T2" fmla="*/ 2147483646 w 135"/>
              <a:gd name="T3" fmla="*/ 2147483646 h 117"/>
              <a:gd name="T4" fmla="*/ 2147483646 w 135"/>
              <a:gd name="T5" fmla="*/ 2147483646 h 117"/>
              <a:gd name="T6" fmla="*/ 2147483646 w 135"/>
              <a:gd name="T7" fmla="*/ 0 h 117"/>
              <a:gd name="T8" fmla="*/ 2147483646 w 135"/>
              <a:gd name="T9" fmla="*/ 2147483646 h 117"/>
              <a:gd name="T10" fmla="*/ 2147483646 w 135"/>
              <a:gd name="T11" fmla="*/ 2147483646 h 117"/>
              <a:gd name="T12" fmla="*/ 2147483646 w 135"/>
              <a:gd name="T13" fmla="*/ 2147483646 h 117"/>
              <a:gd name="T14" fmla="*/ 2147483646 w 135"/>
              <a:gd name="T15" fmla="*/ 2147483646 h 117"/>
              <a:gd name="T16" fmla="*/ 0 w 135"/>
              <a:gd name="T17" fmla="*/ 2147483646 h 117"/>
              <a:gd name="T18" fmla="*/ 2147483646 w 135"/>
              <a:gd name="T19" fmla="*/ 2147483646 h 117"/>
              <a:gd name="T20" fmla="*/ 2147483646 w 135"/>
              <a:gd name="T21" fmla="*/ 2147483646 h 117"/>
              <a:gd name="T22" fmla="*/ 2147483646 w 135"/>
              <a:gd name="T23" fmla="*/ 2147483646 h 117"/>
              <a:gd name="T24" fmla="*/ 2147483646 w 135"/>
              <a:gd name="T25" fmla="*/ 2147483646 h 117"/>
              <a:gd name="T26" fmla="*/ 2147483646 w 135"/>
              <a:gd name="T27" fmla="*/ 2147483646 h 117"/>
              <a:gd name="T28" fmla="*/ 2147483646 w 135"/>
              <a:gd name="T29" fmla="*/ 2147483646 h 117"/>
              <a:gd name="T30" fmla="*/ 2147483646 w 135"/>
              <a:gd name="T31" fmla="*/ 2147483646 h 117"/>
              <a:gd name="T32" fmla="*/ 2147483646 w 135"/>
              <a:gd name="T33" fmla="*/ 2147483646 h 1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35" h="117">
                <a:moveTo>
                  <a:pt x="98" y="43"/>
                </a:moveTo>
                <a:cubicBezTo>
                  <a:pt x="98" y="43"/>
                  <a:pt x="135" y="25"/>
                  <a:pt x="130" y="14"/>
                </a:cubicBezTo>
                <a:cubicBezTo>
                  <a:pt x="124" y="4"/>
                  <a:pt x="88" y="25"/>
                  <a:pt x="88" y="25"/>
                </a:cubicBezTo>
                <a:cubicBezTo>
                  <a:pt x="25" y="0"/>
                  <a:pt x="25" y="0"/>
                  <a:pt x="25" y="0"/>
                </a:cubicBezTo>
                <a:cubicBezTo>
                  <a:pt x="12" y="4"/>
                  <a:pt x="12" y="4"/>
                  <a:pt x="12" y="4"/>
                </a:cubicBezTo>
                <a:cubicBezTo>
                  <a:pt x="66" y="37"/>
                  <a:pt x="66" y="37"/>
                  <a:pt x="66" y="37"/>
                </a:cubicBezTo>
                <a:cubicBezTo>
                  <a:pt x="27" y="63"/>
                  <a:pt x="27" y="63"/>
                  <a:pt x="27" y="63"/>
                </a:cubicBezTo>
                <a:cubicBezTo>
                  <a:pt x="5" y="58"/>
                  <a:pt x="5" y="58"/>
                  <a:pt x="5" y="58"/>
                </a:cubicBezTo>
                <a:cubicBezTo>
                  <a:pt x="0" y="60"/>
                  <a:pt x="0" y="60"/>
                  <a:pt x="0" y="60"/>
                </a:cubicBezTo>
                <a:cubicBezTo>
                  <a:pt x="14" y="76"/>
                  <a:pt x="14" y="76"/>
                  <a:pt x="14" y="76"/>
                </a:cubicBezTo>
                <a:cubicBezTo>
                  <a:pt x="20" y="98"/>
                  <a:pt x="20" y="98"/>
                  <a:pt x="20" y="98"/>
                </a:cubicBezTo>
                <a:cubicBezTo>
                  <a:pt x="25" y="95"/>
                  <a:pt x="25" y="95"/>
                  <a:pt x="25" y="95"/>
                </a:cubicBezTo>
                <a:cubicBezTo>
                  <a:pt x="32" y="72"/>
                  <a:pt x="32" y="72"/>
                  <a:pt x="32" y="7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117"/>
                  <a:pt x="76" y="117"/>
                  <a:pt x="76" y="117"/>
                </a:cubicBezTo>
                <a:cubicBezTo>
                  <a:pt x="84" y="110"/>
                  <a:pt x="84" y="110"/>
                  <a:pt x="84" y="110"/>
                </a:cubicBezTo>
                <a:lnTo>
                  <a:pt x="98" y="43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46" name="组合 45"/>
          <p:cNvGrpSpPr/>
          <p:nvPr/>
        </p:nvGrpSpPr>
        <p:grpSpPr>
          <a:xfrm>
            <a:off x="1108063" y="3408363"/>
            <a:ext cx="728662" cy="708025"/>
            <a:chOff x="1180257" y="3408363"/>
            <a:chExt cx="728662" cy="708025"/>
          </a:xfrm>
          <a:solidFill>
            <a:srgbClr val="00B0F0"/>
          </a:solidFill>
        </p:grpSpPr>
        <p:sp>
          <p:nvSpPr>
            <p:cNvPr id="6" name="Freeform 9"/>
            <p:cNvSpPr/>
            <p:nvPr/>
          </p:nvSpPr>
          <p:spPr bwMode="auto">
            <a:xfrm>
              <a:off x="1180257" y="3890963"/>
              <a:ext cx="728662" cy="225425"/>
            </a:xfrm>
            <a:custGeom>
              <a:avLst/>
              <a:gdLst>
                <a:gd name="T0" fmla="*/ 0 w 110"/>
                <a:gd name="T1" fmla="*/ 0 h 34"/>
                <a:gd name="T2" fmla="*/ 55 w 110"/>
                <a:gd name="T3" fmla="*/ 34 h 34"/>
                <a:gd name="T4" fmla="*/ 110 w 110"/>
                <a:gd name="T5" fmla="*/ 0 h 34"/>
                <a:gd name="T6" fmla="*/ 0 w 110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34">
                  <a:moveTo>
                    <a:pt x="0" y="0"/>
                  </a:moveTo>
                  <a:cubicBezTo>
                    <a:pt x="11" y="20"/>
                    <a:pt x="31" y="34"/>
                    <a:pt x="55" y="34"/>
                  </a:cubicBezTo>
                  <a:cubicBezTo>
                    <a:pt x="79" y="34"/>
                    <a:pt x="100" y="20"/>
                    <a:pt x="11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7" name="Freeform 10"/>
            <p:cNvSpPr/>
            <p:nvPr/>
          </p:nvSpPr>
          <p:spPr bwMode="auto">
            <a:xfrm>
              <a:off x="1259632" y="3408363"/>
              <a:ext cx="265112" cy="423863"/>
            </a:xfrm>
            <a:custGeom>
              <a:avLst/>
              <a:gdLst>
                <a:gd name="T0" fmla="*/ 0 w 167"/>
                <a:gd name="T1" fmla="*/ 267 h 267"/>
                <a:gd name="T2" fmla="*/ 167 w 167"/>
                <a:gd name="T3" fmla="*/ 267 h 267"/>
                <a:gd name="T4" fmla="*/ 167 w 167"/>
                <a:gd name="T5" fmla="*/ 0 h 267"/>
                <a:gd name="T6" fmla="*/ 0 w 167"/>
                <a:gd name="T7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7" h="267">
                  <a:moveTo>
                    <a:pt x="0" y="267"/>
                  </a:moveTo>
                  <a:lnTo>
                    <a:pt x="167" y="267"/>
                  </a:lnTo>
                  <a:lnTo>
                    <a:pt x="167" y="0"/>
                  </a:lnTo>
                  <a:lnTo>
                    <a:pt x="0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8" name="Freeform 11"/>
            <p:cNvSpPr/>
            <p:nvPr/>
          </p:nvSpPr>
          <p:spPr bwMode="auto">
            <a:xfrm>
              <a:off x="1577132" y="3573463"/>
              <a:ext cx="192087" cy="265113"/>
            </a:xfrm>
            <a:custGeom>
              <a:avLst/>
              <a:gdLst>
                <a:gd name="T0" fmla="*/ 0 w 121"/>
                <a:gd name="T1" fmla="*/ 0 h 167"/>
                <a:gd name="T2" fmla="*/ 0 w 121"/>
                <a:gd name="T3" fmla="*/ 167 h 167"/>
                <a:gd name="T4" fmla="*/ 121 w 121"/>
                <a:gd name="T5" fmla="*/ 167 h 167"/>
                <a:gd name="T6" fmla="*/ 0 w 121"/>
                <a:gd name="T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1" h="167">
                  <a:moveTo>
                    <a:pt x="0" y="0"/>
                  </a:moveTo>
                  <a:lnTo>
                    <a:pt x="0" y="167"/>
                  </a:lnTo>
                  <a:lnTo>
                    <a:pt x="121" y="16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</p:grpSp>
      <p:sp>
        <p:nvSpPr>
          <p:cNvPr id="9" name="TextBox 682"/>
          <p:cNvSpPr txBox="1"/>
          <p:nvPr/>
        </p:nvSpPr>
        <p:spPr>
          <a:xfrm>
            <a:off x="2997200" y="3322638"/>
            <a:ext cx="1000125" cy="10160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altLang="zh-CN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en-US" altLang="zh-CN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zh-CN" altLang="en-US" sz="5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682"/>
          <p:cNvSpPr txBox="1"/>
          <p:nvPr/>
        </p:nvSpPr>
        <p:spPr>
          <a:xfrm>
            <a:off x="2771775" y="2179638"/>
            <a:ext cx="1450975" cy="10160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altLang="zh-CN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2</a:t>
            </a:r>
            <a:r>
              <a:rPr lang="en-US" altLang="zh-CN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zh-CN" altLang="en-US" sz="5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82"/>
          <p:cNvSpPr txBox="1"/>
          <p:nvPr/>
        </p:nvSpPr>
        <p:spPr>
          <a:xfrm>
            <a:off x="2771775" y="884238"/>
            <a:ext cx="1450975" cy="10160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altLang="zh-CN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en-US" altLang="zh-CN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zh-CN" altLang="en-US" sz="5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682625" y="18129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682625" y="9747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682625" y="30702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682625" y="22320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>
            <a:off x="682625" y="42132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682625" y="33750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"/>
          <p:cNvSpPr>
            <a:spLocks noChangeArrowheads="1"/>
          </p:cNvSpPr>
          <p:nvPr/>
        </p:nvSpPr>
        <p:spPr bwMode="auto">
          <a:xfrm>
            <a:off x="4716463" y="1052513"/>
            <a:ext cx="37449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锐普，中国专业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领跑者，坚持精益求精、拒绝平庸的做事精神，为您创造卓越价值。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"/>
          <p:cNvSpPr>
            <a:spLocks noChangeArrowheads="1"/>
          </p:cNvSpPr>
          <p:nvPr/>
        </p:nvSpPr>
        <p:spPr bwMode="auto">
          <a:xfrm>
            <a:off x="4716463" y="2373313"/>
            <a:ext cx="37449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锐普，中国专业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领跑者，坚持精益求精、拒绝平庸的做事精神，为您创造卓越价值。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"/>
          <p:cNvSpPr>
            <a:spLocks noChangeArrowheads="1"/>
          </p:cNvSpPr>
          <p:nvPr/>
        </p:nvSpPr>
        <p:spPr bwMode="auto">
          <a:xfrm>
            <a:off x="4716463" y="3490913"/>
            <a:ext cx="37449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锐普，中国专业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领跑者，坚持精益求精、拒绝平庸的做事精神，为您创造卓越价值。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7665" name="组合 2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2" name="任意多边形 2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7691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666" name="组合 2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5" name="任意多边形 2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7689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667" name="组合 2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8" name="任意多边形 2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68" name="组合 2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1" name="任意多边形 3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2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69" name="组合 32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4" name="任意多边形 3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5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70" name="组合 35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37" name="任意多边形 36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8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71" name="组合 38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40" name="任意多边形 39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1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72" name="组合 41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7676" name="矩形 42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48" name="矩形 47"/>
          <p:cNvSpPr/>
          <p:nvPr/>
        </p:nvSpPr>
        <p:spPr>
          <a:xfrm>
            <a:off x="8272463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7674" name="矩形 48"/>
          <p:cNvSpPr>
            <a:spLocks noChangeArrowheads="1"/>
          </p:cNvSpPr>
          <p:nvPr/>
        </p:nvSpPr>
        <p:spPr bwMode="auto">
          <a:xfrm>
            <a:off x="8443913" y="4668838"/>
            <a:ext cx="101600" cy="101600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50" name="矩形 49"/>
          <p:cNvSpPr/>
          <p:nvPr/>
        </p:nvSpPr>
        <p:spPr>
          <a:xfrm>
            <a:off x="8629650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4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4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3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3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3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3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8" grpId="0"/>
      <p:bldP spid="19" grpId="0"/>
      <p:bldP spid="2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1" name="组合 1040"/>
          <p:cNvGrpSpPr/>
          <p:nvPr/>
        </p:nvGrpSpPr>
        <p:grpSpPr bwMode="auto">
          <a:xfrm>
            <a:off x="2436813" y="1579563"/>
            <a:ext cx="449262" cy="395287"/>
            <a:chOff x="2627784" y="987574"/>
            <a:chExt cx="408310" cy="396044"/>
          </a:xfrm>
        </p:grpSpPr>
        <p:sp>
          <p:nvSpPr>
            <p:cNvPr id="61" name="圆角矩形 11"/>
            <p:cNvSpPr/>
            <p:nvPr/>
          </p:nvSpPr>
          <p:spPr>
            <a:xfrm>
              <a:off x="2627784" y="98757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90" name="Freeform 31"/>
            <p:cNvSpPr>
              <a:spLocks noEditPoints="1"/>
            </p:cNvSpPr>
            <p:nvPr/>
          </p:nvSpPr>
          <p:spPr bwMode="auto">
            <a:xfrm>
              <a:off x="2744275" y="1108189"/>
              <a:ext cx="175328" cy="154814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040" name="组合 1039"/>
          <p:cNvGrpSpPr/>
          <p:nvPr/>
        </p:nvGrpSpPr>
        <p:grpSpPr bwMode="auto">
          <a:xfrm>
            <a:off x="2936875" y="1579563"/>
            <a:ext cx="3698875" cy="395287"/>
            <a:chOff x="3081814" y="987574"/>
            <a:chExt cx="3362395" cy="396044"/>
          </a:xfrm>
        </p:grpSpPr>
        <p:sp>
          <p:nvSpPr>
            <p:cNvPr id="12" name="圆角矩形 11"/>
            <p:cNvSpPr/>
            <p:nvPr/>
          </p:nvSpPr>
          <p:spPr>
            <a:xfrm>
              <a:off x="3081814" y="98757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035" name="矩形 1034"/>
            <p:cNvSpPr/>
            <p:nvPr/>
          </p:nvSpPr>
          <p:spPr>
            <a:xfrm>
              <a:off x="3132323" y="1001888"/>
              <a:ext cx="3239732" cy="359462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283" name="TextBox 10"/>
            <p:cNvSpPr txBox="1">
              <a:spLocks noChangeArrowheads="1"/>
            </p:cNvSpPr>
            <p:nvPr/>
          </p:nvSpPr>
          <p:spPr bwMode="auto">
            <a:xfrm>
              <a:off x="3383895" y="99754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84" name="矩形 91"/>
            <p:cNvSpPr>
              <a:spLocks noChangeArrowheads="1"/>
            </p:cNvSpPr>
            <p:nvPr/>
          </p:nvSpPr>
          <p:spPr bwMode="auto">
            <a:xfrm>
              <a:off x="4854826" y="1075799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285" name="组合 8"/>
            <p:cNvGrpSpPr/>
            <p:nvPr/>
          </p:nvGrpSpPr>
          <p:grpSpPr bwMode="auto">
            <a:xfrm>
              <a:off x="6134630" y="1072343"/>
              <a:ext cx="209039" cy="209039"/>
              <a:chOff x="2719746" y="1662559"/>
              <a:chExt cx="190035" cy="190035"/>
            </a:xfrm>
          </p:grpSpPr>
          <p:sp>
            <p:nvSpPr>
              <p:cNvPr id="7" name="椭圆 6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8" name="燕尾形 7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38" name="直接连接符 1037"/>
            <p:cNvCxnSpPr/>
            <p:nvPr/>
          </p:nvCxnSpPr>
          <p:spPr>
            <a:xfrm>
              <a:off x="4702402" y="1113226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2" name="组合 1041"/>
          <p:cNvGrpSpPr/>
          <p:nvPr/>
        </p:nvGrpSpPr>
        <p:grpSpPr bwMode="auto">
          <a:xfrm>
            <a:off x="2936875" y="2103438"/>
            <a:ext cx="3698875" cy="395287"/>
            <a:chOff x="3081814" y="1491630"/>
            <a:chExt cx="3362395" cy="396044"/>
          </a:xfrm>
        </p:grpSpPr>
        <p:sp>
          <p:nvSpPr>
            <p:cNvPr id="66" name="圆角矩形 11"/>
            <p:cNvSpPr/>
            <p:nvPr/>
          </p:nvSpPr>
          <p:spPr>
            <a:xfrm>
              <a:off x="3081814" y="1491630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8" name="矩形 67"/>
            <p:cNvSpPr/>
            <p:nvPr/>
          </p:nvSpPr>
          <p:spPr>
            <a:xfrm>
              <a:off x="3132323" y="1505944"/>
              <a:ext cx="3239732" cy="359462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275" name="TextBox 10"/>
            <p:cNvSpPr txBox="1">
              <a:spLocks noChangeArrowheads="1"/>
            </p:cNvSpPr>
            <p:nvPr/>
          </p:nvSpPr>
          <p:spPr bwMode="auto">
            <a:xfrm>
              <a:off x="3383895" y="1511126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76" name="矩形 91"/>
            <p:cNvSpPr>
              <a:spLocks noChangeArrowheads="1"/>
            </p:cNvSpPr>
            <p:nvPr/>
          </p:nvSpPr>
          <p:spPr bwMode="auto">
            <a:xfrm>
              <a:off x="4854826" y="1579855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277" name="组合 70"/>
            <p:cNvGrpSpPr/>
            <p:nvPr/>
          </p:nvGrpSpPr>
          <p:grpSpPr bwMode="auto">
            <a:xfrm>
              <a:off x="6134630" y="1576399"/>
              <a:ext cx="209039" cy="209039"/>
              <a:chOff x="2719746" y="1662559"/>
              <a:chExt cx="190035" cy="190035"/>
            </a:xfrm>
          </p:grpSpPr>
          <p:sp>
            <p:nvSpPr>
              <p:cNvPr id="72" name="椭圆 71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73" name="燕尾形 72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4" name="直接连接符 73"/>
            <p:cNvCxnSpPr/>
            <p:nvPr/>
          </p:nvCxnSpPr>
          <p:spPr>
            <a:xfrm>
              <a:off x="4702402" y="1617282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3" name="组合 1042"/>
          <p:cNvGrpSpPr/>
          <p:nvPr/>
        </p:nvGrpSpPr>
        <p:grpSpPr bwMode="auto">
          <a:xfrm>
            <a:off x="2436813" y="2103438"/>
            <a:ext cx="449262" cy="395287"/>
            <a:chOff x="2627784" y="1491630"/>
            <a:chExt cx="408310" cy="396044"/>
          </a:xfrm>
        </p:grpSpPr>
        <p:sp>
          <p:nvSpPr>
            <p:cNvPr id="65" name="圆角矩形 11"/>
            <p:cNvSpPr/>
            <p:nvPr/>
          </p:nvSpPr>
          <p:spPr>
            <a:xfrm>
              <a:off x="2627784" y="1491630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032" name="组合 1031"/>
            <p:cNvGrpSpPr/>
            <p:nvPr/>
          </p:nvGrpSpPr>
          <p:grpSpPr>
            <a:xfrm>
              <a:off x="2734196" y="1603181"/>
              <a:ext cx="195486" cy="172943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15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6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046" name="组合 1045"/>
          <p:cNvGrpSpPr/>
          <p:nvPr/>
        </p:nvGrpSpPr>
        <p:grpSpPr bwMode="auto">
          <a:xfrm>
            <a:off x="2936875" y="2625725"/>
            <a:ext cx="3698875" cy="396875"/>
            <a:chOff x="3081814" y="1952698"/>
            <a:chExt cx="3362395" cy="396044"/>
          </a:xfrm>
        </p:grpSpPr>
        <p:sp>
          <p:nvSpPr>
            <p:cNvPr id="77" name="圆角矩形 11"/>
            <p:cNvSpPr/>
            <p:nvPr/>
          </p:nvSpPr>
          <p:spPr>
            <a:xfrm>
              <a:off x="3081814" y="1952698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9" name="矩形 78"/>
            <p:cNvSpPr/>
            <p:nvPr/>
          </p:nvSpPr>
          <p:spPr>
            <a:xfrm>
              <a:off x="3132323" y="1966956"/>
              <a:ext cx="3239732" cy="359607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265" name="TextBox 10"/>
            <p:cNvSpPr txBox="1">
              <a:spLocks noChangeArrowheads="1"/>
            </p:cNvSpPr>
            <p:nvPr/>
          </p:nvSpPr>
          <p:spPr bwMode="auto">
            <a:xfrm>
              <a:off x="3383895" y="1981719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66" name="矩形 91"/>
            <p:cNvSpPr>
              <a:spLocks noChangeArrowheads="1"/>
            </p:cNvSpPr>
            <p:nvPr/>
          </p:nvSpPr>
          <p:spPr bwMode="auto">
            <a:xfrm>
              <a:off x="4854826" y="2040923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267" name="组合 81"/>
            <p:cNvGrpSpPr/>
            <p:nvPr/>
          </p:nvGrpSpPr>
          <p:grpSpPr bwMode="auto">
            <a:xfrm>
              <a:off x="6134630" y="2037467"/>
              <a:ext cx="209039" cy="209039"/>
              <a:chOff x="2719746" y="1662559"/>
              <a:chExt cx="190035" cy="190035"/>
            </a:xfrm>
          </p:grpSpPr>
          <p:sp>
            <p:nvSpPr>
              <p:cNvPr id="83" name="椭圆 82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84" name="燕尾形 83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85" name="直接连接符 84"/>
            <p:cNvCxnSpPr/>
            <p:nvPr/>
          </p:nvCxnSpPr>
          <p:spPr>
            <a:xfrm>
              <a:off x="4702402" y="2077848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4" name="组合 1043"/>
          <p:cNvGrpSpPr/>
          <p:nvPr/>
        </p:nvGrpSpPr>
        <p:grpSpPr bwMode="auto">
          <a:xfrm>
            <a:off x="2436813" y="2625725"/>
            <a:ext cx="449262" cy="396875"/>
            <a:chOff x="2627784" y="1952698"/>
            <a:chExt cx="408310" cy="396044"/>
          </a:xfrm>
        </p:grpSpPr>
        <p:sp>
          <p:nvSpPr>
            <p:cNvPr id="76" name="圆角矩形 11"/>
            <p:cNvSpPr/>
            <p:nvPr/>
          </p:nvSpPr>
          <p:spPr>
            <a:xfrm>
              <a:off x="2627784" y="1952698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039" name="组合 1038"/>
            <p:cNvGrpSpPr/>
            <p:nvPr/>
          </p:nvGrpSpPr>
          <p:grpSpPr>
            <a:xfrm>
              <a:off x="2728390" y="2073313"/>
              <a:ext cx="207098" cy="154814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19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0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1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2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3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4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5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6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7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047" name="组合 1046"/>
          <p:cNvGrpSpPr/>
          <p:nvPr/>
        </p:nvGrpSpPr>
        <p:grpSpPr bwMode="auto">
          <a:xfrm>
            <a:off x="2936875" y="3149600"/>
            <a:ext cx="3698875" cy="396875"/>
            <a:chOff x="3081814" y="2456754"/>
            <a:chExt cx="3362395" cy="396044"/>
          </a:xfrm>
        </p:grpSpPr>
        <p:sp>
          <p:nvSpPr>
            <p:cNvPr id="87" name="圆角矩形 11"/>
            <p:cNvSpPr/>
            <p:nvPr/>
          </p:nvSpPr>
          <p:spPr>
            <a:xfrm>
              <a:off x="3081814" y="245675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8" name="矩形 87"/>
            <p:cNvSpPr/>
            <p:nvPr/>
          </p:nvSpPr>
          <p:spPr>
            <a:xfrm>
              <a:off x="3132323" y="2471012"/>
              <a:ext cx="3239732" cy="359607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255" name="TextBox 10"/>
            <p:cNvSpPr txBox="1">
              <a:spLocks noChangeArrowheads="1"/>
            </p:cNvSpPr>
            <p:nvPr/>
          </p:nvSpPr>
          <p:spPr bwMode="auto">
            <a:xfrm>
              <a:off x="3383895" y="248577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56" name="矩形 91"/>
            <p:cNvSpPr>
              <a:spLocks noChangeArrowheads="1"/>
            </p:cNvSpPr>
            <p:nvPr/>
          </p:nvSpPr>
          <p:spPr bwMode="auto">
            <a:xfrm>
              <a:off x="4854826" y="2544979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257" name="组合 90"/>
            <p:cNvGrpSpPr/>
            <p:nvPr/>
          </p:nvGrpSpPr>
          <p:grpSpPr bwMode="auto">
            <a:xfrm>
              <a:off x="6134630" y="2541523"/>
              <a:ext cx="209039" cy="209039"/>
              <a:chOff x="2719746" y="1662559"/>
              <a:chExt cx="190035" cy="190035"/>
            </a:xfrm>
          </p:grpSpPr>
          <p:sp>
            <p:nvSpPr>
              <p:cNvPr id="92" name="椭圆 91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93" name="燕尾形 92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94" name="直接连接符 93"/>
            <p:cNvCxnSpPr/>
            <p:nvPr/>
          </p:nvCxnSpPr>
          <p:spPr>
            <a:xfrm>
              <a:off x="4702402" y="2581904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5" name="组合 1044"/>
          <p:cNvGrpSpPr/>
          <p:nvPr/>
        </p:nvGrpSpPr>
        <p:grpSpPr bwMode="auto">
          <a:xfrm>
            <a:off x="2436813" y="3149600"/>
            <a:ext cx="449262" cy="396875"/>
            <a:chOff x="2627784" y="2456754"/>
            <a:chExt cx="408310" cy="396044"/>
          </a:xfrm>
        </p:grpSpPr>
        <p:sp>
          <p:nvSpPr>
            <p:cNvPr id="86" name="圆角矩形 11"/>
            <p:cNvSpPr/>
            <p:nvPr/>
          </p:nvSpPr>
          <p:spPr>
            <a:xfrm>
              <a:off x="2627784" y="245675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033" name="组合 1032"/>
            <p:cNvGrpSpPr/>
            <p:nvPr/>
          </p:nvGrpSpPr>
          <p:grpSpPr>
            <a:xfrm>
              <a:off x="2732885" y="2568901"/>
              <a:ext cx="198109" cy="171751"/>
              <a:chOff x="4973638" y="2713038"/>
              <a:chExt cx="239712" cy="228601"/>
            </a:xfrm>
            <a:solidFill>
              <a:schemeClr val="bg1"/>
            </a:solidFill>
          </p:grpSpPr>
          <p:sp>
            <p:nvSpPr>
              <p:cNvPr id="31" name="Freeform 26"/>
              <p:cNvSpPr/>
              <p:nvPr/>
            </p:nvSpPr>
            <p:spPr bwMode="auto">
              <a:xfrm>
                <a:off x="4973638" y="2713038"/>
                <a:ext cx="142875" cy="228600"/>
              </a:xfrm>
              <a:custGeom>
                <a:avLst/>
                <a:gdLst>
                  <a:gd name="T0" fmla="*/ 31 w 38"/>
                  <a:gd name="T1" fmla="*/ 55 h 61"/>
                  <a:gd name="T2" fmla="*/ 31 w 38"/>
                  <a:gd name="T3" fmla="*/ 55 h 61"/>
                  <a:gd name="T4" fmla="*/ 30 w 38"/>
                  <a:gd name="T5" fmla="*/ 54 h 61"/>
                  <a:gd name="T6" fmla="*/ 30 w 38"/>
                  <a:gd name="T7" fmla="*/ 50 h 61"/>
                  <a:gd name="T8" fmla="*/ 38 w 38"/>
                  <a:gd name="T9" fmla="*/ 33 h 61"/>
                  <a:gd name="T10" fmla="*/ 28 w 38"/>
                  <a:gd name="T11" fmla="*/ 24 h 61"/>
                  <a:gd name="T12" fmla="*/ 25 w 38"/>
                  <a:gd name="T13" fmla="*/ 22 h 61"/>
                  <a:gd name="T14" fmla="*/ 27 w 38"/>
                  <a:gd name="T15" fmla="*/ 21 h 61"/>
                  <a:gd name="T16" fmla="*/ 33 w 38"/>
                  <a:gd name="T17" fmla="*/ 11 h 61"/>
                  <a:gd name="T18" fmla="*/ 21 w 38"/>
                  <a:gd name="T19" fmla="*/ 0 h 61"/>
                  <a:gd name="T20" fmla="*/ 8 w 38"/>
                  <a:gd name="T21" fmla="*/ 11 h 61"/>
                  <a:gd name="T22" fmla="*/ 14 w 38"/>
                  <a:gd name="T23" fmla="*/ 21 h 61"/>
                  <a:gd name="T24" fmla="*/ 17 w 38"/>
                  <a:gd name="T25" fmla="*/ 22 h 61"/>
                  <a:gd name="T26" fmla="*/ 14 w 38"/>
                  <a:gd name="T27" fmla="*/ 24 h 61"/>
                  <a:gd name="T28" fmla="*/ 0 w 38"/>
                  <a:gd name="T29" fmla="*/ 46 h 61"/>
                  <a:gd name="T30" fmla="*/ 0 w 38"/>
                  <a:gd name="T31" fmla="*/ 51 h 61"/>
                  <a:gd name="T32" fmla="*/ 21 w 38"/>
                  <a:gd name="T33" fmla="*/ 61 h 61"/>
                  <a:gd name="T34" fmla="*/ 33 w 38"/>
                  <a:gd name="T35" fmla="*/ 58 h 61"/>
                  <a:gd name="T36" fmla="*/ 31 w 38"/>
                  <a:gd name="T37" fmla="*/ 5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61">
                    <a:moveTo>
                      <a:pt x="31" y="55"/>
                    </a:moveTo>
                    <a:cubicBezTo>
                      <a:pt x="31" y="55"/>
                      <a:pt x="31" y="55"/>
                      <a:pt x="31" y="55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3"/>
                      <a:pt x="30" y="52"/>
                      <a:pt x="30" y="50"/>
                    </a:cubicBezTo>
                    <a:cubicBezTo>
                      <a:pt x="30" y="43"/>
                      <a:pt x="33" y="37"/>
                      <a:pt x="38" y="33"/>
                    </a:cubicBezTo>
                    <a:cubicBezTo>
                      <a:pt x="36" y="29"/>
                      <a:pt x="32" y="25"/>
                      <a:pt x="28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31" y="19"/>
                      <a:pt x="33" y="15"/>
                      <a:pt x="33" y="11"/>
                    </a:cubicBezTo>
                    <a:cubicBezTo>
                      <a:pt x="33" y="5"/>
                      <a:pt x="28" y="0"/>
                      <a:pt x="21" y="0"/>
                    </a:cubicBezTo>
                    <a:cubicBezTo>
                      <a:pt x="14" y="0"/>
                      <a:pt x="8" y="5"/>
                      <a:pt x="8" y="11"/>
                    </a:cubicBezTo>
                    <a:cubicBezTo>
                      <a:pt x="8" y="15"/>
                      <a:pt x="10" y="19"/>
                      <a:pt x="14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6" y="27"/>
                      <a:pt x="0" y="36"/>
                      <a:pt x="0" y="46"/>
                    </a:cubicBezTo>
                    <a:cubicBezTo>
                      <a:pt x="0" y="48"/>
                      <a:pt x="0" y="49"/>
                      <a:pt x="0" y="51"/>
                    </a:cubicBezTo>
                    <a:cubicBezTo>
                      <a:pt x="5" y="57"/>
                      <a:pt x="12" y="61"/>
                      <a:pt x="21" y="61"/>
                    </a:cubicBezTo>
                    <a:cubicBezTo>
                      <a:pt x="25" y="61"/>
                      <a:pt x="29" y="60"/>
                      <a:pt x="33" y="58"/>
                    </a:cubicBezTo>
                    <a:cubicBezTo>
                      <a:pt x="32" y="57"/>
                      <a:pt x="31" y="56"/>
                      <a:pt x="3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024" name="Freeform 27"/>
              <p:cNvSpPr/>
              <p:nvPr/>
            </p:nvSpPr>
            <p:spPr bwMode="auto">
              <a:xfrm>
                <a:off x="5097463" y="2768601"/>
                <a:ext cx="115887" cy="173038"/>
              </a:xfrm>
              <a:custGeom>
                <a:avLst/>
                <a:gdLst>
                  <a:gd name="T0" fmla="*/ 21 w 31"/>
                  <a:gd name="T1" fmla="*/ 18 h 46"/>
                  <a:gd name="T2" fmla="*/ 18 w 31"/>
                  <a:gd name="T3" fmla="*/ 17 h 46"/>
                  <a:gd name="T4" fmla="*/ 21 w 31"/>
                  <a:gd name="T5" fmla="*/ 15 h 46"/>
                  <a:gd name="T6" fmla="*/ 25 w 31"/>
                  <a:gd name="T7" fmla="*/ 9 h 46"/>
                  <a:gd name="T8" fmla="*/ 16 w 31"/>
                  <a:gd name="T9" fmla="*/ 0 h 46"/>
                  <a:gd name="T10" fmla="*/ 7 w 31"/>
                  <a:gd name="T11" fmla="*/ 9 h 46"/>
                  <a:gd name="T12" fmla="*/ 11 w 31"/>
                  <a:gd name="T13" fmla="*/ 15 h 46"/>
                  <a:gd name="T14" fmla="*/ 14 w 31"/>
                  <a:gd name="T15" fmla="*/ 17 h 46"/>
                  <a:gd name="T16" fmla="*/ 11 w 31"/>
                  <a:gd name="T17" fmla="*/ 18 h 46"/>
                  <a:gd name="T18" fmla="*/ 9 w 31"/>
                  <a:gd name="T19" fmla="*/ 19 h 46"/>
                  <a:gd name="T20" fmla="*/ 8 w 31"/>
                  <a:gd name="T21" fmla="*/ 20 h 46"/>
                  <a:gd name="T22" fmla="*/ 7 w 31"/>
                  <a:gd name="T23" fmla="*/ 21 h 46"/>
                  <a:gd name="T24" fmla="*/ 0 w 31"/>
                  <a:gd name="T25" fmla="*/ 35 h 46"/>
                  <a:gd name="T26" fmla="*/ 1 w 31"/>
                  <a:gd name="T27" fmla="*/ 38 h 46"/>
                  <a:gd name="T28" fmla="*/ 3 w 31"/>
                  <a:gd name="T29" fmla="*/ 41 h 46"/>
                  <a:gd name="T30" fmla="*/ 4 w 31"/>
                  <a:gd name="T31" fmla="*/ 42 h 46"/>
                  <a:gd name="T32" fmla="*/ 6 w 31"/>
                  <a:gd name="T33" fmla="*/ 43 h 46"/>
                  <a:gd name="T34" fmla="*/ 16 w 31"/>
                  <a:gd name="T35" fmla="*/ 46 h 46"/>
                  <a:gd name="T36" fmla="*/ 31 w 31"/>
                  <a:gd name="T37" fmla="*/ 38 h 46"/>
                  <a:gd name="T38" fmla="*/ 31 w 31"/>
                  <a:gd name="T39" fmla="*/ 35 h 46"/>
                  <a:gd name="T40" fmla="*/ 21 w 31"/>
                  <a:gd name="T41" fmla="*/ 1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46">
                    <a:moveTo>
                      <a:pt x="21" y="18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3" y="14"/>
                      <a:pt x="25" y="11"/>
                      <a:pt x="25" y="9"/>
                    </a:cubicBezTo>
                    <a:cubicBezTo>
                      <a:pt x="25" y="4"/>
                      <a:pt x="21" y="0"/>
                      <a:pt x="16" y="0"/>
                    </a:cubicBezTo>
                    <a:cubicBezTo>
                      <a:pt x="11" y="0"/>
                      <a:pt x="7" y="4"/>
                      <a:pt x="7" y="9"/>
                    </a:cubicBezTo>
                    <a:cubicBezTo>
                      <a:pt x="7" y="11"/>
                      <a:pt x="8" y="14"/>
                      <a:pt x="11" y="15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0" y="19"/>
                      <a:pt x="10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8" y="20"/>
                      <a:pt x="7" y="21"/>
                      <a:pt x="7" y="21"/>
                    </a:cubicBezTo>
                    <a:cubicBezTo>
                      <a:pt x="3" y="24"/>
                      <a:pt x="0" y="29"/>
                      <a:pt x="0" y="35"/>
                    </a:cubicBezTo>
                    <a:cubicBezTo>
                      <a:pt x="0" y="36"/>
                      <a:pt x="1" y="37"/>
                      <a:pt x="1" y="38"/>
                    </a:cubicBezTo>
                    <a:cubicBezTo>
                      <a:pt x="1" y="39"/>
                      <a:pt x="2" y="40"/>
                      <a:pt x="3" y="41"/>
                    </a:cubicBezTo>
                    <a:cubicBezTo>
                      <a:pt x="3" y="41"/>
                      <a:pt x="4" y="42"/>
                      <a:pt x="4" y="42"/>
                    </a:cubicBezTo>
                    <a:cubicBezTo>
                      <a:pt x="5" y="42"/>
                      <a:pt x="5" y="43"/>
                      <a:pt x="6" y="43"/>
                    </a:cubicBezTo>
                    <a:cubicBezTo>
                      <a:pt x="9" y="45"/>
                      <a:pt x="12" y="46"/>
                      <a:pt x="16" y="46"/>
                    </a:cubicBezTo>
                    <a:cubicBezTo>
                      <a:pt x="22" y="46"/>
                      <a:pt x="27" y="43"/>
                      <a:pt x="31" y="38"/>
                    </a:cubicBezTo>
                    <a:cubicBezTo>
                      <a:pt x="31" y="37"/>
                      <a:pt x="31" y="36"/>
                      <a:pt x="31" y="35"/>
                    </a:cubicBezTo>
                    <a:cubicBezTo>
                      <a:pt x="31" y="27"/>
                      <a:pt x="27" y="21"/>
                      <a:pt x="2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9226" name="组合 32"/>
          <p:cNvGrpSpPr/>
          <p:nvPr/>
        </p:nvGrpSpPr>
        <p:grpSpPr bwMode="auto">
          <a:xfrm>
            <a:off x="0" y="0"/>
            <a:ext cx="9145588" cy="33338"/>
            <a:chOff x="0" y="767888"/>
            <a:chExt cx="9145068" cy="33394"/>
          </a:xfrm>
        </p:grpSpPr>
        <p:sp>
          <p:nvSpPr>
            <p:cNvPr id="114" name="矩形 113"/>
            <p:cNvSpPr/>
            <p:nvPr/>
          </p:nvSpPr>
          <p:spPr>
            <a:xfrm>
              <a:off x="930222" y="767888"/>
              <a:ext cx="2136654" cy="33394"/>
            </a:xfrm>
            <a:custGeom>
              <a:avLst/>
              <a:gdLst/>
              <a:ahLst/>
              <a:cxnLst/>
              <a:rect l="l" t="t" r="r" b="b"/>
              <a:pathLst>
                <a:path w="2842792" h="33394">
                  <a:moveTo>
                    <a:pt x="0" y="0"/>
                  </a:moveTo>
                  <a:lnTo>
                    <a:pt x="2842792" y="0"/>
                  </a:lnTo>
                  <a:lnTo>
                    <a:pt x="28427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" name="矩形 29"/>
            <p:cNvSpPr/>
            <p:nvPr/>
          </p:nvSpPr>
          <p:spPr>
            <a:xfrm>
              <a:off x="2895435" y="767888"/>
              <a:ext cx="3189107" cy="33394"/>
            </a:xfrm>
            <a:custGeom>
              <a:avLst/>
              <a:gdLst/>
              <a:ahLst/>
              <a:cxnLst/>
              <a:rect l="l" t="t" r="r" b="b"/>
              <a:pathLst>
                <a:path w="5650088" h="33394">
                  <a:moveTo>
                    <a:pt x="0" y="0"/>
                  </a:moveTo>
                  <a:lnTo>
                    <a:pt x="5650088" y="0"/>
                  </a:lnTo>
                  <a:lnTo>
                    <a:pt x="5650088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13" name="矩形 112"/>
            <p:cNvSpPr/>
            <p:nvPr/>
          </p:nvSpPr>
          <p:spPr>
            <a:xfrm>
              <a:off x="5940087" y="767888"/>
              <a:ext cx="3204981" cy="3339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15" name="矩形 114"/>
            <p:cNvSpPr/>
            <p:nvPr/>
          </p:nvSpPr>
          <p:spPr>
            <a:xfrm>
              <a:off x="0" y="767888"/>
              <a:ext cx="1042929" cy="33394"/>
            </a:xfrm>
            <a:custGeom>
              <a:avLst/>
              <a:gdLst/>
              <a:ahLst/>
              <a:cxnLst/>
              <a:rect l="l" t="t" r="r" b="b"/>
              <a:pathLst>
                <a:path w="1042592" h="33394">
                  <a:moveTo>
                    <a:pt x="0" y="0"/>
                  </a:moveTo>
                  <a:lnTo>
                    <a:pt x="1042592" y="0"/>
                  </a:lnTo>
                  <a:lnTo>
                    <a:pt x="10425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9227" name="组合 123"/>
          <p:cNvGrpSpPr/>
          <p:nvPr/>
        </p:nvGrpSpPr>
        <p:grpSpPr bwMode="auto">
          <a:xfrm>
            <a:off x="415925" y="4841875"/>
            <a:ext cx="8312150" cy="7938"/>
            <a:chOff x="0" y="767888"/>
            <a:chExt cx="9145068" cy="33394"/>
          </a:xfrm>
        </p:grpSpPr>
        <p:sp>
          <p:nvSpPr>
            <p:cNvPr id="125" name="矩形 113"/>
            <p:cNvSpPr/>
            <p:nvPr/>
          </p:nvSpPr>
          <p:spPr>
            <a:xfrm>
              <a:off x="930925" y="767888"/>
              <a:ext cx="2136061" cy="33394"/>
            </a:xfrm>
            <a:custGeom>
              <a:avLst/>
              <a:gdLst/>
              <a:ahLst/>
              <a:cxnLst/>
              <a:rect l="l" t="t" r="r" b="b"/>
              <a:pathLst>
                <a:path w="2842792" h="33394">
                  <a:moveTo>
                    <a:pt x="0" y="0"/>
                  </a:moveTo>
                  <a:lnTo>
                    <a:pt x="2842792" y="0"/>
                  </a:lnTo>
                  <a:lnTo>
                    <a:pt x="28427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6" name="矩形 29"/>
            <p:cNvSpPr/>
            <p:nvPr/>
          </p:nvSpPr>
          <p:spPr>
            <a:xfrm>
              <a:off x="2894076" y="767888"/>
              <a:ext cx="3189246" cy="33394"/>
            </a:xfrm>
            <a:custGeom>
              <a:avLst/>
              <a:gdLst/>
              <a:ahLst/>
              <a:cxnLst/>
              <a:rect l="l" t="t" r="r" b="b"/>
              <a:pathLst>
                <a:path w="5650088" h="33394">
                  <a:moveTo>
                    <a:pt x="0" y="0"/>
                  </a:moveTo>
                  <a:lnTo>
                    <a:pt x="5650088" y="0"/>
                  </a:lnTo>
                  <a:lnTo>
                    <a:pt x="5650088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7" name="矩形 126"/>
            <p:cNvSpPr/>
            <p:nvPr/>
          </p:nvSpPr>
          <p:spPr>
            <a:xfrm>
              <a:off x="5940103" y="767888"/>
              <a:ext cx="3204965" cy="3339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8" name="矩形 114"/>
            <p:cNvSpPr/>
            <p:nvPr/>
          </p:nvSpPr>
          <p:spPr>
            <a:xfrm>
              <a:off x="0" y="767888"/>
              <a:ext cx="1042706" cy="33394"/>
            </a:xfrm>
            <a:custGeom>
              <a:avLst/>
              <a:gdLst/>
              <a:ahLst/>
              <a:cxnLst/>
              <a:rect l="l" t="t" r="r" b="b"/>
              <a:pathLst>
                <a:path w="1042592" h="33394">
                  <a:moveTo>
                    <a:pt x="0" y="0"/>
                  </a:moveTo>
                  <a:lnTo>
                    <a:pt x="1042592" y="0"/>
                  </a:lnTo>
                  <a:lnTo>
                    <a:pt x="10425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35" name="组合 134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136" name="任意多边形 135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37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8" name="组合 137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39" name="任意多边形 138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40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1" name="组合 14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42" name="任意多边形 14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3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4" name="组合 14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45" name="任意多边形 14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36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9" name="组合 158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60" name="任意多边形 159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34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/>
                                        <p:tgtEl>
                                          <p:spTgt spid="10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300"/>
                                        <p:tgtEl>
                                          <p:spTgt spid="10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2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300" tmFilter="0, 0; .2, .5; .8, .5; 1, 0"/>
                                        <p:tgtEl>
                                          <p:spTgt spid="10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150" autoRev="1" fill="hold"/>
                                        <p:tgtEl>
                                          <p:spTgt spid="104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300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5" dur="300"/>
                                        <p:tgtEl>
                                          <p:spTgt spid="10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9" dur="3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300" tmFilter="0, 0; .2, .5; .8, .5; 1, 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150" autoRev="1" fill="hold"/>
                                        <p:tgtEl>
                                          <p:spTgt spid="104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300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300"/>
                                        <p:tgtEl>
                                          <p:spTgt spid="10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300"/>
                                        <p:tgtEl>
                                          <p:spTgt spid="10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0" dur="30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300" tmFilter="0, 0; .2, .5; .8, .5; 1, 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150" autoRev="1" fill="hold"/>
                                        <p:tgtEl>
                                          <p:spTgt spid="10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300"/>
                                        <p:tgtEl>
                                          <p:spTgt spid="10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7" dur="300"/>
                                        <p:tgtEl>
                                          <p:spTgt spid="1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300"/>
                                        <p:tgtEl>
                                          <p:spTgt spid="10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1" dur="300"/>
                                        <p:tgtEl>
                                          <p:spTgt spid="1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300" tmFilter="0, 0; .2, .5; .8, .5; 1, 0"/>
                                        <p:tgtEl>
                                          <p:spTgt spid="10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4" dur="150" autoRev="1" fill="hold"/>
                                        <p:tgtEl>
                                          <p:spTgt spid="10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300"/>
                                        <p:tgtEl>
                                          <p:spTgt spid="10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8" dur="300"/>
                                        <p:tgtEl>
                                          <p:spTgt spid="10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300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2" dur="3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54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5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6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7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8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250" tmFilter="0, 0; .2, .5; .8, .5; 1, 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1" dur="125" autoRev="1" fill="hold"/>
                                        <p:tgtEl>
                                          <p:spTgt spid="1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2" presetID="1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5" dur="3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300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9" dur="3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2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30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3" dur="3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2" presetClass="entr" presetSubtype="1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30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7" dur="3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4" name="组合 4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6" name="任意多边形 4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8729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675" name="组合 47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9" name="任意多边形 48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8727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676" name="组合 50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52" name="任意多边形 51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3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77" name="组合 5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55" name="任意多边形 5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78" name="组合 56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58" name="任意多边形 57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9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79" name="组合 5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61" name="任意多边形 6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80" name="组合 62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64" name="任意多边形 63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5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81" name="组合 65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8714" name="矩形 66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任意多边形 67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2" name="组合 1"/>
          <p:cNvGrpSpPr/>
          <p:nvPr/>
        </p:nvGrpSpPr>
        <p:grpSpPr bwMode="auto">
          <a:xfrm>
            <a:off x="2306638" y="1255713"/>
            <a:ext cx="5935662" cy="279400"/>
            <a:chOff x="2306955" y="1254968"/>
            <a:chExt cx="5935271" cy="280681"/>
          </a:xfrm>
        </p:grpSpPr>
        <p:sp>
          <p:nvSpPr>
            <p:cNvPr id="28712" name="Rectangle 32"/>
            <p:cNvSpPr>
              <a:spLocks noChangeArrowheads="1"/>
            </p:cNvSpPr>
            <p:nvPr/>
          </p:nvSpPr>
          <p:spPr bwMode="auto">
            <a:xfrm>
              <a:off x="2306955" y="1298967"/>
              <a:ext cx="4975098" cy="23668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4" name="TextBox 33"/>
            <p:cNvSpPr txBox="1"/>
            <p:nvPr/>
          </p:nvSpPr>
          <p:spPr bwMode="auto">
            <a:xfrm>
              <a:off x="7288202" y="1254968"/>
              <a:ext cx="954024" cy="27749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C00000"/>
                  </a:solidFill>
                </a:rPr>
                <a:t>添加标题</a:t>
              </a:r>
              <a:endParaRPr lang="zh-CN" altLang="en-US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3" name="组合 2"/>
          <p:cNvGrpSpPr/>
          <p:nvPr/>
        </p:nvGrpSpPr>
        <p:grpSpPr bwMode="auto">
          <a:xfrm>
            <a:off x="2306638" y="1535113"/>
            <a:ext cx="5057775" cy="266700"/>
            <a:chOff x="2306955" y="1535649"/>
            <a:chExt cx="5056926" cy="265545"/>
          </a:xfrm>
        </p:grpSpPr>
        <p:sp>
          <p:nvSpPr>
            <p:cNvPr id="28710" name="Rectangle 31"/>
            <p:cNvSpPr>
              <a:spLocks noChangeArrowheads="1"/>
            </p:cNvSpPr>
            <p:nvPr/>
          </p:nvSpPr>
          <p:spPr bwMode="auto">
            <a:xfrm>
              <a:off x="2306955" y="1535649"/>
              <a:ext cx="4157124" cy="238125"/>
            </a:xfrm>
            <a:prstGeom prst="rect">
              <a:avLst/>
            </a:prstGeom>
            <a:blipFill dpi="0" rotWithShape="0">
              <a:blip r:embed="rId1"/>
              <a:srcRect/>
              <a:tile tx="0" ty="0" sx="100000" sy="100000" flip="none" algn="tl"/>
            </a:blipFill>
            <a:ln w="9525">
              <a:solidFill>
                <a:srgbClr val="C00000"/>
              </a:solidFill>
              <a:miter lim="800000"/>
            </a:ln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5" name="TextBox 34"/>
            <p:cNvSpPr txBox="1"/>
            <p:nvPr/>
          </p:nvSpPr>
          <p:spPr bwMode="auto">
            <a:xfrm>
              <a:off x="6497251" y="1549874"/>
              <a:ext cx="866630" cy="25132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" name="组合 3"/>
          <p:cNvGrpSpPr/>
          <p:nvPr/>
        </p:nvGrpSpPr>
        <p:grpSpPr bwMode="auto">
          <a:xfrm>
            <a:off x="2306638" y="1998663"/>
            <a:ext cx="3840162" cy="276225"/>
            <a:chOff x="2306955" y="1998499"/>
            <a:chExt cx="3840154" cy="276999"/>
          </a:xfrm>
        </p:grpSpPr>
        <p:sp>
          <p:nvSpPr>
            <p:cNvPr id="28708" name="Rectangle 30"/>
            <p:cNvSpPr>
              <a:spLocks noChangeArrowheads="1"/>
            </p:cNvSpPr>
            <p:nvPr/>
          </p:nvSpPr>
          <p:spPr bwMode="auto">
            <a:xfrm>
              <a:off x="2306955" y="2026331"/>
              <a:ext cx="2886538" cy="23812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6" name="TextBox 35"/>
            <p:cNvSpPr txBox="1"/>
            <p:nvPr/>
          </p:nvSpPr>
          <p:spPr bwMode="auto">
            <a:xfrm>
              <a:off x="5193024" y="1998499"/>
              <a:ext cx="954085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EB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FFC000"/>
                  </a:solidFill>
                </a:rPr>
                <a:t>添加标题</a:t>
              </a:r>
              <a:endParaRPr lang="zh-CN" altLang="en-US" dirty="0">
                <a:solidFill>
                  <a:srgbClr val="FFC000"/>
                </a:solidFill>
              </a:endParaRPr>
            </a:p>
          </p:txBody>
        </p:sp>
      </p:grpSp>
      <p:grpSp>
        <p:nvGrpSpPr>
          <p:cNvPr id="5" name="组合 4"/>
          <p:cNvGrpSpPr/>
          <p:nvPr/>
        </p:nvGrpSpPr>
        <p:grpSpPr bwMode="auto">
          <a:xfrm>
            <a:off x="2306638" y="2241550"/>
            <a:ext cx="5434012" cy="260350"/>
            <a:chOff x="2306955" y="2242104"/>
            <a:chExt cx="5433330" cy="260476"/>
          </a:xfrm>
        </p:grpSpPr>
        <p:sp>
          <p:nvSpPr>
            <p:cNvPr id="28706" name="Rectangle 29"/>
            <p:cNvSpPr>
              <a:spLocks noChangeArrowheads="1"/>
            </p:cNvSpPr>
            <p:nvPr/>
          </p:nvSpPr>
          <p:spPr bwMode="auto">
            <a:xfrm>
              <a:off x="2306955" y="2264455"/>
              <a:ext cx="4520668" cy="238125"/>
            </a:xfrm>
            <a:prstGeom prst="rect">
              <a:avLst/>
            </a:prstGeom>
            <a:blipFill dpi="0" rotWithShape="0">
              <a:blip r:embed="rId2"/>
              <a:srcRect/>
              <a:tile tx="0" ty="0" sx="100000" sy="100000" flip="none" algn="tl"/>
            </a:blipFill>
            <a:ln w="9525">
              <a:solidFill>
                <a:srgbClr val="FFC000"/>
              </a:solidFill>
              <a:miter lim="800000"/>
            </a:ln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7" name="TextBox 36"/>
            <p:cNvSpPr txBox="1"/>
            <p:nvPr/>
          </p:nvSpPr>
          <p:spPr bwMode="auto">
            <a:xfrm>
              <a:off x="6873619" y="2242104"/>
              <a:ext cx="866666" cy="25253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6" name="组合 5"/>
          <p:cNvGrpSpPr/>
          <p:nvPr/>
        </p:nvGrpSpPr>
        <p:grpSpPr bwMode="auto">
          <a:xfrm>
            <a:off x="2306638" y="2703513"/>
            <a:ext cx="4970462" cy="288925"/>
            <a:chOff x="2306955" y="2703335"/>
            <a:chExt cx="4969371" cy="288484"/>
          </a:xfrm>
        </p:grpSpPr>
        <p:sp>
          <p:nvSpPr>
            <p:cNvPr id="28704" name="Rectangle 26"/>
            <p:cNvSpPr>
              <a:spLocks noChangeArrowheads="1"/>
            </p:cNvSpPr>
            <p:nvPr/>
          </p:nvSpPr>
          <p:spPr bwMode="auto">
            <a:xfrm>
              <a:off x="2306955" y="2753694"/>
              <a:ext cx="4013524" cy="23812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8" name="TextBox 37"/>
            <p:cNvSpPr txBox="1"/>
            <p:nvPr/>
          </p:nvSpPr>
          <p:spPr bwMode="auto">
            <a:xfrm>
              <a:off x="6322448" y="2703335"/>
              <a:ext cx="953878" cy="27738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8BC92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7EC234"/>
                  </a:solidFill>
                </a:rPr>
                <a:t>添加标题</a:t>
              </a:r>
              <a:endParaRPr lang="zh-CN" altLang="en-US" dirty="0">
                <a:solidFill>
                  <a:srgbClr val="7EC234"/>
                </a:solidFill>
              </a:endParaRPr>
            </a:p>
          </p:txBody>
        </p:sp>
      </p:grpSp>
      <p:grpSp>
        <p:nvGrpSpPr>
          <p:cNvPr id="7" name="组合 6"/>
          <p:cNvGrpSpPr/>
          <p:nvPr/>
        </p:nvGrpSpPr>
        <p:grpSpPr bwMode="auto">
          <a:xfrm>
            <a:off x="2306638" y="2992438"/>
            <a:ext cx="4660900" cy="257175"/>
            <a:chOff x="2306955" y="2991819"/>
            <a:chExt cx="4661296" cy="257742"/>
          </a:xfrm>
        </p:grpSpPr>
        <p:sp>
          <p:nvSpPr>
            <p:cNvPr id="28702" name="Rectangle 25"/>
            <p:cNvSpPr>
              <a:spLocks noChangeArrowheads="1"/>
            </p:cNvSpPr>
            <p:nvPr/>
          </p:nvSpPr>
          <p:spPr bwMode="auto">
            <a:xfrm>
              <a:off x="2306955" y="2991819"/>
              <a:ext cx="3768132" cy="238125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92D050"/>
              </a:solidFill>
              <a:miter lim="800000"/>
            </a:ln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9" name="TextBox 38"/>
            <p:cNvSpPr txBox="1"/>
            <p:nvPr/>
          </p:nvSpPr>
          <p:spPr bwMode="auto">
            <a:xfrm>
              <a:off x="6101402" y="2998183"/>
              <a:ext cx="866849" cy="25137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" name="组合 7"/>
          <p:cNvGrpSpPr/>
          <p:nvPr/>
        </p:nvGrpSpPr>
        <p:grpSpPr bwMode="auto">
          <a:xfrm>
            <a:off x="2306638" y="3471863"/>
            <a:ext cx="4611687" cy="276225"/>
            <a:chOff x="2306955" y="3471559"/>
            <a:chExt cx="4611237" cy="276999"/>
          </a:xfrm>
        </p:grpSpPr>
        <p:sp>
          <p:nvSpPr>
            <p:cNvPr id="28700" name="Rectangle 28"/>
            <p:cNvSpPr>
              <a:spLocks noChangeArrowheads="1"/>
            </p:cNvSpPr>
            <p:nvPr/>
          </p:nvSpPr>
          <p:spPr bwMode="auto">
            <a:xfrm>
              <a:off x="2306955" y="3504149"/>
              <a:ext cx="3649980" cy="23668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40" name="TextBox 39"/>
            <p:cNvSpPr txBox="1"/>
            <p:nvPr/>
          </p:nvSpPr>
          <p:spPr bwMode="auto">
            <a:xfrm>
              <a:off x="5964198" y="3471559"/>
              <a:ext cx="953994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2848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00B0F0"/>
                  </a:solidFill>
                </a:rPr>
                <a:t>添加标题</a:t>
              </a:r>
              <a:endParaRPr lang="zh-CN" altLang="en-US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9" name="组合 8"/>
          <p:cNvGrpSpPr/>
          <p:nvPr/>
        </p:nvGrpSpPr>
        <p:grpSpPr bwMode="auto">
          <a:xfrm>
            <a:off x="2306638" y="3740150"/>
            <a:ext cx="3978275" cy="277813"/>
            <a:chOff x="2306955" y="3740830"/>
            <a:chExt cx="3978711" cy="276955"/>
          </a:xfrm>
        </p:grpSpPr>
        <p:sp>
          <p:nvSpPr>
            <p:cNvPr id="28698" name="Rectangle 27"/>
            <p:cNvSpPr>
              <a:spLocks noChangeArrowheads="1"/>
            </p:cNvSpPr>
            <p:nvPr/>
          </p:nvSpPr>
          <p:spPr bwMode="auto">
            <a:xfrm>
              <a:off x="2306955" y="3740830"/>
              <a:ext cx="3050133" cy="238125"/>
            </a:xfrm>
            <a:prstGeom prst="rect">
              <a:avLst/>
            </a:prstGeom>
            <a:blipFill dpi="0" rotWithShape="0">
              <a:blip r:embed="rId4"/>
              <a:srcRect/>
              <a:tile tx="0" ty="0" sx="100000" sy="100000" flip="none" algn="tl"/>
            </a:blipFill>
            <a:ln w="9525">
              <a:solidFill>
                <a:srgbClr val="00B0F0"/>
              </a:solidFill>
              <a:miter lim="800000"/>
            </a:ln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41" name="TextBox 40"/>
            <p:cNvSpPr txBox="1"/>
            <p:nvPr/>
          </p:nvSpPr>
          <p:spPr bwMode="auto">
            <a:xfrm>
              <a:off x="5418796" y="3766152"/>
              <a:ext cx="866870" cy="25163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71" name="Freeform 31"/>
          <p:cNvSpPr>
            <a:spLocks noEditPoints="1"/>
          </p:cNvSpPr>
          <p:nvPr/>
        </p:nvSpPr>
        <p:spPr bwMode="auto">
          <a:xfrm>
            <a:off x="1547813" y="1316038"/>
            <a:ext cx="428625" cy="342900"/>
          </a:xfrm>
          <a:custGeom>
            <a:avLst/>
            <a:gdLst>
              <a:gd name="T0" fmla="*/ 2147483646 w 62"/>
              <a:gd name="T1" fmla="*/ 2147483646 h 50"/>
              <a:gd name="T2" fmla="*/ 2147483646 w 62"/>
              <a:gd name="T3" fmla="*/ 2147483646 h 50"/>
              <a:gd name="T4" fmla="*/ 2147483646 w 62"/>
              <a:gd name="T5" fmla="*/ 2147483646 h 50"/>
              <a:gd name="T6" fmla="*/ 2147483646 w 62"/>
              <a:gd name="T7" fmla="*/ 2147483646 h 50"/>
              <a:gd name="T8" fmla="*/ 2147483646 w 62"/>
              <a:gd name="T9" fmla="*/ 2147483646 h 50"/>
              <a:gd name="T10" fmla="*/ 2147483646 w 62"/>
              <a:gd name="T11" fmla="*/ 2147483646 h 50"/>
              <a:gd name="T12" fmla="*/ 2147483646 w 62"/>
              <a:gd name="T13" fmla="*/ 2147483646 h 50"/>
              <a:gd name="T14" fmla="*/ 2147483646 w 62"/>
              <a:gd name="T15" fmla="*/ 2147483646 h 50"/>
              <a:gd name="T16" fmla="*/ 2147483646 w 62"/>
              <a:gd name="T17" fmla="*/ 2147483646 h 50"/>
              <a:gd name="T18" fmla="*/ 2147483646 w 62"/>
              <a:gd name="T19" fmla="*/ 2147483646 h 50"/>
              <a:gd name="T20" fmla="*/ 2147483646 w 62"/>
              <a:gd name="T21" fmla="*/ 2147483646 h 50"/>
              <a:gd name="T22" fmla="*/ 2147483646 w 62"/>
              <a:gd name="T23" fmla="*/ 2147483646 h 50"/>
              <a:gd name="T24" fmla="*/ 2147483646 w 62"/>
              <a:gd name="T25" fmla="*/ 2147483646 h 50"/>
              <a:gd name="T26" fmla="*/ 2147483646 w 62"/>
              <a:gd name="T27" fmla="*/ 2147483646 h 50"/>
              <a:gd name="T28" fmla="*/ 2147483646 w 62"/>
              <a:gd name="T29" fmla="*/ 2147483646 h 50"/>
              <a:gd name="T30" fmla="*/ 2147483646 w 62"/>
              <a:gd name="T31" fmla="*/ 2147483646 h 50"/>
              <a:gd name="T32" fmla="*/ 2147483646 w 62"/>
              <a:gd name="T33" fmla="*/ 2147483646 h 50"/>
              <a:gd name="T34" fmla="*/ 2147483646 w 62"/>
              <a:gd name="T35" fmla="*/ 2147483646 h 50"/>
              <a:gd name="T36" fmla="*/ 2147483646 w 62"/>
              <a:gd name="T37" fmla="*/ 2147483646 h 50"/>
              <a:gd name="T38" fmla="*/ 2147483646 w 62"/>
              <a:gd name="T39" fmla="*/ 2147483646 h 50"/>
              <a:gd name="T40" fmla="*/ 2147483646 w 62"/>
              <a:gd name="T41" fmla="*/ 2147483646 h 50"/>
              <a:gd name="T42" fmla="*/ 2147483646 w 62"/>
              <a:gd name="T43" fmla="*/ 2147483646 h 50"/>
              <a:gd name="T44" fmla="*/ 2147483646 w 62"/>
              <a:gd name="T45" fmla="*/ 2147483646 h 50"/>
              <a:gd name="T46" fmla="*/ 2147483646 w 62"/>
              <a:gd name="T47" fmla="*/ 2147483646 h 50"/>
              <a:gd name="T48" fmla="*/ 2147483646 w 62"/>
              <a:gd name="T49" fmla="*/ 2147483646 h 50"/>
              <a:gd name="T50" fmla="*/ 2147483646 w 62"/>
              <a:gd name="T51" fmla="*/ 2147483646 h 50"/>
              <a:gd name="T52" fmla="*/ 2147483646 w 62"/>
              <a:gd name="T53" fmla="*/ 2147483646 h 50"/>
              <a:gd name="T54" fmla="*/ 2147483646 w 62"/>
              <a:gd name="T55" fmla="*/ 2147483646 h 50"/>
              <a:gd name="T56" fmla="*/ 2147483646 w 62"/>
              <a:gd name="T57" fmla="*/ 2147483646 h 50"/>
              <a:gd name="T58" fmla="*/ 2147483646 w 62"/>
              <a:gd name="T59" fmla="*/ 2147483646 h 50"/>
              <a:gd name="T60" fmla="*/ 2147483646 w 62"/>
              <a:gd name="T61" fmla="*/ 2147483646 h 50"/>
              <a:gd name="T62" fmla="*/ 2147483646 w 62"/>
              <a:gd name="T63" fmla="*/ 2147483646 h 50"/>
              <a:gd name="T64" fmla="*/ 2147483646 w 62"/>
              <a:gd name="T65" fmla="*/ 2147483646 h 50"/>
              <a:gd name="T66" fmla="*/ 2147483646 w 62"/>
              <a:gd name="T67" fmla="*/ 2147483646 h 50"/>
              <a:gd name="T68" fmla="*/ 2147483646 w 62"/>
              <a:gd name="T69" fmla="*/ 2147483646 h 50"/>
              <a:gd name="T70" fmla="*/ 2147483646 w 62"/>
              <a:gd name="T71" fmla="*/ 2147483646 h 50"/>
              <a:gd name="T72" fmla="*/ 2147483646 w 62"/>
              <a:gd name="T73" fmla="*/ 2147483646 h 5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62" h="50">
                <a:moveTo>
                  <a:pt x="50" y="14"/>
                </a:moveTo>
                <a:cubicBezTo>
                  <a:pt x="50" y="12"/>
                  <a:pt x="50" y="12"/>
                  <a:pt x="50" y="12"/>
                </a:cubicBezTo>
                <a:cubicBezTo>
                  <a:pt x="51" y="6"/>
                  <a:pt x="49" y="1"/>
                  <a:pt x="45" y="2"/>
                </a:cubicBezTo>
                <a:cubicBezTo>
                  <a:pt x="26" y="6"/>
                  <a:pt x="26" y="6"/>
                  <a:pt x="26" y="6"/>
                </a:cubicBezTo>
                <a:cubicBezTo>
                  <a:pt x="26" y="2"/>
                  <a:pt x="23" y="0"/>
                  <a:pt x="20" y="1"/>
                </a:cubicBezTo>
                <a:cubicBezTo>
                  <a:pt x="10" y="3"/>
                  <a:pt x="10" y="3"/>
                  <a:pt x="10" y="3"/>
                </a:cubicBezTo>
                <a:cubicBezTo>
                  <a:pt x="8" y="3"/>
                  <a:pt x="6" y="6"/>
                  <a:pt x="6" y="9"/>
                </a:cubicBezTo>
                <a:cubicBezTo>
                  <a:pt x="2" y="10"/>
                  <a:pt x="0" y="15"/>
                  <a:pt x="1" y="21"/>
                </a:cubicBezTo>
                <a:cubicBezTo>
                  <a:pt x="3" y="42"/>
                  <a:pt x="3" y="42"/>
                  <a:pt x="3" y="42"/>
                </a:cubicBezTo>
                <a:cubicBezTo>
                  <a:pt x="3" y="44"/>
                  <a:pt x="4" y="46"/>
                  <a:pt x="6" y="47"/>
                </a:cubicBezTo>
                <a:cubicBezTo>
                  <a:pt x="6" y="47"/>
                  <a:pt x="6" y="47"/>
                  <a:pt x="6" y="47"/>
                </a:cubicBezTo>
                <a:cubicBezTo>
                  <a:pt x="6" y="47"/>
                  <a:pt x="6" y="47"/>
                  <a:pt x="6" y="47"/>
                </a:cubicBezTo>
                <a:cubicBezTo>
                  <a:pt x="6" y="30"/>
                  <a:pt x="6" y="30"/>
                  <a:pt x="6" y="30"/>
                </a:cubicBezTo>
                <a:cubicBezTo>
                  <a:pt x="6" y="29"/>
                  <a:pt x="6" y="29"/>
                  <a:pt x="6" y="29"/>
                </a:cubicBezTo>
                <a:cubicBezTo>
                  <a:pt x="6" y="26"/>
                  <a:pt x="7" y="23"/>
                  <a:pt x="9" y="21"/>
                </a:cubicBezTo>
                <a:cubicBezTo>
                  <a:pt x="10" y="18"/>
                  <a:pt x="13" y="17"/>
                  <a:pt x="16" y="17"/>
                </a:cubicBezTo>
                <a:lnTo>
                  <a:pt x="50" y="14"/>
                </a:lnTo>
                <a:close/>
                <a:moveTo>
                  <a:pt x="61" y="18"/>
                </a:moveTo>
                <a:cubicBezTo>
                  <a:pt x="61" y="18"/>
                  <a:pt x="61" y="17"/>
                  <a:pt x="60" y="17"/>
                </a:cubicBezTo>
                <a:cubicBezTo>
                  <a:pt x="60" y="17"/>
                  <a:pt x="60" y="17"/>
                  <a:pt x="60" y="17"/>
                </a:cubicBezTo>
                <a:cubicBezTo>
                  <a:pt x="49" y="18"/>
                  <a:pt x="49" y="18"/>
                  <a:pt x="49" y="18"/>
                </a:cubicBezTo>
                <a:cubicBezTo>
                  <a:pt x="16" y="21"/>
                  <a:pt x="16" y="21"/>
                  <a:pt x="16" y="21"/>
                </a:cubicBezTo>
                <a:cubicBezTo>
                  <a:pt x="15" y="21"/>
                  <a:pt x="13" y="22"/>
                  <a:pt x="12" y="23"/>
                </a:cubicBezTo>
                <a:cubicBezTo>
                  <a:pt x="11" y="25"/>
                  <a:pt x="10" y="27"/>
                  <a:pt x="10" y="29"/>
                </a:cubicBezTo>
                <a:cubicBezTo>
                  <a:pt x="10" y="29"/>
                  <a:pt x="10" y="29"/>
                  <a:pt x="10" y="30"/>
                </a:cubicBezTo>
                <a:cubicBezTo>
                  <a:pt x="10" y="30"/>
                  <a:pt x="10" y="30"/>
                  <a:pt x="10" y="30"/>
                </a:cubicBezTo>
                <a:cubicBezTo>
                  <a:pt x="11" y="47"/>
                  <a:pt x="11" y="47"/>
                  <a:pt x="11" y="47"/>
                </a:cubicBezTo>
                <a:cubicBezTo>
                  <a:pt x="11" y="47"/>
                  <a:pt x="11" y="47"/>
                  <a:pt x="11" y="48"/>
                </a:cubicBezTo>
                <a:cubicBezTo>
                  <a:pt x="11" y="49"/>
                  <a:pt x="13" y="50"/>
                  <a:pt x="14" y="50"/>
                </a:cubicBezTo>
                <a:cubicBezTo>
                  <a:pt x="15" y="50"/>
                  <a:pt x="15" y="50"/>
                  <a:pt x="15" y="50"/>
                </a:cubicBezTo>
                <a:cubicBezTo>
                  <a:pt x="45" y="47"/>
                  <a:pt x="45" y="47"/>
                  <a:pt x="45" y="47"/>
                </a:cubicBezTo>
                <a:cubicBezTo>
                  <a:pt x="46" y="47"/>
                  <a:pt x="48" y="46"/>
                  <a:pt x="49" y="45"/>
                </a:cubicBezTo>
                <a:cubicBezTo>
                  <a:pt x="50" y="44"/>
                  <a:pt x="51" y="43"/>
                  <a:pt x="52" y="42"/>
                </a:cubicBezTo>
                <a:cubicBezTo>
                  <a:pt x="52" y="42"/>
                  <a:pt x="52" y="42"/>
                  <a:pt x="52" y="42"/>
                </a:cubicBezTo>
                <a:cubicBezTo>
                  <a:pt x="61" y="24"/>
                  <a:pt x="61" y="24"/>
                  <a:pt x="61" y="24"/>
                </a:cubicBezTo>
                <a:cubicBezTo>
                  <a:pt x="62" y="22"/>
                  <a:pt x="62" y="21"/>
                  <a:pt x="62" y="20"/>
                </a:cubicBezTo>
                <a:cubicBezTo>
                  <a:pt x="62" y="19"/>
                  <a:pt x="62" y="18"/>
                  <a:pt x="61" y="18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74" name="组合 73"/>
          <p:cNvGrpSpPr/>
          <p:nvPr/>
        </p:nvGrpSpPr>
        <p:grpSpPr>
          <a:xfrm>
            <a:off x="1523787" y="2107062"/>
            <a:ext cx="474470" cy="381594"/>
            <a:chOff x="5219700" y="2338388"/>
            <a:chExt cx="236538" cy="230187"/>
          </a:xfrm>
          <a:solidFill>
            <a:schemeClr val="bg1"/>
          </a:solidFill>
        </p:grpSpPr>
        <p:sp>
          <p:nvSpPr>
            <p:cNvPr id="75" name="Freeform 9"/>
            <p:cNvSpPr/>
            <p:nvPr/>
          </p:nvSpPr>
          <p:spPr bwMode="auto">
            <a:xfrm>
              <a:off x="5257800" y="2392363"/>
              <a:ext cx="160338" cy="176212"/>
            </a:xfrm>
            <a:custGeom>
              <a:avLst/>
              <a:gdLst>
                <a:gd name="T0" fmla="*/ 0 w 43"/>
                <a:gd name="T1" fmla="*/ 19 h 47"/>
                <a:gd name="T2" fmla="*/ 0 w 43"/>
                <a:gd name="T3" fmla="*/ 44 h 47"/>
                <a:gd name="T4" fmla="*/ 2 w 43"/>
                <a:gd name="T5" fmla="*/ 46 h 47"/>
                <a:gd name="T6" fmla="*/ 3 w 43"/>
                <a:gd name="T7" fmla="*/ 47 h 47"/>
                <a:gd name="T8" fmla="*/ 15 w 43"/>
                <a:gd name="T9" fmla="*/ 47 h 47"/>
                <a:gd name="T10" fmla="*/ 16 w 43"/>
                <a:gd name="T11" fmla="*/ 46 h 47"/>
                <a:gd name="T12" fmla="*/ 16 w 43"/>
                <a:gd name="T13" fmla="*/ 45 h 47"/>
                <a:gd name="T14" fmla="*/ 16 w 43"/>
                <a:gd name="T15" fmla="*/ 33 h 47"/>
                <a:gd name="T16" fmla="*/ 28 w 43"/>
                <a:gd name="T17" fmla="*/ 33 h 47"/>
                <a:gd name="T18" fmla="*/ 28 w 43"/>
                <a:gd name="T19" fmla="*/ 45 h 47"/>
                <a:gd name="T20" fmla="*/ 28 w 43"/>
                <a:gd name="T21" fmla="*/ 46 h 47"/>
                <a:gd name="T22" fmla="*/ 29 w 43"/>
                <a:gd name="T23" fmla="*/ 47 h 47"/>
                <a:gd name="T24" fmla="*/ 40 w 43"/>
                <a:gd name="T25" fmla="*/ 47 h 47"/>
                <a:gd name="T26" fmla="*/ 42 w 43"/>
                <a:gd name="T27" fmla="*/ 46 h 47"/>
                <a:gd name="T28" fmla="*/ 43 w 43"/>
                <a:gd name="T29" fmla="*/ 44 h 47"/>
                <a:gd name="T30" fmla="*/ 43 w 43"/>
                <a:gd name="T31" fmla="*/ 19 h 47"/>
                <a:gd name="T32" fmla="*/ 22 w 43"/>
                <a:gd name="T33" fmla="*/ 0 h 47"/>
                <a:gd name="T34" fmla="*/ 0 w 43"/>
                <a:gd name="T35" fmla="*/ 1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47">
                  <a:moveTo>
                    <a:pt x="0" y="19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45"/>
                    <a:pt x="1" y="46"/>
                    <a:pt x="2" y="46"/>
                  </a:cubicBezTo>
                  <a:cubicBezTo>
                    <a:pt x="2" y="46"/>
                    <a:pt x="3" y="47"/>
                    <a:pt x="3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5" y="46"/>
                    <a:pt x="16" y="46"/>
                  </a:cubicBezTo>
                  <a:cubicBezTo>
                    <a:pt x="16" y="46"/>
                    <a:pt x="16" y="45"/>
                    <a:pt x="16" y="45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6"/>
                    <a:pt x="28" y="46"/>
                  </a:cubicBezTo>
                  <a:cubicBezTo>
                    <a:pt x="28" y="46"/>
                    <a:pt x="29" y="47"/>
                    <a:pt x="29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1" y="47"/>
                    <a:pt x="42" y="46"/>
                    <a:pt x="42" y="46"/>
                  </a:cubicBezTo>
                  <a:cubicBezTo>
                    <a:pt x="43" y="46"/>
                    <a:pt x="43" y="45"/>
                    <a:pt x="43" y="44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22" y="0"/>
                    <a:pt x="22" y="0"/>
                    <a:pt x="22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76" name="Freeform 10"/>
            <p:cNvSpPr/>
            <p:nvPr/>
          </p:nvSpPr>
          <p:spPr bwMode="auto">
            <a:xfrm>
              <a:off x="5219700" y="2338388"/>
              <a:ext cx="236538" cy="128587"/>
            </a:xfrm>
            <a:custGeom>
              <a:avLst/>
              <a:gdLst>
                <a:gd name="T0" fmla="*/ 62 w 63"/>
                <a:gd name="T1" fmla="*/ 26 h 34"/>
                <a:gd name="T2" fmla="*/ 52 w 63"/>
                <a:gd name="T3" fmla="*/ 17 h 34"/>
                <a:gd name="T4" fmla="*/ 52 w 63"/>
                <a:gd name="T5" fmla="*/ 3 h 34"/>
                <a:gd name="T6" fmla="*/ 50 w 63"/>
                <a:gd name="T7" fmla="*/ 1 h 34"/>
                <a:gd name="T8" fmla="*/ 46 w 63"/>
                <a:gd name="T9" fmla="*/ 1 h 34"/>
                <a:gd name="T10" fmla="*/ 45 w 63"/>
                <a:gd name="T11" fmla="*/ 3 h 34"/>
                <a:gd name="T12" fmla="*/ 45 w 63"/>
                <a:gd name="T13" fmla="*/ 11 h 34"/>
                <a:gd name="T14" fmla="*/ 35 w 63"/>
                <a:gd name="T15" fmla="*/ 1 h 34"/>
                <a:gd name="T16" fmla="*/ 29 w 63"/>
                <a:gd name="T17" fmla="*/ 1 h 34"/>
                <a:gd name="T18" fmla="*/ 2 w 63"/>
                <a:gd name="T19" fmla="*/ 26 h 34"/>
                <a:gd name="T20" fmla="*/ 2 w 63"/>
                <a:gd name="T21" fmla="*/ 32 h 34"/>
                <a:gd name="T22" fmla="*/ 5 w 63"/>
                <a:gd name="T23" fmla="*/ 33 h 34"/>
                <a:gd name="T24" fmla="*/ 8 w 63"/>
                <a:gd name="T25" fmla="*/ 32 h 34"/>
                <a:gd name="T26" fmla="*/ 32 w 63"/>
                <a:gd name="T27" fmla="*/ 10 h 34"/>
                <a:gd name="T28" fmla="*/ 56 w 63"/>
                <a:gd name="T29" fmla="*/ 32 h 34"/>
                <a:gd name="T30" fmla="*/ 62 w 63"/>
                <a:gd name="T31" fmla="*/ 32 h 34"/>
                <a:gd name="T32" fmla="*/ 62 w 63"/>
                <a:gd name="T33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34">
                  <a:moveTo>
                    <a:pt x="62" y="26"/>
                  </a:moveTo>
                  <a:cubicBezTo>
                    <a:pt x="52" y="17"/>
                    <a:pt x="52" y="17"/>
                    <a:pt x="52" y="17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2"/>
                    <a:pt x="51" y="1"/>
                    <a:pt x="50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2"/>
                    <a:pt x="45" y="3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3" y="0"/>
                    <a:pt x="31" y="0"/>
                    <a:pt x="29" y="1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1" y="28"/>
                    <a:pt x="0" y="30"/>
                    <a:pt x="2" y="32"/>
                  </a:cubicBezTo>
                  <a:cubicBezTo>
                    <a:pt x="3" y="33"/>
                    <a:pt x="4" y="33"/>
                    <a:pt x="5" y="33"/>
                  </a:cubicBezTo>
                  <a:cubicBezTo>
                    <a:pt x="6" y="33"/>
                    <a:pt x="7" y="33"/>
                    <a:pt x="8" y="32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8" y="34"/>
                    <a:pt x="60" y="33"/>
                    <a:pt x="62" y="32"/>
                  </a:cubicBezTo>
                  <a:cubicBezTo>
                    <a:pt x="63" y="30"/>
                    <a:pt x="63" y="28"/>
                    <a:pt x="62" y="2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</p:grpSp>
      <p:grpSp>
        <p:nvGrpSpPr>
          <p:cNvPr id="79" name="组合 78"/>
          <p:cNvGrpSpPr/>
          <p:nvPr/>
        </p:nvGrpSpPr>
        <p:grpSpPr>
          <a:xfrm>
            <a:off x="1519732" y="2801332"/>
            <a:ext cx="456957" cy="310539"/>
            <a:chOff x="3779912" y="2482850"/>
            <a:chExt cx="303213" cy="187325"/>
          </a:xfrm>
          <a:solidFill>
            <a:srgbClr val="7EC234"/>
          </a:solidFill>
        </p:grpSpPr>
        <p:sp>
          <p:nvSpPr>
            <p:cNvPr id="80" name="Freeform 14"/>
            <p:cNvSpPr/>
            <p:nvPr/>
          </p:nvSpPr>
          <p:spPr bwMode="auto">
            <a:xfrm>
              <a:off x="3779912" y="2498725"/>
              <a:ext cx="303213" cy="171450"/>
            </a:xfrm>
            <a:custGeom>
              <a:avLst/>
              <a:gdLst>
                <a:gd name="T0" fmla="*/ 191 w 191"/>
                <a:gd name="T1" fmla="*/ 98 h 108"/>
                <a:gd name="T2" fmla="*/ 10 w 191"/>
                <a:gd name="T3" fmla="*/ 98 h 108"/>
                <a:gd name="T4" fmla="*/ 10 w 191"/>
                <a:gd name="T5" fmla="*/ 0 h 108"/>
                <a:gd name="T6" fmla="*/ 0 w 191"/>
                <a:gd name="T7" fmla="*/ 0 h 108"/>
                <a:gd name="T8" fmla="*/ 0 w 191"/>
                <a:gd name="T9" fmla="*/ 108 h 108"/>
                <a:gd name="T10" fmla="*/ 191 w 191"/>
                <a:gd name="T11" fmla="*/ 108 h 108"/>
                <a:gd name="T12" fmla="*/ 191 w 191"/>
                <a:gd name="T13" fmla="*/ 9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08">
                  <a:moveTo>
                    <a:pt x="191" y="98"/>
                  </a:moveTo>
                  <a:lnTo>
                    <a:pt x="10" y="98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08"/>
                  </a:lnTo>
                  <a:lnTo>
                    <a:pt x="191" y="108"/>
                  </a:lnTo>
                  <a:lnTo>
                    <a:pt x="191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1" name="Freeform 15"/>
            <p:cNvSpPr/>
            <p:nvPr/>
          </p:nvSpPr>
          <p:spPr bwMode="auto">
            <a:xfrm>
              <a:off x="3814837" y="2482850"/>
              <a:ext cx="223838" cy="127000"/>
            </a:xfrm>
            <a:custGeom>
              <a:avLst/>
              <a:gdLst>
                <a:gd name="T0" fmla="*/ 122 w 141"/>
                <a:gd name="T1" fmla="*/ 2 h 80"/>
                <a:gd name="T2" fmla="*/ 103 w 141"/>
                <a:gd name="T3" fmla="*/ 5 h 80"/>
                <a:gd name="T4" fmla="*/ 113 w 141"/>
                <a:gd name="T5" fmla="*/ 14 h 80"/>
                <a:gd name="T6" fmla="*/ 77 w 141"/>
                <a:gd name="T7" fmla="*/ 42 h 80"/>
                <a:gd name="T8" fmla="*/ 49 w 141"/>
                <a:gd name="T9" fmla="*/ 26 h 80"/>
                <a:gd name="T10" fmla="*/ 0 w 141"/>
                <a:gd name="T11" fmla="*/ 73 h 80"/>
                <a:gd name="T12" fmla="*/ 7 w 141"/>
                <a:gd name="T13" fmla="*/ 80 h 80"/>
                <a:gd name="T14" fmla="*/ 51 w 141"/>
                <a:gd name="T15" fmla="*/ 38 h 80"/>
                <a:gd name="T16" fmla="*/ 77 w 141"/>
                <a:gd name="T17" fmla="*/ 54 h 80"/>
                <a:gd name="T18" fmla="*/ 117 w 141"/>
                <a:gd name="T19" fmla="*/ 24 h 80"/>
                <a:gd name="T20" fmla="*/ 127 w 141"/>
                <a:gd name="T21" fmla="*/ 33 h 80"/>
                <a:gd name="T22" fmla="*/ 134 w 141"/>
                <a:gd name="T23" fmla="*/ 17 h 80"/>
                <a:gd name="T24" fmla="*/ 141 w 141"/>
                <a:gd name="T25" fmla="*/ 0 h 80"/>
                <a:gd name="T26" fmla="*/ 122 w 141"/>
                <a:gd name="T27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1" h="80">
                  <a:moveTo>
                    <a:pt x="122" y="2"/>
                  </a:moveTo>
                  <a:lnTo>
                    <a:pt x="103" y="5"/>
                  </a:lnTo>
                  <a:lnTo>
                    <a:pt x="113" y="14"/>
                  </a:lnTo>
                  <a:lnTo>
                    <a:pt x="77" y="42"/>
                  </a:lnTo>
                  <a:lnTo>
                    <a:pt x="49" y="26"/>
                  </a:lnTo>
                  <a:lnTo>
                    <a:pt x="0" y="73"/>
                  </a:lnTo>
                  <a:lnTo>
                    <a:pt x="7" y="80"/>
                  </a:lnTo>
                  <a:lnTo>
                    <a:pt x="51" y="38"/>
                  </a:lnTo>
                  <a:lnTo>
                    <a:pt x="77" y="54"/>
                  </a:lnTo>
                  <a:lnTo>
                    <a:pt x="117" y="24"/>
                  </a:lnTo>
                  <a:lnTo>
                    <a:pt x="127" y="33"/>
                  </a:lnTo>
                  <a:lnTo>
                    <a:pt x="134" y="17"/>
                  </a:lnTo>
                  <a:lnTo>
                    <a:pt x="141" y="0"/>
                  </a:lnTo>
                  <a:lnTo>
                    <a:pt x="12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2" name="Rectangle 16"/>
            <p:cNvSpPr>
              <a:spLocks noChangeArrowheads="1"/>
            </p:cNvSpPr>
            <p:nvPr/>
          </p:nvSpPr>
          <p:spPr bwMode="auto">
            <a:xfrm>
              <a:off x="3837062" y="2609850"/>
              <a:ext cx="30163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3" name="Rectangle 17"/>
            <p:cNvSpPr>
              <a:spLocks noChangeArrowheads="1"/>
            </p:cNvSpPr>
            <p:nvPr/>
          </p:nvSpPr>
          <p:spPr bwMode="auto">
            <a:xfrm>
              <a:off x="3798962" y="2617788"/>
              <a:ext cx="333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4" name="Rectangle 18"/>
            <p:cNvSpPr>
              <a:spLocks noChangeArrowheads="1"/>
            </p:cNvSpPr>
            <p:nvPr/>
          </p:nvSpPr>
          <p:spPr bwMode="auto">
            <a:xfrm>
              <a:off x="3873575" y="2579688"/>
              <a:ext cx="30163" cy="68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5" name="Rectangle 19"/>
            <p:cNvSpPr>
              <a:spLocks noChangeArrowheads="1"/>
            </p:cNvSpPr>
            <p:nvPr/>
          </p:nvSpPr>
          <p:spPr bwMode="auto">
            <a:xfrm>
              <a:off x="3911675" y="2587625"/>
              <a:ext cx="30163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6" name="Rectangle 20"/>
            <p:cNvSpPr>
              <a:spLocks noChangeArrowheads="1"/>
            </p:cNvSpPr>
            <p:nvPr/>
          </p:nvSpPr>
          <p:spPr bwMode="auto">
            <a:xfrm>
              <a:off x="3948187" y="2573338"/>
              <a:ext cx="30163" cy="74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7" name="Rectangle 21"/>
            <p:cNvSpPr>
              <a:spLocks noChangeArrowheads="1"/>
            </p:cNvSpPr>
            <p:nvPr/>
          </p:nvSpPr>
          <p:spPr bwMode="auto">
            <a:xfrm>
              <a:off x="3986287" y="2546350"/>
              <a:ext cx="30163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8" name="Rectangle 22"/>
            <p:cNvSpPr>
              <a:spLocks noChangeArrowheads="1"/>
            </p:cNvSpPr>
            <p:nvPr/>
          </p:nvSpPr>
          <p:spPr bwMode="auto">
            <a:xfrm>
              <a:off x="4024387" y="2535238"/>
              <a:ext cx="2857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1539566" y="3504149"/>
            <a:ext cx="437124" cy="344513"/>
            <a:chOff x="4973638" y="2713038"/>
            <a:chExt cx="239712" cy="228601"/>
          </a:xfrm>
          <a:solidFill>
            <a:srgbClr val="00B0F0"/>
          </a:solidFill>
        </p:grpSpPr>
        <p:sp>
          <p:nvSpPr>
            <p:cNvPr id="92" name="Freeform 26"/>
            <p:cNvSpPr/>
            <p:nvPr/>
          </p:nvSpPr>
          <p:spPr bwMode="auto">
            <a:xfrm>
              <a:off x="4973638" y="2713038"/>
              <a:ext cx="142875" cy="228600"/>
            </a:xfrm>
            <a:custGeom>
              <a:avLst/>
              <a:gdLst>
                <a:gd name="T0" fmla="*/ 31 w 38"/>
                <a:gd name="T1" fmla="*/ 55 h 61"/>
                <a:gd name="T2" fmla="*/ 31 w 38"/>
                <a:gd name="T3" fmla="*/ 55 h 61"/>
                <a:gd name="T4" fmla="*/ 30 w 38"/>
                <a:gd name="T5" fmla="*/ 54 h 61"/>
                <a:gd name="T6" fmla="*/ 30 w 38"/>
                <a:gd name="T7" fmla="*/ 50 h 61"/>
                <a:gd name="T8" fmla="*/ 38 w 38"/>
                <a:gd name="T9" fmla="*/ 33 h 61"/>
                <a:gd name="T10" fmla="*/ 28 w 38"/>
                <a:gd name="T11" fmla="*/ 24 h 61"/>
                <a:gd name="T12" fmla="*/ 25 w 38"/>
                <a:gd name="T13" fmla="*/ 22 h 61"/>
                <a:gd name="T14" fmla="*/ 27 w 38"/>
                <a:gd name="T15" fmla="*/ 21 h 61"/>
                <a:gd name="T16" fmla="*/ 33 w 38"/>
                <a:gd name="T17" fmla="*/ 11 h 61"/>
                <a:gd name="T18" fmla="*/ 21 w 38"/>
                <a:gd name="T19" fmla="*/ 0 h 61"/>
                <a:gd name="T20" fmla="*/ 8 w 38"/>
                <a:gd name="T21" fmla="*/ 11 h 61"/>
                <a:gd name="T22" fmla="*/ 14 w 38"/>
                <a:gd name="T23" fmla="*/ 21 h 61"/>
                <a:gd name="T24" fmla="*/ 17 w 38"/>
                <a:gd name="T25" fmla="*/ 22 h 61"/>
                <a:gd name="T26" fmla="*/ 14 w 38"/>
                <a:gd name="T27" fmla="*/ 24 h 61"/>
                <a:gd name="T28" fmla="*/ 0 w 38"/>
                <a:gd name="T29" fmla="*/ 46 h 61"/>
                <a:gd name="T30" fmla="*/ 0 w 38"/>
                <a:gd name="T31" fmla="*/ 51 h 61"/>
                <a:gd name="T32" fmla="*/ 21 w 38"/>
                <a:gd name="T33" fmla="*/ 61 h 61"/>
                <a:gd name="T34" fmla="*/ 33 w 38"/>
                <a:gd name="T35" fmla="*/ 58 h 61"/>
                <a:gd name="T36" fmla="*/ 31 w 38"/>
                <a:gd name="T37" fmla="*/ 5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61"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2"/>
                    <a:pt x="30" y="50"/>
                  </a:cubicBezTo>
                  <a:cubicBezTo>
                    <a:pt x="30" y="43"/>
                    <a:pt x="33" y="37"/>
                    <a:pt x="38" y="33"/>
                  </a:cubicBezTo>
                  <a:cubicBezTo>
                    <a:pt x="36" y="29"/>
                    <a:pt x="32" y="25"/>
                    <a:pt x="28" y="24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31" y="19"/>
                    <a:pt x="33" y="15"/>
                    <a:pt x="33" y="11"/>
                  </a:cubicBezTo>
                  <a:cubicBezTo>
                    <a:pt x="33" y="5"/>
                    <a:pt x="28" y="0"/>
                    <a:pt x="21" y="0"/>
                  </a:cubicBezTo>
                  <a:cubicBezTo>
                    <a:pt x="14" y="0"/>
                    <a:pt x="8" y="5"/>
                    <a:pt x="8" y="11"/>
                  </a:cubicBezTo>
                  <a:cubicBezTo>
                    <a:pt x="8" y="15"/>
                    <a:pt x="10" y="19"/>
                    <a:pt x="14" y="21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6" y="27"/>
                    <a:pt x="0" y="36"/>
                    <a:pt x="0" y="46"/>
                  </a:cubicBezTo>
                  <a:cubicBezTo>
                    <a:pt x="0" y="48"/>
                    <a:pt x="0" y="49"/>
                    <a:pt x="0" y="51"/>
                  </a:cubicBezTo>
                  <a:cubicBezTo>
                    <a:pt x="5" y="57"/>
                    <a:pt x="12" y="61"/>
                    <a:pt x="21" y="61"/>
                  </a:cubicBezTo>
                  <a:cubicBezTo>
                    <a:pt x="25" y="61"/>
                    <a:pt x="29" y="60"/>
                    <a:pt x="33" y="58"/>
                  </a:cubicBezTo>
                  <a:cubicBezTo>
                    <a:pt x="32" y="57"/>
                    <a:pt x="31" y="56"/>
                    <a:pt x="3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3" name="Freeform 27"/>
            <p:cNvSpPr/>
            <p:nvPr/>
          </p:nvSpPr>
          <p:spPr bwMode="auto">
            <a:xfrm>
              <a:off x="5097463" y="2768601"/>
              <a:ext cx="115887" cy="173038"/>
            </a:xfrm>
            <a:custGeom>
              <a:avLst/>
              <a:gdLst>
                <a:gd name="T0" fmla="*/ 21 w 31"/>
                <a:gd name="T1" fmla="*/ 18 h 46"/>
                <a:gd name="T2" fmla="*/ 18 w 31"/>
                <a:gd name="T3" fmla="*/ 17 h 46"/>
                <a:gd name="T4" fmla="*/ 21 w 31"/>
                <a:gd name="T5" fmla="*/ 15 h 46"/>
                <a:gd name="T6" fmla="*/ 25 w 31"/>
                <a:gd name="T7" fmla="*/ 9 h 46"/>
                <a:gd name="T8" fmla="*/ 16 w 31"/>
                <a:gd name="T9" fmla="*/ 0 h 46"/>
                <a:gd name="T10" fmla="*/ 7 w 31"/>
                <a:gd name="T11" fmla="*/ 9 h 46"/>
                <a:gd name="T12" fmla="*/ 11 w 31"/>
                <a:gd name="T13" fmla="*/ 15 h 46"/>
                <a:gd name="T14" fmla="*/ 14 w 31"/>
                <a:gd name="T15" fmla="*/ 17 h 46"/>
                <a:gd name="T16" fmla="*/ 11 w 31"/>
                <a:gd name="T17" fmla="*/ 18 h 46"/>
                <a:gd name="T18" fmla="*/ 9 w 31"/>
                <a:gd name="T19" fmla="*/ 19 h 46"/>
                <a:gd name="T20" fmla="*/ 8 w 31"/>
                <a:gd name="T21" fmla="*/ 20 h 46"/>
                <a:gd name="T22" fmla="*/ 7 w 31"/>
                <a:gd name="T23" fmla="*/ 21 h 46"/>
                <a:gd name="T24" fmla="*/ 0 w 31"/>
                <a:gd name="T25" fmla="*/ 35 h 46"/>
                <a:gd name="T26" fmla="*/ 1 w 31"/>
                <a:gd name="T27" fmla="*/ 38 h 46"/>
                <a:gd name="T28" fmla="*/ 3 w 31"/>
                <a:gd name="T29" fmla="*/ 41 h 46"/>
                <a:gd name="T30" fmla="*/ 4 w 31"/>
                <a:gd name="T31" fmla="*/ 42 h 46"/>
                <a:gd name="T32" fmla="*/ 6 w 31"/>
                <a:gd name="T33" fmla="*/ 43 h 46"/>
                <a:gd name="T34" fmla="*/ 16 w 31"/>
                <a:gd name="T35" fmla="*/ 46 h 46"/>
                <a:gd name="T36" fmla="*/ 31 w 31"/>
                <a:gd name="T37" fmla="*/ 38 h 46"/>
                <a:gd name="T38" fmla="*/ 31 w 31"/>
                <a:gd name="T39" fmla="*/ 35 h 46"/>
                <a:gd name="T40" fmla="*/ 21 w 31"/>
                <a:gd name="T41" fmla="*/ 1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" h="46">
                  <a:moveTo>
                    <a:pt x="21" y="18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3" y="14"/>
                    <a:pt x="25" y="11"/>
                    <a:pt x="25" y="9"/>
                  </a:cubicBezTo>
                  <a:cubicBezTo>
                    <a:pt x="25" y="4"/>
                    <a:pt x="21" y="0"/>
                    <a:pt x="16" y="0"/>
                  </a:cubicBezTo>
                  <a:cubicBezTo>
                    <a:pt x="11" y="0"/>
                    <a:pt x="7" y="4"/>
                    <a:pt x="7" y="9"/>
                  </a:cubicBezTo>
                  <a:cubicBezTo>
                    <a:pt x="7" y="11"/>
                    <a:pt x="8" y="14"/>
                    <a:pt x="11" y="15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19"/>
                    <a:pt x="10" y="19"/>
                    <a:pt x="9" y="19"/>
                  </a:cubicBezTo>
                  <a:cubicBezTo>
                    <a:pt x="9" y="19"/>
                    <a:pt x="8" y="20"/>
                    <a:pt x="8" y="20"/>
                  </a:cubicBezTo>
                  <a:cubicBezTo>
                    <a:pt x="8" y="20"/>
                    <a:pt x="7" y="21"/>
                    <a:pt x="7" y="21"/>
                  </a:cubicBezTo>
                  <a:cubicBezTo>
                    <a:pt x="3" y="24"/>
                    <a:pt x="0" y="29"/>
                    <a:pt x="0" y="35"/>
                  </a:cubicBezTo>
                  <a:cubicBezTo>
                    <a:pt x="0" y="36"/>
                    <a:pt x="1" y="37"/>
                    <a:pt x="1" y="38"/>
                  </a:cubicBezTo>
                  <a:cubicBezTo>
                    <a:pt x="1" y="39"/>
                    <a:pt x="2" y="40"/>
                    <a:pt x="3" y="41"/>
                  </a:cubicBezTo>
                  <a:cubicBezTo>
                    <a:pt x="3" y="41"/>
                    <a:pt x="4" y="42"/>
                    <a:pt x="4" y="42"/>
                  </a:cubicBezTo>
                  <a:cubicBezTo>
                    <a:pt x="5" y="42"/>
                    <a:pt x="5" y="43"/>
                    <a:pt x="6" y="43"/>
                  </a:cubicBezTo>
                  <a:cubicBezTo>
                    <a:pt x="9" y="45"/>
                    <a:pt x="12" y="46"/>
                    <a:pt x="16" y="46"/>
                  </a:cubicBezTo>
                  <a:cubicBezTo>
                    <a:pt x="22" y="46"/>
                    <a:pt x="27" y="43"/>
                    <a:pt x="31" y="38"/>
                  </a:cubicBezTo>
                  <a:cubicBezTo>
                    <a:pt x="31" y="37"/>
                    <a:pt x="31" y="36"/>
                    <a:pt x="31" y="35"/>
                  </a:cubicBezTo>
                  <a:cubicBezTo>
                    <a:pt x="31" y="27"/>
                    <a:pt x="27" y="21"/>
                    <a:pt x="2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</p:grpSp>
      <p:sp>
        <p:nvSpPr>
          <p:cNvPr id="96" name="矩形 95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7" name="矩形 96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8" name="矩形 97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9" name="矩形 98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7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7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 tmFilter="0, 0; .2, .5; .8, .5; 1, 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250" autoRev="1" fill="hold"/>
                                        <p:tgtEl>
                                          <p:spTgt spid="9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4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/>
          <p:nvPr/>
        </p:nvSpPr>
        <p:spPr bwMode="auto">
          <a:xfrm>
            <a:off x="2165350" y="1243013"/>
            <a:ext cx="4173538" cy="1941512"/>
          </a:xfrm>
          <a:custGeom>
            <a:avLst/>
            <a:gdLst>
              <a:gd name="T0" fmla="*/ 0 w 2913"/>
              <a:gd name="T1" fmla="*/ 2147483646 h 1355"/>
              <a:gd name="T2" fmla="*/ 2147483646 w 2913"/>
              <a:gd name="T3" fmla="*/ 2147483646 h 1355"/>
              <a:gd name="T4" fmla="*/ 2147483646 w 2913"/>
              <a:gd name="T5" fmla="*/ 2147483646 h 1355"/>
              <a:gd name="T6" fmla="*/ 2147483646 w 2913"/>
              <a:gd name="T7" fmla="*/ 2147483646 h 1355"/>
              <a:gd name="T8" fmla="*/ 2147483646 w 2913"/>
              <a:gd name="T9" fmla="*/ 2147483646 h 1355"/>
              <a:gd name="T10" fmla="*/ 2147483646 w 2913"/>
              <a:gd name="T11" fmla="*/ 2147483646 h 1355"/>
              <a:gd name="T12" fmla="*/ 2147483646 w 2913"/>
              <a:gd name="T13" fmla="*/ 2147483646 h 1355"/>
              <a:gd name="T14" fmla="*/ 2147483646 w 2913"/>
              <a:gd name="T15" fmla="*/ 0 h 1355"/>
              <a:gd name="T16" fmla="*/ 2147483646 w 2913"/>
              <a:gd name="T17" fmla="*/ 2147483646 h 1355"/>
              <a:gd name="T18" fmla="*/ 2147483646 w 2913"/>
              <a:gd name="T19" fmla="*/ 2147483646 h 1355"/>
              <a:gd name="T20" fmla="*/ 2147483646 w 2913"/>
              <a:gd name="T21" fmla="*/ 2147483646 h 1355"/>
              <a:gd name="T22" fmla="*/ 0 w 2913"/>
              <a:gd name="T23" fmla="*/ 2147483646 h 1355"/>
              <a:gd name="T24" fmla="*/ 0 w 2913"/>
              <a:gd name="T25" fmla="*/ 2147483646 h 135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913" h="1355">
                <a:moveTo>
                  <a:pt x="0" y="1125"/>
                </a:moveTo>
                <a:lnTo>
                  <a:pt x="543" y="895"/>
                </a:lnTo>
                <a:lnTo>
                  <a:pt x="1131" y="450"/>
                </a:lnTo>
                <a:lnTo>
                  <a:pt x="1427" y="671"/>
                </a:lnTo>
                <a:lnTo>
                  <a:pt x="1722" y="221"/>
                </a:lnTo>
                <a:lnTo>
                  <a:pt x="2018" y="444"/>
                </a:lnTo>
                <a:lnTo>
                  <a:pt x="2340" y="221"/>
                </a:lnTo>
                <a:lnTo>
                  <a:pt x="2662" y="0"/>
                </a:lnTo>
                <a:lnTo>
                  <a:pt x="2913" y="224"/>
                </a:lnTo>
                <a:lnTo>
                  <a:pt x="2913" y="1355"/>
                </a:lnTo>
                <a:lnTo>
                  <a:pt x="9" y="1355"/>
                </a:lnTo>
                <a:lnTo>
                  <a:pt x="0" y="1125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" name="Freeform 7"/>
          <p:cNvSpPr/>
          <p:nvPr/>
        </p:nvSpPr>
        <p:spPr bwMode="auto">
          <a:xfrm>
            <a:off x="2178050" y="1233488"/>
            <a:ext cx="4160838" cy="1951037"/>
          </a:xfrm>
          <a:custGeom>
            <a:avLst/>
            <a:gdLst>
              <a:gd name="T0" fmla="*/ 0 w 2904"/>
              <a:gd name="T1" fmla="*/ 2147483646 h 1361"/>
              <a:gd name="T2" fmla="*/ 2147483646 w 2904"/>
              <a:gd name="T3" fmla="*/ 2147483646 h 1361"/>
              <a:gd name="T4" fmla="*/ 2147483646 w 2904"/>
              <a:gd name="T5" fmla="*/ 2147483646 h 1361"/>
              <a:gd name="T6" fmla="*/ 2147483646 w 2904"/>
              <a:gd name="T7" fmla="*/ 2147483646 h 1361"/>
              <a:gd name="T8" fmla="*/ 2147483646 w 2904"/>
              <a:gd name="T9" fmla="*/ 2147483646 h 1361"/>
              <a:gd name="T10" fmla="*/ 2147483646 w 2904"/>
              <a:gd name="T11" fmla="*/ 2147483646 h 1361"/>
              <a:gd name="T12" fmla="*/ 2147483646 w 2904"/>
              <a:gd name="T13" fmla="*/ 2147483646 h 1361"/>
              <a:gd name="T14" fmla="*/ 2147483646 w 2904"/>
              <a:gd name="T15" fmla="*/ 2147483646 h 1361"/>
              <a:gd name="T16" fmla="*/ 2147483646 w 2904"/>
              <a:gd name="T17" fmla="*/ 2147483646 h 1361"/>
              <a:gd name="T18" fmla="*/ 2147483646 w 2904"/>
              <a:gd name="T19" fmla="*/ 0 h 1361"/>
              <a:gd name="T20" fmla="*/ 2147483646 w 2904"/>
              <a:gd name="T21" fmla="*/ 2147483646 h 1361"/>
              <a:gd name="T22" fmla="*/ 0 w 2904"/>
              <a:gd name="T23" fmla="*/ 2147483646 h 1361"/>
              <a:gd name="T24" fmla="*/ 0 w 2904"/>
              <a:gd name="T25" fmla="*/ 2147483646 h 136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904" h="1361">
                <a:moveTo>
                  <a:pt x="0" y="1349"/>
                </a:moveTo>
                <a:lnTo>
                  <a:pt x="239" y="904"/>
                </a:lnTo>
                <a:lnTo>
                  <a:pt x="537" y="680"/>
                </a:lnTo>
                <a:lnTo>
                  <a:pt x="827" y="904"/>
                </a:lnTo>
                <a:lnTo>
                  <a:pt x="1122" y="1125"/>
                </a:lnTo>
                <a:lnTo>
                  <a:pt x="1418" y="904"/>
                </a:lnTo>
                <a:lnTo>
                  <a:pt x="1707" y="450"/>
                </a:lnTo>
                <a:lnTo>
                  <a:pt x="2006" y="677"/>
                </a:lnTo>
                <a:lnTo>
                  <a:pt x="2650" y="230"/>
                </a:lnTo>
                <a:lnTo>
                  <a:pt x="2904" y="0"/>
                </a:lnTo>
                <a:lnTo>
                  <a:pt x="2904" y="1361"/>
                </a:lnTo>
                <a:lnTo>
                  <a:pt x="0" y="1349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" name="Freeform 8"/>
          <p:cNvSpPr/>
          <p:nvPr/>
        </p:nvSpPr>
        <p:spPr bwMode="auto">
          <a:xfrm>
            <a:off x="2165350" y="1887538"/>
            <a:ext cx="4173538" cy="1279525"/>
          </a:xfrm>
          <a:custGeom>
            <a:avLst/>
            <a:gdLst>
              <a:gd name="T0" fmla="*/ 0 w 2913"/>
              <a:gd name="T1" fmla="*/ 2147483646 h 893"/>
              <a:gd name="T2" fmla="*/ 2147483646 w 2913"/>
              <a:gd name="T3" fmla="*/ 2147483646 h 893"/>
              <a:gd name="T4" fmla="*/ 2147483646 w 2913"/>
              <a:gd name="T5" fmla="*/ 2147483646 h 893"/>
              <a:gd name="T6" fmla="*/ 2147483646 w 2913"/>
              <a:gd name="T7" fmla="*/ 2147483646 h 893"/>
              <a:gd name="T8" fmla="*/ 2147483646 w 2913"/>
              <a:gd name="T9" fmla="*/ 2147483646 h 893"/>
              <a:gd name="T10" fmla="*/ 2147483646 w 2913"/>
              <a:gd name="T11" fmla="*/ 2147483646 h 893"/>
              <a:gd name="T12" fmla="*/ 2147483646 w 2913"/>
              <a:gd name="T13" fmla="*/ 0 h 893"/>
              <a:gd name="T14" fmla="*/ 2147483646 w 2913"/>
              <a:gd name="T15" fmla="*/ 2147483646 h 893"/>
              <a:gd name="T16" fmla="*/ 2147483646 w 2913"/>
              <a:gd name="T17" fmla="*/ 2147483646 h 893"/>
              <a:gd name="T18" fmla="*/ 0 w 2913"/>
              <a:gd name="T19" fmla="*/ 2147483646 h 893"/>
              <a:gd name="T20" fmla="*/ 0 w 2913"/>
              <a:gd name="T21" fmla="*/ 2147483646 h 89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913" h="893">
                <a:moveTo>
                  <a:pt x="0" y="893"/>
                </a:moveTo>
                <a:lnTo>
                  <a:pt x="543" y="448"/>
                </a:lnTo>
                <a:lnTo>
                  <a:pt x="842" y="669"/>
                </a:lnTo>
                <a:lnTo>
                  <a:pt x="1131" y="448"/>
                </a:lnTo>
                <a:lnTo>
                  <a:pt x="1719" y="224"/>
                </a:lnTo>
                <a:lnTo>
                  <a:pt x="2018" y="448"/>
                </a:lnTo>
                <a:lnTo>
                  <a:pt x="2662" y="0"/>
                </a:lnTo>
                <a:lnTo>
                  <a:pt x="2913" y="224"/>
                </a:lnTo>
                <a:lnTo>
                  <a:pt x="2913" y="893"/>
                </a:lnTo>
                <a:lnTo>
                  <a:pt x="0" y="893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7" name="组合 6"/>
          <p:cNvGrpSpPr/>
          <p:nvPr/>
        </p:nvGrpSpPr>
        <p:grpSpPr bwMode="auto">
          <a:xfrm>
            <a:off x="2078038" y="835025"/>
            <a:ext cx="88900" cy="2379663"/>
            <a:chOff x="1146924" y="1203598"/>
            <a:chExt cx="108000" cy="2880000"/>
          </a:xfrm>
        </p:grpSpPr>
        <p:cxnSp>
          <p:nvCxnSpPr>
            <p:cNvPr id="8" name="直接连接符 7"/>
            <p:cNvCxnSpPr/>
            <p:nvPr/>
          </p:nvCxnSpPr>
          <p:spPr>
            <a:xfrm>
              <a:off x="1254924" y="1203598"/>
              <a:ext cx="0" cy="2880000"/>
            </a:xfrm>
            <a:prstGeom prst="line">
              <a:avLst/>
            </a:prstGeom>
            <a:solidFill>
              <a:srgbClr val="9C9C9C"/>
            </a:solidFill>
            <a:ln w="222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9" name="直接连接符 8"/>
            <p:cNvCxnSpPr/>
            <p:nvPr/>
          </p:nvCxnSpPr>
          <p:spPr>
            <a:xfrm>
              <a:off x="1146924" y="4035565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0" name="直接连接符 9"/>
            <p:cNvCxnSpPr/>
            <p:nvPr/>
          </p:nvCxnSpPr>
          <p:spPr>
            <a:xfrm>
              <a:off x="1146924" y="3701263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1" name="直接连接符 10"/>
            <p:cNvCxnSpPr/>
            <p:nvPr/>
          </p:nvCxnSpPr>
          <p:spPr>
            <a:xfrm>
              <a:off x="1146924" y="3365039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2" name="直接连接符 11"/>
            <p:cNvCxnSpPr/>
            <p:nvPr/>
          </p:nvCxnSpPr>
          <p:spPr>
            <a:xfrm>
              <a:off x="1146924" y="3028814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3" name="直接连接符 12"/>
            <p:cNvCxnSpPr/>
            <p:nvPr/>
          </p:nvCxnSpPr>
          <p:spPr>
            <a:xfrm>
              <a:off x="1146924" y="2694512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4" name="直接连接符 13"/>
            <p:cNvCxnSpPr/>
            <p:nvPr/>
          </p:nvCxnSpPr>
          <p:spPr>
            <a:xfrm>
              <a:off x="1146924" y="2358288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5" name="直接连接符 14"/>
            <p:cNvCxnSpPr/>
            <p:nvPr/>
          </p:nvCxnSpPr>
          <p:spPr>
            <a:xfrm>
              <a:off x="1146924" y="2022063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6" name="直接连接符 15"/>
            <p:cNvCxnSpPr/>
            <p:nvPr/>
          </p:nvCxnSpPr>
          <p:spPr>
            <a:xfrm>
              <a:off x="1146924" y="1687761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7" name="直接连接符 16"/>
            <p:cNvCxnSpPr/>
            <p:nvPr/>
          </p:nvCxnSpPr>
          <p:spPr>
            <a:xfrm>
              <a:off x="1146924" y="1351537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</p:grpSp>
      <p:sp>
        <p:nvSpPr>
          <p:cNvPr id="18" name="TextBox 17"/>
          <p:cNvSpPr txBox="1"/>
          <p:nvPr/>
        </p:nvSpPr>
        <p:spPr bwMode="auto">
          <a:xfrm>
            <a:off x="1676400" y="3055938"/>
            <a:ext cx="373063" cy="311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 bwMode="auto">
          <a:xfrm>
            <a:off x="1582738" y="2508250"/>
            <a:ext cx="466725" cy="311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1582738" y="2233613"/>
            <a:ext cx="466725" cy="3127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1582738" y="1960563"/>
            <a:ext cx="466725" cy="3127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1582738" y="1687513"/>
            <a:ext cx="466725" cy="311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1582738" y="1412875"/>
            <a:ext cx="466725" cy="31273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6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 bwMode="auto">
          <a:xfrm>
            <a:off x="1582738" y="2781300"/>
            <a:ext cx="466725" cy="31273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1582738" y="1139825"/>
            <a:ext cx="466725" cy="203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7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1582738" y="865188"/>
            <a:ext cx="466725" cy="2047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8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40211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37417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 bwMode="auto">
          <a:xfrm>
            <a:off x="34623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 bwMode="auto">
          <a:xfrm>
            <a:off x="31829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 bwMode="auto">
          <a:xfrm>
            <a:off x="29035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 bwMode="auto">
          <a:xfrm>
            <a:off x="43005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 bwMode="auto">
          <a:xfrm>
            <a:off x="26241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23447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 bwMode="auto">
          <a:xfrm>
            <a:off x="5976938" y="3222625"/>
            <a:ext cx="246062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5697538" y="3222625"/>
            <a:ext cx="246062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 bwMode="auto">
          <a:xfrm>
            <a:off x="5418138" y="3222625"/>
            <a:ext cx="246062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 bwMode="auto">
          <a:xfrm>
            <a:off x="51387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 bwMode="auto">
          <a:xfrm>
            <a:off x="48593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 bwMode="auto">
          <a:xfrm>
            <a:off x="45799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91" name="组合 90"/>
          <p:cNvGrpSpPr/>
          <p:nvPr/>
        </p:nvGrpSpPr>
        <p:grpSpPr bwMode="auto">
          <a:xfrm>
            <a:off x="2165350" y="3090863"/>
            <a:ext cx="4533900" cy="88900"/>
            <a:chOff x="2164733" y="3090469"/>
            <a:chExt cx="4534809" cy="89258"/>
          </a:xfrm>
        </p:grpSpPr>
        <p:cxnSp>
          <p:nvCxnSpPr>
            <p:cNvPr id="6" name="直接连接符 5"/>
            <p:cNvCxnSpPr/>
            <p:nvPr/>
          </p:nvCxnSpPr>
          <p:spPr>
            <a:xfrm>
              <a:off x="2164733" y="3176539"/>
              <a:ext cx="4534809" cy="0"/>
            </a:xfrm>
            <a:prstGeom prst="line">
              <a:avLst/>
            </a:prstGeom>
            <a:solidFill>
              <a:srgbClr val="9C9C9C"/>
            </a:solidFill>
            <a:ln w="222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grpSp>
          <p:nvGrpSpPr>
            <p:cNvPr id="29770" name="组合 40"/>
            <p:cNvGrpSpPr/>
            <p:nvPr/>
          </p:nvGrpSpPr>
          <p:grpSpPr bwMode="auto">
            <a:xfrm>
              <a:off x="2465377" y="3090469"/>
              <a:ext cx="3874767" cy="89258"/>
              <a:chOff x="1838738" y="3789609"/>
              <a:chExt cx="4688469" cy="108002"/>
            </a:xfrm>
          </p:grpSpPr>
          <p:cxnSp>
            <p:nvCxnSpPr>
              <p:cNvPr id="42" name="直接连接符 41"/>
              <p:cNvCxnSpPr/>
              <p:nvPr/>
            </p:nvCxnSpPr>
            <p:spPr>
              <a:xfrm rot="5400000" flipV="1">
                <a:off x="4485369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3" name="直接连接符 42"/>
              <p:cNvCxnSpPr/>
              <p:nvPr/>
            </p:nvCxnSpPr>
            <p:spPr>
              <a:xfrm rot="5400000" flipV="1">
                <a:off x="4149147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4" name="直接连接符 43"/>
              <p:cNvCxnSpPr/>
              <p:nvPr/>
            </p:nvCxnSpPr>
            <p:spPr>
              <a:xfrm rot="5400000" flipV="1">
                <a:off x="3811006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5" name="直接连接符 44"/>
              <p:cNvCxnSpPr/>
              <p:nvPr/>
            </p:nvCxnSpPr>
            <p:spPr>
              <a:xfrm rot="5400000" flipV="1">
                <a:off x="3472864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6" name="直接连接符 45"/>
              <p:cNvCxnSpPr/>
              <p:nvPr/>
            </p:nvCxnSpPr>
            <p:spPr>
              <a:xfrm rot="5400000" flipV="1">
                <a:off x="3134722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7" name="直接连接符 46"/>
              <p:cNvCxnSpPr/>
              <p:nvPr/>
            </p:nvCxnSpPr>
            <p:spPr>
              <a:xfrm rot="5400000" flipV="1">
                <a:off x="2796580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8" name="直接连接符 47"/>
              <p:cNvCxnSpPr/>
              <p:nvPr/>
            </p:nvCxnSpPr>
            <p:spPr>
              <a:xfrm rot="5400000" flipV="1">
                <a:off x="2460360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9" name="直接连接符 48"/>
              <p:cNvCxnSpPr/>
              <p:nvPr/>
            </p:nvCxnSpPr>
            <p:spPr>
              <a:xfrm rot="5400000" flipV="1">
                <a:off x="2122218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0" name="直接连接符 49"/>
              <p:cNvCxnSpPr/>
              <p:nvPr/>
            </p:nvCxnSpPr>
            <p:spPr>
              <a:xfrm rot="5400000" flipV="1">
                <a:off x="1784076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1" name="直接连接符 50"/>
              <p:cNvCxnSpPr/>
              <p:nvPr/>
            </p:nvCxnSpPr>
            <p:spPr>
              <a:xfrm rot="5400000" flipV="1">
                <a:off x="6174156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2" name="直接连接符 51"/>
              <p:cNvCxnSpPr/>
              <p:nvPr/>
            </p:nvCxnSpPr>
            <p:spPr>
              <a:xfrm rot="5400000" flipV="1">
                <a:off x="5836014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3" name="直接连接符 52"/>
              <p:cNvCxnSpPr/>
              <p:nvPr/>
            </p:nvCxnSpPr>
            <p:spPr>
              <a:xfrm rot="5400000" flipV="1">
                <a:off x="5499794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4" name="直接连接符 53"/>
              <p:cNvCxnSpPr/>
              <p:nvPr/>
            </p:nvCxnSpPr>
            <p:spPr>
              <a:xfrm rot="5400000" flipV="1">
                <a:off x="5161652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5" name="直接连接符 54"/>
              <p:cNvCxnSpPr/>
              <p:nvPr/>
            </p:nvCxnSpPr>
            <p:spPr>
              <a:xfrm rot="5400000" flipV="1">
                <a:off x="4823511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6" name="直接连接符 55"/>
              <p:cNvCxnSpPr/>
              <p:nvPr/>
            </p:nvCxnSpPr>
            <p:spPr>
              <a:xfrm rot="5400000" flipV="1">
                <a:off x="6473873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</p:grpSp>
      </p:grpSp>
      <p:sp>
        <p:nvSpPr>
          <p:cNvPr id="57" name="TextBox 56"/>
          <p:cNvSpPr txBox="1"/>
          <p:nvPr/>
        </p:nvSpPr>
        <p:spPr bwMode="auto">
          <a:xfrm>
            <a:off x="6223000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 bwMode="auto">
          <a:xfrm>
            <a:off x="2517775" y="1846263"/>
            <a:ext cx="788988" cy="2286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rgbClr val="8BC92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添加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9" name="TextBox 58"/>
          <p:cNvSpPr txBox="1"/>
          <p:nvPr/>
        </p:nvSpPr>
        <p:spPr bwMode="auto">
          <a:xfrm>
            <a:off x="4251325" y="1160463"/>
            <a:ext cx="787400" cy="23018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rgbClr val="EBAC0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添加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0" name="TextBox 59"/>
          <p:cNvSpPr txBox="1"/>
          <p:nvPr/>
        </p:nvSpPr>
        <p:spPr bwMode="auto">
          <a:xfrm>
            <a:off x="5634038" y="863600"/>
            <a:ext cx="787400" cy="2286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rgbClr val="2848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添加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1" name="矩形 60"/>
          <p:cNvSpPr>
            <a:spLocks noChangeArrowheads="1"/>
          </p:cNvSpPr>
          <p:nvPr/>
        </p:nvSpPr>
        <p:spPr bwMode="auto">
          <a:xfrm>
            <a:off x="6926263" y="2987675"/>
            <a:ext cx="117475" cy="117475"/>
          </a:xfrm>
          <a:prstGeom prst="rect">
            <a:avLst/>
          </a:prstGeom>
          <a:solidFill>
            <a:srgbClr val="7EC23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62" name="矩形 61"/>
          <p:cNvSpPr>
            <a:spLocks noChangeArrowheads="1"/>
          </p:cNvSpPr>
          <p:nvPr/>
        </p:nvSpPr>
        <p:spPr bwMode="auto">
          <a:xfrm>
            <a:off x="6926263" y="2743200"/>
            <a:ext cx="117475" cy="117475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63" name="矩形 62"/>
          <p:cNvSpPr>
            <a:spLocks noChangeArrowheads="1"/>
          </p:cNvSpPr>
          <p:nvPr/>
        </p:nvSpPr>
        <p:spPr bwMode="auto">
          <a:xfrm>
            <a:off x="6926263" y="2497138"/>
            <a:ext cx="117475" cy="117475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64" name="TextBox 692"/>
          <p:cNvSpPr txBox="1"/>
          <p:nvPr/>
        </p:nvSpPr>
        <p:spPr bwMode="auto">
          <a:xfrm>
            <a:off x="7043738" y="2441575"/>
            <a:ext cx="746125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1100" spc="3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5" name="TextBox 692"/>
          <p:cNvSpPr txBox="1"/>
          <p:nvPr/>
        </p:nvSpPr>
        <p:spPr bwMode="auto">
          <a:xfrm>
            <a:off x="7043738" y="2692400"/>
            <a:ext cx="746125" cy="21748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1100" spc="3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6" name="TextBox 692"/>
          <p:cNvSpPr txBox="1"/>
          <p:nvPr/>
        </p:nvSpPr>
        <p:spPr bwMode="auto">
          <a:xfrm>
            <a:off x="7043738" y="2944813"/>
            <a:ext cx="746125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1100" spc="3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29736" name="组合 66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68" name="任意多边形 67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976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737" name="组合 69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71" name="任意多边形 70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9766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738" name="组合 72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74" name="任意多边形 73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75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39" name="组合 75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77" name="任意多边形 76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78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40" name="组合 78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80" name="任意多边形 79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81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41" name="组合 81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83" name="任意多边形 82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4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42" name="组合 84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86" name="任意多边形 85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87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43" name="组合 87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9753" name="矩形 88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任意多边形 89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101" name="矩形 1"/>
          <p:cNvSpPr>
            <a:spLocks noChangeArrowheads="1"/>
          </p:cNvSpPr>
          <p:nvPr/>
        </p:nvSpPr>
        <p:spPr bwMode="auto">
          <a:xfrm>
            <a:off x="787400" y="4083050"/>
            <a:ext cx="77041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2" name="直接连接符 101"/>
          <p:cNvCxnSpPr/>
          <p:nvPr/>
        </p:nvCxnSpPr>
        <p:spPr>
          <a:xfrm>
            <a:off x="893763" y="4092575"/>
            <a:ext cx="752951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组合 102"/>
          <p:cNvGrpSpPr/>
          <p:nvPr/>
        </p:nvGrpSpPr>
        <p:grpSpPr bwMode="auto">
          <a:xfrm>
            <a:off x="900113" y="3768725"/>
            <a:ext cx="2076450" cy="322263"/>
            <a:chOff x="957895" y="1031498"/>
            <a:chExt cx="2076537" cy="322262"/>
          </a:xfrm>
        </p:grpSpPr>
        <p:sp>
          <p:nvSpPr>
            <p:cNvPr id="104" name="TextBox 265"/>
            <p:cNvSpPr txBox="1"/>
            <p:nvPr/>
          </p:nvSpPr>
          <p:spPr bwMode="auto">
            <a:xfrm>
              <a:off x="1156340" y="1031498"/>
              <a:ext cx="1101771" cy="32226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C00000"/>
                  </a:solidFill>
                </a:rPr>
                <a:t>添加标题</a:t>
              </a:r>
              <a:endParaRPr lang="zh-CN" altLang="en-US" dirty="0">
                <a:solidFill>
                  <a:srgbClr val="C00000"/>
                </a:solidFill>
              </a:endParaRPr>
            </a:p>
          </p:txBody>
        </p:sp>
        <p:sp>
          <p:nvSpPr>
            <p:cNvPr id="29748" name="矩形 86"/>
            <p:cNvSpPr>
              <a:spLocks noChangeArrowheads="1"/>
            </p:cNvSpPr>
            <p:nvPr/>
          </p:nvSpPr>
          <p:spPr bwMode="auto">
            <a:xfrm>
              <a:off x="2247313" y="1068971"/>
              <a:ext cx="787119" cy="263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/>
                <a:t>Add a title</a:t>
              </a:r>
              <a:endParaRPr lang="zh-CN" altLang="en-US" sz="1200"/>
            </a:p>
          </p:txBody>
        </p:sp>
        <p:grpSp>
          <p:nvGrpSpPr>
            <p:cNvPr id="29749" name="组合 105"/>
            <p:cNvGrpSpPr/>
            <p:nvPr/>
          </p:nvGrpSpPr>
          <p:grpSpPr bwMode="auto">
            <a:xfrm>
              <a:off x="957895" y="1125313"/>
              <a:ext cx="240245" cy="183189"/>
              <a:chOff x="957895" y="1125313"/>
              <a:chExt cx="240245" cy="183189"/>
            </a:xfrm>
          </p:grpSpPr>
          <p:sp>
            <p:nvSpPr>
              <p:cNvPr id="108" name="流程图: 决策 166"/>
              <p:cNvSpPr/>
              <p:nvPr/>
            </p:nvSpPr>
            <p:spPr>
              <a:xfrm>
                <a:off x="957895" y="1125161"/>
                <a:ext cx="136531" cy="182561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09" name="流程图: 决策 166"/>
              <p:cNvSpPr/>
              <p:nvPr/>
            </p:nvSpPr>
            <p:spPr>
              <a:xfrm>
                <a:off x="1107126" y="1126748"/>
                <a:ext cx="90491" cy="179387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cxnSp>
          <p:nvCxnSpPr>
            <p:cNvPr id="107" name="直接连接符 106"/>
            <p:cNvCxnSpPr/>
            <p:nvPr/>
          </p:nvCxnSpPr>
          <p:spPr>
            <a:xfrm>
              <a:off x="2262875" y="1137861"/>
              <a:ext cx="0" cy="14446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1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57" grpId="0"/>
      <p:bldP spid="58" grpId="0"/>
      <p:bldP spid="59" grpId="0"/>
      <p:bldP spid="60" grpId="0"/>
      <p:bldP spid="61" grpId="0" animBg="1"/>
      <p:bldP spid="62" grpId="0" animBg="1"/>
      <p:bldP spid="63" grpId="0" animBg="1"/>
      <p:bldP spid="64" grpId="0"/>
      <p:bldP spid="65" grpId="0"/>
      <p:bldP spid="66" grpId="0"/>
      <p:bldP spid="10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22" name="组合 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70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723" name="组合 4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68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724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5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6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7" name="组合 16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9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8" name="组合 1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9" name="组合 22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30755" name="矩形 23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任意多边形 24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pic>
        <p:nvPicPr>
          <p:cNvPr id="2050" name="Picture 2" descr="E:\迅雷下载\shutterstock_94439275.jpg"/>
          <p:cNvPicPr>
            <a:picLocks noChangeAspect="1" noChangeArrowheads="1"/>
          </p:cNvPicPr>
          <p:nvPr/>
        </p:nvPicPr>
        <p:blipFill rotWithShape="1">
          <a:blip r:embed="rId1"/>
          <a:srcRect l="6035" r="32732"/>
          <a:stretch>
            <a:fillRect/>
          </a:stretch>
        </p:blipFill>
        <p:spPr bwMode="auto">
          <a:xfrm>
            <a:off x="1330325" y="2208213"/>
            <a:ext cx="2098675" cy="22844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5" name="组合 74"/>
          <p:cNvGrpSpPr/>
          <p:nvPr/>
        </p:nvGrpSpPr>
        <p:grpSpPr bwMode="auto">
          <a:xfrm>
            <a:off x="1330325" y="1695450"/>
            <a:ext cx="2098675" cy="509588"/>
            <a:chOff x="1330600" y="1545219"/>
            <a:chExt cx="2098549" cy="510375"/>
          </a:xfrm>
        </p:grpSpPr>
        <p:sp>
          <p:nvSpPr>
            <p:cNvPr id="69" name="矩形 68"/>
            <p:cNvSpPr/>
            <p:nvPr/>
          </p:nvSpPr>
          <p:spPr>
            <a:xfrm>
              <a:off x="1330600" y="1545219"/>
              <a:ext cx="2098549" cy="510375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53" name="TextBox 10"/>
            <p:cNvSpPr txBox="1">
              <a:spLocks noChangeArrowheads="1"/>
            </p:cNvSpPr>
            <p:nvPr/>
          </p:nvSpPr>
          <p:spPr bwMode="auto">
            <a:xfrm>
              <a:off x="2223003" y="159055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754" name="Freeform 31"/>
            <p:cNvSpPr>
              <a:spLocks noEditPoints="1"/>
            </p:cNvSpPr>
            <p:nvPr/>
          </p:nvSpPr>
          <p:spPr bwMode="auto">
            <a:xfrm>
              <a:off x="1502868" y="1651904"/>
              <a:ext cx="389316" cy="312513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pic>
        <p:nvPicPr>
          <p:cNvPr id="2052" name="Picture 4" descr="E:\迅雷下载\shutterstock_58785163.jpg"/>
          <p:cNvPicPr>
            <a:picLocks noChangeAspect="1" noChangeArrowheads="1"/>
          </p:cNvPicPr>
          <p:nvPr/>
        </p:nvPicPr>
        <p:blipFill rotWithShape="1">
          <a:blip r:embed="rId2"/>
          <a:srcRect l="-110" t="5756" r="110" b="11245"/>
          <a:stretch>
            <a:fillRect/>
          </a:stretch>
        </p:blipFill>
        <p:spPr bwMode="auto">
          <a:xfrm>
            <a:off x="5665788" y="2208213"/>
            <a:ext cx="2098675" cy="23082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1" name="组合 70"/>
          <p:cNvGrpSpPr/>
          <p:nvPr/>
        </p:nvGrpSpPr>
        <p:grpSpPr bwMode="auto">
          <a:xfrm>
            <a:off x="5665788" y="1695450"/>
            <a:ext cx="2098675" cy="509588"/>
            <a:chOff x="5666502" y="1545219"/>
            <a:chExt cx="2098549" cy="510375"/>
          </a:xfrm>
        </p:grpSpPr>
        <p:sp>
          <p:nvSpPr>
            <p:cNvPr id="74" name="矩形 73"/>
            <p:cNvSpPr/>
            <p:nvPr/>
          </p:nvSpPr>
          <p:spPr>
            <a:xfrm>
              <a:off x="5666502" y="1545219"/>
              <a:ext cx="2098549" cy="510375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50" name="TextBox 10"/>
            <p:cNvSpPr txBox="1">
              <a:spLocks noChangeArrowheads="1"/>
            </p:cNvSpPr>
            <p:nvPr/>
          </p:nvSpPr>
          <p:spPr bwMode="auto">
            <a:xfrm>
              <a:off x="6566928" y="159055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0" name="组合 79"/>
            <p:cNvGrpSpPr/>
            <p:nvPr/>
          </p:nvGrpSpPr>
          <p:grpSpPr>
            <a:xfrm>
              <a:off x="5832943" y="1641640"/>
              <a:ext cx="431336" cy="346904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81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600">
                  <a:latin typeface="+mn-lt"/>
                  <a:ea typeface="+mn-ea"/>
                </a:endParaRPr>
              </a:p>
            </p:txBody>
          </p:sp>
          <p:sp>
            <p:nvSpPr>
              <p:cNvPr id="82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600">
                  <a:latin typeface="+mn-lt"/>
                  <a:ea typeface="+mn-ea"/>
                </a:endParaRPr>
              </a:p>
            </p:txBody>
          </p:sp>
        </p:grpSp>
      </p:grpSp>
      <p:pic>
        <p:nvPicPr>
          <p:cNvPr id="2051" name="Picture 3" descr="E:\迅雷下载\shutterstock_91309781.jpg"/>
          <p:cNvPicPr>
            <a:picLocks noChangeAspect="1" noChangeArrowheads="1"/>
          </p:cNvPicPr>
          <p:nvPr/>
        </p:nvPicPr>
        <p:blipFill rotWithShape="1">
          <a:blip r:embed="rId3"/>
          <a:srcRect l="11187" r="11187" b="2854"/>
          <a:stretch>
            <a:fillRect/>
          </a:stretch>
        </p:blipFill>
        <p:spPr bwMode="auto">
          <a:xfrm>
            <a:off x="3498850" y="2208213"/>
            <a:ext cx="2098675" cy="23082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2" name="组合 71"/>
          <p:cNvGrpSpPr/>
          <p:nvPr/>
        </p:nvGrpSpPr>
        <p:grpSpPr bwMode="auto">
          <a:xfrm>
            <a:off x="3498850" y="1695450"/>
            <a:ext cx="2098675" cy="509588"/>
            <a:chOff x="3502621" y="1545219"/>
            <a:chExt cx="2098549" cy="510375"/>
          </a:xfrm>
        </p:grpSpPr>
        <p:sp>
          <p:nvSpPr>
            <p:cNvPr id="73" name="矩形 72"/>
            <p:cNvSpPr/>
            <p:nvPr/>
          </p:nvSpPr>
          <p:spPr>
            <a:xfrm>
              <a:off x="3502621" y="1545219"/>
              <a:ext cx="2098549" cy="510375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47" name="TextBox 10"/>
            <p:cNvSpPr txBox="1">
              <a:spLocks noChangeArrowheads="1"/>
            </p:cNvSpPr>
            <p:nvPr/>
          </p:nvSpPr>
          <p:spPr bwMode="auto">
            <a:xfrm>
              <a:off x="4427984" y="159055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3" name="组合 82"/>
            <p:cNvGrpSpPr/>
            <p:nvPr/>
          </p:nvGrpSpPr>
          <p:grpSpPr>
            <a:xfrm>
              <a:off x="3698195" y="1659251"/>
              <a:ext cx="415415" cy="282308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84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5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6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7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8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9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90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91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92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99" name="组合 98"/>
          <p:cNvGrpSpPr/>
          <p:nvPr/>
        </p:nvGrpSpPr>
        <p:grpSpPr bwMode="auto">
          <a:xfrm>
            <a:off x="787400" y="646113"/>
            <a:ext cx="7704138" cy="960437"/>
            <a:chOff x="787674" y="3781288"/>
            <a:chExt cx="7703403" cy="959210"/>
          </a:xfrm>
        </p:grpSpPr>
        <p:sp>
          <p:nvSpPr>
            <p:cNvPr id="100" name="矩形 1"/>
            <p:cNvSpPr>
              <a:spLocks noChangeArrowheads="1"/>
            </p:cNvSpPr>
            <p:nvPr/>
          </p:nvSpPr>
          <p:spPr bwMode="auto">
            <a:xfrm>
              <a:off x="787674" y="4093625"/>
              <a:ext cx="7703403" cy="646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01" name="直接连接符 100"/>
            <p:cNvCxnSpPr/>
            <p:nvPr/>
          </p:nvCxnSpPr>
          <p:spPr>
            <a:xfrm>
              <a:off x="894027" y="4104724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739" name="组合 101"/>
            <p:cNvGrpSpPr/>
            <p:nvPr/>
          </p:nvGrpSpPr>
          <p:grpSpPr bwMode="auto">
            <a:xfrm>
              <a:off x="899832" y="3781288"/>
              <a:ext cx="2076537" cy="322262"/>
              <a:chOff x="957895" y="1031498"/>
              <a:chExt cx="2076537" cy="322262"/>
            </a:xfrm>
          </p:grpSpPr>
          <p:sp>
            <p:nvSpPr>
              <p:cNvPr id="103" name="TextBox 265"/>
              <p:cNvSpPr txBox="1"/>
              <p:nvPr/>
            </p:nvSpPr>
            <p:spPr bwMode="auto">
              <a:xfrm>
                <a:off x="1156857" y="1031498"/>
                <a:ext cx="1101620" cy="3218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0741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0742" name="组合 104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107" name="流程图: 决策 166"/>
                <p:cNvSpPr/>
                <p:nvPr/>
              </p:nvSpPr>
              <p:spPr>
                <a:xfrm>
                  <a:off x="958439" y="1125040"/>
                  <a:ext cx="136512" cy="1712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108" name="流程图: 决策 166"/>
                <p:cNvSpPr/>
                <p:nvPr/>
              </p:nvSpPr>
              <p:spPr>
                <a:xfrm>
                  <a:off x="1107650" y="1126626"/>
                  <a:ext cx="90478" cy="168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106" name="直接连接符 105"/>
              <p:cNvCxnSpPr/>
              <p:nvPr/>
            </p:nvCxnSpPr>
            <p:spPr>
              <a:xfrm>
                <a:off x="2263240" y="1137724"/>
                <a:ext cx="0" cy="144279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4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4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4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46" name="组合 55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57" name="任意多边形 56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1841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747" name="组合 58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0" name="任意多边形 59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1839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748" name="组合 61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63" name="任意多边形 62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4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49" name="组合 6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66" name="任意多边形 6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7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50" name="组合 67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9" name="任意多边形 68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70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51" name="组合 70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72" name="任意多边形 71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3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52" name="组合 73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75" name="任意多边形 74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76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53" name="组合 76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31826" name="矩形 77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39" name="任意多边形 38"/>
          <p:cNvSpPr/>
          <p:nvPr/>
        </p:nvSpPr>
        <p:spPr>
          <a:xfrm>
            <a:off x="939800" y="1497013"/>
            <a:ext cx="671513" cy="463550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0" name="任意多边形 39"/>
          <p:cNvSpPr/>
          <p:nvPr/>
        </p:nvSpPr>
        <p:spPr>
          <a:xfrm>
            <a:off x="2757488" y="1497013"/>
            <a:ext cx="671512" cy="463550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1" name="任意多边形 40"/>
          <p:cNvSpPr/>
          <p:nvPr/>
        </p:nvSpPr>
        <p:spPr>
          <a:xfrm>
            <a:off x="4398963" y="1497013"/>
            <a:ext cx="669925" cy="463550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2" name="任意多边形 41"/>
          <p:cNvSpPr/>
          <p:nvPr/>
        </p:nvSpPr>
        <p:spPr>
          <a:xfrm>
            <a:off x="6091238" y="1497013"/>
            <a:ext cx="671512" cy="463550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3" name="任意多边形 42"/>
          <p:cNvSpPr/>
          <p:nvPr/>
        </p:nvSpPr>
        <p:spPr>
          <a:xfrm flipV="1">
            <a:off x="1947863" y="2063750"/>
            <a:ext cx="669925" cy="465138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4" name="任意多边形 43"/>
          <p:cNvSpPr/>
          <p:nvPr/>
        </p:nvSpPr>
        <p:spPr>
          <a:xfrm flipV="1">
            <a:off x="3546475" y="2063750"/>
            <a:ext cx="671513" cy="465138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5" name="任意多边形 44"/>
          <p:cNvSpPr/>
          <p:nvPr/>
        </p:nvSpPr>
        <p:spPr>
          <a:xfrm flipV="1">
            <a:off x="5146675" y="2063750"/>
            <a:ext cx="669925" cy="465138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6" name="任意多边形 45"/>
          <p:cNvSpPr/>
          <p:nvPr/>
        </p:nvSpPr>
        <p:spPr>
          <a:xfrm flipV="1">
            <a:off x="6870700" y="2063750"/>
            <a:ext cx="671513" cy="465138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26" name="组合 25"/>
          <p:cNvGrpSpPr/>
          <p:nvPr/>
        </p:nvGrpSpPr>
        <p:grpSpPr bwMode="auto">
          <a:xfrm>
            <a:off x="1579563" y="1347788"/>
            <a:ext cx="866775" cy="276225"/>
            <a:chOff x="1579144" y="1347614"/>
            <a:chExt cx="867370" cy="276999"/>
          </a:xfrm>
        </p:grpSpPr>
        <p:sp>
          <p:nvSpPr>
            <p:cNvPr id="31824" name="Rectangle 19"/>
            <p:cNvSpPr>
              <a:spLocks noChangeArrowheads="1"/>
            </p:cNvSpPr>
            <p:nvPr/>
          </p:nvSpPr>
          <p:spPr bwMode="auto">
            <a:xfrm>
              <a:off x="1626828" y="1380402"/>
              <a:ext cx="790255" cy="2238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47" name="TextBox 692"/>
            <p:cNvSpPr txBox="1"/>
            <p:nvPr/>
          </p:nvSpPr>
          <p:spPr bwMode="auto">
            <a:xfrm>
              <a:off x="1579144" y="1347614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1" name="组合 80"/>
          <p:cNvGrpSpPr/>
          <p:nvPr/>
        </p:nvGrpSpPr>
        <p:grpSpPr bwMode="auto">
          <a:xfrm>
            <a:off x="3376613" y="1354138"/>
            <a:ext cx="866775" cy="276225"/>
            <a:chOff x="3375936" y="1353582"/>
            <a:chExt cx="867370" cy="276999"/>
          </a:xfrm>
        </p:grpSpPr>
        <p:sp>
          <p:nvSpPr>
            <p:cNvPr id="31822" name="Rectangle 56"/>
            <p:cNvSpPr>
              <a:spLocks noChangeArrowheads="1"/>
            </p:cNvSpPr>
            <p:nvPr/>
          </p:nvSpPr>
          <p:spPr bwMode="auto">
            <a:xfrm>
              <a:off x="3440245" y="1380402"/>
              <a:ext cx="787349" cy="22383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48" name="TextBox 692"/>
            <p:cNvSpPr txBox="1"/>
            <p:nvPr/>
          </p:nvSpPr>
          <p:spPr bwMode="auto">
            <a:xfrm>
              <a:off x="3375936" y="1353582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4" name="组合 83"/>
          <p:cNvGrpSpPr/>
          <p:nvPr/>
        </p:nvGrpSpPr>
        <p:grpSpPr bwMode="auto">
          <a:xfrm>
            <a:off x="5013325" y="1354138"/>
            <a:ext cx="866775" cy="277812"/>
            <a:chOff x="5012993" y="1354361"/>
            <a:chExt cx="867370" cy="276999"/>
          </a:xfrm>
        </p:grpSpPr>
        <p:sp>
          <p:nvSpPr>
            <p:cNvPr id="31820" name="Rectangle 67"/>
            <p:cNvSpPr>
              <a:spLocks noChangeArrowheads="1"/>
            </p:cNvSpPr>
            <p:nvPr/>
          </p:nvSpPr>
          <p:spPr bwMode="auto">
            <a:xfrm>
              <a:off x="5070852" y="1380402"/>
              <a:ext cx="790255" cy="2238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49" name="TextBox 692"/>
            <p:cNvSpPr txBox="1"/>
            <p:nvPr/>
          </p:nvSpPr>
          <p:spPr bwMode="auto">
            <a:xfrm>
              <a:off x="5012993" y="1354361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5" name="组合 94"/>
          <p:cNvGrpSpPr/>
          <p:nvPr/>
        </p:nvGrpSpPr>
        <p:grpSpPr bwMode="auto">
          <a:xfrm>
            <a:off x="6713538" y="1349375"/>
            <a:ext cx="868362" cy="277813"/>
            <a:chOff x="6713869" y="1350154"/>
            <a:chExt cx="867370" cy="276999"/>
          </a:xfrm>
        </p:grpSpPr>
        <p:sp>
          <p:nvSpPr>
            <p:cNvPr id="31818" name="Rectangle 78"/>
            <p:cNvSpPr>
              <a:spLocks noChangeArrowheads="1"/>
            </p:cNvSpPr>
            <p:nvPr/>
          </p:nvSpPr>
          <p:spPr bwMode="auto">
            <a:xfrm>
              <a:off x="6754833" y="1380402"/>
              <a:ext cx="804783" cy="22383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0" name="TextBox 692"/>
            <p:cNvSpPr txBox="1"/>
            <p:nvPr/>
          </p:nvSpPr>
          <p:spPr bwMode="auto">
            <a:xfrm>
              <a:off x="6713869" y="1350154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55" name="组合 54"/>
          <p:cNvGrpSpPr/>
          <p:nvPr/>
        </p:nvGrpSpPr>
        <p:grpSpPr bwMode="auto">
          <a:xfrm>
            <a:off x="2560638" y="2398713"/>
            <a:ext cx="868362" cy="277812"/>
            <a:chOff x="2560865" y="2399189"/>
            <a:chExt cx="867370" cy="276999"/>
          </a:xfrm>
        </p:grpSpPr>
        <p:sp>
          <p:nvSpPr>
            <p:cNvPr id="31816" name="Rectangle 45"/>
            <p:cNvSpPr>
              <a:spLocks noChangeArrowheads="1"/>
            </p:cNvSpPr>
            <p:nvPr/>
          </p:nvSpPr>
          <p:spPr bwMode="auto">
            <a:xfrm>
              <a:off x="2616934" y="2421244"/>
              <a:ext cx="790255" cy="23177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1" name="TextBox 692"/>
            <p:cNvSpPr txBox="1"/>
            <p:nvPr/>
          </p:nvSpPr>
          <p:spPr bwMode="auto">
            <a:xfrm>
              <a:off x="2560865" y="2399189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3" name="组合 82"/>
          <p:cNvGrpSpPr/>
          <p:nvPr/>
        </p:nvGrpSpPr>
        <p:grpSpPr bwMode="auto">
          <a:xfrm>
            <a:off x="4127500" y="2397125"/>
            <a:ext cx="868363" cy="276225"/>
            <a:chOff x="4128138" y="2396366"/>
            <a:chExt cx="867370" cy="276999"/>
          </a:xfrm>
        </p:grpSpPr>
        <p:sp>
          <p:nvSpPr>
            <p:cNvPr id="31814" name="Rectangle 89"/>
            <p:cNvSpPr>
              <a:spLocks noChangeArrowheads="1"/>
            </p:cNvSpPr>
            <p:nvPr/>
          </p:nvSpPr>
          <p:spPr bwMode="auto">
            <a:xfrm>
              <a:off x="4184827" y="2421244"/>
              <a:ext cx="787349" cy="23177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2" name="TextBox 692"/>
            <p:cNvSpPr txBox="1"/>
            <p:nvPr/>
          </p:nvSpPr>
          <p:spPr bwMode="auto">
            <a:xfrm>
              <a:off x="4128138" y="2396366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6" name="组合 95"/>
          <p:cNvGrpSpPr/>
          <p:nvPr/>
        </p:nvGrpSpPr>
        <p:grpSpPr bwMode="auto">
          <a:xfrm>
            <a:off x="5773738" y="2400300"/>
            <a:ext cx="868362" cy="276225"/>
            <a:chOff x="5774520" y="2399794"/>
            <a:chExt cx="867370" cy="276999"/>
          </a:xfrm>
        </p:grpSpPr>
        <p:sp>
          <p:nvSpPr>
            <p:cNvPr id="31812" name="Rectangle 100"/>
            <p:cNvSpPr>
              <a:spLocks noChangeArrowheads="1"/>
            </p:cNvSpPr>
            <p:nvPr/>
          </p:nvSpPr>
          <p:spPr bwMode="auto">
            <a:xfrm>
              <a:off x="5822105" y="2421244"/>
              <a:ext cx="804783" cy="23177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3" name="TextBox 692"/>
            <p:cNvSpPr txBox="1"/>
            <p:nvPr/>
          </p:nvSpPr>
          <p:spPr bwMode="auto">
            <a:xfrm>
              <a:off x="5774520" y="2399794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7" name="组合 96"/>
          <p:cNvGrpSpPr/>
          <p:nvPr/>
        </p:nvGrpSpPr>
        <p:grpSpPr bwMode="auto">
          <a:xfrm>
            <a:off x="7491413" y="2398713"/>
            <a:ext cx="868362" cy="277812"/>
            <a:chOff x="7491791" y="2399189"/>
            <a:chExt cx="867370" cy="276999"/>
          </a:xfrm>
        </p:grpSpPr>
        <p:sp>
          <p:nvSpPr>
            <p:cNvPr id="31810" name="Rectangle 111"/>
            <p:cNvSpPr>
              <a:spLocks noChangeArrowheads="1"/>
            </p:cNvSpPr>
            <p:nvPr/>
          </p:nvSpPr>
          <p:spPr bwMode="auto">
            <a:xfrm>
              <a:off x="7544783" y="2421244"/>
              <a:ext cx="790255" cy="23177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4" name="TextBox 692"/>
            <p:cNvSpPr txBox="1"/>
            <p:nvPr/>
          </p:nvSpPr>
          <p:spPr bwMode="auto">
            <a:xfrm>
              <a:off x="7491791" y="2399189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2" name="组合 81"/>
          <p:cNvGrpSpPr/>
          <p:nvPr/>
        </p:nvGrpSpPr>
        <p:grpSpPr bwMode="auto">
          <a:xfrm>
            <a:off x="784225" y="1951038"/>
            <a:ext cx="6761163" cy="100012"/>
            <a:chOff x="535402" y="2228172"/>
            <a:chExt cx="7435939" cy="100013"/>
          </a:xfrm>
        </p:grpSpPr>
        <p:sp>
          <p:nvSpPr>
            <p:cNvPr id="31781" name="Freeform 5"/>
            <p:cNvSpPr/>
            <p:nvPr/>
          </p:nvSpPr>
          <p:spPr bwMode="auto">
            <a:xfrm>
              <a:off x="535402" y="2228172"/>
              <a:ext cx="926190" cy="100013"/>
            </a:xfrm>
            <a:custGeom>
              <a:avLst/>
              <a:gdLst>
                <a:gd name="T0" fmla="*/ 2147483646 w 130"/>
                <a:gd name="T1" fmla="*/ 0 h 13"/>
                <a:gd name="T2" fmla="*/ 2147483646 w 130"/>
                <a:gd name="T3" fmla="*/ 2147483646 h 13"/>
                <a:gd name="T4" fmla="*/ 2147483646 w 130"/>
                <a:gd name="T5" fmla="*/ 2147483646 h 13"/>
                <a:gd name="T6" fmla="*/ 0 w 130"/>
                <a:gd name="T7" fmla="*/ 2147483646 h 13"/>
                <a:gd name="T8" fmla="*/ 2147483646 w 130"/>
                <a:gd name="T9" fmla="*/ 0 h 13"/>
                <a:gd name="T10" fmla="*/ 2147483646 w 130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0" h="13">
                  <a:moveTo>
                    <a:pt x="130" y="0"/>
                  </a:moveTo>
                  <a:cubicBezTo>
                    <a:pt x="130" y="13"/>
                    <a:pt x="130" y="13"/>
                    <a:pt x="130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" y="13"/>
                    <a:pt x="0" y="10"/>
                    <a:pt x="0" y="7"/>
                  </a:cubicBezTo>
                  <a:cubicBezTo>
                    <a:pt x="0" y="3"/>
                    <a:pt x="1" y="0"/>
                    <a:pt x="3" y="0"/>
                  </a:cubicBezTo>
                  <a:cubicBezTo>
                    <a:pt x="130" y="0"/>
                    <a:pt x="130" y="0"/>
                    <a:pt x="130" y="0"/>
                  </a:cubicBezTo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782" name="Rectangle 6"/>
            <p:cNvSpPr>
              <a:spLocks noChangeArrowheads="1"/>
            </p:cNvSpPr>
            <p:nvPr/>
          </p:nvSpPr>
          <p:spPr bwMode="auto">
            <a:xfrm>
              <a:off x="1461591" y="2228172"/>
              <a:ext cx="933529" cy="10001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3" name="Rectangle 7"/>
            <p:cNvSpPr>
              <a:spLocks noChangeArrowheads="1"/>
            </p:cNvSpPr>
            <p:nvPr/>
          </p:nvSpPr>
          <p:spPr bwMode="auto">
            <a:xfrm>
              <a:off x="1461591" y="2228172"/>
              <a:ext cx="933529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4" name="Rectangle 8"/>
            <p:cNvSpPr>
              <a:spLocks noChangeArrowheads="1"/>
            </p:cNvSpPr>
            <p:nvPr/>
          </p:nvSpPr>
          <p:spPr bwMode="auto">
            <a:xfrm>
              <a:off x="2395120" y="2228172"/>
              <a:ext cx="924722" cy="10001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5" name="Rectangle 9"/>
            <p:cNvSpPr>
              <a:spLocks noChangeArrowheads="1"/>
            </p:cNvSpPr>
            <p:nvPr/>
          </p:nvSpPr>
          <p:spPr bwMode="auto">
            <a:xfrm>
              <a:off x="2395120" y="2228172"/>
              <a:ext cx="924722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6" name="Rectangle 10"/>
            <p:cNvSpPr>
              <a:spLocks noChangeArrowheads="1"/>
            </p:cNvSpPr>
            <p:nvPr/>
          </p:nvSpPr>
          <p:spPr bwMode="auto">
            <a:xfrm>
              <a:off x="3319842" y="2228172"/>
              <a:ext cx="933529" cy="10001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7" name="Rectangle 11"/>
            <p:cNvSpPr>
              <a:spLocks noChangeArrowheads="1"/>
            </p:cNvSpPr>
            <p:nvPr/>
          </p:nvSpPr>
          <p:spPr bwMode="auto">
            <a:xfrm>
              <a:off x="3319842" y="2228172"/>
              <a:ext cx="933529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8" name="Freeform 12"/>
            <p:cNvSpPr/>
            <p:nvPr/>
          </p:nvSpPr>
          <p:spPr bwMode="auto">
            <a:xfrm>
              <a:off x="7045151" y="2228172"/>
              <a:ext cx="926190" cy="100013"/>
            </a:xfrm>
            <a:custGeom>
              <a:avLst/>
              <a:gdLst>
                <a:gd name="T0" fmla="*/ 0 w 130"/>
                <a:gd name="T1" fmla="*/ 0 h 13"/>
                <a:gd name="T2" fmla="*/ 0 w 130"/>
                <a:gd name="T3" fmla="*/ 2147483646 h 13"/>
                <a:gd name="T4" fmla="*/ 2147483646 w 130"/>
                <a:gd name="T5" fmla="*/ 2147483646 h 13"/>
                <a:gd name="T6" fmla="*/ 2147483646 w 130"/>
                <a:gd name="T7" fmla="*/ 2147483646 h 13"/>
                <a:gd name="T8" fmla="*/ 2147483646 w 130"/>
                <a:gd name="T9" fmla="*/ 0 h 13"/>
                <a:gd name="T10" fmla="*/ 0 w 130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0" h="13">
                  <a:moveTo>
                    <a:pt x="0" y="0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127" y="13"/>
                    <a:pt x="127" y="13"/>
                    <a:pt x="127" y="13"/>
                  </a:cubicBezTo>
                  <a:cubicBezTo>
                    <a:pt x="129" y="13"/>
                    <a:pt x="130" y="10"/>
                    <a:pt x="130" y="7"/>
                  </a:cubicBezTo>
                  <a:cubicBezTo>
                    <a:pt x="130" y="3"/>
                    <a:pt x="129" y="0"/>
                    <a:pt x="12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789" name="Rectangle 13"/>
            <p:cNvSpPr>
              <a:spLocks noChangeArrowheads="1"/>
            </p:cNvSpPr>
            <p:nvPr/>
          </p:nvSpPr>
          <p:spPr bwMode="auto">
            <a:xfrm>
              <a:off x="6113090" y="2228172"/>
              <a:ext cx="932062" cy="100013"/>
            </a:xfrm>
            <a:prstGeom prst="rect">
              <a:avLst/>
            </a:pr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0" name="Rectangle 14"/>
            <p:cNvSpPr>
              <a:spLocks noChangeArrowheads="1"/>
            </p:cNvSpPr>
            <p:nvPr/>
          </p:nvSpPr>
          <p:spPr bwMode="auto">
            <a:xfrm>
              <a:off x="6113090" y="2228172"/>
              <a:ext cx="932062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1" name="Rectangle 15"/>
            <p:cNvSpPr>
              <a:spLocks noChangeArrowheads="1"/>
            </p:cNvSpPr>
            <p:nvPr/>
          </p:nvSpPr>
          <p:spPr bwMode="auto">
            <a:xfrm>
              <a:off x="5186900" y="2228172"/>
              <a:ext cx="926190" cy="100013"/>
            </a:xfrm>
            <a:prstGeom prst="rect">
              <a:avLst/>
            </a:prstGeom>
            <a:solidFill>
              <a:srgbClr val="A3C1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2" name="Rectangle 16"/>
            <p:cNvSpPr>
              <a:spLocks noChangeArrowheads="1"/>
            </p:cNvSpPr>
            <p:nvPr/>
          </p:nvSpPr>
          <p:spPr bwMode="auto">
            <a:xfrm>
              <a:off x="5186900" y="2228172"/>
              <a:ext cx="926190" cy="10001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3" name="Rectangle 17"/>
            <p:cNvSpPr>
              <a:spLocks noChangeArrowheads="1"/>
            </p:cNvSpPr>
            <p:nvPr/>
          </p:nvSpPr>
          <p:spPr bwMode="auto">
            <a:xfrm>
              <a:off x="4253371" y="2228172"/>
              <a:ext cx="933529" cy="1000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4" name="Rectangle 18"/>
            <p:cNvSpPr>
              <a:spLocks noChangeArrowheads="1"/>
            </p:cNvSpPr>
            <p:nvPr/>
          </p:nvSpPr>
          <p:spPr bwMode="auto">
            <a:xfrm>
              <a:off x="4253371" y="2228172"/>
              <a:ext cx="933529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5" name="Freeform 20"/>
            <p:cNvSpPr>
              <a:spLocks noEditPoints="1"/>
            </p:cNvSpPr>
            <p:nvPr/>
          </p:nvSpPr>
          <p:spPr bwMode="auto">
            <a:xfrm>
              <a:off x="535402" y="2228172"/>
              <a:ext cx="7415390" cy="53975"/>
            </a:xfrm>
            <a:custGeom>
              <a:avLst/>
              <a:gdLst>
                <a:gd name="T0" fmla="*/ 0 w 1041"/>
                <a:gd name="T1" fmla="*/ 2147483646 h 7"/>
                <a:gd name="T2" fmla="*/ 0 w 1041"/>
                <a:gd name="T3" fmla="*/ 2147483646 h 7"/>
                <a:gd name="T4" fmla="*/ 0 w 1041"/>
                <a:gd name="T5" fmla="*/ 2147483646 h 7"/>
                <a:gd name="T6" fmla="*/ 0 w 1041"/>
                <a:gd name="T7" fmla="*/ 2147483646 h 7"/>
                <a:gd name="T8" fmla="*/ 2147483646 w 1041"/>
                <a:gd name="T9" fmla="*/ 0 h 7"/>
                <a:gd name="T10" fmla="*/ 2147483646 w 1041"/>
                <a:gd name="T11" fmla="*/ 0 h 7"/>
                <a:gd name="T12" fmla="*/ 2147483646 w 1041"/>
                <a:gd name="T13" fmla="*/ 0 h 7"/>
                <a:gd name="T14" fmla="*/ 2147483646 w 1041"/>
                <a:gd name="T15" fmla="*/ 0 h 7"/>
                <a:gd name="T16" fmla="*/ 2147483646 w 1041"/>
                <a:gd name="T17" fmla="*/ 0 h 7"/>
                <a:gd name="T18" fmla="*/ 2147483646 w 1041"/>
                <a:gd name="T19" fmla="*/ 0 h 7"/>
                <a:gd name="T20" fmla="*/ 2147483646 w 1041"/>
                <a:gd name="T21" fmla="*/ 0 h 7"/>
                <a:gd name="T22" fmla="*/ 2147483646 w 1041"/>
                <a:gd name="T23" fmla="*/ 0 h 7"/>
                <a:gd name="T24" fmla="*/ 2147483646 w 1041"/>
                <a:gd name="T25" fmla="*/ 0 h 7"/>
                <a:gd name="T26" fmla="*/ 2147483646 w 1041"/>
                <a:gd name="T27" fmla="*/ 2147483646 h 7"/>
                <a:gd name="T28" fmla="*/ 2147483646 w 1041"/>
                <a:gd name="T29" fmla="*/ 0 h 7"/>
                <a:gd name="T30" fmla="*/ 2147483646 w 1041"/>
                <a:gd name="T31" fmla="*/ 0 h 7"/>
                <a:gd name="T32" fmla="*/ 2147483646 w 1041"/>
                <a:gd name="T33" fmla="*/ 2147483646 h 7"/>
                <a:gd name="T34" fmla="*/ 2147483646 w 1041"/>
                <a:gd name="T35" fmla="*/ 0 h 7"/>
                <a:gd name="T36" fmla="*/ 2147483646 w 1041"/>
                <a:gd name="T37" fmla="*/ 0 h 7"/>
                <a:gd name="T38" fmla="*/ 2147483646 w 1041"/>
                <a:gd name="T39" fmla="*/ 2147483646 h 7"/>
                <a:gd name="T40" fmla="*/ 2147483646 w 1041"/>
                <a:gd name="T41" fmla="*/ 0 h 7"/>
                <a:gd name="T42" fmla="*/ 2147483646 w 1041"/>
                <a:gd name="T43" fmla="*/ 0 h 7"/>
                <a:gd name="T44" fmla="*/ 2147483646 w 1041"/>
                <a:gd name="T45" fmla="*/ 2147483646 h 7"/>
                <a:gd name="T46" fmla="*/ 2147483646 w 1041"/>
                <a:gd name="T47" fmla="*/ 0 h 7"/>
                <a:gd name="T48" fmla="*/ 2147483646 w 1041"/>
                <a:gd name="T49" fmla="*/ 0 h 7"/>
                <a:gd name="T50" fmla="*/ 2147483646 w 1041"/>
                <a:gd name="T51" fmla="*/ 2147483646 h 7"/>
                <a:gd name="T52" fmla="*/ 2147483646 w 1041"/>
                <a:gd name="T53" fmla="*/ 0 h 7"/>
                <a:gd name="T54" fmla="*/ 2147483646 w 1041"/>
                <a:gd name="T55" fmla="*/ 0 h 7"/>
                <a:gd name="T56" fmla="*/ 2147483646 w 1041"/>
                <a:gd name="T57" fmla="*/ 0 h 7"/>
                <a:gd name="T58" fmla="*/ 2147483646 w 1041"/>
                <a:gd name="T59" fmla="*/ 0 h 7"/>
                <a:gd name="T60" fmla="*/ 2147483646 w 1041"/>
                <a:gd name="T61" fmla="*/ 0 h 7"/>
                <a:gd name="T62" fmla="*/ 2147483646 w 1041"/>
                <a:gd name="T63" fmla="*/ 0 h 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041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1041" y="0"/>
                  </a:moveTo>
                  <a:cubicBezTo>
                    <a:pt x="913" y="0"/>
                    <a:pt x="913" y="0"/>
                    <a:pt x="913" y="0"/>
                  </a:cubicBezTo>
                  <a:cubicBezTo>
                    <a:pt x="783" y="0"/>
                    <a:pt x="783" y="0"/>
                    <a:pt x="783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61" y="7"/>
                    <a:pt x="261" y="7"/>
                    <a:pt x="261" y="7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391" y="7"/>
                    <a:pt x="391" y="7"/>
                    <a:pt x="391" y="7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522" y="7"/>
                    <a:pt x="522" y="7"/>
                    <a:pt x="522" y="7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653" y="0"/>
                    <a:pt x="653" y="0"/>
                    <a:pt x="653" y="0"/>
                  </a:cubicBezTo>
                  <a:cubicBezTo>
                    <a:pt x="783" y="0"/>
                    <a:pt x="783" y="0"/>
                    <a:pt x="783" y="0"/>
                  </a:cubicBezTo>
                  <a:cubicBezTo>
                    <a:pt x="914" y="0"/>
                    <a:pt x="914" y="0"/>
                    <a:pt x="914" y="0"/>
                  </a:cubicBezTo>
                  <a:cubicBezTo>
                    <a:pt x="1041" y="0"/>
                    <a:pt x="1041" y="0"/>
                    <a:pt x="1041" y="0"/>
                  </a:cubicBezTo>
                  <a:cubicBezTo>
                    <a:pt x="1041" y="0"/>
                    <a:pt x="1041" y="0"/>
                    <a:pt x="104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796" name="Freeform 21"/>
            <p:cNvSpPr/>
            <p:nvPr/>
          </p:nvSpPr>
          <p:spPr bwMode="auto">
            <a:xfrm>
              <a:off x="535402" y="2228172"/>
              <a:ext cx="926190" cy="53975"/>
            </a:xfrm>
            <a:custGeom>
              <a:avLst/>
              <a:gdLst>
                <a:gd name="T0" fmla="*/ 2147483646 w 130"/>
                <a:gd name="T1" fmla="*/ 0 h 7"/>
                <a:gd name="T2" fmla="*/ 2147483646 w 130"/>
                <a:gd name="T3" fmla="*/ 0 h 7"/>
                <a:gd name="T4" fmla="*/ 2147483646 w 130"/>
                <a:gd name="T5" fmla="*/ 2147483646 h 7"/>
                <a:gd name="T6" fmla="*/ 0 w 130"/>
                <a:gd name="T7" fmla="*/ 2147483646 h 7"/>
                <a:gd name="T8" fmla="*/ 0 w 130"/>
                <a:gd name="T9" fmla="*/ 2147483646 h 7"/>
                <a:gd name="T10" fmla="*/ 2147483646 w 130"/>
                <a:gd name="T11" fmla="*/ 2147483646 h 7"/>
                <a:gd name="T12" fmla="*/ 2147483646 w 130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0" h="7">
                  <a:moveTo>
                    <a:pt x="13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1" y="1"/>
                    <a:pt x="0" y="4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0" y="0"/>
                    <a:pt x="130" y="0"/>
                    <a:pt x="130" y="0"/>
                  </a:cubicBezTo>
                </a:path>
              </a:pathLst>
            </a:custGeom>
            <a:solidFill>
              <a:srgbClr val="FB8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797" name="Rectangle 22"/>
            <p:cNvSpPr>
              <a:spLocks noChangeArrowheads="1"/>
            </p:cNvSpPr>
            <p:nvPr/>
          </p:nvSpPr>
          <p:spPr bwMode="auto">
            <a:xfrm>
              <a:off x="1461591" y="2228172"/>
              <a:ext cx="933529" cy="53975"/>
            </a:xfrm>
            <a:prstGeom prst="rect">
              <a:avLst/>
            </a:prstGeom>
            <a:solidFill>
              <a:srgbClr val="FEE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8" name="Rectangle 23"/>
            <p:cNvSpPr>
              <a:spLocks noChangeArrowheads="1"/>
            </p:cNvSpPr>
            <p:nvPr/>
          </p:nvSpPr>
          <p:spPr bwMode="auto">
            <a:xfrm>
              <a:off x="1461591" y="2228172"/>
              <a:ext cx="933529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9" name="Rectangle 24"/>
            <p:cNvSpPr>
              <a:spLocks noChangeArrowheads="1"/>
            </p:cNvSpPr>
            <p:nvPr/>
          </p:nvSpPr>
          <p:spPr bwMode="auto">
            <a:xfrm>
              <a:off x="2395120" y="2228172"/>
              <a:ext cx="924722" cy="53975"/>
            </a:xfrm>
            <a:prstGeom prst="rect">
              <a:avLst/>
            </a:prstGeom>
            <a:solidFill>
              <a:srgbClr val="D1E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0" name="Rectangle 25"/>
            <p:cNvSpPr>
              <a:spLocks noChangeArrowheads="1"/>
            </p:cNvSpPr>
            <p:nvPr/>
          </p:nvSpPr>
          <p:spPr bwMode="auto">
            <a:xfrm>
              <a:off x="2395120" y="2228172"/>
              <a:ext cx="924722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1" name="Rectangle 26"/>
            <p:cNvSpPr>
              <a:spLocks noChangeArrowheads="1"/>
            </p:cNvSpPr>
            <p:nvPr/>
          </p:nvSpPr>
          <p:spPr bwMode="auto">
            <a:xfrm>
              <a:off x="3319842" y="2228172"/>
              <a:ext cx="933529" cy="53975"/>
            </a:xfrm>
            <a:prstGeom prst="rect">
              <a:avLst/>
            </a:prstGeom>
            <a:solidFill>
              <a:srgbClr val="BAE4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2" name="Rectangle 27"/>
            <p:cNvSpPr>
              <a:spLocks noChangeArrowheads="1"/>
            </p:cNvSpPr>
            <p:nvPr/>
          </p:nvSpPr>
          <p:spPr bwMode="auto">
            <a:xfrm>
              <a:off x="3319842" y="2228172"/>
              <a:ext cx="933529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3" name="Freeform 28"/>
            <p:cNvSpPr/>
            <p:nvPr/>
          </p:nvSpPr>
          <p:spPr bwMode="auto">
            <a:xfrm>
              <a:off x="7045151" y="2228172"/>
              <a:ext cx="926190" cy="53975"/>
            </a:xfrm>
            <a:custGeom>
              <a:avLst/>
              <a:gdLst>
                <a:gd name="T0" fmla="*/ 2147483646 w 130"/>
                <a:gd name="T1" fmla="*/ 0 h 7"/>
                <a:gd name="T2" fmla="*/ 0 w 130"/>
                <a:gd name="T3" fmla="*/ 0 h 7"/>
                <a:gd name="T4" fmla="*/ 0 w 130"/>
                <a:gd name="T5" fmla="*/ 2147483646 h 7"/>
                <a:gd name="T6" fmla="*/ 2147483646 w 130"/>
                <a:gd name="T7" fmla="*/ 2147483646 h 7"/>
                <a:gd name="T8" fmla="*/ 2147483646 w 130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0" h="7">
                  <a:moveTo>
                    <a:pt x="12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0" y="3"/>
                    <a:pt x="128" y="0"/>
                    <a:pt x="127" y="0"/>
                  </a:cubicBezTo>
                </a:path>
              </a:pathLst>
            </a:custGeom>
            <a:solidFill>
              <a:srgbClr val="BAE4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04" name="Rectangle 30"/>
            <p:cNvSpPr>
              <a:spLocks noChangeArrowheads="1"/>
            </p:cNvSpPr>
            <p:nvPr/>
          </p:nvSpPr>
          <p:spPr bwMode="auto">
            <a:xfrm>
              <a:off x="6113090" y="2228172"/>
              <a:ext cx="932062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5" name="Rectangle 31"/>
            <p:cNvSpPr>
              <a:spLocks noChangeArrowheads="1"/>
            </p:cNvSpPr>
            <p:nvPr/>
          </p:nvSpPr>
          <p:spPr bwMode="auto">
            <a:xfrm>
              <a:off x="5186900" y="2228172"/>
              <a:ext cx="926190" cy="53975"/>
            </a:xfrm>
            <a:prstGeom prst="rect">
              <a:avLst/>
            </a:prstGeom>
            <a:solidFill>
              <a:srgbClr val="D1E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6" name="Rectangle 32"/>
            <p:cNvSpPr>
              <a:spLocks noChangeArrowheads="1"/>
            </p:cNvSpPr>
            <p:nvPr/>
          </p:nvSpPr>
          <p:spPr bwMode="auto">
            <a:xfrm>
              <a:off x="5186900" y="2228172"/>
              <a:ext cx="926190" cy="53975"/>
            </a:xfrm>
            <a:prstGeom prst="rect">
              <a:avLst/>
            </a:prstGeom>
            <a:solidFill>
              <a:srgbClr val="FEE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7" name="Rectangle 33"/>
            <p:cNvSpPr>
              <a:spLocks noChangeArrowheads="1"/>
            </p:cNvSpPr>
            <p:nvPr/>
          </p:nvSpPr>
          <p:spPr bwMode="auto">
            <a:xfrm>
              <a:off x="4253371" y="2228172"/>
              <a:ext cx="933529" cy="53975"/>
            </a:xfrm>
            <a:prstGeom prst="rect">
              <a:avLst/>
            </a:prstGeom>
            <a:solidFill>
              <a:srgbClr val="FB8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8" name="Rectangle 34"/>
            <p:cNvSpPr>
              <a:spLocks noChangeArrowheads="1"/>
            </p:cNvSpPr>
            <p:nvPr/>
          </p:nvSpPr>
          <p:spPr bwMode="auto">
            <a:xfrm>
              <a:off x="4253371" y="2228172"/>
              <a:ext cx="933529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9" name="Rectangle 24"/>
            <p:cNvSpPr>
              <a:spLocks noChangeArrowheads="1"/>
            </p:cNvSpPr>
            <p:nvPr/>
          </p:nvSpPr>
          <p:spPr bwMode="auto">
            <a:xfrm>
              <a:off x="6114080" y="2228172"/>
              <a:ext cx="924722" cy="53975"/>
            </a:xfrm>
            <a:prstGeom prst="rect">
              <a:avLst/>
            </a:prstGeom>
            <a:solidFill>
              <a:srgbClr val="D1E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</p:grpSp>
      <p:grpSp>
        <p:nvGrpSpPr>
          <p:cNvPr id="94" name="组合 93"/>
          <p:cNvGrpSpPr/>
          <p:nvPr/>
        </p:nvGrpSpPr>
        <p:grpSpPr bwMode="auto">
          <a:xfrm>
            <a:off x="787400" y="3556000"/>
            <a:ext cx="7704138" cy="960438"/>
            <a:chOff x="787674" y="3556756"/>
            <a:chExt cx="7703403" cy="959210"/>
          </a:xfrm>
        </p:grpSpPr>
        <p:sp>
          <p:nvSpPr>
            <p:cNvPr id="85" name="矩形 1"/>
            <p:cNvSpPr>
              <a:spLocks noChangeArrowheads="1"/>
            </p:cNvSpPr>
            <p:nvPr/>
          </p:nvSpPr>
          <p:spPr bwMode="auto">
            <a:xfrm>
              <a:off x="787674" y="3869094"/>
              <a:ext cx="7703403" cy="646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86" name="直接连接符 85"/>
            <p:cNvCxnSpPr/>
            <p:nvPr/>
          </p:nvCxnSpPr>
          <p:spPr>
            <a:xfrm>
              <a:off x="894027" y="3880192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774" name="组合 86"/>
            <p:cNvGrpSpPr/>
            <p:nvPr/>
          </p:nvGrpSpPr>
          <p:grpSpPr bwMode="auto">
            <a:xfrm>
              <a:off x="899832" y="3556756"/>
              <a:ext cx="2076537" cy="322262"/>
              <a:chOff x="957895" y="1031498"/>
              <a:chExt cx="2076537" cy="322262"/>
            </a:xfrm>
          </p:grpSpPr>
          <p:sp>
            <p:nvSpPr>
              <p:cNvPr id="88" name="TextBox 265"/>
              <p:cNvSpPr txBox="1"/>
              <p:nvPr/>
            </p:nvSpPr>
            <p:spPr bwMode="auto">
              <a:xfrm>
                <a:off x="1156857" y="1031498"/>
                <a:ext cx="1101620" cy="3218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1776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1777" name="组合 89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92" name="流程图: 决策 166"/>
                <p:cNvSpPr/>
                <p:nvPr/>
              </p:nvSpPr>
              <p:spPr>
                <a:xfrm>
                  <a:off x="958439" y="1125041"/>
                  <a:ext cx="136512" cy="1712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93" name="流程图: 决策 166"/>
                <p:cNvSpPr/>
                <p:nvPr/>
              </p:nvSpPr>
              <p:spPr>
                <a:xfrm>
                  <a:off x="1107650" y="1126626"/>
                  <a:ext cx="90478" cy="1680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91" name="直接连接符 90"/>
              <p:cNvCxnSpPr/>
              <p:nvPr/>
            </p:nvCxnSpPr>
            <p:spPr>
              <a:xfrm>
                <a:off x="2263240" y="1137725"/>
                <a:ext cx="0" cy="14427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3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3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3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3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3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3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3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3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10"/>
          <p:cNvSpPr>
            <a:spLocks noChangeArrowheads="1"/>
          </p:cNvSpPr>
          <p:nvPr/>
        </p:nvSpPr>
        <p:spPr bwMode="auto">
          <a:xfrm>
            <a:off x="5367338" y="2730500"/>
            <a:ext cx="974725" cy="974725"/>
          </a:xfrm>
          <a:custGeom>
            <a:avLst/>
            <a:gdLst/>
            <a:ahLst/>
            <a:cxnLst/>
            <a:rect l="l" t="t" r="r" b="b"/>
            <a:pathLst>
              <a:path w="1071564" h="1071564">
                <a:moveTo>
                  <a:pt x="10604" y="640965"/>
                </a:moveTo>
                <a:lnTo>
                  <a:pt x="12866" y="650141"/>
                </a:lnTo>
                <a:cubicBezTo>
                  <a:pt x="11591" y="647198"/>
                  <a:pt x="10948" y="644113"/>
                  <a:pt x="10604" y="640965"/>
                </a:cubicBezTo>
                <a:close/>
                <a:moveTo>
                  <a:pt x="216" y="533637"/>
                </a:moveTo>
                <a:lnTo>
                  <a:pt x="1537" y="551026"/>
                </a:lnTo>
                <a:cubicBezTo>
                  <a:pt x="72" y="545987"/>
                  <a:pt x="0" y="540893"/>
                  <a:pt x="0" y="535782"/>
                </a:cubicBezTo>
                <a:close/>
                <a:moveTo>
                  <a:pt x="629798" y="9478"/>
                </a:moveTo>
                <a:cubicBezTo>
                  <a:pt x="880981" y="52788"/>
                  <a:pt x="1071564" y="272029"/>
                  <a:pt x="1071564" y="535782"/>
                </a:cubicBezTo>
                <a:cubicBezTo>
                  <a:pt x="1071564" y="831686"/>
                  <a:pt x="831686" y="1071564"/>
                  <a:pt x="535782" y="1071564"/>
                </a:cubicBezTo>
                <a:cubicBezTo>
                  <a:pt x="303239" y="1071564"/>
                  <a:pt x="105298" y="923416"/>
                  <a:pt x="33197" y="715636"/>
                </a:cubicBezTo>
                <a:cubicBezTo>
                  <a:pt x="336048" y="577811"/>
                  <a:pt x="560674" y="323105"/>
                  <a:pt x="668338" y="19659"/>
                </a:cubicBezTo>
                <a:cubicBezTo>
                  <a:pt x="656494" y="13736"/>
                  <a:pt x="643758" y="9598"/>
                  <a:pt x="629798" y="9478"/>
                </a:cubicBezTo>
                <a:close/>
                <a:moveTo>
                  <a:pt x="535782" y="0"/>
                </a:moveTo>
                <a:lnTo>
                  <a:pt x="538338" y="258"/>
                </a:lnTo>
                <a:lnTo>
                  <a:pt x="534513" y="128"/>
                </a:lnTo>
                <a:cubicBezTo>
                  <a:pt x="534936" y="1"/>
                  <a:pt x="535359" y="0"/>
                  <a:pt x="535782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latin typeface="+mn-lt"/>
              <a:ea typeface="+mn-ea"/>
            </a:endParaRPr>
          </a:p>
        </p:txBody>
      </p:sp>
      <p:sp>
        <p:nvSpPr>
          <p:cNvPr id="8" name="Oval 12"/>
          <p:cNvSpPr>
            <a:spLocks noChangeArrowheads="1"/>
          </p:cNvSpPr>
          <p:nvPr/>
        </p:nvSpPr>
        <p:spPr bwMode="auto">
          <a:xfrm>
            <a:off x="3233738" y="2274888"/>
            <a:ext cx="1455737" cy="1455737"/>
          </a:xfrm>
          <a:custGeom>
            <a:avLst/>
            <a:gdLst>
              <a:gd name="T0" fmla="*/ 802521 w 1601788"/>
              <a:gd name="T1" fmla="*/ 529363 h 1601788"/>
              <a:gd name="T2" fmla="*/ 785108 w 1601788"/>
              <a:gd name="T3" fmla="*/ 575149 h 1601788"/>
              <a:gd name="T4" fmla="*/ 802521 w 1601788"/>
              <a:gd name="T5" fmla="*/ 529363 h 1601788"/>
              <a:gd name="T6" fmla="*/ 813885 w 1601788"/>
              <a:gd name="T7" fmla="*/ 479943 h 1601788"/>
              <a:gd name="T8" fmla="*/ 802965 w 1601788"/>
              <a:gd name="T9" fmla="*/ 527634 h 1601788"/>
              <a:gd name="T10" fmla="*/ 813885 w 1601788"/>
              <a:gd name="T11" fmla="*/ 479943 h 1601788"/>
              <a:gd name="T12" fmla="*/ 819884 w 1601788"/>
              <a:gd name="T13" fmla="*/ 417526 h 1601788"/>
              <a:gd name="T14" fmla="*/ 816309 w 1601788"/>
              <a:gd name="T15" fmla="*/ 464062 h 1601788"/>
              <a:gd name="T16" fmla="*/ 819884 w 1601788"/>
              <a:gd name="T17" fmla="*/ 417526 h 1601788"/>
              <a:gd name="T18" fmla="*/ 819755 w 1601788"/>
              <a:gd name="T19" fmla="*/ 402849 h 1601788"/>
              <a:gd name="T20" fmla="*/ 820258 w 1601788"/>
              <a:gd name="T21" fmla="*/ 410129 h 1601788"/>
              <a:gd name="T22" fmla="*/ 820192 w 1601788"/>
              <a:gd name="T23" fmla="*/ 411405 h 1601788"/>
              <a:gd name="T24" fmla="*/ 819755 w 1601788"/>
              <a:gd name="T25" fmla="*/ 402849 h 1601788"/>
              <a:gd name="T26" fmla="*/ 812811 w 1601788"/>
              <a:gd name="T27" fmla="*/ 336373 h 1601788"/>
              <a:gd name="T28" fmla="*/ 817076 w 1601788"/>
              <a:gd name="T29" fmla="*/ 364002 h 1601788"/>
              <a:gd name="T30" fmla="*/ 812811 w 1601788"/>
              <a:gd name="T31" fmla="*/ 336373 h 1601788"/>
              <a:gd name="T32" fmla="*/ 61325 w 1601788"/>
              <a:gd name="T33" fmla="*/ 196883 h 1601788"/>
              <a:gd name="T34" fmla="*/ 236358 w 1601788"/>
              <a:gd name="T35" fmla="*/ 226811 h 1601788"/>
              <a:gd name="T36" fmla="*/ 387679 w 1601788"/>
              <a:gd name="T37" fmla="*/ 202846 h 1601788"/>
              <a:gd name="T38" fmla="*/ 753472 w 1601788"/>
              <a:gd name="T39" fmla="*/ 633432 h 1601788"/>
              <a:gd name="T40" fmla="*/ 410129 w 1601788"/>
              <a:gd name="T41" fmla="*/ 820258 h 1601788"/>
              <a:gd name="T42" fmla="*/ 0 w 1601788"/>
              <a:gd name="T43" fmla="*/ 410129 h 1601788"/>
              <a:gd name="T44" fmla="*/ 61325 w 1601788"/>
              <a:gd name="T45" fmla="*/ 196883 h 1601788"/>
              <a:gd name="T46" fmla="*/ 641297 w 1601788"/>
              <a:gd name="T47" fmla="*/ 73859 h 1601788"/>
              <a:gd name="T48" fmla="*/ 809943 w 1601788"/>
              <a:gd name="T49" fmla="*/ 322705 h 1601788"/>
              <a:gd name="T50" fmla="*/ 641297 w 1601788"/>
              <a:gd name="T51" fmla="*/ 73859 h 1601788"/>
              <a:gd name="T52" fmla="*/ 607029 w 1601788"/>
              <a:gd name="T53" fmla="*/ 52453 h 1601788"/>
              <a:gd name="T54" fmla="*/ 628411 w 1601788"/>
              <a:gd name="T55" fmla="*/ 65809 h 1601788"/>
              <a:gd name="T56" fmla="*/ 605993 w 1601788"/>
              <a:gd name="T57" fmla="*/ 53581 h 1601788"/>
              <a:gd name="T58" fmla="*/ 607029 w 1601788"/>
              <a:gd name="T59" fmla="*/ 52453 h 1601788"/>
              <a:gd name="T60" fmla="*/ 567944 w 1601788"/>
              <a:gd name="T61" fmla="*/ 32827 h 1601788"/>
              <a:gd name="T62" fmla="*/ 577455 w 1601788"/>
              <a:gd name="T63" fmla="*/ 36402 h 1601788"/>
              <a:gd name="T64" fmla="*/ 568498 w 1601788"/>
              <a:gd name="T65" fmla="*/ 33127 h 1601788"/>
              <a:gd name="T66" fmla="*/ 567944 w 1601788"/>
              <a:gd name="T67" fmla="*/ 32827 h 1601788"/>
              <a:gd name="T68" fmla="*/ 504191 w 1601788"/>
              <a:gd name="T69" fmla="*/ 12044 h 1601788"/>
              <a:gd name="T70" fmla="*/ 559151 w 1601788"/>
              <a:gd name="T71" fmla="*/ 29521 h 1601788"/>
              <a:gd name="T72" fmla="*/ 527017 w 1601788"/>
              <a:gd name="T73" fmla="*/ 17967 h 1601788"/>
              <a:gd name="T74" fmla="*/ 512557 w 1601788"/>
              <a:gd name="T75" fmla="*/ 14216 h 1601788"/>
              <a:gd name="T76" fmla="*/ 504191 w 1601788"/>
              <a:gd name="T77" fmla="*/ 12044 h 1601788"/>
              <a:gd name="T78" fmla="*/ 463753 w 1601788"/>
              <a:gd name="T79" fmla="*/ 3902 h 1601788"/>
              <a:gd name="T80" fmla="*/ 473152 w 1601788"/>
              <a:gd name="T81" fmla="*/ 5794 h 1601788"/>
              <a:gd name="T82" fmla="*/ 471507 w 1601788"/>
              <a:gd name="T83" fmla="*/ 5540 h 1601788"/>
              <a:gd name="T84" fmla="*/ 463753 w 1601788"/>
              <a:gd name="T85" fmla="*/ 3902 h 1601788"/>
              <a:gd name="T86" fmla="*/ 456439 w 1601788"/>
              <a:gd name="T87" fmla="*/ 3214 h 1601788"/>
              <a:gd name="T88" fmla="*/ 461602 w 1601788"/>
              <a:gd name="T89" fmla="*/ 3573 h 1601788"/>
              <a:gd name="T90" fmla="*/ 456635 w 1601788"/>
              <a:gd name="T91" fmla="*/ 3245 h 1601788"/>
              <a:gd name="T92" fmla="*/ 456439 w 1601788"/>
              <a:gd name="T93" fmla="*/ 3214 h 1601788"/>
              <a:gd name="T94" fmla="*/ 410129 w 1601788"/>
              <a:gd name="T95" fmla="*/ 0 h 1601788"/>
              <a:gd name="T96" fmla="*/ 417329 w 1601788"/>
              <a:gd name="T97" fmla="*/ 500 h 1601788"/>
              <a:gd name="T98" fmla="*/ 408836 w 1601788"/>
              <a:gd name="T99" fmla="*/ 65 h 1601788"/>
              <a:gd name="T100" fmla="*/ 410129 w 1601788"/>
              <a:gd name="T101" fmla="*/ 0 h 160178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01788" h="1601788">
                <a:moveTo>
                  <a:pt x="1567151" y="1033732"/>
                </a:moveTo>
                <a:cubicBezTo>
                  <a:pt x="1558064" y="1064553"/>
                  <a:pt x="1546934" y="1094518"/>
                  <a:pt x="1533147" y="1123145"/>
                </a:cubicBezTo>
                <a:lnTo>
                  <a:pt x="1567151" y="1033732"/>
                </a:lnTo>
                <a:close/>
                <a:moveTo>
                  <a:pt x="1589344" y="937226"/>
                </a:moveTo>
                <a:cubicBezTo>
                  <a:pt x="1584762" y="969081"/>
                  <a:pt x="1577455" y="1000152"/>
                  <a:pt x="1568019" y="1030355"/>
                </a:cubicBezTo>
                <a:lnTo>
                  <a:pt x="1589344" y="937226"/>
                </a:lnTo>
                <a:close/>
                <a:moveTo>
                  <a:pt x="1601059" y="815340"/>
                </a:moveTo>
                <a:cubicBezTo>
                  <a:pt x="1601116" y="846129"/>
                  <a:pt x="1598835" y="876484"/>
                  <a:pt x="1594077" y="906212"/>
                </a:cubicBezTo>
                <a:lnTo>
                  <a:pt x="1601059" y="815340"/>
                </a:lnTo>
                <a:close/>
                <a:moveTo>
                  <a:pt x="1600808" y="786678"/>
                </a:moveTo>
                <a:cubicBezTo>
                  <a:pt x="1601747" y="791397"/>
                  <a:pt x="1601788" y="796141"/>
                  <a:pt x="1601788" y="800894"/>
                </a:cubicBezTo>
                <a:lnTo>
                  <a:pt x="1601662" y="803386"/>
                </a:lnTo>
                <a:lnTo>
                  <a:pt x="1600808" y="786678"/>
                </a:lnTo>
                <a:close/>
                <a:moveTo>
                  <a:pt x="1587246" y="656865"/>
                </a:moveTo>
                <a:cubicBezTo>
                  <a:pt x="1592060" y="674414"/>
                  <a:pt x="1594717" y="692456"/>
                  <a:pt x="1595574" y="710818"/>
                </a:cubicBezTo>
                <a:lnTo>
                  <a:pt x="1587246" y="656865"/>
                </a:lnTo>
                <a:close/>
                <a:moveTo>
                  <a:pt x="119756" y="384472"/>
                </a:moveTo>
                <a:cubicBezTo>
                  <a:pt x="227090" y="423496"/>
                  <a:pt x="334625" y="442913"/>
                  <a:pt x="461555" y="442913"/>
                </a:cubicBezTo>
                <a:cubicBezTo>
                  <a:pt x="565608" y="442913"/>
                  <a:pt x="664766" y="426986"/>
                  <a:pt x="757053" y="396116"/>
                </a:cubicBezTo>
                <a:cubicBezTo>
                  <a:pt x="837100" y="777493"/>
                  <a:pt x="1107381" y="1090583"/>
                  <a:pt x="1471371" y="1236959"/>
                </a:cubicBezTo>
                <a:cubicBezTo>
                  <a:pt x="1329473" y="1456852"/>
                  <a:pt x="1082109" y="1601788"/>
                  <a:pt x="800894" y="1601788"/>
                </a:cubicBezTo>
                <a:cubicBezTo>
                  <a:pt x="358572" y="1601788"/>
                  <a:pt x="0" y="1243216"/>
                  <a:pt x="0" y="800894"/>
                </a:cubicBezTo>
                <a:cubicBezTo>
                  <a:pt x="0" y="647790"/>
                  <a:pt x="42961" y="504720"/>
                  <a:pt x="119756" y="384472"/>
                </a:cubicBezTo>
                <a:close/>
                <a:moveTo>
                  <a:pt x="1252317" y="144230"/>
                </a:moveTo>
                <a:cubicBezTo>
                  <a:pt x="1418955" y="254652"/>
                  <a:pt x="1539420" y="427820"/>
                  <a:pt x="1581645" y="630175"/>
                </a:cubicBezTo>
                <a:cubicBezTo>
                  <a:pt x="1537047" y="430080"/>
                  <a:pt x="1416643" y="257328"/>
                  <a:pt x="1252317" y="144230"/>
                </a:cubicBezTo>
                <a:close/>
                <a:moveTo>
                  <a:pt x="1185397" y="102430"/>
                </a:moveTo>
                <a:lnTo>
                  <a:pt x="1227153" y="128512"/>
                </a:lnTo>
                <a:lnTo>
                  <a:pt x="1183377" y="104633"/>
                </a:lnTo>
                <a:cubicBezTo>
                  <a:pt x="1184130" y="103965"/>
                  <a:pt x="1184764" y="103198"/>
                  <a:pt x="1185397" y="102430"/>
                </a:cubicBezTo>
                <a:close/>
                <a:moveTo>
                  <a:pt x="1109074" y="64103"/>
                </a:moveTo>
                <a:cubicBezTo>
                  <a:pt x="1115665" y="65534"/>
                  <a:pt x="1121678" y="68268"/>
                  <a:pt x="1127647" y="71085"/>
                </a:cubicBezTo>
                <a:lnTo>
                  <a:pt x="1110154" y="64692"/>
                </a:lnTo>
                <a:lnTo>
                  <a:pt x="1109074" y="64103"/>
                </a:lnTo>
                <a:close/>
                <a:moveTo>
                  <a:pt x="984576" y="23520"/>
                </a:moveTo>
                <a:cubicBezTo>
                  <a:pt x="1022059" y="30191"/>
                  <a:pt x="1058029" y="41625"/>
                  <a:pt x="1091904" y="57649"/>
                </a:cubicBezTo>
                <a:cubicBezTo>
                  <a:pt x="1071572" y="48788"/>
                  <a:pt x="1050582" y="41381"/>
                  <a:pt x="1029151" y="35089"/>
                </a:cubicBezTo>
                <a:cubicBezTo>
                  <a:pt x="1020034" y="31718"/>
                  <a:pt x="1010669" y="29069"/>
                  <a:pt x="1000914" y="27760"/>
                </a:cubicBezTo>
                <a:lnTo>
                  <a:pt x="984576" y="23520"/>
                </a:lnTo>
                <a:close/>
                <a:moveTo>
                  <a:pt x="905609" y="7619"/>
                </a:moveTo>
                <a:lnTo>
                  <a:pt x="923963" y="11315"/>
                </a:lnTo>
                <a:lnTo>
                  <a:pt x="920752" y="10819"/>
                </a:lnTo>
                <a:cubicBezTo>
                  <a:pt x="915829" y="9048"/>
                  <a:pt x="910731" y="8310"/>
                  <a:pt x="905609" y="7619"/>
                </a:cubicBezTo>
                <a:close/>
                <a:moveTo>
                  <a:pt x="891328" y="6278"/>
                </a:moveTo>
                <a:cubicBezTo>
                  <a:pt x="894756" y="6025"/>
                  <a:pt x="898086" y="6488"/>
                  <a:pt x="901409" y="6978"/>
                </a:cubicBezTo>
                <a:lnTo>
                  <a:pt x="891711" y="6337"/>
                </a:lnTo>
                <a:lnTo>
                  <a:pt x="891328" y="6278"/>
                </a:lnTo>
                <a:close/>
                <a:moveTo>
                  <a:pt x="800894" y="0"/>
                </a:moveTo>
                <a:lnTo>
                  <a:pt x="814957" y="976"/>
                </a:lnTo>
                <a:lnTo>
                  <a:pt x="798370" y="128"/>
                </a:lnTo>
                <a:cubicBezTo>
                  <a:pt x="799209" y="2"/>
                  <a:pt x="800051" y="0"/>
                  <a:pt x="800894" y="0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" name="Oval 6"/>
          <p:cNvSpPr>
            <a:spLocks noChangeArrowheads="1"/>
          </p:cNvSpPr>
          <p:nvPr/>
        </p:nvSpPr>
        <p:spPr bwMode="auto">
          <a:xfrm>
            <a:off x="2795588" y="962025"/>
            <a:ext cx="1714500" cy="1714500"/>
          </a:xfrm>
          <a:prstGeom prst="ellipse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3" name="Oval 7"/>
          <p:cNvSpPr>
            <a:spLocks noChangeArrowheads="1"/>
          </p:cNvSpPr>
          <p:nvPr/>
        </p:nvSpPr>
        <p:spPr bwMode="auto">
          <a:xfrm>
            <a:off x="3894138" y="1336675"/>
            <a:ext cx="2135187" cy="2135188"/>
          </a:xfrm>
          <a:prstGeom prst="ellipse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4" name="Oval 8"/>
          <p:cNvSpPr>
            <a:spLocks noChangeArrowheads="1"/>
          </p:cNvSpPr>
          <p:nvPr/>
        </p:nvSpPr>
        <p:spPr bwMode="auto">
          <a:xfrm>
            <a:off x="4733925" y="927100"/>
            <a:ext cx="1608138" cy="1606550"/>
          </a:xfrm>
          <a:custGeom>
            <a:avLst/>
            <a:gdLst>
              <a:gd name="T0" fmla="*/ 523640 w 1768476"/>
              <a:gd name="T1" fmla="*/ 897204 h 1768476"/>
              <a:gd name="T2" fmla="*/ 454609 w 1768476"/>
              <a:gd name="T3" fmla="*/ 902951 h 1768476"/>
              <a:gd name="T4" fmla="*/ 454482 w 1768476"/>
              <a:gd name="T5" fmla="*/ 902946 h 1768476"/>
              <a:gd name="T6" fmla="*/ 523640 w 1768476"/>
              <a:gd name="T7" fmla="*/ 897204 h 1768476"/>
              <a:gd name="T8" fmla="*/ 599166 w 1768476"/>
              <a:gd name="T9" fmla="*/ 879249 h 1768476"/>
              <a:gd name="T10" fmla="*/ 537257 w 1768476"/>
              <a:gd name="T11" fmla="*/ 895139 h 1768476"/>
              <a:gd name="T12" fmla="*/ 599166 w 1768476"/>
              <a:gd name="T13" fmla="*/ 879249 h 1768476"/>
              <a:gd name="T14" fmla="*/ 211360 w 1768476"/>
              <a:gd name="T15" fmla="*/ 832440 h 1768476"/>
              <a:gd name="T16" fmla="*/ 267797 w 1768476"/>
              <a:gd name="T17" fmla="*/ 862758 h 1768476"/>
              <a:gd name="T18" fmla="*/ 211360 w 1768476"/>
              <a:gd name="T19" fmla="*/ 832440 h 1768476"/>
              <a:gd name="T20" fmla="*/ 726691 w 1768476"/>
              <a:gd name="T21" fmla="*/ 811175 h 1768476"/>
              <a:gd name="T22" fmla="*/ 611606 w 1768476"/>
              <a:gd name="T23" fmla="*/ 874726 h 1768476"/>
              <a:gd name="T24" fmla="*/ 726691 w 1768476"/>
              <a:gd name="T25" fmla="*/ 811175 h 1768476"/>
              <a:gd name="T26" fmla="*/ 39380 w 1768476"/>
              <a:gd name="T27" fmla="*/ 634744 h 1768476"/>
              <a:gd name="T28" fmla="*/ 71487 w 1768476"/>
              <a:gd name="T29" fmla="*/ 693841 h 1768476"/>
              <a:gd name="T30" fmla="*/ 39380 w 1768476"/>
              <a:gd name="T31" fmla="*/ 634744 h 1768476"/>
              <a:gd name="T32" fmla="*/ 10 w 1768476"/>
              <a:gd name="T33" fmla="*/ 451289 h 1768476"/>
              <a:gd name="T34" fmla="*/ 1403 w 1768476"/>
              <a:gd name="T35" fmla="*/ 479067 h 1768476"/>
              <a:gd name="T36" fmla="*/ 0 w 1768476"/>
              <a:gd name="T37" fmla="*/ 451476 h 1768476"/>
              <a:gd name="T38" fmla="*/ 10 w 1768476"/>
              <a:gd name="T39" fmla="*/ 451289 h 1768476"/>
              <a:gd name="T40" fmla="*/ 3297 w 1768476"/>
              <a:gd name="T41" fmla="*/ 399134 h 1768476"/>
              <a:gd name="T42" fmla="*/ 95 w 1768476"/>
              <a:gd name="T43" fmla="*/ 449586 h 1768476"/>
              <a:gd name="T44" fmla="*/ 3297 w 1768476"/>
              <a:gd name="T45" fmla="*/ 399134 h 1768476"/>
              <a:gd name="T46" fmla="*/ 12432 w 1768476"/>
              <a:gd name="T47" fmla="*/ 348144 h 1768476"/>
              <a:gd name="T48" fmla="*/ 6415 w 1768476"/>
              <a:gd name="T49" fmla="*/ 378847 h 1768476"/>
              <a:gd name="T50" fmla="*/ 12432 w 1768476"/>
              <a:gd name="T51" fmla="*/ 348144 h 1768476"/>
              <a:gd name="T52" fmla="*/ 29182 w 1768476"/>
              <a:gd name="T53" fmla="*/ 293495 h 1768476"/>
              <a:gd name="T54" fmla="*/ 17517 w 1768476"/>
              <a:gd name="T55" fmla="*/ 328504 h 1768476"/>
              <a:gd name="T56" fmla="*/ 29182 w 1768476"/>
              <a:gd name="T57" fmla="*/ 293495 h 1768476"/>
              <a:gd name="T58" fmla="*/ 454609 w 1768476"/>
              <a:gd name="T59" fmla="*/ 0 h 1768476"/>
              <a:gd name="T60" fmla="*/ 909218 w 1768476"/>
              <a:gd name="T61" fmla="*/ 451476 h 1768476"/>
              <a:gd name="T62" fmla="*/ 732044 w 1768476"/>
              <a:gd name="T63" fmla="*/ 806789 h 1768476"/>
              <a:gd name="T64" fmla="*/ 131274 w 1768476"/>
              <a:gd name="T65" fmla="*/ 230196 h 1768476"/>
              <a:gd name="T66" fmla="*/ 55539 w 1768476"/>
              <a:gd name="T67" fmla="*/ 235217 h 1768476"/>
              <a:gd name="T68" fmla="*/ 33290 w 1768476"/>
              <a:gd name="T69" fmla="*/ 282351 h 1768476"/>
              <a:gd name="T70" fmla="*/ 454609 w 1768476"/>
              <a:gd name="T71" fmla="*/ 0 h 176847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768476" h="1768476">
                <a:moveTo>
                  <a:pt x="1018506" y="1757217"/>
                </a:moveTo>
                <a:cubicBezTo>
                  <a:pt x="974838" y="1765009"/>
                  <a:pt x="929943" y="1768476"/>
                  <a:pt x="884238" y="1768476"/>
                </a:cubicBezTo>
                <a:lnTo>
                  <a:pt x="883992" y="1768464"/>
                </a:lnTo>
                <a:lnTo>
                  <a:pt x="1018506" y="1757217"/>
                </a:lnTo>
                <a:close/>
                <a:moveTo>
                  <a:pt x="1165408" y="1722052"/>
                </a:moveTo>
                <a:cubicBezTo>
                  <a:pt x="1126614" y="1735849"/>
                  <a:pt x="1086369" y="1746293"/>
                  <a:pt x="1044994" y="1753175"/>
                </a:cubicBezTo>
                <a:lnTo>
                  <a:pt x="1165408" y="1722052"/>
                </a:lnTo>
                <a:close/>
                <a:moveTo>
                  <a:pt x="411107" y="1630375"/>
                </a:moveTo>
                <a:lnTo>
                  <a:pt x="520879" y="1689752"/>
                </a:lnTo>
                <a:cubicBezTo>
                  <a:pt x="482403" y="1673225"/>
                  <a:pt x="445691" y="1653358"/>
                  <a:pt x="411107" y="1630375"/>
                </a:cubicBezTo>
                <a:close/>
                <a:moveTo>
                  <a:pt x="1413451" y="1588727"/>
                </a:moveTo>
                <a:cubicBezTo>
                  <a:pt x="1347208" y="1642535"/>
                  <a:pt x="1271408" y="1684186"/>
                  <a:pt x="1189606" y="1713196"/>
                </a:cubicBezTo>
                <a:cubicBezTo>
                  <a:pt x="1271404" y="1684005"/>
                  <a:pt x="1346690" y="1641813"/>
                  <a:pt x="1413451" y="1588727"/>
                </a:cubicBezTo>
                <a:close/>
                <a:moveTo>
                  <a:pt x="76596" y="1243178"/>
                </a:moveTo>
                <a:lnTo>
                  <a:pt x="139045" y="1358923"/>
                </a:lnTo>
                <a:cubicBezTo>
                  <a:pt x="114828" y="1322491"/>
                  <a:pt x="93952" y="1283762"/>
                  <a:pt x="76596" y="1243178"/>
                </a:cubicBezTo>
                <a:close/>
                <a:moveTo>
                  <a:pt x="19" y="883873"/>
                </a:moveTo>
                <a:lnTo>
                  <a:pt x="2729" y="938277"/>
                </a:lnTo>
                <a:cubicBezTo>
                  <a:pt x="548" y="920446"/>
                  <a:pt x="0" y="902406"/>
                  <a:pt x="0" y="884238"/>
                </a:cubicBezTo>
                <a:lnTo>
                  <a:pt x="19" y="883873"/>
                </a:lnTo>
                <a:close/>
                <a:moveTo>
                  <a:pt x="6413" y="781724"/>
                </a:moveTo>
                <a:lnTo>
                  <a:pt x="187" y="880537"/>
                </a:lnTo>
                <a:cubicBezTo>
                  <a:pt x="145" y="847108"/>
                  <a:pt x="2137" y="814118"/>
                  <a:pt x="6413" y="781724"/>
                </a:cubicBezTo>
                <a:close/>
                <a:moveTo>
                  <a:pt x="24181" y="681859"/>
                </a:moveTo>
                <a:lnTo>
                  <a:pt x="12477" y="741990"/>
                </a:lnTo>
                <a:cubicBezTo>
                  <a:pt x="14696" y="721524"/>
                  <a:pt x="18672" y="701462"/>
                  <a:pt x="24181" y="681859"/>
                </a:cubicBezTo>
                <a:close/>
                <a:moveTo>
                  <a:pt x="56762" y="574823"/>
                </a:moveTo>
                <a:lnTo>
                  <a:pt x="34072" y="643391"/>
                </a:lnTo>
                <a:cubicBezTo>
                  <a:pt x="39852" y="619855"/>
                  <a:pt x="47374" y="596939"/>
                  <a:pt x="56762" y="574823"/>
                </a:cubicBezTo>
                <a:close/>
                <a:moveTo>
                  <a:pt x="884238" y="0"/>
                </a:moveTo>
                <a:cubicBezTo>
                  <a:pt x="1372589" y="0"/>
                  <a:pt x="1768476" y="395887"/>
                  <a:pt x="1768476" y="884238"/>
                </a:cubicBezTo>
                <a:cubicBezTo>
                  <a:pt x="1768476" y="1168406"/>
                  <a:pt x="1634429" y="1421266"/>
                  <a:pt x="1423865" y="1580135"/>
                </a:cubicBezTo>
                <a:cubicBezTo>
                  <a:pt x="1403511" y="951529"/>
                  <a:pt x="883350" y="450850"/>
                  <a:pt x="255336" y="450850"/>
                </a:cubicBezTo>
                <a:cubicBezTo>
                  <a:pt x="206233" y="450850"/>
                  <a:pt x="157130" y="450850"/>
                  <a:pt x="108027" y="460683"/>
                </a:cubicBezTo>
                <a:cubicBezTo>
                  <a:pt x="91818" y="490823"/>
                  <a:pt x="77247" y="521510"/>
                  <a:pt x="64750" y="552998"/>
                </a:cubicBezTo>
                <a:cubicBezTo>
                  <a:pt x="195361" y="228658"/>
                  <a:pt x="513097" y="0"/>
                  <a:pt x="884238" y="0"/>
                </a:cubicBez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" name="Freeform 9"/>
          <p:cNvSpPr/>
          <p:nvPr/>
        </p:nvSpPr>
        <p:spPr bwMode="auto">
          <a:xfrm>
            <a:off x="4733925" y="1336675"/>
            <a:ext cx="1295400" cy="1196975"/>
          </a:xfrm>
          <a:custGeom>
            <a:avLst/>
            <a:gdLst>
              <a:gd name="T0" fmla="*/ 2147483646 w 145"/>
              <a:gd name="T1" fmla="*/ 2147483646 h 134"/>
              <a:gd name="T2" fmla="*/ 2147483646 w 145"/>
              <a:gd name="T3" fmla="*/ 2147483646 h 134"/>
              <a:gd name="T4" fmla="*/ 0 w 145"/>
              <a:gd name="T5" fmla="*/ 2147483646 h 134"/>
              <a:gd name="T6" fmla="*/ 2147483646 w 145"/>
              <a:gd name="T7" fmla="*/ 2147483646 h 134"/>
              <a:gd name="T8" fmla="*/ 2147483646 w 145"/>
              <a:gd name="T9" fmla="*/ 0 h 134"/>
              <a:gd name="T10" fmla="*/ 2147483646 w 145"/>
              <a:gd name="T11" fmla="*/ 2147483646 h 1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45" h="134">
                <a:moveTo>
                  <a:pt x="145" y="115"/>
                </a:moveTo>
                <a:cubicBezTo>
                  <a:pt x="130" y="127"/>
                  <a:pt x="111" y="134"/>
                  <a:pt x="90" y="134"/>
                </a:cubicBezTo>
                <a:cubicBezTo>
                  <a:pt x="40" y="134"/>
                  <a:pt x="0" y="94"/>
                  <a:pt x="0" y="44"/>
                </a:cubicBezTo>
                <a:cubicBezTo>
                  <a:pt x="0" y="28"/>
                  <a:pt x="4" y="14"/>
                  <a:pt x="11" y="1"/>
                </a:cubicBezTo>
                <a:cubicBezTo>
                  <a:pt x="16" y="0"/>
                  <a:pt x="21" y="0"/>
                  <a:pt x="26" y="0"/>
                </a:cubicBezTo>
                <a:cubicBezTo>
                  <a:pt x="90" y="0"/>
                  <a:pt x="143" y="51"/>
                  <a:pt x="145" y="115"/>
                </a:cubicBezTo>
                <a:close/>
              </a:path>
            </a:pathLst>
          </a:custGeom>
          <a:solidFill>
            <a:srgbClr val="00B0F0">
              <a:alpha val="2588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" name="Freeform 11"/>
          <p:cNvSpPr/>
          <p:nvPr/>
        </p:nvSpPr>
        <p:spPr bwMode="auto">
          <a:xfrm>
            <a:off x="5367338" y="2730500"/>
            <a:ext cx="608012" cy="652463"/>
          </a:xfrm>
          <a:custGeom>
            <a:avLst/>
            <a:gdLst>
              <a:gd name="T0" fmla="*/ 79266 w 68"/>
              <a:gd name="T1" fmla="*/ 0 h 73"/>
              <a:gd name="T2" fmla="*/ 99888 w 68"/>
              <a:gd name="T3" fmla="*/ 2836 h 73"/>
              <a:gd name="T4" fmla="*/ 4526 w 68"/>
              <a:gd name="T5" fmla="*/ 107310 h 73"/>
              <a:gd name="T6" fmla="*/ 0 w 68"/>
              <a:gd name="T7" fmla="*/ 79286 h 73"/>
              <a:gd name="T8" fmla="*/ 79266 w 68"/>
              <a:gd name="T9" fmla="*/ 0 h 7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8" h="73">
                <a:moveTo>
                  <a:pt x="54" y="0"/>
                </a:moveTo>
                <a:cubicBezTo>
                  <a:pt x="59" y="0"/>
                  <a:pt x="64" y="0"/>
                  <a:pt x="68" y="2"/>
                </a:cubicBezTo>
                <a:cubicBezTo>
                  <a:pt x="57" y="33"/>
                  <a:pt x="34" y="59"/>
                  <a:pt x="3" y="73"/>
                </a:cubicBezTo>
                <a:cubicBezTo>
                  <a:pt x="1" y="67"/>
                  <a:pt x="0" y="61"/>
                  <a:pt x="0" y="54"/>
                </a:cubicBezTo>
                <a:cubicBezTo>
                  <a:pt x="0" y="24"/>
                  <a:pt x="24" y="0"/>
                  <a:pt x="54" y="0"/>
                </a:cubicBezTo>
                <a:close/>
              </a:path>
            </a:pathLst>
          </a:cu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9" name="Freeform 13"/>
          <p:cNvSpPr/>
          <p:nvPr/>
        </p:nvSpPr>
        <p:spPr bwMode="auto">
          <a:xfrm>
            <a:off x="3894138" y="2274888"/>
            <a:ext cx="795337" cy="1125537"/>
          </a:xfrm>
          <a:custGeom>
            <a:avLst/>
            <a:gdLst>
              <a:gd name="T0" fmla="*/ 2147483646 w 89"/>
              <a:gd name="T1" fmla="*/ 2147483646 h 126"/>
              <a:gd name="T2" fmla="*/ 0 w 89"/>
              <a:gd name="T3" fmla="*/ 2147483646 h 126"/>
              <a:gd name="T4" fmla="*/ 2147483646 w 89"/>
              <a:gd name="T5" fmla="*/ 0 h 126"/>
              <a:gd name="T6" fmla="*/ 2147483646 w 89"/>
              <a:gd name="T7" fmla="*/ 0 h 126"/>
              <a:gd name="T8" fmla="*/ 2147483646 w 89"/>
              <a:gd name="T9" fmla="*/ 2147483646 h 126"/>
              <a:gd name="T10" fmla="*/ 2147483646 w 89"/>
              <a:gd name="T11" fmla="*/ 2147483646 h 1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9" h="126">
                <a:moveTo>
                  <a:pt x="76" y="126"/>
                </a:moveTo>
                <a:cubicBezTo>
                  <a:pt x="31" y="108"/>
                  <a:pt x="0" y="65"/>
                  <a:pt x="0" y="15"/>
                </a:cubicBezTo>
                <a:cubicBezTo>
                  <a:pt x="0" y="10"/>
                  <a:pt x="0" y="5"/>
                  <a:pt x="1" y="0"/>
                </a:cubicBezTo>
                <a:cubicBezTo>
                  <a:pt x="3" y="0"/>
                  <a:pt x="5" y="0"/>
                  <a:pt x="7" y="0"/>
                </a:cubicBezTo>
                <a:cubicBezTo>
                  <a:pt x="52" y="0"/>
                  <a:pt x="89" y="37"/>
                  <a:pt x="89" y="82"/>
                </a:cubicBezTo>
                <a:cubicBezTo>
                  <a:pt x="89" y="98"/>
                  <a:pt x="84" y="113"/>
                  <a:pt x="76" y="126"/>
                </a:cubicBezTo>
                <a:close/>
              </a:path>
            </a:pathLst>
          </a:custGeom>
          <a:solidFill>
            <a:srgbClr val="FFC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0" name="Freeform 14"/>
          <p:cNvSpPr/>
          <p:nvPr/>
        </p:nvSpPr>
        <p:spPr bwMode="auto">
          <a:xfrm>
            <a:off x="3340100" y="2274888"/>
            <a:ext cx="974725" cy="401637"/>
          </a:xfrm>
          <a:custGeom>
            <a:avLst/>
            <a:gdLst>
              <a:gd name="T0" fmla="*/ 2147483646 w 109"/>
              <a:gd name="T1" fmla="*/ 0 h 45"/>
              <a:gd name="T2" fmla="*/ 2147483646 w 109"/>
              <a:gd name="T3" fmla="*/ 2147483646 h 45"/>
              <a:gd name="T4" fmla="*/ 2147483646 w 109"/>
              <a:gd name="T5" fmla="*/ 2147483646 h 45"/>
              <a:gd name="T6" fmla="*/ 0 w 109"/>
              <a:gd name="T7" fmla="*/ 2147483646 h 45"/>
              <a:gd name="T8" fmla="*/ 2147483646 w 109"/>
              <a:gd name="T9" fmla="*/ 0 h 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9" h="45">
                <a:moveTo>
                  <a:pt x="69" y="0"/>
                </a:moveTo>
                <a:cubicBezTo>
                  <a:pt x="84" y="0"/>
                  <a:pt x="97" y="4"/>
                  <a:pt x="109" y="10"/>
                </a:cubicBezTo>
                <a:cubicBezTo>
                  <a:pt x="91" y="32"/>
                  <a:pt x="65" y="45"/>
                  <a:pt x="35" y="45"/>
                </a:cubicBezTo>
                <a:cubicBezTo>
                  <a:pt x="22" y="45"/>
                  <a:pt x="11" y="43"/>
                  <a:pt x="0" y="39"/>
                </a:cubicBezTo>
                <a:cubicBezTo>
                  <a:pt x="14" y="16"/>
                  <a:pt x="40" y="0"/>
                  <a:pt x="69" y="0"/>
                </a:cubicBezTo>
                <a:close/>
              </a:path>
            </a:pathLst>
          </a:custGeom>
          <a:solidFill>
            <a:srgbClr val="FFC000">
              <a:alpha val="5098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1" name="Freeform 15"/>
          <p:cNvSpPr/>
          <p:nvPr/>
        </p:nvSpPr>
        <p:spPr bwMode="auto">
          <a:xfrm>
            <a:off x="3894138" y="1470025"/>
            <a:ext cx="615950" cy="1171575"/>
          </a:xfrm>
          <a:custGeom>
            <a:avLst/>
            <a:gdLst>
              <a:gd name="T0" fmla="*/ 2147483646 w 69"/>
              <a:gd name="T1" fmla="*/ 2147483646 h 131"/>
              <a:gd name="T2" fmla="*/ 0 w 69"/>
              <a:gd name="T3" fmla="*/ 2147483646 h 131"/>
              <a:gd name="T4" fmla="*/ 2147483646 w 69"/>
              <a:gd name="T5" fmla="*/ 0 h 131"/>
              <a:gd name="T6" fmla="*/ 2147483646 w 69"/>
              <a:gd name="T7" fmla="*/ 2147483646 h 131"/>
              <a:gd name="T8" fmla="*/ 2147483646 w 69"/>
              <a:gd name="T9" fmla="*/ 2147483646 h 1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9" h="131">
                <a:moveTo>
                  <a:pt x="3" y="131"/>
                </a:moveTo>
                <a:cubicBezTo>
                  <a:pt x="1" y="122"/>
                  <a:pt x="0" y="113"/>
                  <a:pt x="0" y="105"/>
                </a:cubicBezTo>
                <a:cubicBezTo>
                  <a:pt x="0" y="60"/>
                  <a:pt x="24" y="21"/>
                  <a:pt x="61" y="0"/>
                </a:cubicBezTo>
                <a:cubicBezTo>
                  <a:pt x="66" y="12"/>
                  <a:pt x="69" y="25"/>
                  <a:pt x="69" y="39"/>
                </a:cubicBezTo>
                <a:cubicBezTo>
                  <a:pt x="69" y="82"/>
                  <a:pt x="41" y="118"/>
                  <a:pt x="3" y="131"/>
                </a:cubicBezTo>
                <a:close/>
              </a:path>
            </a:pathLst>
          </a:custGeom>
          <a:solidFill>
            <a:srgbClr val="92D05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" name="Freeform 16"/>
          <p:cNvSpPr/>
          <p:nvPr/>
        </p:nvSpPr>
        <p:spPr bwMode="auto">
          <a:xfrm>
            <a:off x="3894138" y="2274888"/>
            <a:ext cx="420687" cy="366712"/>
          </a:xfrm>
          <a:custGeom>
            <a:avLst/>
            <a:gdLst>
              <a:gd name="T0" fmla="*/ 2147483646 w 47"/>
              <a:gd name="T1" fmla="*/ 2147483646 h 41"/>
              <a:gd name="T2" fmla="*/ 0 w 47"/>
              <a:gd name="T3" fmla="*/ 2147483646 h 41"/>
              <a:gd name="T4" fmla="*/ 2147483646 w 47"/>
              <a:gd name="T5" fmla="*/ 0 h 41"/>
              <a:gd name="T6" fmla="*/ 2147483646 w 47"/>
              <a:gd name="T7" fmla="*/ 0 h 41"/>
              <a:gd name="T8" fmla="*/ 2147483646 w 47"/>
              <a:gd name="T9" fmla="*/ 2147483646 h 41"/>
              <a:gd name="T10" fmla="*/ 2147483646 w 47"/>
              <a:gd name="T11" fmla="*/ 2147483646 h 41"/>
              <a:gd name="T12" fmla="*/ 2147483646 w 47"/>
              <a:gd name="T13" fmla="*/ 2147483646 h 41"/>
              <a:gd name="T14" fmla="*/ 2147483646 w 47"/>
              <a:gd name="T15" fmla="*/ 2147483646 h 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7" h="41">
                <a:moveTo>
                  <a:pt x="3" y="41"/>
                </a:moveTo>
                <a:cubicBezTo>
                  <a:pt x="1" y="32"/>
                  <a:pt x="0" y="23"/>
                  <a:pt x="0" y="15"/>
                </a:cubicBezTo>
                <a:cubicBezTo>
                  <a:pt x="0" y="10"/>
                  <a:pt x="0" y="5"/>
                  <a:pt x="1" y="0"/>
                </a:cubicBezTo>
                <a:cubicBezTo>
                  <a:pt x="3" y="0"/>
                  <a:pt x="5" y="0"/>
                  <a:pt x="7" y="0"/>
                </a:cubicBezTo>
                <a:cubicBezTo>
                  <a:pt x="22" y="0"/>
                  <a:pt x="35" y="4"/>
                  <a:pt x="47" y="10"/>
                </a:cubicBezTo>
                <a:cubicBezTo>
                  <a:pt x="46" y="11"/>
                  <a:pt x="46" y="11"/>
                  <a:pt x="46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34" y="25"/>
                  <a:pt x="20" y="35"/>
                  <a:pt x="3" y="41"/>
                </a:cubicBezTo>
                <a:close/>
              </a:path>
            </a:pathLst>
          </a:custGeom>
          <a:solidFill>
            <a:srgbClr val="C75F0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3" name="TextBox 682"/>
          <p:cNvSpPr txBox="1">
            <a:spLocks noChangeArrowheads="1"/>
          </p:cNvSpPr>
          <p:nvPr/>
        </p:nvSpPr>
        <p:spPr bwMode="auto">
          <a:xfrm>
            <a:off x="3059113" y="1492250"/>
            <a:ext cx="938212" cy="61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3400">
                <a:solidFill>
                  <a:schemeClr val="bg1"/>
                </a:solidFill>
              </a:rPr>
              <a:t>80%</a:t>
            </a:r>
            <a:endParaRPr lang="zh-CN" altLang="en-US" sz="3400">
              <a:solidFill>
                <a:schemeClr val="bg1"/>
              </a:solidFill>
            </a:endParaRPr>
          </a:p>
        </p:txBody>
      </p:sp>
      <p:sp>
        <p:nvSpPr>
          <p:cNvPr id="14" name="TextBox 682"/>
          <p:cNvSpPr txBox="1">
            <a:spLocks noChangeArrowheads="1"/>
          </p:cNvSpPr>
          <p:nvPr/>
        </p:nvSpPr>
        <p:spPr bwMode="auto">
          <a:xfrm>
            <a:off x="4475163" y="2224088"/>
            <a:ext cx="107156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4000">
                <a:solidFill>
                  <a:schemeClr val="bg1"/>
                </a:solidFill>
              </a:rPr>
              <a:t>40%</a:t>
            </a:r>
            <a:endParaRPr lang="zh-CN" altLang="en-US" sz="4000">
              <a:solidFill>
                <a:schemeClr val="bg1"/>
              </a:solidFill>
            </a:endParaRPr>
          </a:p>
        </p:txBody>
      </p:sp>
      <p:sp>
        <p:nvSpPr>
          <p:cNvPr id="15" name="TextBox 682"/>
          <p:cNvSpPr txBox="1">
            <a:spLocks noChangeArrowheads="1"/>
          </p:cNvSpPr>
          <p:nvPr/>
        </p:nvSpPr>
        <p:spPr bwMode="auto">
          <a:xfrm>
            <a:off x="5341938" y="987425"/>
            <a:ext cx="814387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>
                <a:solidFill>
                  <a:schemeClr val="bg1"/>
                </a:solidFill>
              </a:rPr>
              <a:t>28%</a:t>
            </a: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6" name="TextBox 682"/>
          <p:cNvSpPr txBox="1">
            <a:spLocks noChangeArrowheads="1"/>
          </p:cNvSpPr>
          <p:nvPr/>
        </p:nvSpPr>
        <p:spPr bwMode="auto">
          <a:xfrm>
            <a:off x="5543550" y="3068638"/>
            <a:ext cx="806450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800">
                <a:solidFill>
                  <a:schemeClr val="bg1"/>
                </a:solidFill>
              </a:rPr>
              <a:t>85%</a:t>
            </a:r>
            <a:endParaRPr lang="zh-CN" altLang="en-US" sz="2800">
              <a:solidFill>
                <a:schemeClr val="bg1"/>
              </a:solidFill>
            </a:endParaRPr>
          </a:p>
        </p:txBody>
      </p:sp>
      <p:sp>
        <p:nvSpPr>
          <p:cNvPr id="17" name="TextBox 682"/>
          <p:cNvSpPr txBox="1">
            <a:spLocks noChangeArrowheads="1"/>
          </p:cNvSpPr>
          <p:nvPr/>
        </p:nvSpPr>
        <p:spPr bwMode="auto">
          <a:xfrm>
            <a:off x="3316288" y="2859088"/>
            <a:ext cx="89535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>
                <a:solidFill>
                  <a:schemeClr val="bg1"/>
                </a:solidFill>
              </a:rPr>
              <a:t>60%</a:t>
            </a:r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26" name="组合 25"/>
          <p:cNvGrpSpPr/>
          <p:nvPr/>
        </p:nvGrpSpPr>
        <p:grpSpPr bwMode="auto">
          <a:xfrm>
            <a:off x="920750" y="1485900"/>
            <a:ext cx="1874838" cy="339725"/>
            <a:chOff x="920834" y="1486463"/>
            <a:chExt cx="1875432" cy="338554"/>
          </a:xfrm>
        </p:grpSpPr>
        <p:cxnSp>
          <p:nvCxnSpPr>
            <p:cNvPr id="18" name="直接连接符 17"/>
            <p:cNvCxnSpPr>
              <a:stCxn id="2" idx="2"/>
            </p:cNvCxnSpPr>
            <p:nvPr/>
          </p:nvCxnSpPr>
          <p:spPr>
            <a:xfrm flipH="1">
              <a:off x="973239" y="1818689"/>
              <a:ext cx="1823027" cy="0"/>
            </a:xfrm>
            <a:prstGeom prst="line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" name="TextBox 18"/>
            <p:cNvSpPr txBox="1"/>
            <p:nvPr/>
          </p:nvSpPr>
          <p:spPr bwMode="auto">
            <a:xfrm>
              <a:off x="920834" y="1486463"/>
              <a:ext cx="1159242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8" name="组合 27"/>
          <p:cNvGrpSpPr/>
          <p:nvPr/>
        </p:nvGrpSpPr>
        <p:grpSpPr bwMode="auto">
          <a:xfrm>
            <a:off x="973138" y="2698750"/>
            <a:ext cx="2260600" cy="338138"/>
            <a:chOff x="973528" y="2698702"/>
            <a:chExt cx="2260023" cy="338554"/>
          </a:xfrm>
        </p:grpSpPr>
        <p:cxnSp>
          <p:nvCxnSpPr>
            <p:cNvPr id="20" name="直接连接符 19"/>
            <p:cNvCxnSpPr/>
            <p:nvPr/>
          </p:nvCxnSpPr>
          <p:spPr>
            <a:xfrm flipH="1">
              <a:off x="973528" y="3030898"/>
              <a:ext cx="2260023" cy="0"/>
            </a:xfrm>
            <a:prstGeom prst="line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1" name="TextBox 20"/>
            <p:cNvSpPr txBox="1"/>
            <p:nvPr/>
          </p:nvSpPr>
          <p:spPr bwMode="auto">
            <a:xfrm>
              <a:off x="973528" y="2698702"/>
              <a:ext cx="115857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9" name="组合 28"/>
          <p:cNvGrpSpPr/>
          <p:nvPr/>
        </p:nvGrpSpPr>
        <p:grpSpPr bwMode="auto">
          <a:xfrm>
            <a:off x="6342063" y="2906713"/>
            <a:ext cx="1881187" cy="338137"/>
            <a:chOff x="6342165" y="2905938"/>
            <a:chExt cx="1881002" cy="338554"/>
          </a:xfrm>
        </p:grpSpPr>
        <p:cxnSp>
          <p:nvCxnSpPr>
            <p:cNvPr id="22" name="直接连接符 21"/>
            <p:cNvCxnSpPr/>
            <p:nvPr/>
          </p:nvCxnSpPr>
          <p:spPr>
            <a:xfrm flipH="1">
              <a:off x="6342165" y="3238134"/>
              <a:ext cx="1833382" cy="0"/>
            </a:xfrm>
            <a:prstGeom prst="line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" name="TextBox 22"/>
            <p:cNvSpPr txBox="1"/>
            <p:nvPr/>
          </p:nvSpPr>
          <p:spPr bwMode="auto">
            <a:xfrm>
              <a:off x="7064406" y="2905938"/>
              <a:ext cx="1158761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spc="300">
                  <a:solidFill>
                    <a:srgbClr val="2848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0" name="组合 29"/>
          <p:cNvGrpSpPr/>
          <p:nvPr/>
        </p:nvGrpSpPr>
        <p:grpSpPr bwMode="auto">
          <a:xfrm>
            <a:off x="6029325" y="2071688"/>
            <a:ext cx="2193925" cy="338137"/>
            <a:chOff x="6028994" y="2071673"/>
            <a:chExt cx="2194173" cy="338554"/>
          </a:xfrm>
        </p:grpSpPr>
        <p:cxnSp>
          <p:nvCxnSpPr>
            <p:cNvPr id="24" name="直接连接符 23"/>
            <p:cNvCxnSpPr/>
            <p:nvPr/>
          </p:nvCxnSpPr>
          <p:spPr>
            <a:xfrm flipH="1">
              <a:off x="6028994" y="2403869"/>
              <a:ext cx="2146543" cy="0"/>
            </a:xfrm>
            <a:prstGeom prst="line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5" name="TextBox 24"/>
            <p:cNvSpPr txBox="1"/>
            <p:nvPr/>
          </p:nvSpPr>
          <p:spPr bwMode="auto">
            <a:xfrm>
              <a:off x="7064161" y="2071673"/>
              <a:ext cx="1159006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spc="300">
                  <a:solidFill>
                    <a:srgbClr val="8BC92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1" name="组合 30"/>
          <p:cNvGrpSpPr/>
          <p:nvPr/>
        </p:nvGrpSpPr>
        <p:grpSpPr bwMode="auto">
          <a:xfrm>
            <a:off x="6342063" y="1379538"/>
            <a:ext cx="1881187" cy="350837"/>
            <a:chOff x="6342165" y="1378946"/>
            <a:chExt cx="1881002" cy="351521"/>
          </a:xfrm>
        </p:grpSpPr>
        <p:sp>
          <p:nvSpPr>
            <p:cNvPr id="27" name="TextBox 26"/>
            <p:cNvSpPr txBox="1"/>
            <p:nvPr/>
          </p:nvSpPr>
          <p:spPr bwMode="auto">
            <a:xfrm>
              <a:off x="7064406" y="1378946"/>
              <a:ext cx="1158761" cy="33879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spc="300">
                  <a:solidFill>
                    <a:srgbClr val="EB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8" name="直接连接符 37"/>
            <p:cNvCxnSpPr/>
            <p:nvPr/>
          </p:nvCxnSpPr>
          <p:spPr>
            <a:xfrm>
              <a:off x="6342165" y="1730467"/>
              <a:ext cx="182862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791" name="组合 3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1" name="任意多边形 4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282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792" name="组合 42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4" name="任意多边形 4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2826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793" name="组合 45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47" name="任意多边形 46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8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4" name="组合 48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50" name="任意多边形 49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1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5" name="组合 5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53" name="任意多边形 5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4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6" name="组合 54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56" name="任意多边形 55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7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7" name="组合 57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59" name="任意多边形 58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0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8" name="组合 60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32813" name="矩形 61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任意多边形 62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64" name="组合 63"/>
          <p:cNvGrpSpPr/>
          <p:nvPr/>
        </p:nvGrpSpPr>
        <p:grpSpPr bwMode="auto">
          <a:xfrm>
            <a:off x="787400" y="3757613"/>
            <a:ext cx="7704138" cy="958850"/>
            <a:chOff x="787674" y="3556756"/>
            <a:chExt cx="7703403" cy="959210"/>
          </a:xfrm>
        </p:grpSpPr>
        <p:sp>
          <p:nvSpPr>
            <p:cNvPr id="65" name="矩形 1"/>
            <p:cNvSpPr>
              <a:spLocks noChangeArrowheads="1"/>
            </p:cNvSpPr>
            <p:nvPr/>
          </p:nvSpPr>
          <p:spPr bwMode="auto">
            <a:xfrm>
              <a:off x="787674" y="3869610"/>
              <a:ext cx="7703403" cy="646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66" name="直接连接符 65"/>
            <p:cNvCxnSpPr/>
            <p:nvPr/>
          </p:nvCxnSpPr>
          <p:spPr>
            <a:xfrm>
              <a:off x="894027" y="3880728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806" name="组合 66"/>
            <p:cNvGrpSpPr/>
            <p:nvPr/>
          </p:nvGrpSpPr>
          <p:grpSpPr bwMode="auto">
            <a:xfrm>
              <a:off x="899832" y="3556756"/>
              <a:ext cx="2076537" cy="322262"/>
              <a:chOff x="957895" y="1031498"/>
              <a:chExt cx="2076537" cy="322262"/>
            </a:xfrm>
          </p:grpSpPr>
          <p:sp>
            <p:nvSpPr>
              <p:cNvPr id="68" name="TextBox 265"/>
              <p:cNvSpPr txBox="1"/>
              <p:nvPr/>
            </p:nvSpPr>
            <p:spPr bwMode="auto">
              <a:xfrm>
                <a:off x="1156857" y="1031498"/>
                <a:ext cx="1101620" cy="32238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2808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2809" name="组合 69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72" name="流程图: 决策 166"/>
                <p:cNvSpPr/>
                <p:nvPr/>
              </p:nvSpPr>
              <p:spPr>
                <a:xfrm>
                  <a:off x="958439" y="1125195"/>
                  <a:ext cx="136512" cy="182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73" name="流程图: 决策 166"/>
                <p:cNvSpPr/>
                <p:nvPr/>
              </p:nvSpPr>
              <p:spPr>
                <a:xfrm>
                  <a:off x="1107650" y="1126784"/>
                  <a:ext cx="90478" cy="1794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71" name="直接连接符 70"/>
              <p:cNvCxnSpPr/>
              <p:nvPr/>
            </p:nvCxnSpPr>
            <p:spPr>
              <a:xfrm>
                <a:off x="2263240" y="1137900"/>
                <a:ext cx="0" cy="14451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4" name="矩形 73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5" name="矩形 74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6" name="矩形 75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7" name="矩形 76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7" presetClass="emph" presetSubtype="0" fill="remove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250" autoRev="1" fill="remove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2" dur="250" autoRev="1" fill="remove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3" dur="250" autoRev="1" fill="remove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250" autoRev="1" fill="remove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23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3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3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2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4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2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4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4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4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3" grpId="1" animBg="1"/>
      <p:bldP spid="13" grpId="0"/>
      <p:bldP spid="14" grpId="0"/>
      <p:bldP spid="15" grpId="0"/>
      <p:bldP spid="16" grpId="0"/>
      <p:bldP spid="1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组合 82"/>
          <p:cNvGrpSpPr/>
          <p:nvPr/>
        </p:nvGrpSpPr>
        <p:grpSpPr bwMode="auto">
          <a:xfrm>
            <a:off x="623888" y="2725738"/>
            <a:ext cx="3783012" cy="77787"/>
            <a:chOff x="624459" y="2495149"/>
            <a:chExt cx="3783211" cy="76601"/>
          </a:xfrm>
        </p:grpSpPr>
        <p:sp>
          <p:nvSpPr>
            <p:cNvPr id="33876" name="Rectangle 9"/>
            <p:cNvSpPr>
              <a:spLocks noChangeArrowheads="1"/>
            </p:cNvSpPr>
            <p:nvPr/>
          </p:nvSpPr>
          <p:spPr bwMode="auto">
            <a:xfrm>
              <a:off x="624459" y="2495149"/>
              <a:ext cx="3783211" cy="7660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77" name="Freeform 78"/>
            <p:cNvSpPr/>
            <p:nvPr/>
          </p:nvSpPr>
          <p:spPr bwMode="auto">
            <a:xfrm>
              <a:off x="624459" y="2495149"/>
              <a:ext cx="2534898" cy="76601"/>
            </a:xfrm>
            <a:custGeom>
              <a:avLst/>
              <a:gdLst>
                <a:gd name="T0" fmla="*/ 2147483646 w 323"/>
                <a:gd name="T1" fmla="*/ 2147483646 h 10"/>
                <a:gd name="T2" fmla="*/ 2147483646 w 323"/>
                <a:gd name="T3" fmla="*/ 2147483646 h 10"/>
                <a:gd name="T4" fmla="*/ 2147483646 w 323"/>
                <a:gd name="T5" fmla="*/ 2147483646 h 10"/>
                <a:gd name="T6" fmla="*/ 0 w 323"/>
                <a:gd name="T7" fmla="*/ 2147483646 h 10"/>
                <a:gd name="T8" fmla="*/ 0 w 323"/>
                <a:gd name="T9" fmla="*/ 2147483646 h 10"/>
                <a:gd name="T10" fmla="*/ 2147483646 w 323"/>
                <a:gd name="T11" fmla="*/ 0 h 10"/>
                <a:gd name="T12" fmla="*/ 2147483646 w 323"/>
                <a:gd name="T13" fmla="*/ 0 h 10"/>
                <a:gd name="T14" fmla="*/ 2147483646 w 323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23" h="10">
                  <a:moveTo>
                    <a:pt x="323" y="5"/>
                  </a:moveTo>
                  <a:cubicBezTo>
                    <a:pt x="323" y="8"/>
                    <a:pt x="321" y="10"/>
                    <a:pt x="319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0"/>
                    <a:pt x="4" y="0"/>
                  </a:cubicBezTo>
                  <a:cubicBezTo>
                    <a:pt x="319" y="0"/>
                    <a:pt x="319" y="0"/>
                    <a:pt x="319" y="0"/>
                  </a:cubicBezTo>
                  <a:cubicBezTo>
                    <a:pt x="321" y="0"/>
                    <a:pt x="323" y="3"/>
                    <a:pt x="323" y="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4" name="组合 83"/>
          <p:cNvGrpSpPr/>
          <p:nvPr/>
        </p:nvGrpSpPr>
        <p:grpSpPr bwMode="auto">
          <a:xfrm>
            <a:off x="623888" y="3021013"/>
            <a:ext cx="3783012" cy="68262"/>
            <a:chOff x="624459" y="2897882"/>
            <a:chExt cx="3783211" cy="67694"/>
          </a:xfrm>
        </p:grpSpPr>
        <p:sp>
          <p:nvSpPr>
            <p:cNvPr id="33874" name="Rectangle 79"/>
            <p:cNvSpPr>
              <a:spLocks noChangeArrowheads="1"/>
            </p:cNvSpPr>
            <p:nvPr/>
          </p:nvSpPr>
          <p:spPr bwMode="auto">
            <a:xfrm>
              <a:off x="624459" y="2897882"/>
              <a:ext cx="3783211" cy="67694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75" name="Freeform 80"/>
            <p:cNvSpPr/>
            <p:nvPr/>
          </p:nvSpPr>
          <p:spPr bwMode="auto">
            <a:xfrm>
              <a:off x="624459" y="2897882"/>
              <a:ext cx="2323505" cy="67694"/>
            </a:xfrm>
            <a:custGeom>
              <a:avLst/>
              <a:gdLst>
                <a:gd name="T0" fmla="*/ 2147483646 w 296"/>
                <a:gd name="T1" fmla="*/ 2147483646 h 9"/>
                <a:gd name="T2" fmla="*/ 2147483646 w 296"/>
                <a:gd name="T3" fmla="*/ 2147483646 h 9"/>
                <a:gd name="T4" fmla="*/ 2147483646 w 296"/>
                <a:gd name="T5" fmla="*/ 2147483646 h 9"/>
                <a:gd name="T6" fmla="*/ 0 w 296"/>
                <a:gd name="T7" fmla="*/ 2147483646 h 9"/>
                <a:gd name="T8" fmla="*/ 0 w 296"/>
                <a:gd name="T9" fmla="*/ 2147483646 h 9"/>
                <a:gd name="T10" fmla="*/ 2147483646 w 296"/>
                <a:gd name="T11" fmla="*/ 0 h 9"/>
                <a:gd name="T12" fmla="*/ 2147483646 w 296"/>
                <a:gd name="T13" fmla="*/ 0 h 9"/>
                <a:gd name="T14" fmla="*/ 2147483646 w 296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6" h="9">
                  <a:moveTo>
                    <a:pt x="296" y="5"/>
                  </a:moveTo>
                  <a:cubicBezTo>
                    <a:pt x="296" y="7"/>
                    <a:pt x="294" y="9"/>
                    <a:pt x="292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4" y="0"/>
                    <a:pt x="296" y="2"/>
                    <a:pt x="296" y="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5" name="组合 84"/>
          <p:cNvGrpSpPr/>
          <p:nvPr/>
        </p:nvGrpSpPr>
        <p:grpSpPr bwMode="auto">
          <a:xfrm>
            <a:off x="623888" y="3308350"/>
            <a:ext cx="3783012" cy="76200"/>
            <a:chOff x="624459" y="3176750"/>
            <a:chExt cx="3783211" cy="76601"/>
          </a:xfrm>
        </p:grpSpPr>
        <p:sp>
          <p:nvSpPr>
            <p:cNvPr id="33872" name="Rectangle 81"/>
            <p:cNvSpPr>
              <a:spLocks noChangeArrowheads="1"/>
            </p:cNvSpPr>
            <p:nvPr/>
          </p:nvSpPr>
          <p:spPr bwMode="auto">
            <a:xfrm>
              <a:off x="624459" y="3176750"/>
              <a:ext cx="3783211" cy="7660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73" name="Freeform 82"/>
            <p:cNvSpPr/>
            <p:nvPr/>
          </p:nvSpPr>
          <p:spPr bwMode="auto">
            <a:xfrm>
              <a:off x="624459" y="3176750"/>
              <a:ext cx="1350366" cy="76601"/>
            </a:xfrm>
            <a:custGeom>
              <a:avLst/>
              <a:gdLst>
                <a:gd name="T0" fmla="*/ 2147483646 w 172"/>
                <a:gd name="T1" fmla="*/ 2147483646 h 10"/>
                <a:gd name="T2" fmla="*/ 2147483646 w 172"/>
                <a:gd name="T3" fmla="*/ 2147483646 h 10"/>
                <a:gd name="T4" fmla="*/ 2147483646 w 172"/>
                <a:gd name="T5" fmla="*/ 2147483646 h 10"/>
                <a:gd name="T6" fmla="*/ 0 w 172"/>
                <a:gd name="T7" fmla="*/ 2147483646 h 10"/>
                <a:gd name="T8" fmla="*/ 0 w 172"/>
                <a:gd name="T9" fmla="*/ 2147483646 h 10"/>
                <a:gd name="T10" fmla="*/ 2147483646 w 172"/>
                <a:gd name="T11" fmla="*/ 0 h 10"/>
                <a:gd name="T12" fmla="*/ 2147483646 w 172"/>
                <a:gd name="T13" fmla="*/ 0 h 10"/>
                <a:gd name="T14" fmla="*/ 2147483646 w 172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72" h="10">
                  <a:moveTo>
                    <a:pt x="172" y="5"/>
                  </a:moveTo>
                  <a:cubicBezTo>
                    <a:pt x="172" y="8"/>
                    <a:pt x="171" y="10"/>
                    <a:pt x="169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1" y="0"/>
                    <a:pt x="172" y="2"/>
                    <a:pt x="172" y="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6" name="组合 85"/>
          <p:cNvGrpSpPr/>
          <p:nvPr/>
        </p:nvGrpSpPr>
        <p:grpSpPr bwMode="auto">
          <a:xfrm>
            <a:off x="623888" y="3602038"/>
            <a:ext cx="3783012" cy="69850"/>
            <a:chOff x="624459" y="3422584"/>
            <a:chExt cx="3783211" cy="69476"/>
          </a:xfrm>
        </p:grpSpPr>
        <p:sp>
          <p:nvSpPr>
            <p:cNvPr id="33870" name="Rectangle 83"/>
            <p:cNvSpPr>
              <a:spLocks noChangeArrowheads="1"/>
            </p:cNvSpPr>
            <p:nvPr/>
          </p:nvSpPr>
          <p:spPr bwMode="auto">
            <a:xfrm>
              <a:off x="624459" y="3422584"/>
              <a:ext cx="3783211" cy="69476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71" name="Freeform 84"/>
            <p:cNvSpPr/>
            <p:nvPr/>
          </p:nvSpPr>
          <p:spPr bwMode="auto">
            <a:xfrm>
              <a:off x="624459" y="3422584"/>
              <a:ext cx="2912125" cy="69476"/>
            </a:xfrm>
            <a:custGeom>
              <a:avLst/>
              <a:gdLst>
                <a:gd name="T0" fmla="*/ 2147483646 w 371"/>
                <a:gd name="T1" fmla="*/ 2147483646 h 9"/>
                <a:gd name="T2" fmla="*/ 2147483646 w 371"/>
                <a:gd name="T3" fmla="*/ 2147483646 h 9"/>
                <a:gd name="T4" fmla="*/ 2147483646 w 371"/>
                <a:gd name="T5" fmla="*/ 2147483646 h 9"/>
                <a:gd name="T6" fmla="*/ 0 w 371"/>
                <a:gd name="T7" fmla="*/ 2147483646 h 9"/>
                <a:gd name="T8" fmla="*/ 0 w 371"/>
                <a:gd name="T9" fmla="*/ 2147483646 h 9"/>
                <a:gd name="T10" fmla="*/ 2147483646 w 371"/>
                <a:gd name="T11" fmla="*/ 0 h 9"/>
                <a:gd name="T12" fmla="*/ 2147483646 w 371"/>
                <a:gd name="T13" fmla="*/ 0 h 9"/>
                <a:gd name="T14" fmla="*/ 2147483646 w 371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71" h="9">
                  <a:moveTo>
                    <a:pt x="371" y="4"/>
                  </a:moveTo>
                  <a:cubicBezTo>
                    <a:pt x="371" y="7"/>
                    <a:pt x="368" y="9"/>
                    <a:pt x="36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68" y="0"/>
                    <a:pt x="371" y="2"/>
                    <a:pt x="371" y="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7" name="组合 86"/>
          <p:cNvGrpSpPr/>
          <p:nvPr/>
        </p:nvGrpSpPr>
        <p:grpSpPr bwMode="auto">
          <a:xfrm>
            <a:off x="623888" y="3890963"/>
            <a:ext cx="3783012" cy="76200"/>
            <a:chOff x="624459" y="3659512"/>
            <a:chExt cx="3783211" cy="76601"/>
          </a:xfrm>
        </p:grpSpPr>
        <p:sp>
          <p:nvSpPr>
            <p:cNvPr id="33868" name="Rectangle 85"/>
            <p:cNvSpPr>
              <a:spLocks noChangeArrowheads="1"/>
            </p:cNvSpPr>
            <p:nvPr/>
          </p:nvSpPr>
          <p:spPr bwMode="auto">
            <a:xfrm>
              <a:off x="624459" y="3659512"/>
              <a:ext cx="3783211" cy="7660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69" name="Freeform 86"/>
            <p:cNvSpPr/>
            <p:nvPr/>
          </p:nvSpPr>
          <p:spPr bwMode="auto">
            <a:xfrm>
              <a:off x="624459" y="3659512"/>
              <a:ext cx="1756751" cy="76601"/>
            </a:xfrm>
            <a:custGeom>
              <a:avLst/>
              <a:gdLst>
                <a:gd name="T0" fmla="*/ 2147483646 w 224"/>
                <a:gd name="T1" fmla="*/ 2147483646 h 10"/>
                <a:gd name="T2" fmla="*/ 2147483646 w 224"/>
                <a:gd name="T3" fmla="*/ 2147483646 h 10"/>
                <a:gd name="T4" fmla="*/ 2147483646 w 224"/>
                <a:gd name="T5" fmla="*/ 2147483646 h 10"/>
                <a:gd name="T6" fmla="*/ 0 w 224"/>
                <a:gd name="T7" fmla="*/ 2147483646 h 10"/>
                <a:gd name="T8" fmla="*/ 0 w 224"/>
                <a:gd name="T9" fmla="*/ 2147483646 h 10"/>
                <a:gd name="T10" fmla="*/ 2147483646 w 224"/>
                <a:gd name="T11" fmla="*/ 0 h 10"/>
                <a:gd name="T12" fmla="*/ 2147483646 w 224"/>
                <a:gd name="T13" fmla="*/ 0 h 10"/>
                <a:gd name="T14" fmla="*/ 2147483646 w 224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24" h="10">
                  <a:moveTo>
                    <a:pt x="224" y="5"/>
                  </a:moveTo>
                  <a:cubicBezTo>
                    <a:pt x="224" y="7"/>
                    <a:pt x="222" y="10"/>
                    <a:pt x="221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" y="10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2" y="0"/>
                    <a:pt x="224" y="2"/>
                    <a:pt x="224" y="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" name="矩形 1"/>
          <p:cNvSpPr>
            <a:spLocks noChangeArrowheads="1"/>
          </p:cNvSpPr>
          <p:nvPr/>
        </p:nvSpPr>
        <p:spPr bwMode="auto">
          <a:xfrm>
            <a:off x="617538" y="1598613"/>
            <a:ext cx="3821112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。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3" name="直接连接符 22"/>
          <p:cNvCxnSpPr/>
          <p:nvPr/>
        </p:nvCxnSpPr>
        <p:spPr>
          <a:xfrm>
            <a:off x="581025" y="4349750"/>
            <a:ext cx="3830638" cy="0"/>
          </a:xfrm>
          <a:prstGeom prst="line">
            <a:avLst/>
          </a:prstGeom>
          <a:solidFill>
            <a:srgbClr val="070606"/>
          </a:solidFill>
          <a:ln w="3175">
            <a:solidFill>
              <a:schemeClr val="tx1">
                <a:lumMod val="50000"/>
                <a:lumOff val="50000"/>
              </a:schemeClr>
            </a:solidFill>
            <a:round/>
          </a:ln>
        </p:spPr>
      </p:cxnSp>
      <p:cxnSp>
        <p:nvCxnSpPr>
          <p:cNvPr id="26" name="直接连接符 25"/>
          <p:cNvCxnSpPr/>
          <p:nvPr/>
        </p:nvCxnSpPr>
        <p:spPr>
          <a:xfrm>
            <a:off x="4657725" y="4349750"/>
            <a:ext cx="3830638" cy="0"/>
          </a:xfrm>
          <a:prstGeom prst="line">
            <a:avLst/>
          </a:prstGeom>
          <a:solidFill>
            <a:srgbClr val="070606"/>
          </a:solidFill>
          <a:ln w="3175">
            <a:solidFill>
              <a:schemeClr val="bg1">
                <a:lumMod val="65000"/>
              </a:schemeClr>
            </a:solidFill>
            <a:round/>
          </a:ln>
        </p:spPr>
      </p:cxnSp>
      <p:sp>
        <p:nvSpPr>
          <p:cNvPr id="27" name="TextBox 26"/>
          <p:cNvSpPr txBox="1"/>
          <p:nvPr/>
        </p:nvSpPr>
        <p:spPr bwMode="auto">
          <a:xfrm>
            <a:off x="539750" y="2779713"/>
            <a:ext cx="954088" cy="27781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1200" spc="30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添加文字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539750" y="3068638"/>
            <a:ext cx="954088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/>
              <a:t>添加文字</a:t>
            </a:r>
            <a:endParaRPr lang="zh-CN" altLang="en-US" dirty="0"/>
          </a:p>
        </p:txBody>
      </p:sp>
      <p:grpSp>
        <p:nvGrpSpPr>
          <p:cNvPr id="22" name="组合 21"/>
          <p:cNvGrpSpPr/>
          <p:nvPr/>
        </p:nvGrpSpPr>
        <p:grpSpPr bwMode="auto">
          <a:xfrm>
            <a:off x="5040313" y="1716088"/>
            <a:ext cx="1135062" cy="1141412"/>
            <a:chOff x="5040313" y="1715577"/>
            <a:chExt cx="1135063" cy="1141413"/>
          </a:xfrm>
        </p:grpSpPr>
        <p:sp>
          <p:nvSpPr>
            <p:cNvPr id="33865" name="Freeform 91"/>
            <p:cNvSpPr/>
            <p:nvPr/>
          </p:nvSpPr>
          <p:spPr bwMode="auto">
            <a:xfrm>
              <a:off x="5607051" y="1715577"/>
              <a:ext cx="568325" cy="971550"/>
            </a:xfrm>
            <a:custGeom>
              <a:avLst/>
              <a:gdLst>
                <a:gd name="T0" fmla="*/ 0 w 83"/>
                <a:gd name="T1" fmla="*/ 0 h 142"/>
                <a:gd name="T2" fmla="*/ 0 w 83"/>
                <a:gd name="T3" fmla="*/ 2147483646 h 142"/>
                <a:gd name="T4" fmla="*/ 2147483646 w 83"/>
                <a:gd name="T5" fmla="*/ 2147483646 h 142"/>
                <a:gd name="T6" fmla="*/ 2147483646 w 83"/>
                <a:gd name="T7" fmla="*/ 2147483646 h 142"/>
                <a:gd name="T8" fmla="*/ 2147483646 w 83"/>
                <a:gd name="T9" fmla="*/ 2147483646 h 142"/>
                <a:gd name="T10" fmla="*/ 2147483646 w 83"/>
                <a:gd name="T11" fmla="*/ 2147483646 h 142"/>
                <a:gd name="T12" fmla="*/ 0 w 83"/>
                <a:gd name="T13" fmla="*/ 0 h 1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142">
                  <a:moveTo>
                    <a:pt x="0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32" y="25"/>
                    <a:pt x="59" y="51"/>
                    <a:pt x="59" y="83"/>
                  </a:cubicBezTo>
                  <a:cubicBezTo>
                    <a:pt x="59" y="100"/>
                    <a:pt x="52" y="114"/>
                    <a:pt x="41" y="125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73" y="127"/>
                    <a:pt x="83" y="106"/>
                    <a:pt x="83" y="83"/>
                  </a:cubicBezTo>
                  <a:cubicBezTo>
                    <a:pt x="83" y="38"/>
                    <a:pt x="45" y="0"/>
                    <a:pt x="0" y="0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866" name="Freeform 92"/>
            <p:cNvSpPr/>
            <p:nvPr/>
          </p:nvSpPr>
          <p:spPr bwMode="auto">
            <a:xfrm>
              <a:off x="5040313" y="1715577"/>
              <a:ext cx="963613" cy="1141413"/>
            </a:xfrm>
            <a:custGeom>
              <a:avLst/>
              <a:gdLst>
                <a:gd name="T0" fmla="*/ 2147483646 w 141"/>
                <a:gd name="T1" fmla="*/ 2147483646 h 167"/>
                <a:gd name="T2" fmla="*/ 2147483646 w 141"/>
                <a:gd name="T3" fmla="*/ 2147483646 h 167"/>
                <a:gd name="T4" fmla="*/ 2147483646 w 141"/>
                <a:gd name="T5" fmla="*/ 2147483646 h 167"/>
                <a:gd name="T6" fmla="*/ 2147483646 w 141"/>
                <a:gd name="T7" fmla="*/ 0 h 167"/>
                <a:gd name="T8" fmla="*/ 0 w 141"/>
                <a:gd name="T9" fmla="*/ 2147483646 h 167"/>
                <a:gd name="T10" fmla="*/ 2147483646 w 141"/>
                <a:gd name="T11" fmla="*/ 2147483646 h 167"/>
                <a:gd name="T12" fmla="*/ 2147483646 w 141"/>
                <a:gd name="T13" fmla="*/ 2147483646 h 167"/>
                <a:gd name="T14" fmla="*/ 2147483646 w 141"/>
                <a:gd name="T15" fmla="*/ 2147483646 h 167"/>
                <a:gd name="T16" fmla="*/ 2147483646 w 141"/>
                <a:gd name="T17" fmla="*/ 2147483646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1" h="167">
                  <a:moveTo>
                    <a:pt x="83" y="142"/>
                  </a:moveTo>
                  <a:cubicBezTo>
                    <a:pt x="50" y="142"/>
                    <a:pt x="24" y="116"/>
                    <a:pt x="24" y="83"/>
                  </a:cubicBezTo>
                  <a:cubicBezTo>
                    <a:pt x="24" y="51"/>
                    <a:pt x="50" y="25"/>
                    <a:pt x="83" y="25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3"/>
                  </a:cubicBezTo>
                  <a:cubicBezTo>
                    <a:pt x="0" y="129"/>
                    <a:pt x="37" y="167"/>
                    <a:pt x="83" y="167"/>
                  </a:cubicBezTo>
                  <a:cubicBezTo>
                    <a:pt x="105" y="167"/>
                    <a:pt x="126" y="157"/>
                    <a:pt x="141" y="14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114" y="136"/>
                    <a:pt x="99" y="142"/>
                    <a:pt x="83" y="142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5218113" y="2121977"/>
              <a:ext cx="819151" cy="33813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algn="ctr" eaLnBrk="1" hangingPunct="1">
                <a:defRPr/>
              </a:pPr>
              <a:r>
                <a:rPr lang="en-US" altLang="zh-CN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010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1" name="组合 20"/>
          <p:cNvGrpSpPr/>
          <p:nvPr/>
        </p:nvGrpSpPr>
        <p:grpSpPr bwMode="auto">
          <a:xfrm>
            <a:off x="6318250" y="1716088"/>
            <a:ext cx="1135063" cy="1135062"/>
            <a:chOff x="6318251" y="1715577"/>
            <a:chExt cx="1135063" cy="1135063"/>
          </a:xfrm>
        </p:grpSpPr>
        <p:sp>
          <p:nvSpPr>
            <p:cNvPr id="33862" name="Freeform 97"/>
            <p:cNvSpPr/>
            <p:nvPr/>
          </p:nvSpPr>
          <p:spPr bwMode="auto">
            <a:xfrm>
              <a:off x="6886576" y="1715577"/>
              <a:ext cx="566738" cy="1135063"/>
            </a:xfrm>
            <a:custGeom>
              <a:avLst/>
              <a:gdLst>
                <a:gd name="T0" fmla="*/ 2147483646 w 83"/>
                <a:gd name="T1" fmla="*/ 2147483646 h 166"/>
                <a:gd name="T2" fmla="*/ 0 w 83"/>
                <a:gd name="T3" fmla="*/ 0 h 166"/>
                <a:gd name="T4" fmla="*/ 0 w 83"/>
                <a:gd name="T5" fmla="*/ 2147483646 h 166"/>
                <a:gd name="T6" fmla="*/ 2147483646 w 83"/>
                <a:gd name="T7" fmla="*/ 2147483646 h 166"/>
                <a:gd name="T8" fmla="*/ 0 w 83"/>
                <a:gd name="T9" fmla="*/ 2147483646 h 166"/>
                <a:gd name="T10" fmla="*/ 0 w 83"/>
                <a:gd name="T11" fmla="*/ 2147483646 h 166"/>
                <a:gd name="T12" fmla="*/ 2147483646 w 83"/>
                <a:gd name="T13" fmla="*/ 2147483646 h 16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166">
                  <a:moveTo>
                    <a:pt x="83" y="83"/>
                  </a:moveTo>
                  <a:cubicBezTo>
                    <a:pt x="83" y="37"/>
                    <a:pt x="46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3" y="24"/>
                    <a:pt x="59" y="51"/>
                    <a:pt x="59" y="83"/>
                  </a:cubicBezTo>
                  <a:cubicBezTo>
                    <a:pt x="59" y="116"/>
                    <a:pt x="33" y="142"/>
                    <a:pt x="0" y="142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46" y="166"/>
                    <a:pt x="83" y="129"/>
                    <a:pt x="83" y="8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863" name="Freeform 98"/>
            <p:cNvSpPr/>
            <p:nvPr/>
          </p:nvSpPr>
          <p:spPr bwMode="auto">
            <a:xfrm>
              <a:off x="6318251" y="1715577"/>
              <a:ext cx="568325" cy="1135063"/>
            </a:xfrm>
            <a:custGeom>
              <a:avLst/>
              <a:gdLst>
                <a:gd name="T0" fmla="*/ 2147483646 w 83"/>
                <a:gd name="T1" fmla="*/ 2147483646 h 166"/>
                <a:gd name="T2" fmla="*/ 2147483646 w 83"/>
                <a:gd name="T3" fmla="*/ 2147483646 h 166"/>
                <a:gd name="T4" fmla="*/ 2147483646 w 83"/>
                <a:gd name="T5" fmla="*/ 2147483646 h 166"/>
                <a:gd name="T6" fmla="*/ 2147483646 w 83"/>
                <a:gd name="T7" fmla="*/ 0 h 166"/>
                <a:gd name="T8" fmla="*/ 0 w 83"/>
                <a:gd name="T9" fmla="*/ 2147483646 h 166"/>
                <a:gd name="T10" fmla="*/ 2147483646 w 83"/>
                <a:gd name="T11" fmla="*/ 2147483646 h 166"/>
                <a:gd name="T12" fmla="*/ 2147483646 w 83"/>
                <a:gd name="T13" fmla="*/ 2147483646 h 166"/>
                <a:gd name="T14" fmla="*/ 2147483646 w 83"/>
                <a:gd name="T15" fmla="*/ 2147483646 h 16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3" h="166">
                  <a:moveTo>
                    <a:pt x="83" y="142"/>
                  </a:moveTo>
                  <a:cubicBezTo>
                    <a:pt x="51" y="142"/>
                    <a:pt x="24" y="116"/>
                    <a:pt x="24" y="83"/>
                  </a:cubicBezTo>
                  <a:cubicBezTo>
                    <a:pt x="24" y="51"/>
                    <a:pt x="51" y="24"/>
                    <a:pt x="83" y="2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7"/>
                    <a:pt x="0" y="83"/>
                  </a:cubicBezTo>
                  <a:cubicBezTo>
                    <a:pt x="0" y="129"/>
                    <a:pt x="37" y="166"/>
                    <a:pt x="83" y="166"/>
                  </a:cubicBezTo>
                  <a:cubicBezTo>
                    <a:pt x="83" y="166"/>
                    <a:pt x="83" y="166"/>
                    <a:pt x="83" y="166"/>
                  </a:cubicBezTo>
                  <a:cubicBezTo>
                    <a:pt x="83" y="142"/>
                    <a:pt x="83" y="142"/>
                    <a:pt x="83" y="142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" name="TextBox 32"/>
            <p:cNvSpPr txBox="1"/>
            <p:nvPr/>
          </p:nvSpPr>
          <p:spPr bwMode="auto">
            <a:xfrm>
              <a:off x="6502401" y="2121977"/>
              <a:ext cx="819150" cy="33813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algn="ctr" eaLnBrk="1" hangingPunct="1">
                <a:defRPr/>
              </a:pPr>
              <a:r>
                <a:rPr lang="en-US" altLang="zh-CN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011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5" name="组合 24"/>
          <p:cNvGrpSpPr/>
          <p:nvPr/>
        </p:nvGrpSpPr>
        <p:grpSpPr bwMode="auto">
          <a:xfrm>
            <a:off x="5040313" y="2925763"/>
            <a:ext cx="1135062" cy="1135062"/>
            <a:chOff x="5040313" y="2925252"/>
            <a:chExt cx="1135063" cy="1135063"/>
          </a:xfrm>
        </p:grpSpPr>
        <p:sp>
          <p:nvSpPr>
            <p:cNvPr id="33859" name="Freeform 103"/>
            <p:cNvSpPr/>
            <p:nvPr/>
          </p:nvSpPr>
          <p:spPr bwMode="auto">
            <a:xfrm>
              <a:off x="5203826" y="2925252"/>
              <a:ext cx="971550" cy="1135063"/>
            </a:xfrm>
            <a:custGeom>
              <a:avLst/>
              <a:gdLst>
                <a:gd name="T0" fmla="*/ 2147483646 w 142"/>
                <a:gd name="T1" fmla="*/ 0 h 166"/>
                <a:gd name="T2" fmla="*/ 2147483646 w 142"/>
                <a:gd name="T3" fmla="*/ 2147483646 h 166"/>
                <a:gd name="T4" fmla="*/ 2147483646 w 142"/>
                <a:gd name="T5" fmla="*/ 2147483646 h 166"/>
                <a:gd name="T6" fmla="*/ 2147483646 w 142"/>
                <a:gd name="T7" fmla="*/ 2147483646 h 166"/>
                <a:gd name="T8" fmla="*/ 2147483646 w 142"/>
                <a:gd name="T9" fmla="*/ 2147483646 h 166"/>
                <a:gd name="T10" fmla="*/ 0 w 142"/>
                <a:gd name="T11" fmla="*/ 2147483646 h 166"/>
                <a:gd name="T12" fmla="*/ 2147483646 w 142"/>
                <a:gd name="T13" fmla="*/ 2147483646 h 166"/>
                <a:gd name="T14" fmla="*/ 2147483646 w 142"/>
                <a:gd name="T15" fmla="*/ 2147483646 h 166"/>
                <a:gd name="T16" fmla="*/ 2147483646 w 142"/>
                <a:gd name="T17" fmla="*/ 0 h 1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2" h="166">
                  <a:moveTo>
                    <a:pt x="59" y="0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91" y="24"/>
                    <a:pt x="118" y="51"/>
                    <a:pt x="118" y="83"/>
                  </a:cubicBezTo>
                  <a:cubicBezTo>
                    <a:pt x="118" y="116"/>
                    <a:pt x="91" y="142"/>
                    <a:pt x="59" y="142"/>
                  </a:cubicBezTo>
                  <a:cubicBezTo>
                    <a:pt x="42" y="142"/>
                    <a:pt x="28" y="136"/>
                    <a:pt x="17" y="125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5" y="157"/>
                    <a:pt x="36" y="166"/>
                    <a:pt x="59" y="166"/>
                  </a:cubicBezTo>
                  <a:cubicBezTo>
                    <a:pt x="104" y="166"/>
                    <a:pt x="142" y="129"/>
                    <a:pt x="142" y="83"/>
                  </a:cubicBezTo>
                  <a:cubicBezTo>
                    <a:pt x="142" y="38"/>
                    <a:pt x="104" y="0"/>
                    <a:pt x="59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860" name="Freeform 104"/>
            <p:cNvSpPr/>
            <p:nvPr/>
          </p:nvSpPr>
          <p:spPr bwMode="auto">
            <a:xfrm>
              <a:off x="5040313" y="2925252"/>
              <a:ext cx="566738" cy="971550"/>
            </a:xfrm>
            <a:custGeom>
              <a:avLst/>
              <a:gdLst>
                <a:gd name="T0" fmla="*/ 2147483646 w 83"/>
                <a:gd name="T1" fmla="*/ 2147483646 h 142"/>
                <a:gd name="T2" fmla="*/ 2147483646 w 83"/>
                <a:gd name="T3" fmla="*/ 2147483646 h 142"/>
                <a:gd name="T4" fmla="*/ 2147483646 w 83"/>
                <a:gd name="T5" fmla="*/ 0 h 142"/>
                <a:gd name="T6" fmla="*/ 0 w 83"/>
                <a:gd name="T7" fmla="*/ 2147483646 h 142"/>
                <a:gd name="T8" fmla="*/ 2147483646 w 83"/>
                <a:gd name="T9" fmla="*/ 2147483646 h 142"/>
                <a:gd name="T10" fmla="*/ 2147483646 w 83"/>
                <a:gd name="T11" fmla="*/ 2147483646 h 142"/>
                <a:gd name="T12" fmla="*/ 2147483646 w 83"/>
                <a:gd name="T13" fmla="*/ 2147483646 h 1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142">
                  <a:moveTo>
                    <a:pt x="24" y="83"/>
                  </a:moveTo>
                  <a:cubicBezTo>
                    <a:pt x="24" y="51"/>
                    <a:pt x="50" y="24"/>
                    <a:pt x="83" y="2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3"/>
                  </a:cubicBezTo>
                  <a:cubicBezTo>
                    <a:pt x="0" y="106"/>
                    <a:pt x="9" y="127"/>
                    <a:pt x="24" y="142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30" y="114"/>
                    <a:pt x="24" y="100"/>
                    <a:pt x="24" y="8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" name="TextBox 33"/>
            <p:cNvSpPr txBox="1"/>
            <p:nvPr/>
          </p:nvSpPr>
          <p:spPr bwMode="auto">
            <a:xfrm>
              <a:off x="5218113" y="3333239"/>
              <a:ext cx="819151" cy="3381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algn="ctr" eaLnBrk="1" hangingPunct="1">
                <a:defRPr/>
              </a:pPr>
              <a:r>
                <a:rPr lang="en-US" altLang="zh-CN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012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4" name="组合 23"/>
          <p:cNvGrpSpPr/>
          <p:nvPr/>
        </p:nvGrpSpPr>
        <p:grpSpPr bwMode="auto">
          <a:xfrm>
            <a:off x="6332538" y="2925763"/>
            <a:ext cx="1135062" cy="1135062"/>
            <a:chOff x="6332538" y="2925252"/>
            <a:chExt cx="1135063" cy="1135063"/>
          </a:xfrm>
        </p:grpSpPr>
        <p:sp>
          <p:nvSpPr>
            <p:cNvPr id="33856" name="Freeform 105"/>
            <p:cNvSpPr/>
            <p:nvPr/>
          </p:nvSpPr>
          <p:spPr bwMode="auto">
            <a:xfrm>
              <a:off x="6332538" y="2925252"/>
              <a:ext cx="566738" cy="568325"/>
            </a:xfrm>
            <a:custGeom>
              <a:avLst/>
              <a:gdLst>
                <a:gd name="T0" fmla="*/ 2147483646 w 83"/>
                <a:gd name="T1" fmla="*/ 2147483646 h 83"/>
                <a:gd name="T2" fmla="*/ 2147483646 w 83"/>
                <a:gd name="T3" fmla="*/ 0 h 83"/>
                <a:gd name="T4" fmla="*/ 0 w 83"/>
                <a:gd name="T5" fmla="*/ 2147483646 h 83"/>
                <a:gd name="T6" fmla="*/ 2147483646 w 83"/>
                <a:gd name="T7" fmla="*/ 2147483646 h 83"/>
                <a:gd name="T8" fmla="*/ 2147483646 w 83"/>
                <a:gd name="T9" fmla="*/ 2147483646 h 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3" h="83">
                  <a:moveTo>
                    <a:pt x="83" y="24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7"/>
                    <a:pt x="0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4" y="51"/>
                    <a:pt x="50" y="24"/>
                    <a:pt x="83" y="24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857" name="Freeform 106"/>
            <p:cNvSpPr/>
            <p:nvPr/>
          </p:nvSpPr>
          <p:spPr bwMode="auto">
            <a:xfrm>
              <a:off x="6332538" y="2925252"/>
              <a:ext cx="1135063" cy="1135063"/>
            </a:xfrm>
            <a:custGeom>
              <a:avLst/>
              <a:gdLst>
                <a:gd name="T0" fmla="*/ 2147483646 w 166"/>
                <a:gd name="T1" fmla="*/ 0 h 166"/>
                <a:gd name="T2" fmla="*/ 2147483646 w 166"/>
                <a:gd name="T3" fmla="*/ 2147483646 h 166"/>
                <a:gd name="T4" fmla="*/ 2147483646 w 166"/>
                <a:gd name="T5" fmla="*/ 2147483646 h 166"/>
                <a:gd name="T6" fmla="*/ 2147483646 w 166"/>
                <a:gd name="T7" fmla="*/ 2147483646 h 166"/>
                <a:gd name="T8" fmla="*/ 2147483646 w 166"/>
                <a:gd name="T9" fmla="*/ 2147483646 h 166"/>
                <a:gd name="T10" fmla="*/ 0 w 166"/>
                <a:gd name="T11" fmla="*/ 2147483646 h 166"/>
                <a:gd name="T12" fmla="*/ 2147483646 w 166"/>
                <a:gd name="T13" fmla="*/ 2147483646 h 166"/>
                <a:gd name="T14" fmla="*/ 2147483646 w 166"/>
                <a:gd name="T15" fmla="*/ 2147483646 h 166"/>
                <a:gd name="T16" fmla="*/ 2147483646 w 166"/>
                <a:gd name="T17" fmla="*/ 0 h 1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6" h="166">
                  <a:moveTo>
                    <a:pt x="83" y="0"/>
                  </a:moveTo>
                  <a:cubicBezTo>
                    <a:pt x="83" y="24"/>
                    <a:pt x="83" y="24"/>
                    <a:pt x="83" y="24"/>
                  </a:cubicBezTo>
                  <a:cubicBezTo>
                    <a:pt x="115" y="24"/>
                    <a:pt x="142" y="51"/>
                    <a:pt x="142" y="83"/>
                  </a:cubicBezTo>
                  <a:cubicBezTo>
                    <a:pt x="142" y="116"/>
                    <a:pt x="115" y="142"/>
                    <a:pt x="83" y="142"/>
                  </a:cubicBezTo>
                  <a:cubicBezTo>
                    <a:pt x="50" y="142"/>
                    <a:pt x="24" y="116"/>
                    <a:pt x="24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129"/>
                    <a:pt x="37" y="166"/>
                    <a:pt x="83" y="166"/>
                  </a:cubicBezTo>
                  <a:cubicBezTo>
                    <a:pt x="129" y="166"/>
                    <a:pt x="166" y="129"/>
                    <a:pt x="166" y="83"/>
                  </a:cubicBezTo>
                  <a:cubicBezTo>
                    <a:pt x="166" y="37"/>
                    <a:pt x="129" y="0"/>
                    <a:pt x="83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" name="TextBox 34"/>
            <p:cNvSpPr txBox="1"/>
            <p:nvPr/>
          </p:nvSpPr>
          <p:spPr bwMode="auto">
            <a:xfrm>
              <a:off x="6502400" y="3333239"/>
              <a:ext cx="819151" cy="3381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algn="ctr" eaLnBrk="1" hangingPunct="1">
                <a:defRPr/>
              </a:pPr>
              <a:r>
                <a:rPr lang="en-US" altLang="zh-CN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013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3808" name="组合 35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7" name="任意多边形 36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3855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809" name="组合 38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0" name="任意多边形 39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3853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810" name="组合 41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43" name="任意多边形 42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4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1" name="组合 4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6" name="任意多边形 4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7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2" name="组合 47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9" name="任意多边形 48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0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3" name="组合 50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52" name="任意多边形 51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3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4" name="组合 53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55" name="任意多边形 54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6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5" name="组合 56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33840" name="矩形 57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任意多边形 58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60" name="组合 59"/>
          <p:cNvGrpSpPr/>
          <p:nvPr/>
        </p:nvGrpSpPr>
        <p:grpSpPr bwMode="auto">
          <a:xfrm>
            <a:off x="717550" y="974725"/>
            <a:ext cx="3608388" cy="361950"/>
            <a:chOff x="4846160" y="1470506"/>
            <a:chExt cx="3608034" cy="361727"/>
          </a:xfrm>
        </p:grpSpPr>
        <p:cxnSp>
          <p:nvCxnSpPr>
            <p:cNvPr id="61" name="直接连接符 60"/>
            <p:cNvCxnSpPr/>
            <p:nvPr/>
          </p:nvCxnSpPr>
          <p:spPr>
            <a:xfrm>
              <a:off x="4885844" y="1832233"/>
              <a:ext cx="35683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833" name="组合 61"/>
            <p:cNvGrpSpPr/>
            <p:nvPr/>
          </p:nvGrpSpPr>
          <p:grpSpPr bwMode="auto">
            <a:xfrm>
              <a:off x="4846160" y="1470506"/>
              <a:ext cx="2076537" cy="322262"/>
              <a:chOff x="957895" y="1031498"/>
              <a:chExt cx="2076537" cy="322262"/>
            </a:xfrm>
          </p:grpSpPr>
          <p:sp>
            <p:nvSpPr>
              <p:cNvPr id="63" name="TextBox 265"/>
              <p:cNvSpPr txBox="1"/>
              <p:nvPr/>
            </p:nvSpPr>
            <p:spPr bwMode="auto">
              <a:xfrm>
                <a:off x="1156314" y="1031498"/>
                <a:ext cx="1101617" cy="32206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3835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3836" name="组合 64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67" name="流程图: 决策 166"/>
                <p:cNvSpPr/>
                <p:nvPr/>
              </p:nvSpPr>
              <p:spPr>
                <a:xfrm>
                  <a:off x="957895" y="1125103"/>
                  <a:ext cx="136511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68" name="流程图: 决策 166"/>
                <p:cNvSpPr/>
                <p:nvPr/>
              </p:nvSpPr>
              <p:spPr>
                <a:xfrm>
                  <a:off x="1107105" y="1126689"/>
                  <a:ext cx="90479" cy="168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66" name="直接连接符 65"/>
              <p:cNvCxnSpPr/>
              <p:nvPr/>
            </p:nvCxnSpPr>
            <p:spPr>
              <a:xfrm>
                <a:off x="2262692" y="1137795"/>
                <a:ext cx="0" cy="14437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4" name="组合 73"/>
          <p:cNvGrpSpPr/>
          <p:nvPr/>
        </p:nvGrpSpPr>
        <p:grpSpPr bwMode="auto">
          <a:xfrm>
            <a:off x="4879975" y="974725"/>
            <a:ext cx="3608388" cy="361950"/>
            <a:chOff x="4846160" y="1470506"/>
            <a:chExt cx="3608034" cy="361727"/>
          </a:xfrm>
        </p:grpSpPr>
        <p:cxnSp>
          <p:nvCxnSpPr>
            <p:cNvPr id="75" name="直接连接符 74"/>
            <p:cNvCxnSpPr/>
            <p:nvPr/>
          </p:nvCxnSpPr>
          <p:spPr>
            <a:xfrm>
              <a:off x="4885844" y="1832233"/>
              <a:ext cx="35683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825" name="组合 75"/>
            <p:cNvGrpSpPr/>
            <p:nvPr/>
          </p:nvGrpSpPr>
          <p:grpSpPr bwMode="auto">
            <a:xfrm>
              <a:off x="4846160" y="1470506"/>
              <a:ext cx="2076537" cy="322262"/>
              <a:chOff x="957895" y="1031498"/>
              <a:chExt cx="2076537" cy="322262"/>
            </a:xfrm>
          </p:grpSpPr>
          <p:sp>
            <p:nvSpPr>
              <p:cNvPr id="77" name="TextBox 265"/>
              <p:cNvSpPr txBox="1"/>
              <p:nvPr/>
            </p:nvSpPr>
            <p:spPr bwMode="auto">
              <a:xfrm>
                <a:off x="1156314" y="1031498"/>
                <a:ext cx="1101617" cy="32206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3827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3828" name="组合 78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81" name="流程图: 决策 166"/>
                <p:cNvSpPr/>
                <p:nvPr/>
              </p:nvSpPr>
              <p:spPr>
                <a:xfrm>
                  <a:off x="957895" y="1125103"/>
                  <a:ext cx="136511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82" name="流程图: 决策 166"/>
                <p:cNvSpPr/>
                <p:nvPr/>
              </p:nvSpPr>
              <p:spPr>
                <a:xfrm>
                  <a:off x="1107105" y="1126689"/>
                  <a:ext cx="90479" cy="168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80" name="直接连接符 79"/>
              <p:cNvCxnSpPr/>
              <p:nvPr/>
            </p:nvCxnSpPr>
            <p:spPr>
              <a:xfrm>
                <a:off x="2262692" y="1137795"/>
                <a:ext cx="0" cy="14437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8" name="TextBox 87"/>
          <p:cNvSpPr txBox="1"/>
          <p:nvPr/>
        </p:nvSpPr>
        <p:spPr bwMode="auto">
          <a:xfrm>
            <a:off x="539750" y="3363913"/>
            <a:ext cx="954088" cy="27781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1200" spc="30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添加文字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 bwMode="auto">
          <a:xfrm>
            <a:off x="539750" y="3652838"/>
            <a:ext cx="954088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/>
              <a:t>添加文字</a:t>
            </a:r>
            <a:endParaRPr lang="zh-CN" altLang="en-US" dirty="0"/>
          </a:p>
        </p:txBody>
      </p:sp>
      <p:sp>
        <p:nvSpPr>
          <p:cNvPr id="90" name="矩形 89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1" name="矩形 90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2" name="矩形 91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3" name="矩形 92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4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4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4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4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4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4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4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4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4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4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4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9" dur="25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7" grpId="0"/>
      <p:bldP spid="28" grpId="0"/>
      <p:bldP spid="88" grpId="0"/>
      <p:bldP spid="8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819" name="组合 2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4" name="任意多边形 3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4820" name="组合 5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7" name="任意多边形 6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4879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821" name="组合 8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0" name="任意多边形 9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4877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822" name="组合 1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3" name="任意多边形 1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4875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823" name="组合 14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6" name="任意多边形 15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4873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4" name="组合 80"/>
          <p:cNvGrpSpPr/>
          <p:nvPr/>
        </p:nvGrpSpPr>
        <p:grpSpPr bwMode="auto">
          <a:xfrm>
            <a:off x="2436813" y="1579563"/>
            <a:ext cx="449262" cy="395287"/>
            <a:chOff x="2627784" y="987574"/>
            <a:chExt cx="408310" cy="396044"/>
          </a:xfrm>
        </p:grpSpPr>
        <p:sp>
          <p:nvSpPr>
            <p:cNvPr id="82" name="圆角矩形 11"/>
            <p:cNvSpPr/>
            <p:nvPr/>
          </p:nvSpPr>
          <p:spPr>
            <a:xfrm>
              <a:off x="2627784" y="98757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4871" name="Freeform 31"/>
            <p:cNvSpPr>
              <a:spLocks noEditPoints="1"/>
            </p:cNvSpPr>
            <p:nvPr/>
          </p:nvSpPr>
          <p:spPr bwMode="auto">
            <a:xfrm>
              <a:off x="2744275" y="1108189"/>
              <a:ext cx="175328" cy="154814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4825" name="组合 83"/>
          <p:cNvGrpSpPr/>
          <p:nvPr/>
        </p:nvGrpSpPr>
        <p:grpSpPr bwMode="auto">
          <a:xfrm>
            <a:off x="2936875" y="1579563"/>
            <a:ext cx="3698875" cy="395287"/>
            <a:chOff x="3081814" y="987574"/>
            <a:chExt cx="3362395" cy="396044"/>
          </a:xfrm>
        </p:grpSpPr>
        <p:sp>
          <p:nvSpPr>
            <p:cNvPr id="85" name="圆角矩形 11"/>
            <p:cNvSpPr/>
            <p:nvPr/>
          </p:nvSpPr>
          <p:spPr>
            <a:xfrm>
              <a:off x="3081814" y="98757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6" name="矩形 85"/>
            <p:cNvSpPr/>
            <p:nvPr/>
          </p:nvSpPr>
          <p:spPr>
            <a:xfrm>
              <a:off x="3132323" y="1001888"/>
              <a:ext cx="3239732" cy="3594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34864" name="TextBox 10"/>
            <p:cNvSpPr txBox="1">
              <a:spLocks noChangeArrowheads="1"/>
            </p:cNvSpPr>
            <p:nvPr/>
          </p:nvSpPr>
          <p:spPr bwMode="auto">
            <a:xfrm>
              <a:off x="3383895" y="99754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65" name="矩形 91"/>
            <p:cNvSpPr>
              <a:spLocks noChangeArrowheads="1"/>
            </p:cNvSpPr>
            <p:nvPr/>
          </p:nvSpPr>
          <p:spPr bwMode="auto">
            <a:xfrm>
              <a:off x="4854826" y="1075799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866" name="组合 8"/>
            <p:cNvGrpSpPr/>
            <p:nvPr/>
          </p:nvGrpSpPr>
          <p:grpSpPr bwMode="auto">
            <a:xfrm>
              <a:off x="6134630" y="1072343"/>
              <a:ext cx="209039" cy="209039"/>
              <a:chOff x="2719746" y="1662559"/>
              <a:chExt cx="190035" cy="190035"/>
            </a:xfrm>
          </p:grpSpPr>
          <p:sp>
            <p:nvSpPr>
              <p:cNvPr id="91" name="椭圆 90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92" name="燕尾形 91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90" name="直接连接符 89"/>
            <p:cNvCxnSpPr/>
            <p:nvPr/>
          </p:nvCxnSpPr>
          <p:spPr>
            <a:xfrm>
              <a:off x="4702402" y="1113226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826" name="组合 92"/>
          <p:cNvGrpSpPr/>
          <p:nvPr/>
        </p:nvGrpSpPr>
        <p:grpSpPr bwMode="auto">
          <a:xfrm>
            <a:off x="2936875" y="2103438"/>
            <a:ext cx="3698875" cy="395287"/>
            <a:chOff x="3081814" y="1491630"/>
            <a:chExt cx="3362395" cy="396044"/>
          </a:xfrm>
        </p:grpSpPr>
        <p:sp>
          <p:nvSpPr>
            <p:cNvPr id="94" name="圆角矩形 11"/>
            <p:cNvSpPr/>
            <p:nvPr/>
          </p:nvSpPr>
          <p:spPr>
            <a:xfrm>
              <a:off x="3081814" y="1491630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5" name="矩形 94"/>
            <p:cNvSpPr/>
            <p:nvPr/>
          </p:nvSpPr>
          <p:spPr>
            <a:xfrm>
              <a:off x="3132323" y="1505944"/>
              <a:ext cx="3239732" cy="3594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34856" name="TextBox 10"/>
            <p:cNvSpPr txBox="1">
              <a:spLocks noChangeArrowheads="1"/>
            </p:cNvSpPr>
            <p:nvPr/>
          </p:nvSpPr>
          <p:spPr bwMode="auto">
            <a:xfrm>
              <a:off x="3383895" y="1511126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57" name="矩形 91"/>
            <p:cNvSpPr>
              <a:spLocks noChangeArrowheads="1"/>
            </p:cNvSpPr>
            <p:nvPr/>
          </p:nvSpPr>
          <p:spPr bwMode="auto">
            <a:xfrm>
              <a:off x="4854826" y="1579855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858" name="组合 70"/>
            <p:cNvGrpSpPr/>
            <p:nvPr/>
          </p:nvGrpSpPr>
          <p:grpSpPr bwMode="auto">
            <a:xfrm>
              <a:off x="6134630" y="1576399"/>
              <a:ext cx="209039" cy="209039"/>
              <a:chOff x="2719746" y="1662559"/>
              <a:chExt cx="190035" cy="190035"/>
            </a:xfrm>
          </p:grpSpPr>
          <p:sp>
            <p:nvSpPr>
              <p:cNvPr id="100" name="椭圆 99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01" name="燕尾形 100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99" name="直接连接符 98"/>
            <p:cNvCxnSpPr/>
            <p:nvPr/>
          </p:nvCxnSpPr>
          <p:spPr>
            <a:xfrm>
              <a:off x="4702402" y="1617282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827" name="组合 101"/>
          <p:cNvGrpSpPr/>
          <p:nvPr/>
        </p:nvGrpSpPr>
        <p:grpSpPr bwMode="auto">
          <a:xfrm>
            <a:off x="2436813" y="2103438"/>
            <a:ext cx="449262" cy="395287"/>
            <a:chOff x="2627784" y="1491630"/>
            <a:chExt cx="408310" cy="396044"/>
          </a:xfrm>
        </p:grpSpPr>
        <p:sp>
          <p:nvSpPr>
            <p:cNvPr id="103" name="圆角矩形 11"/>
            <p:cNvSpPr/>
            <p:nvPr/>
          </p:nvSpPr>
          <p:spPr>
            <a:xfrm>
              <a:off x="2627784" y="1491630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04" name="组合 103"/>
            <p:cNvGrpSpPr/>
            <p:nvPr/>
          </p:nvGrpSpPr>
          <p:grpSpPr>
            <a:xfrm>
              <a:off x="2734196" y="1603181"/>
              <a:ext cx="195486" cy="172943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105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08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34828" name="组合 108"/>
          <p:cNvGrpSpPr/>
          <p:nvPr/>
        </p:nvGrpSpPr>
        <p:grpSpPr bwMode="auto">
          <a:xfrm>
            <a:off x="2936875" y="2625725"/>
            <a:ext cx="3698875" cy="396875"/>
            <a:chOff x="3081814" y="1952698"/>
            <a:chExt cx="3362395" cy="396044"/>
          </a:xfrm>
        </p:grpSpPr>
        <p:sp>
          <p:nvSpPr>
            <p:cNvPr id="110" name="圆角矩形 11"/>
            <p:cNvSpPr/>
            <p:nvPr/>
          </p:nvSpPr>
          <p:spPr>
            <a:xfrm>
              <a:off x="3081814" y="1952698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15" name="矩形 114"/>
            <p:cNvSpPr/>
            <p:nvPr/>
          </p:nvSpPr>
          <p:spPr>
            <a:xfrm>
              <a:off x="3132323" y="1966956"/>
              <a:ext cx="3239732" cy="359607"/>
            </a:xfrm>
            <a:prstGeom prst="rect">
              <a:avLst/>
            </a:prstGeom>
            <a:gradFill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34846" name="TextBox 10"/>
            <p:cNvSpPr txBox="1">
              <a:spLocks noChangeArrowheads="1"/>
            </p:cNvSpPr>
            <p:nvPr/>
          </p:nvSpPr>
          <p:spPr bwMode="auto">
            <a:xfrm>
              <a:off x="3383895" y="1981719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47" name="矩形 91"/>
            <p:cNvSpPr>
              <a:spLocks noChangeArrowheads="1"/>
            </p:cNvSpPr>
            <p:nvPr/>
          </p:nvSpPr>
          <p:spPr bwMode="auto">
            <a:xfrm>
              <a:off x="4854826" y="2040923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848" name="组合 81"/>
            <p:cNvGrpSpPr/>
            <p:nvPr/>
          </p:nvGrpSpPr>
          <p:grpSpPr bwMode="auto">
            <a:xfrm>
              <a:off x="6134630" y="2037467"/>
              <a:ext cx="209039" cy="209039"/>
              <a:chOff x="2719746" y="1662559"/>
              <a:chExt cx="190035" cy="190035"/>
            </a:xfrm>
          </p:grpSpPr>
          <p:sp>
            <p:nvSpPr>
              <p:cNvPr id="120" name="椭圆 119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21" name="燕尾形 120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19" name="直接连接符 118"/>
            <p:cNvCxnSpPr/>
            <p:nvPr/>
          </p:nvCxnSpPr>
          <p:spPr>
            <a:xfrm>
              <a:off x="4702402" y="2077848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829" name="组合 121"/>
          <p:cNvGrpSpPr/>
          <p:nvPr/>
        </p:nvGrpSpPr>
        <p:grpSpPr bwMode="auto">
          <a:xfrm>
            <a:off x="2436813" y="2625725"/>
            <a:ext cx="449262" cy="396875"/>
            <a:chOff x="2627784" y="1952698"/>
            <a:chExt cx="408310" cy="396044"/>
          </a:xfrm>
        </p:grpSpPr>
        <p:sp>
          <p:nvSpPr>
            <p:cNvPr id="123" name="圆角矩形 11"/>
            <p:cNvSpPr/>
            <p:nvPr/>
          </p:nvSpPr>
          <p:spPr>
            <a:xfrm>
              <a:off x="2627784" y="1952698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24" name="组合 123"/>
            <p:cNvGrpSpPr/>
            <p:nvPr/>
          </p:nvGrpSpPr>
          <p:grpSpPr>
            <a:xfrm>
              <a:off x="2728390" y="2073313"/>
              <a:ext cx="207098" cy="154814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125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26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27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28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29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30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31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32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33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34830" name="组合 133"/>
          <p:cNvGrpSpPr/>
          <p:nvPr/>
        </p:nvGrpSpPr>
        <p:grpSpPr bwMode="auto">
          <a:xfrm>
            <a:off x="2936875" y="3149600"/>
            <a:ext cx="3698875" cy="396875"/>
            <a:chOff x="3081814" y="2456754"/>
            <a:chExt cx="3362395" cy="396044"/>
          </a:xfrm>
        </p:grpSpPr>
        <p:sp>
          <p:nvSpPr>
            <p:cNvPr id="135" name="圆角矩形 11"/>
            <p:cNvSpPr/>
            <p:nvPr/>
          </p:nvSpPr>
          <p:spPr>
            <a:xfrm>
              <a:off x="3081814" y="245675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36" name="矩形 135"/>
            <p:cNvSpPr/>
            <p:nvPr/>
          </p:nvSpPr>
          <p:spPr>
            <a:xfrm>
              <a:off x="3132323" y="2471012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34836" name="TextBox 10"/>
            <p:cNvSpPr txBox="1">
              <a:spLocks noChangeArrowheads="1"/>
            </p:cNvSpPr>
            <p:nvPr/>
          </p:nvSpPr>
          <p:spPr bwMode="auto">
            <a:xfrm>
              <a:off x="3383895" y="248577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37" name="矩形 91"/>
            <p:cNvSpPr>
              <a:spLocks noChangeArrowheads="1"/>
            </p:cNvSpPr>
            <p:nvPr/>
          </p:nvSpPr>
          <p:spPr bwMode="auto">
            <a:xfrm>
              <a:off x="4854826" y="2544979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838" name="组合 90"/>
            <p:cNvGrpSpPr/>
            <p:nvPr/>
          </p:nvGrpSpPr>
          <p:grpSpPr bwMode="auto">
            <a:xfrm>
              <a:off x="6134630" y="2541523"/>
              <a:ext cx="209039" cy="209039"/>
              <a:chOff x="2719746" y="1662559"/>
              <a:chExt cx="190035" cy="190035"/>
            </a:xfrm>
          </p:grpSpPr>
          <p:sp>
            <p:nvSpPr>
              <p:cNvPr id="141" name="椭圆 140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42" name="燕尾形 141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直接连接符 139"/>
            <p:cNvCxnSpPr/>
            <p:nvPr/>
          </p:nvCxnSpPr>
          <p:spPr>
            <a:xfrm>
              <a:off x="4702402" y="2581904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831" name="组合 142"/>
          <p:cNvGrpSpPr/>
          <p:nvPr/>
        </p:nvGrpSpPr>
        <p:grpSpPr bwMode="auto">
          <a:xfrm>
            <a:off x="2436813" y="3149600"/>
            <a:ext cx="449262" cy="396875"/>
            <a:chOff x="2627784" y="2456754"/>
            <a:chExt cx="408310" cy="396044"/>
          </a:xfrm>
        </p:grpSpPr>
        <p:sp>
          <p:nvSpPr>
            <p:cNvPr id="144" name="圆角矩形 11"/>
            <p:cNvSpPr/>
            <p:nvPr/>
          </p:nvSpPr>
          <p:spPr>
            <a:xfrm>
              <a:off x="2627784" y="245675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45" name="组合 144"/>
            <p:cNvGrpSpPr/>
            <p:nvPr/>
          </p:nvGrpSpPr>
          <p:grpSpPr>
            <a:xfrm>
              <a:off x="2732885" y="2568901"/>
              <a:ext cx="198109" cy="171751"/>
              <a:chOff x="4973638" y="2713038"/>
              <a:chExt cx="239712" cy="228601"/>
            </a:xfrm>
            <a:solidFill>
              <a:schemeClr val="bg1"/>
            </a:solidFill>
          </p:grpSpPr>
          <p:sp>
            <p:nvSpPr>
              <p:cNvPr id="146" name="Freeform 26"/>
              <p:cNvSpPr/>
              <p:nvPr/>
            </p:nvSpPr>
            <p:spPr bwMode="auto">
              <a:xfrm>
                <a:off x="4973638" y="2713038"/>
                <a:ext cx="142875" cy="228600"/>
              </a:xfrm>
              <a:custGeom>
                <a:avLst/>
                <a:gdLst>
                  <a:gd name="T0" fmla="*/ 31 w 38"/>
                  <a:gd name="T1" fmla="*/ 55 h 61"/>
                  <a:gd name="T2" fmla="*/ 31 w 38"/>
                  <a:gd name="T3" fmla="*/ 55 h 61"/>
                  <a:gd name="T4" fmla="*/ 30 w 38"/>
                  <a:gd name="T5" fmla="*/ 54 h 61"/>
                  <a:gd name="T6" fmla="*/ 30 w 38"/>
                  <a:gd name="T7" fmla="*/ 50 h 61"/>
                  <a:gd name="T8" fmla="*/ 38 w 38"/>
                  <a:gd name="T9" fmla="*/ 33 h 61"/>
                  <a:gd name="T10" fmla="*/ 28 w 38"/>
                  <a:gd name="T11" fmla="*/ 24 h 61"/>
                  <a:gd name="T12" fmla="*/ 25 w 38"/>
                  <a:gd name="T13" fmla="*/ 22 h 61"/>
                  <a:gd name="T14" fmla="*/ 27 w 38"/>
                  <a:gd name="T15" fmla="*/ 21 h 61"/>
                  <a:gd name="T16" fmla="*/ 33 w 38"/>
                  <a:gd name="T17" fmla="*/ 11 h 61"/>
                  <a:gd name="T18" fmla="*/ 21 w 38"/>
                  <a:gd name="T19" fmla="*/ 0 h 61"/>
                  <a:gd name="T20" fmla="*/ 8 w 38"/>
                  <a:gd name="T21" fmla="*/ 11 h 61"/>
                  <a:gd name="T22" fmla="*/ 14 w 38"/>
                  <a:gd name="T23" fmla="*/ 21 h 61"/>
                  <a:gd name="T24" fmla="*/ 17 w 38"/>
                  <a:gd name="T25" fmla="*/ 22 h 61"/>
                  <a:gd name="T26" fmla="*/ 14 w 38"/>
                  <a:gd name="T27" fmla="*/ 24 h 61"/>
                  <a:gd name="T28" fmla="*/ 0 w 38"/>
                  <a:gd name="T29" fmla="*/ 46 h 61"/>
                  <a:gd name="T30" fmla="*/ 0 w 38"/>
                  <a:gd name="T31" fmla="*/ 51 h 61"/>
                  <a:gd name="T32" fmla="*/ 21 w 38"/>
                  <a:gd name="T33" fmla="*/ 61 h 61"/>
                  <a:gd name="T34" fmla="*/ 33 w 38"/>
                  <a:gd name="T35" fmla="*/ 58 h 61"/>
                  <a:gd name="T36" fmla="*/ 31 w 38"/>
                  <a:gd name="T37" fmla="*/ 5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61">
                    <a:moveTo>
                      <a:pt x="31" y="55"/>
                    </a:moveTo>
                    <a:cubicBezTo>
                      <a:pt x="31" y="55"/>
                      <a:pt x="31" y="55"/>
                      <a:pt x="31" y="55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3"/>
                      <a:pt x="30" y="52"/>
                      <a:pt x="30" y="50"/>
                    </a:cubicBezTo>
                    <a:cubicBezTo>
                      <a:pt x="30" y="43"/>
                      <a:pt x="33" y="37"/>
                      <a:pt x="38" y="33"/>
                    </a:cubicBezTo>
                    <a:cubicBezTo>
                      <a:pt x="36" y="29"/>
                      <a:pt x="32" y="25"/>
                      <a:pt x="28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31" y="19"/>
                      <a:pt x="33" y="15"/>
                      <a:pt x="33" y="11"/>
                    </a:cubicBezTo>
                    <a:cubicBezTo>
                      <a:pt x="33" y="5"/>
                      <a:pt x="28" y="0"/>
                      <a:pt x="21" y="0"/>
                    </a:cubicBezTo>
                    <a:cubicBezTo>
                      <a:pt x="14" y="0"/>
                      <a:pt x="8" y="5"/>
                      <a:pt x="8" y="11"/>
                    </a:cubicBezTo>
                    <a:cubicBezTo>
                      <a:pt x="8" y="15"/>
                      <a:pt x="10" y="19"/>
                      <a:pt x="14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6" y="27"/>
                      <a:pt x="0" y="36"/>
                      <a:pt x="0" y="46"/>
                    </a:cubicBezTo>
                    <a:cubicBezTo>
                      <a:pt x="0" y="48"/>
                      <a:pt x="0" y="49"/>
                      <a:pt x="0" y="51"/>
                    </a:cubicBezTo>
                    <a:cubicBezTo>
                      <a:pt x="5" y="57"/>
                      <a:pt x="12" y="61"/>
                      <a:pt x="21" y="61"/>
                    </a:cubicBezTo>
                    <a:cubicBezTo>
                      <a:pt x="25" y="61"/>
                      <a:pt x="29" y="60"/>
                      <a:pt x="33" y="58"/>
                    </a:cubicBezTo>
                    <a:cubicBezTo>
                      <a:pt x="32" y="57"/>
                      <a:pt x="31" y="56"/>
                      <a:pt x="3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47" name="Freeform 27"/>
              <p:cNvSpPr/>
              <p:nvPr/>
            </p:nvSpPr>
            <p:spPr bwMode="auto">
              <a:xfrm>
                <a:off x="5097463" y="2768601"/>
                <a:ext cx="115887" cy="173038"/>
              </a:xfrm>
              <a:custGeom>
                <a:avLst/>
                <a:gdLst>
                  <a:gd name="T0" fmla="*/ 21 w 31"/>
                  <a:gd name="T1" fmla="*/ 18 h 46"/>
                  <a:gd name="T2" fmla="*/ 18 w 31"/>
                  <a:gd name="T3" fmla="*/ 17 h 46"/>
                  <a:gd name="T4" fmla="*/ 21 w 31"/>
                  <a:gd name="T5" fmla="*/ 15 h 46"/>
                  <a:gd name="T6" fmla="*/ 25 w 31"/>
                  <a:gd name="T7" fmla="*/ 9 h 46"/>
                  <a:gd name="T8" fmla="*/ 16 w 31"/>
                  <a:gd name="T9" fmla="*/ 0 h 46"/>
                  <a:gd name="T10" fmla="*/ 7 w 31"/>
                  <a:gd name="T11" fmla="*/ 9 h 46"/>
                  <a:gd name="T12" fmla="*/ 11 w 31"/>
                  <a:gd name="T13" fmla="*/ 15 h 46"/>
                  <a:gd name="T14" fmla="*/ 14 w 31"/>
                  <a:gd name="T15" fmla="*/ 17 h 46"/>
                  <a:gd name="T16" fmla="*/ 11 w 31"/>
                  <a:gd name="T17" fmla="*/ 18 h 46"/>
                  <a:gd name="T18" fmla="*/ 9 w 31"/>
                  <a:gd name="T19" fmla="*/ 19 h 46"/>
                  <a:gd name="T20" fmla="*/ 8 w 31"/>
                  <a:gd name="T21" fmla="*/ 20 h 46"/>
                  <a:gd name="T22" fmla="*/ 7 w 31"/>
                  <a:gd name="T23" fmla="*/ 21 h 46"/>
                  <a:gd name="T24" fmla="*/ 0 w 31"/>
                  <a:gd name="T25" fmla="*/ 35 h 46"/>
                  <a:gd name="T26" fmla="*/ 1 w 31"/>
                  <a:gd name="T27" fmla="*/ 38 h 46"/>
                  <a:gd name="T28" fmla="*/ 3 w 31"/>
                  <a:gd name="T29" fmla="*/ 41 h 46"/>
                  <a:gd name="T30" fmla="*/ 4 w 31"/>
                  <a:gd name="T31" fmla="*/ 42 h 46"/>
                  <a:gd name="T32" fmla="*/ 6 w 31"/>
                  <a:gd name="T33" fmla="*/ 43 h 46"/>
                  <a:gd name="T34" fmla="*/ 16 w 31"/>
                  <a:gd name="T35" fmla="*/ 46 h 46"/>
                  <a:gd name="T36" fmla="*/ 31 w 31"/>
                  <a:gd name="T37" fmla="*/ 38 h 46"/>
                  <a:gd name="T38" fmla="*/ 31 w 31"/>
                  <a:gd name="T39" fmla="*/ 35 h 46"/>
                  <a:gd name="T40" fmla="*/ 21 w 31"/>
                  <a:gd name="T41" fmla="*/ 1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46">
                    <a:moveTo>
                      <a:pt x="21" y="18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3" y="14"/>
                      <a:pt x="25" y="11"/>
                      <a:pt x="25" y="9"/>
                    </a:cubicBezTo>
                    <a:cubicBezTo>
                      <a:pt x="25" y="4"/>
                      <a:pt x="21" y="0"/>
                      <a:pt x="16" y="0"/>
                    </a:cubicBezTo>
                    <a:cubicBezTo>
                      <a:pt x="11" y="0"/>
                      <a:pt x="7" y="4"/>
                      <a:pt x="7" y="9"/>
                    </a:cubicBezTo>
                    <a:cubicBezTo>
                      <a:pt x="7" y="11"/>
                      <a:pt x="8" y="14"/>
                      <a:pt x="11" y="15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0" y="19"/>
                      <a:pt x="10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8" y="20"/>
                      <a:pt x="7" y="21"/>
                      <a:pt x="7" y="21"/>
                    </a:cubicBezTo>
                    <a:cubicBezTo>
                      <a:pt x="3" y="24"/>
                      <a:pt x="0" y="29"/>
                      <a:pt x="0" y="35"/>
                    </a:cubicBezTo>
                    <a:cubicBezTo>
                      <a:pt x="0" y="36"/>
                      <a:pt x="1" y="37"/>
                      <a:pt x="1" y="38"/>
                    </a:cubicBezTo>
                    <a:cubicBezTo>
                      <a:pt x="1" y="39"/>
                      <a:pt x="2" y="40"/>
                      <a:pt x="3" y="41"/>
                    </a:cubicBezTo>
                    <a:cubicBezTo>
                      <a:pt x="3" y="41"/>
                      <a:pt x="4" y="42"/>
                      <a:pt x="4" y="42"/>
                    </a:cubicBezTo>
                    <a:cubicBezTo>
                      <a:pt x="5" y="42"/>
                      <a:pt x="5" y="43"/>
                      <a:pt x="6" y="43"/>
                    </a:cubicBezTo>
                    <a:cubicBezTo>
                      <a:pt x="9" y="45"/>
                      <a:pt x="12" y="46"/>
                      <a:pt x="16" y="46"/>
                    </a:cubicBezTo>
                    <a:cubicBezTo>
                      <a:pt x="22" y="46"/>
                      <a:pt x="27" y="43"/>
                      <a:pt x="31" y="38"/>
                    </a:cubicBezTo>
                    <a:cubicBezTo>
                      <a:pt x="31" y="37"/>
                      <a:pt x="31" y="36"/>
                      <a:pt x="31" y="35"/>
                    </a:cubicBezTo>
                    <a:cubicBezTo>
                      <a:pt x="31" y="27"/>
                      <a:pt x="27" y="21"/>
                      <a:pt x="2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 hidden="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919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" name="组合 4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917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7" name="组合 46"/>
          <p:cNvGrpSpPr/>
          <p:nvPr/>
        </p:nvGrpSpPr>
        <p:grpSpPr bwMode="auto">
          <a:xfrm>
            <a:off x="6472238" y="-23813"/>
            <a:ext cx="1195387" cy="338138"/>
            <a:chOff x="2724938" y="-712266"/>
            <a:chExt cx="1195562" cy="338554"/>
          </a:xfrm>
        </p:grpSpPr>
        <p:sp>
          <p:nvSpPr>
            <p:cNvPr id="35914" name="矩形 47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B0F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任意多边形 48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50" name="组合 49" hidden="1"/>
          <p:cNvGrpSpPr/>
          <p:nvPr/>
        </p:nvGrpSpPr>
        <p:grpSpPr bwMode="auto">
          <a:xfrm>
            <a:off x="5222875" y="15875"/>
            <a:ext cx="1214438" cy="295275"/>
            <a:chOff x="2724938" y="16303"/>
            <a:chExt cx="1213794" cy="294898"/>
          </a:xfrm>
        </p:grpSpPr>
        <p:sp>
          <p:nvSpPr>
            <p:cNvPr id="51" name="任意多边形 50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913" name="矩形 91"/>
            <p:cNvSpPr>
              <a:spLocks noChangeArrowheads="1"/>
            </p:cNvSpPr>
            <p:nvPr/>
          </p:nvSpPr>
          <p:spPr bwMode="auto">
            <a:xfrm>
              <a:off x="2724938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3" name="组合 52" hidden="1"/>
          <p:cNvGrpSpPr/>
          <p:nvPr/>
        </p:nvGrpSpPr>
        <p:grpSpPr bwMode="auto">
          <a:xfrm>
            <a:off x="6454775" y="17463"/>
            <a:ext cx="1212850" cy="295275"/>
            <a:chOff x="6454340" y="16303"/>
            <a:chExt cx="1214004" cy="294898"/>
          </a:xfrm>
        </p:grpSpPr>
        <p:sp>
          <p:nvSpPr>
            <p:cNvPr id="54" name="任意多边形 5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911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2" name="组合 91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93" name="任意多边形 92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4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95" name="组合 94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96" name="任意多边形 95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907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8" name="组合 97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99" name="任意多边形 98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905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4" name="组合 103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05" name="任意多边形 104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6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07" name="组合 106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08" name="任意多边形 107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9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10" name="组合 10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11" name="任意多边形 11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2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16" name="组合 115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17" name="任意多边形 116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897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2" name="组合 121"/>
          <p:cNvGrpSpPr/>
          <p:nvPr/>
        </p:nvGrpSpPr>
        <p:grpSpPr bwMode="auto">
          <a:xfrm>
            <a:off x="2724150" y="17463"/>
            <a:ext cx="1214438" cy="295275"/>
            <a:chOff x="5223502" y="16303"/>
            <a:chExt cx="1214507" cy="294898"/>
          </a:xfrm>
        </p:grpSpPr>
        <p:sp>
          <p:nvSpPr>
            <p:cNvPr id="123" name="任意多边形 122"/>
            <p:cNvSpPr/>
            <p:nvPr/>
          </p:nvSpPr>
          <p:spPr>
            <a:xfrm rot="5400000">
              <a:off x="5673780" y="-433975"/>
              <a:ext cx="294898" cy="119545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24" name="矩形 91"/>
            <p:cNvSpPr>
              <a:spLocks noChangeArrowheads="1"/>
            </p:cNvSpPr>
            <p:nvPr/>
          </p:nvSpPr>
          <p:spPr bwMode="auto">
            <a:xfrm>
              <a:off x="5223502" y="54354"/>
              <a:ext cx="1214507" cy="214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3074" name="Picture 2" descr="E:\迅雷下载\shutterstock_67128502.jpg"/>
          <p:cNvPicPr>
            <a:picLocks noChangeAspect="1" noChangeArrowheads="1"/>
          </p:cNvPicPr>
          <p:nvPr/>
        </p:nvPicPr>
        <p:blipFill rotWithShape="1">
          <a:blip r:embed="rId1"/>
          <a:srcRect l="473" t="19229" r="1566" b="19121"/>
          <a:stretch>
            <a:fillRect/>
          </a:stretch>
        </p:blipFill>
        <p:spPr bwMode="auto">
          <a:xfrm>
            <a:off x="1108075" y="3243263"/>
            <a:ext cx="2343150" cy="98266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E:\迅雷下载\shutterstock_48137287.jpg"/>
          <p:cNvPicPr>
            <a:picLocks noChangeAspect="1" noChangeArrowheads="1"/>
          </p:cNvPicPr>
          <p:nvPr/>
        </p:nvPicPr>
        <p:blipFill rotWithShape="1">
          <a:blip r:embed="rId2"/>
          <a:srcRect l="-310" t="18973" r="1143" b="18427"/>
          <a:stretch>
            <a:fillRect/>
          </a:stretch>
        </p:blipFill>
        <p:spPr bwMode="auto">
          <a:xfrm>
            <a:off x="1108075" y="1068388"/>
            <a:ext cx="2333625" cy="9763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E:\迅雷下载\shutterstock_57829738.jpg"/>
          <p:cNvPicPr>
            <a:picLocks noChangeAspect="1" noChangeArrowheads="1"/>
          </p:cNvPicPr>
          <p:nvPr/>
        </p:nvPicPr>
        <p:blipFill rotWithShape="1">
          <a:blip r:embed="rId3"/>
          <a:srcRect t="666" r="2414" b="37577"/>
          <a:stretch>
            <a:fillRect/>
          </a:stretch>
        </p:blipFill>
        <p:spPr bwMode="auto">
          <a:xfrm>
            <a:off x="1108075" y="2151063"/>
            <a:ext cx="2333625" cy="98425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组合 8"/>
          <p:cNvGrpSpPr/>
          <p:nvPr/>
        </p:nvGrpSpPr>
        <p:grpSpPr bwMode="auto">
          <a:xfrm>
            <a:off x="3560763" y="2151063"/>
            <a:ext cx="4827587" cy="984250"/>
            <a:chOff x="3560036" y="2150773"/>
            <a:chExt cx="4828388" cy="984425"/>
          </a:xfrm>
        </p:grpSpPr>
        <p:sp>
          <p:nvSpPr>
            <p:cNvPr id="136" name="矩形 135"/>
            <p:cNvSpPr/>
            <p:nvPr/>
          </p:nvSpPr>
          <p:spPr>
            <a:xfrm>
              <a:off x="3560036" y="2150773"/>
              <a:ext cx="4828388" cy="98442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5884" name="组合 134"/>
            <p:cNvGrpSpPr/>
            <p:nvPr/>
          </p:nvGrpSpPr>
          <p:grpSpPr bwMode="auto">
            <a:xfrm>
              <a:off x="3672178" y="2163845"/>
              <a:ext cx="4650987" cy="926573"/>
              <a:chOff x="3509640" y="2163845"/>
              <a:chExt cx="4650987" cy="926573"/>
            </a:xfrm>
          </p:grpSpPr>
          <p:sp>
            <p:nvSpPr>
              <p:cNvPr id="35885" name="矩形 1"/>
              <p:cNvSpPr>
                <a:spLocks noChangeArrowheads="1"/>
              </p:cNvSpPr>
              <p:nvPr/>
            </p:nvSpPr>
            <p:spPr bwMode="auto">
              <a:xfrm>
                <a:off x="3509640" y="2476724"/>
                <a:ext cx="4650987" cy="613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141" name="直接连接符 140"/>
              <p:cNvCxnSpPr/>
              <p:nvPr/>
            </p:nvCxnSpPr>
            <p:spPr>
              <a:xfrm>
                <a:off x="3616610" y="2487383"/>
                <a:ext cx="4544179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887" name="组合 141"/>
              <p:cNvGrpSpPr/>
              <p:nvPr/>
            </p:nvGrpSpPr>
            <p:grpSpPr bwMode="auto">
              <a:xfrm>
                <a:off x="3621798" y="2163845"/>
                <a:ext cx="2118491" cy="338554"/>
                <a:chOff x="957895" y="1031498"/>
                <a:chExt cx="2118491" cy="338554"/>
              </a:xfrm>
            </p:grpSpPr>
            <p:sp>
              <p:nvSpPr>
                <p:cNvPr id="143" name="TextBox 265"/>
                <p:cNvSpPr txBox="1"/>
                <p:nvPr/>
              </p:nvSpPr>
              <p:spPr bwMode="auto">
                <a:xfrm>
                  <a:off x="1168643" y="1031128"/>
                  <a:ext cx="1159068" cy="338197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chemeClr val="bg1"/>
                      </a:solidFill>
                    </a:rPr>
                    <a:t>添加标题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5889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829073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>
                      <a:solidFill>
                        <a:schemeClr val="bg1"/>
                      </a:solidFill>
                    </a:rPr>
                    <a:t>Add a title</a:t>
                  </a:r>
                  <a:endParaRPr lang="zh-CN" altLang="en-US" sz="1200">
                    <a:solidFill>
                      <a:schemeClr val="bg1"/>
                    </a:solidFill>
                  </a:endParaRPr>
                </a:p>
              </p:txBody>
            </p:sp>
            <p:grpSp>
              <p:nvGrpSpPr>
                <p:cNvPr id="35890" name="组合 144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147" name="流程图: 决策 166"/>
                  <p:cNvSpPr/>
                  <p:nvPr/>
                </p:nvSpPr>
                <p:spPr>
                  <a:xfrm>
                    <a:off x="970172" y="1124807"/>
                    <a:ext cx="136548" cy="17148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48" name="流程图: 决策 166"/>
                  <p:cNvSpPr/>
                  <p:nvPr/>
                </p:nvSpPr>
                <p:spPr>
                  <a:xfrm>
                    <a:off x="1119422" y="1126395"/>
                    <a:ext cx="79388" cy="1683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146" name="直接连接符 145"/>
                <p:cNvCxnSpPr/>
                <p:nvPr/>
              </p:nvCxnSpPr>
              <p:spPr>
                <a:xfrm>
                  <a:off x="2275314" y="1137509"/>
                  <a:ext cx="0" cy="144489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8" name="组合 7"/>
          <p:cNvGrpSpPr/>
          <p:nvPr/>
        </p:nvGrpSpPr>
        <p:grpSpPr bwMode="auto">
          <a:xfrm>
            <a:off x="3560763" y="1058863"/>
            <a:ext cx="4827587" cy="985837"/>
            <a:chOff x="3560036" y="1059582"/>
            <a:chExt cx="4828388" cy="984425"/>
          </a:xfrm>
        </p:grpSpPr>
        <p:sp>
          <p:nvSpPr>
            <p:cNvPr id="138" name="矩形 137"/>
            <p:cNvSpPr/>
            <p:nvPr/>
          </p:nvSpPr>
          <p:spPr>
            <a:xfrm>
              <a:off x="3560036" y="1059582"/>
              <a:ext cx="4828388" cy="98442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5873" name="组合 150"/>
            <p:cNvGrpSpPr/>
            <p:nvPr/>
          </p:nvGrpSpPr>
          <p:grpSpPr bwMode="auto">
            <a:xfrm>
              <a:off x="3672178" y="1068098"/>
              <a:ext cx="4650987" cy="926573"/>
              <a:chOff x="3509640" y="2163845"/>
              <a:chExt cx="4650987" cy="926573"/>
            </a:xfrm>
          </p:grpSpPr>
          <p:sp>
            <p:nvSpPr>
              <p:cNvPr id="35874" name="矩形 1"/>
              <p:cNvSpPr>
                <a:spLocks noChangeArrowheads="1"/>
              </p:cNvSpPr>
              <p:nvPr/>
            </p:nvSpPr>
            <p:spPr bwMode="auto">
              <a:xfrm>
                <a:off x="3509640" y="2476724"/>
                <a:ext cx="4650987" cy="613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153" name="直接连接符 152"/>
              <p:cNvCxnSpPr/>
              <p:nvPr/>
            </p:nvCxnSpPr>
            <p:spPr>
              <a:xfrm>
                <a:off x="3616610" y="2486641"/>
                <a:ext cx="4544179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876" name="组合 153"/>
              <p:cNvGrpSpPr/>
              <p:nvPr/>
            </p:nvGrpSpPr>
            <p:grpSpPr bwMode="auto">
              <a:xfrm>
                <a:off x="3621798" y="2163845"/>
                <a:ext cx="2118491" cy="338554"/>
                <a:chOff x="957895" y="1031498"/>
                <a:chExt cx="2118491" cy="338554"/>
              </a:xfrm>
            </p:grpSpPr>
            <p:sp>
              <p:nvSpPr>
                <p:cNvPr id="155" name="TextBox 265"/>
                <p:cNvSpPr txBox="1"/>
                <p:nvPr/>
              </p:nvSpPr>
              <p:spPr bwMode="auto">
                <a:xfrm>
                  <a:off x="1168643" y="1030908"/>
                  <a:ext cx="1159068" cy="339238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chemeClr val="bg1"/>
                      </a:solidFill>
                    </a:rPr>
                    <a:t>添加标题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5878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829073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>
                      <a:solidFill>
                        <a:schemeClr val="bg1"/>
                      </a:solidFill>
                    </a:rPr>
                    <a:t>Add a title</a:t>
                  </a:r>
                  <a:endParaRPr lang="zh-CN" altLang="en-US" sz="1200">
                    <a:solidFill>
                      <a:schemeClr val="bg1"/>
                    </a:solidFill>
                  </a:endParaRPr>
                </a:p>
              </p:txBody>
            </p:sp>
            <p:grpSp>
              <p:nvGrpSpPr>
                <p:cNvPr id="35879" name="组合 156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159" name="流程图: 决策 166"/>
                  <p:cNvSpPr/>
                  <p:nvPr/>
                </p:nvSpPr>
                <p:spPr>
                  <a:xfrm>
                    <a:off x="970172" y="1113339"/>
                    <a:ext cx="136548" cy="19498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60" name="流程图: 决策 166"/>
                  <p:cNvSpPr/>
                  <p:nvPr/>
                </p:nvSpPr>
                <p:spPr>
                  <a:xfrm>
                    <a:off x="1119422" y="1114925"/>
                    <a:ext cx="79388" cy="19181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158" name="直接连接符 157"/>
                <p:cNvCxnSpPr/>
                <p:nvPr/>
              </p:nvCxnSpPr>
              <p:spPr>
                <a:xfrm>
                  <a:off x="2275314" y="1137118"/>
                  <a:ext cx="0" cy="145841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10" name="组合 9"/>
          <p:cNvGrpSpPr/>
          <p:nvPr/>
        </p:nvGrpSpPr>
        <p:grpSpPr bwMode="auto">
          <a:xfrm>
            <a:off x="3560763" y="3243263"/>
            <a:ext cx="4827587" cy="984250"/>
            <a:chOff x="3560036" y="3243680"/>
            <a:chExt cx="4828388" cy="984425"/>
          </a:xfrm>
        </p:grpSpPr>
        <p:sp>
          <p:nvSpPr>
            <p:cNvPr id="137" name="矩形 136"/>
            <p:cNvSpPr/>
            <p:nvPr/>
          </p:nvSpPr>
          <p:spPr>
            <a:xfrm>
              <a:off x="3560036" y="3243680"/>
              <a:ext cx="4828388" cy="98442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5862" name="组合 160"/>
            <p:cNvGrpSpPr/>
            <p:nvPr/>
          </p:nvGrpSpPr>
          <p:grpSpPr bwMode="auto">
            <a:xfrm>
              <a:off x="3672178" y="3272605"/>
              <a:ext cx="4650987" cy="926573"/>
              <a:chOff x="3509640" y="2163845"/>
              <a:chExt cx="4650987" cy="926573"/>
            </a:xfrm>
          </p:grpSpPr>
          <p:sp>
            <p:nvSpPr>
              <p:cNvPr id="35863" name="矩形 1"/>
              <p:cNvSpPr>
                <a:spLocks noChangeArrowheads="1"/>
              </p:cNvSpPr>
              <p:nvPr/>
            </p:nvSpPr>
            <p:spPr bwMode="auto">
              <a:xfrm>
                <a:off x="3509640" y="2476724"/>
                <a:ext cx="4650987" cy="613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163" name="直接连接符 162"/>
              <p:cNvCxnSpPr/>
              <p:nvPr/>
            </p:nvCxnSpPr>
            <p:spPr>
              <a:xfrm>
                <a:off x="3616610" y="2487408"/>
                <a:ext cx="4544179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865" name="组合 163"/>
              <p:cNvGrpSpPr/>
              <p:nvPr/>
            </p:nvGrpSpPr>
            <p:grpSpPr bwMode="auto">
              <a:xfrm>
                <a:off x="3621798" y="2163845"/>
                <a:ext cx="2118491" cy="338554"/>
                <a:chOff x="957895" y="1031498"/>
                <a:chExt cx="2118491" cy="338554"/>
              </a:xfrm>
            </p:grpSpPr>
            <p:sp>
              <p:nvSpPr>
                <p:cNvPr id="165" name="TextBox 265"/>
                <p:cNvSpPr txBox="1"/>
                <p:nvPr/>
              </p:nvSpPr>
              <p:spPr bwMode="auto">
                <a:xfrm>
                  <a:off x="1168643" y="1031153"/>
                  <a:ext cx="1159068" cy="338197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chemeClr val="bg1"/>
                      </a:solidFill>
                    </a:rPr>
                    <a:t>添加标题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5867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829073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>
                      <a:solidFill>
                        <a:schemeClr val="bg1"/>
                      </a:solidFill>
                    </a:rPr>
                    <a:t>Add a title</a:t>
                  </a:r>
                  <a:endParaRPr lang="zh-CN" altLang="en-US" sz="1200">
                    <a:solidFill>
                      <a:schemeClr val="bg1"/>
                    </a:solidFill>
                  </a:endParaRPr>
                </a:p>
              </p:txBody>
            </p:sp>
            <p:grpSp>
              <p:nvGrpSpPr>
                <p:cNvPr id="35868" name="组合 166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169" name="流程图: 决策 166"/>
                  <p:cNvSpPr/>
                  <p:nvPr/>
                </p:nvSpPr>
                <p:spPr>
                  <a:xfrm>
                    <a:off x="970172" y="1124832"/>
                    <a:ext cx="136548" cy="17148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70" name="流程图: 决策 166"/>
                  <p:cNvSpPr/>
                  <p:nvPr/>
                </p:nvSpPr>
                <p:spPr>
                  <a:xfrm>
                    <a:off x="1119422" y="1126420"/>
                    <a:ext cx="79388" cy="1683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168" name="直接连接符 167"/>
                <p:cNvCxnSpPr/>
                <p:nvPr/>
              </p:nvCxnSpPr>
              <p:spPr>
                <a:xfrm>
                  <a:off x="2275314" y="1137534"/>
                  <a:ext cx="0" cy="144489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xit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3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7" dur="3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2" presetClass="exit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3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11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4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15" dur="4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3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4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4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2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120000">
                                      <p:cBhvr>
                                        <p:cTn id="22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3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4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6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26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25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125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12" presetClass="exit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1" dur="3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32" dur="3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2" presetClass="exit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300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36" dur="3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2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300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1" dur="3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xit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3" dur="3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44" dur="3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300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9" dur="3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2" presetClass="exit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1" dur="300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52" dur="3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300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7" dur="3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9" dur="400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60" dur="4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3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300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5" dur="3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4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3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7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4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1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5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4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9" dur="4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 descr="E:\迅雷下载\shutterstock_113477080 (1).jpg"/>
          <p:cNvPicPr>
            <a:picLocks noChangeAspect="1" noChangeArrowheads="1"/>
          </p:cNvPicPr>
          <p:nvPr/>
        </p:nvPicPr>
        <p:blipFill rotWithShape="1">
          <a:blip r:embed="rId1"/>
          <a:srcRect t="15177" r="67725" b="22459"/>
          <a:stretch>
            <a:fillRect/>
          </a:stretch>
        </p:blipFill>
        <p:spPr bwMode="auto">
          <a:xfrm>
            <a:off x="706438" y="1179513"/>
            <a:ext cx="2500312" cy="307816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E:\迅雷下载\shutterstock_113477080 (1).jpg"/>
          <p:cNvPicPr>
            <a:picLocks noChangeAspect="1" noChangeArrowheads="1"/>
          </p:cNvPicPr>
          <p:nvPr/>
        </p:nvPicPr>
        <p:blipFill rotWithShape="1">
          <a:blip r:embed="rId1"/>
          <a:srcRect l="67491" t="15177" b="22459"/>
          <a:stretch>
            <a:fillRect/>
          </a:stretch>
        </p:blipFill>
        <p:spPr bwMode="auto">
          <a:xfrm>
            <a:off x="5937250" y="1179513"/>
            <a:ext cx="2519363" cy="307816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E:\迅雷下载\shutterstock_113477080 (1).jpg"/>
          <p:cNvPicPr>
            <a:picLocks noChangeAspect="1" noChangeArrowheads="1"/>
          </p:cNvPicPr>
          <p:nvPr/>
        </p:nvPicPr>
        <p:blipFill rotWithShape="1">
          <a:blip r:embed="rId1"/>
          <a:srcRect l="33886" t="15177" r="34211" b="22459"/>
          <a:stretch>
            <a:fillRect/>
          </a:stretch>
        </p:blipFill>
        <p:spPr bwMode="auto">
          <a:xfrm>
            <a:off x="3332163" y="1179513"/>
            <a:ext cx="2473325" cy="307816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869" name="组合 4"/>
          <p:cNvGrpSpPr/>
          <p:nvPr/>
        </p:nvGrpSpPr>
        <p:grpSpPr bwMode="auto">
          <a:xfrm>
            <a:off x="6472238" y="-23813"/>
            <a:ext cx="1195387" cy="338138"/>
            <a:chOff x="2724938" y="-712266"/>
            <a:chExt cx="1195562" cy="338554"/>
          </a:xfrm>
        </p:grpSpPr>
        <p:sp>
          <p:nvSpPr>
            <p:cNvPr id="36903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B0F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任意多边形 6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36870" name="组合 7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0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871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6900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872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689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873" name="组合 1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874" name="组合 19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875" name="组合 22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4" name="任意多边形 23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876" name="组合 28"/>
          <p:cNvGrpSpPr/>
          <p:nvPr/>
        </p:nvGrpSpPr>
        <p:grpSpPr bwMode="auto">
          <a:xfrm>
            <a:off x="2724150" y="17463"/>
            <a:ext cx="1214438" cy="295275"/>
            <a:chOff x="5223502" y="16303"/>
            <a:chExt cx="1214507" cy="294898"/>
          </a:xfrm>
        </p:grpSpPr>
        <p:sp>
          <p:nvSpPr>
            <p:cNvPr id="30" name="任意多边形 29"/>
            <p:cNvSpPr/>
            <p:nvPr/>
          </p:nvSpPr>
          <p:spPr>
            <a:xfrm rot="5400000">
              <a:off x="5673780" y="-433975"/>
              <a:ext cx="294898" cy="119545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1" name="矩形 91"/>
            <p:cNvSpPr>
              <a:spLocks noChangeArrowheads="1"/>
            </p:cNvSpPr>
            <p:nvPr/>
          </p:nvSpPr>
          <p:spPr bwMode="auto">
            <a:xfrm>
              <a:off x="5223502" y="54354"/>
              <a:ext cx="1214507" cy="214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101" name="组合 4100"/>
          <p:cNvGrpSpPr/>
          <p:nvPr/>
        </p:nvGrpSpPr>
        <p:grpSpPr bwMode="auto">
          <a:xfrm>
            <a:off x="706438" y="1179513"/>
            <a:ext cx="2500312" cy="1254125"/>
            <a:chOff x="705745" y="1179197"/>
            <a:chExt cx="2501475" cy="1255207"/>
          </a:xfrm>
        </p:grpSpPr>
        <p:sp>
          <p:nvSpPr>
            <p:cNvPr id="49" name="矩形 48"/>
            <p:cNvSpPr/>
            <p:nvPr/>
          </p:nvSpPr>
          <p:spPr>
            <a:xfrm>
              <a:off x="705745" y="1179197"/>
              <a:ext cx="2501475" cy="1255207"/>
            </a:xfrm>
            <a:prstGeom prst="rect">
              <a:avLst/>
            </a:prstGeom>
            <a:solidFill>
              <a:srgbClr val="FFC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8" name="Rounded Rectangle 100"/>
            <p:cNvSpPr/>
            <p:nvPr>
              <p:custDataLst>
                <p:tags r:id="rId2"/>
              </p:custDataLst>
            </p:nvPr>
          </p:nvSpPr>
          <p:spPr bwMode="auto">
            <a:xfrm>
              <a:off x="2308277" y="1264996"/>
              <a:ext cx="767120" cy="486194"/>
            </a:xfrm>
            <a:custGeom>
              <a:avLst/>
              <a:gdLst/>
              <a:ahLst/>
              <a:cxnLst/>
              <a:rect l="l" t="t" r="r" b="b"/>
              <a:pathLst>
                <a:path w="2489828" h="1736658">
                  <a:moveTo>
                    <a:pt x="1355416" y="1347324"/>
                  </a:moveTo>
                  <a:lnTo>
                    <a:pt x="1341361" y="1364359"/>
                  </a:lnTo>
                  <a:cubicBezTo>
                    <a:pt x="1338975" y="1363255"/>
                    <a:pt x="1337389" y="1362710"/>
                    <a:pt x="1338454" y="1359514"/>
                  </a:cubicBezTo>
                  <a:cubicBezTo>
                    <a:pt x="1339738" y="1355661"/>
                    <a:pt x="1343591" y="1353094"/>
                    <a:pt x="1347444" y="1350525"/>
                  </a:cubicBezTo>
                  <a:cubicBezTo>
                    <a:pt x="1350183" y="1349156"/>
                    <a:pt x="1352921" y="1348517"/>
                    <a:pt x="1355416" y="1347324"/>
                  </a:cubicBezTo>
                  <a:close/>
                  <a:moveTo>
                    <a:pt x="1367094" y="1326896"/>
                  </a:moveTo>
                  <a:lnTo>
                    <a:pt x="1367848" y="1327412"/>
                  </a:lnTo>
                  <a:cubicBezTo>
                    <a:pt x="1367397" y="1329533"/>
                    <a:pt x="1366290" y="1331232"/>
                    <a:pt x="1365170" y="1332923"/>
                  </a:cubicBezTo>
                  <a:cubicBezTo>
                    <a:pt x="1366081" y="1331614"/>
                    <a:pt x="1366343" y="1330154"/>
                    <a:pt x="1366708" y="1328694"/>
                  </a:cubicBezTo>
                  <a:close/>
                  <a:moveTo>
                    <a:pt x="1425858" y="1165049"/>
                  </a:moveTo>
                  <a:cubicBezTo>
                    <a:pt x="1426272" y="1184566"/>
                    <a:pt x="1422052" y="1203165"/>
                    <a:pt x="1416359" y="1221185"/>
                  </a:cubicBezTo>
                  <a:lnTo>
                    <a:pt x="1362623" y="1257938"/>
                  </a:lnTo>
                  <a:cubicBezTo>
                    <a:pt x="1362614" y="1257515"/>
                    <a:pt x="1362734" y="1257141"/>
                    <a:pt x="1362855" y="1256779"/>
                  </a:cubicBezTo>
                  <a:cubicBezTo>
                    <a:pt x="1364139" y="1254210"/>
                    <a:pt x="1366708" y="1254210"/>
                    <a:pt x="1367992" y="1251642"/>
                  </a:cubicBezTo>
                  <a:cubicBezTo>
                    <a:pt x="1369276" y="1250358"/>
                    <a:pt x="1369276" y="1247790"/>
                    <a:pt x="1370561" y="1246506"/>
                  </a:cubicBezTo>
                  <a:cubicBezTo>
                    <a:pt x="1373129" y="1242653"/>
                    <a:pt x="1376981" y="1240084"/>
                    <a:pt x="1380834" y="1236232"/>
                  </a:cubicBezTo>
                  <a:cubicBezTo>
                    <a:pt x="1384687" y="1232379"/>
                    <a:pt x="1388539" y="1227243"/>
                    <a:pt x="1392392" y="1222106"/>
                  </a:cubicBezTo>
                  <a:cubicBezTo>
                    <a:pt x="1393676" y="1219538"/>
                    <a:pt x="1393676" y="1216969"/>
                    <a:pt x="1394961" y="1215685"/>
                  </a:cubicBezTo>
                  <a:cubicBezTo>
                    <a:pt x="1398814" y="1209264"/>
                    <a:pt x="1406519" y="1206696"/>
                    <a:pt x="1411656" y="1201559"/>
                  </a:cubicBezTo>
                  <a:cubicBezTo>
                    <a:pt x="1414224" y="1197706"/>
                    <a:pt x="1414224" y="1195138"/>
                    <a:pt x="1414224" y="1191285"/>
                  </a:cubicBezTo>
                  <a:cubicBezTo>
                    <a:pt x="1414224" y="1186148"/>
                    <a:pt x="1415509" y="1183580"/>
                    <a:pt x="1418077" y="1178444"/>
                  </a:cubicBezTo>
                  <a:cubicBezTo>
                    <a:pt x="1419361" y="1175875"/>
                    <a:pt x="1421930" y="1173307"/>
                    <a:pt x="1423214" y="1169454"/>
                  </a:cubicBezTo>
                  <a:close/>
                  <a:moveTo>
                    <a:pt x="1427937" y="1152759"/>
                  </a:moveTo>
                  <a:lnTo>
                    <a:pt x="1428351" y="1152759"/>
                  </a:lnTo>
                  <a:lnTo>
                    <a:pt x="1427067" y="1163033"/>
                  </a:lnTo>
                  <a:cubicBezTo>
                    <a:pt x="1426714" y="1163740"/>
                    <a:pt x="1426360" y="1164446"/>
                    <a:pt x="1425858" y="1165049"/>
                  </a:cubicBezTo>
                  <a:close/>
                  <a:moveTo>
                    <a:pt x="799274" y="1104029"/>
                  </a:moveTo>
                  <a:cubicBezTo>
                    <a:pt x="796686" y="1103387"/>
                    <a:pt x="794098" y="1104029"/>
                    <a:pt x="792804" y="1106598"/>
                  </a:cubicBezTo>
                  <a:cubicBezTo>
                    <a:pt x="791510" y="1107884"/>
                    <a:pt x="792804" y="1109168"/>
                    <a:pt x="791510" y="1110453"/>
                  </a:cubicBezTo>
                  <a:lnTo>
                    <a:pt x="787628" y="1110453"/>
                  </a:lnTo>
                  <a:cubicBezTo>
                    <a:pt x="786334" y="1110453"/>
                    <a:pt x="785040" y="1109168"/>
                    <a:pt x="783745" y="1109168"/>
                  </a:cubicBezTo>
                  <a:lnTo>
                    <a:pt x="781158" y="1113022"/>
                  </a:lnTo>
                  <a:lnTo>
                    <a:pt x="786334" y="1114307"/>
                  </a:lnTo>
                  <a:cubicBezTo>
                    <a:pt x="788922" y="1114307"/>
                    <a:pt x="791510" y="1113022"/>
                    <a:pt x="795392" y="1113022"/>
                  </a:cubicBezTo>
                  <a:cubicBezTo>
                    <a:pt x="797980" y="1113022"/>
                    <a:pt x="801862" y="1115591"/>
                    <a:pt x="804450" y="1114307"/>
                  </a:cubicBezTo>
                  <a:cubicBezTo>
                    <a:pt x="807038" y="1113022"/>
                    <a:pt x="807038" y="1110453"/>
                    <a:pt x="805745" y="1109168"/>
                  </a:cubicBezTo>
                  <a:cubicBezTo>
                    <a:pt x="804450" y="1106598"/>
                    <a:pt x="801862" y="1104672"/>
                    <a:pt x="799274" y="1104029"/>
                  </a:cubicBezTo>
                  <a:close/>
                  <a:moveTo>
                    <a:pt x="737364" y="1082105"/>
                  </a:moveTo>
                  <a:cubicBezTo>
                    <a:pt x="734797" y="1082105"/>
                    <a:pt x="733514" y="1082105"/>
                    <a:pt x="733514" y="1083404"/>
                  </a:cubicBezTo>
                  <a:cubicBezTo>
                    <a:pt x="730947" y="1087299"/>
                    <a:pt x="737364" y="1086000"/>
                    <a:pt x="738647" y="1086000"/>
                  </a:cubicBezTo>
                  <a:cubicBezTo>
                    <a:pt x="741214" y="1086000"/>
                    <a:pt x="742497" y="1084702"/>
                    <a:pt x="745063" y="1084702"/>
                  </a:cubicBezTo>
                  <a:cubicBezTo>
                    <a:pt x="746347" y="1086000"/>
                    <a:pt x="748913" y="1087299"/>
                    <a:pt x="751480" y="1088597"/>
                  </a:cubicBezTo>
                  <a:cubicBezTo>
                    <a:pt x="755330" y="1092492"/>
                    <a:pt x="760463" y="1096388"/>
                    <a:pt x="764313" y="1100283"/>
                  </a:cubicBezTo>
                  <a:cubicBezTo>
                    <a:pt x="766879" y="1102879"/>
                    <a:pt x="769446" y="1104178"/>
                    <a:pt x="773295" y="1104178"/>
                  </a:cubicBezTo>
                  <a:cubicBezTo>
                    <a:pt x="775862" y="1104178"/>
                    <a:pt x="777145" y="1101581"/>
                    <a:pt x="775862" y="1098984"/>
                  </a:cubicBezTo>
                  <a:cubicBezTo>
                    <a:pt x="773295" y="1097686"/>
                    <a:pt x="770729" y="1096388"/>
                    <a:pt x="768163" y="1095089"/>
                  </a:cubicBezTo>
                  <a:cubicBezTo>
                    <a:pt x="761746" y="1092492"/>
                    <a:pt x="755330" y="1088597"/>
                    <a:pt x="750197" y="1084702"/>
                  </a:cubicBezTo>
                  <a:cubicBezTo>
                    <a:pt x="747630" y="1083404"/>
                    <a:pt x="745063" y="1082105"/>
                    <a:pt x="742497" y="1082105"/>
                  </a:cubicBezTo>
                  <a:close/>
                  <a:moveTo>
                    <a:pt x="1335565" y="1042800"/>
                  </a:moveTo>
                  <a:lnTo>
                    <a:pt x="1341023" y="1043603"/>
                  </a:lnTo>
                  <a:cubicBezTo>
                    <a:pt x="1343591" y="1046172"/>
                    <a:pt x="1347444" y="1050024"/>
                    <a:pt x="1348728" y="1053877"/>
                  </a:cubicBezTo>
                  <a:cubicBezTo>
                    <a:pt x="1350013" y="1056445"/>
                    <a:pt x="1350013" y="1059014"/>
                    <a:pt x="1352581" y="1062866"/>
                  </a:cubicBezTo>
                  <a:cubicBezTo>
                    <a:pt x="1353865" y="1065434"/>
                    <a:pt x="1355149" y="1066719"/>
                    <a:pt x="1356433" y="1071856"/>
                  </a:cubicBezTo>
                  <a:cubicBezTo>
                    <a:pt x="1357718" y="1075708"/>
                    <a:pt x="1359002" y="1078276"/>
                    <a:pt x="1361571" y="1080845"/>
                  </a:cubicBezTo>
                  <a:cubicBezTo>
                    <a:pt x="1364139" y="1084697"/>
                    <a:pt x="1364139" y="1088550"/>
                    <a:pt x="1365423" y="1092402"/>
                  </a:cubicBezTo>
                  <a:cubicBezTo>
                    <a:pt x="1365423" y="1096255"/>
                    <a:pt x="1367992" y="1096255"/>
                    <a:pt x="1369276" y="1100108"/>
                  </a:cubicBezTo>
                  <a:cubicBezTo>
                    <a:pt x="1370561" y="1102676"/>
                    <a:pt x="1370561" y="1106528"/>
                    <a:pt x="1373129" y="1110381"/>
                  </a:cubicBezTo>
                  <a:cubicBezTo>
                    <a:pt x="1374413" y="1114234"/>
                    <a:pt x="1378266" y="1114234"/>
                    <a:pt x="1380834" y="1116802"/>
                  </a:cubicBezTo>
                  <a:cubicBezTo>
                    <a:pt x="1383403" y="1120655"/>
                    <a:pt x="1382118" y="1125791"/>
                    <a:pt x="1382118" y="1129644"/>
                  </a:cubicBezTo>
                  <a:cubicBezTo>
                    <a:pt x="1380834" y="1137349"/>
                    <a:pt x="1384687" y="1142486"/>
                    <a:pt x="1392392" y="1143770"/>
                  </a:cubicBezTo>
                  <a:cubicBezTo>
                    <a:pt x="1397529" y="1145054"/>
                    <a:pt x="1401382" y="1142486"/>
                    <a:pt x="1405234" y="1142486"/>
                  </a:cubicBezTo>
                  <a:cubicBezTo>
                    <a:pt x="1409087" y="1141202"/>
                    <a:pt x="1412940" y="1142486"/>
                    <a:pt x="1416793" y="1141202"/>
                  </a:cubicBezTo>
                  <a:lnTo>
                    <a:pt x="1420646" y="1134781"/>
                  </a:lnTo>
                  <a:cubicBezTo>
                    <a:pt x="1423214" y="1133497"/>
                    <a:pt x="1427067" y="1136065"/>
                    <a:pt x="1429635" y="1132213"/>
                  </a:cubicBezTo>
                  <a:lnTo>
                    <a:pt x="1430919" y="1125791"/>
                  </a:lnTo>
                  <a:lnTo>
                    <a:pt x="1432822" y="1123889"/>
                  </a:lnTo>
                  <a:lnTo>
                    <a:pt x="1427937" y="1152759"/>
                  </a:lnTo>
                  <a:cubicBezTo>
                    <a:pt x="1426944" y="1150253"/>
                    <a:pt x="1424467" y="1151506"/>
                    <a:pt x="1423214" y="1152759"/>
                  </a:cubicBezTo>
                  <a:cubicBezTo>
                    <a:pt x="1420646" y="1155328"/>
                    <a:pt x="1419361" y="1155328"/>
                    <a:pt x="1415509" y="1156612"/>
                  </a:cubicBezTo>
                  <a:lnTo>
                    <a:pt x="1410372" y="1156612"/>
                  </a:lnTo>
                  <a:cubicBezTo>
                    <a:pt x="1409087" y="1156612"/>
                    <a:pt x="1409087" y="1157896"/>
                    <a:pt x="1407803" y="1159181"/>
                  </a:cubicBezTo>
                  <a:cubicBezTo>
                    <a:pt x="1403951" y="1160465"/>
                    <a:pt x="1400098" y="1159181"/>
                    <a:pt x="1396245" y="1159181"/>
                  </a:cubicBezTo>
                  <a:lnTo>
                    <a:pt x="1389824" y="1159181"/>
                  </a:lnTo>
                  <a:cubicBezTo>
                    <a:pt x="1387256" y="1157896"/>
                    <a:pt x="1387256" y="1156612"/>
                    <a:pt x="1385971" y="1154044"/>
                  </a:cubicBezTo>
                  <a:cubicBezTo>
                    <a:pt x="1383403" y="1146339"/>
                    <a:pt x="1376981" y="1142486"/>
                    <a:pt x="1373129" y="1136065"/>
                  </a:cubicBezTo>
                  <a:cubicBezTo>
                    <a:pt x="1369276" y="1128360"/>
                    <a:pt x="1362855" y="1120655"/>
                    <a:pt x="1361571" y="1112950"/>
                  </a:cubicBezTo>
                  <a:cubicBezTo>
                    <a:pt x="1360286" y="1107813"/>
                    <a:pt x="1360286" y="1102676"/>
                    <a:pt x="1357718" y="1097539"/>
                  </a:cubicBezTo>
                  <a:cubicBezTo>
                    <a:pt x="1353865" y="1091119"/>
                    <a:pt x="1347444" y="1084697"/>
                    <a:pt x="1344876" y="1076993"/>
                  </a:cubicBezTo>
                  <a:lnTo>
                    <a:pt x="1343591" y="1065434"/>
                  </a:lnTo>
                  <a:cubicBezTo>
                    <a:pt x="1342307" y="1062866"/>
                    <a:pt x="1339738" y="1059014"/>
                    <a:pt x="1338454" y="1055161"/>
                  </a:cubicBezTo>
                  <a:cubicBezTo>
                    <a:pt x="1337170" y="1053877"/>
                    <a:pt x="1330749" y="1047456"/>
                    <a:pt x="1332033" y="1044888"/>
                  </a:cubicBezTo>
                  <a:close/>
                  <a:moveTo>
                    <a:pt x="1419361" y="1034614"/>
                  </a:moveTo>
                  <a:cubicBezTo>
                    <a:pt x="1421930" y="1038466"/>
                    <a:pt x="1421930" y="1043603"/>
                    <a:pt x="1424498" y="1047456"/>
                  </a:cubicBezTo>
                  <a:cubicBezTo>
                    <a:pt x="1425962" y="1051116"/>
                    <a:pt x="1428261" y="1052690"/>
                    <a:pt x="1431200" y="1053177"/>
                  </a:cubicBezTo>
                  <a:lnTo>
                    <a:pt x="1433627" y="1077251"/>
                  </a:lnTo>
                  <a:lnTo>
                    <a:pt x="1423214" y="1071856"/>
                  </a:lnTo>
                  <a:cubicBezTo>
                    <a:pt x="1420646" y="1069287"/>
                    <a:pt x="1419361" y="1066719"/>
                    <a:pt x="1418077" y="1064150"/>
                  </a:cubicBezTo>
                  <a:cubicBezTo>
                    <a:pt x="1418077" y="1061582"/>
                    <a:pt x="1418077" y="1059014"/>
                    <a:pt x="1418077" y="1056445"/>
                  </a:cubicBezTo>
                  <a:cubicBezTo>
                    <a:pt x="1416793" y="1052593"/>
                    <a:pt x="1414224" y="1050024"/>
                    <a:pt x="1411656" y="1047456"/>
                  </a:cubicBezTo>
                  <a:cubicBezTo>
                    <a:pt x="1409087" y="1046172"/>
                    <a:pt x="1409087" y="1043603"/>
                    <a:pt x="1407803" y="1041035"/>
                  </a:cubicBezTo>
                  <a:cubicBezTo>
                    <a:pt x="1407803" y="1035898"/>
                    <a:pt x="1414224" y="1032046"/>
                    <a:pt x="1419361" y="1034614"/>
                  </a:cubicBezTo>
                  <a:close/>
                  <a:moveTo>
                    <a:pt x="586040" y="1028332"/>
                  </a:moveTo>
                  <a:cubicBezTo>
                    <a:pt x="588608" y="1030899"/>
                    <a:pt x="589892" y="1034750"/>
                    <a:pt x="591176" y="1037317"/>
                  </a:cubicBezTo>
                  <a:cubicBezTo>
                    <a:pt x="593743" y="1039884"/>
                    <a:pt x="596311" y="1043735"/>
                    <a:pt x="598879" y="1047586"/>
                  </a:cubicBezTo>
                  <a:cubicBezTo>
                    <a:pt x="604014" y="1056571"/>
                    <a:pt x="607866" y="1065556"/>
                    <a:pt x="613001" y="1074541"/>
                  </a:cubicBezTo>
                  <a:lnTo>
                    <a:pt x="618136" y="1079675"/>
                  </a:lnTo>
                  <a:cubicBezTo>
                    <a:pt x="619420" y="1082242"/>
                    <a:pt x="619420" y="1082242"/>
                    <a:pt x="620704" y="1084809"/>
                  </a:cubicBezTo>
                  <a:cubicBezTo>
                    <a:pt x="621987" y="1087376"/>
                    <a:pt x="623271" y="1088660"/>
                    <a:pt x="623271" y="1091227"/>
                  </a:cubicBezTo>
                  <a:cubicBezTo>
                    <a:pt x="624555" y="1095078"/>
                    <a:pt x="623271" y="1098929"/>
                    <a:pt x="623271" y="1102779"/>
                  </a:cubicBezTo>
                  <a:lnTo>
                    <a:pt x="628406" y="1113048"/>
                  </a:lnTo>
                  <a:cubicBezTo>
                    <a:pt x="630974" y="1115615"/>
                    <a:pt x="633542" y="1115615"/>
                    <a:pt x="637393" y="1116899"/>
                  </a:cubicBezTo>
                  <a:cubicBezTo>
                    <a:pt x="638677" y="1118182"/>
                    <a:pt x="639961" y="1120750"/>
                    <a:pt x="642528" y="1120750"/>
                  </a:cubicBezTo>
                  <a:cubicBezTo>
                    <a:pt x="643812" y="1122033"/>
                    <a:pt x="646380" y="1120750"/>
                    <a:pt x="647664" y="1122033"/>
                  </a:cubicBezTo>
                  <a:cubicBezTo>
                    <a:pt x="648948" y="1123317"/>
                    <a:pt x="648948" y="1124600"/>
                    <a:pt x="650231" y="1124600"/>
                  </a:cubicBezTo>
                  <a:cubicBezTo>
                    <a:pt x="652800" y="1127167"/>
                    <a:pt x="654083" y="1129735"/>
                    <a:pt x="657935" y="1131018"/>
                  </a:cubicBezTo>
                  <a:cubicBezTo>
                    <a:pt x="661786" y="1132302"/>
                    <a:pt x="668206" y="1132302"/>
                    <a:pt x="672057" y="1131018"/>
                  </a:cubicBezTo>
                  <a:cubicBezTo>
                    <a:pt x="675908" y="1129735"/>
                    <a:pt x="679760" y="1128451"/>
                    <a:pt x="683611" y="1129735"/>
                  </a:cubicBezTo>
                  <a:cubicBezTo>
                    <a:pt x="686179" y="1131018"/>
                    <a:pt x="687463" y="1133585"/>
                    <a:pt x="690030" y="1134869"/>
                  </a:cubicBezTo>
                  <a:cubicBezTo>
                    <a:pt x="693882" y="1137436"/>
                    <a:pt x="695165" y="1142570"/>
                    <a:pt x="699017" y="1143854"/>
                  </a:cubicBezTo>
                  <a:cubicBezTo>
                    <a:pt x="700301" y="1145138"/>
                    <a:pt x="701584" y="1145138"/>
                    <a:pt x="702868" y="1145138"/>
                  </a:cubicBezTo>
                  <a:cubicBezTo>
                    <a:pt x="708004" y="1146421"/>
                    <a:pt x="710571" y="1147705"/>
                    <a:pt x="713139" y="1150271"/>
                  </a:cubicBezTo>
                  <a:cubicBezTo>
                    <a:pt x="718274" y="1154123"/>
                    <a:pt x="716991" y="1161824"/>
                    <a:pt x="719558" y="1165674"/>
                  </a:cubicBezTo>
                  <a:cubicBezTo>
                    <a:pt x="722126" y="1168242"/>
                    <a:pt x="724694" y="1168242"/>
                    <a:pt x="727261" y="1169526"/>
                  </a:cubicBezTo>
                  <a:cubicBezTo>
                    <a:pt x="729829" y="1170809"/>
                    <a:pt x="729829" y="1174659"/>
                    <a:pt x="733680" y="1175943"/>
                  </a:cubicBezTo>
                  <a:lnTo>
                    <a:pt x="746519" y="1175943"/>
                  </a:lnTo>
                  <a:cubicBezTo>
                    <a:pt x="749087" y="1175943"/>
                    <a:pt x="752938" y="1174659"/>
                    <a:pt x="756789" y="1175943"/>
                  </a:cubicBezTo>
                  <a:lnTo>
                    <a:pt x="760641" y="1179794"/>
                  </a:lnTo>
                  <a:cubicBezTo>
                    <a:pt x="761925" y="1182361"/>
                    <a:pt x="760641" y="1183645"/>
                    <a:pt x="763208" y="1186212"/>
                  </a:cubicBezTo>
                  <a:cubicBezTo>
                    <a:pt x="768344" y="1190062"/>
                    <a:pt x="765776" y="1196480"/>
                    <a:pt x="764492" y="1202898"/>
                  </a:cubicBezTo>
                  <a:cubicBezTo>
                    <a:pt x="763208" y="1205465"/>
                    <a:pt x="763208" y="1208033"/>
                    <a:pt x="763208" y="1210600"/>
                  </a:cubicBezTo>
                  <a:cubicBezTo>
                    <a:pt x="763208" y="1213167"/>
                    <a:pt x="763208" y="1214450"/>
                    <a:pt x="764492" y="1217018"/>
                  </a:cubicBezTo>
                  <a:cubicBezTo>
                    <a:pt x="764492" y="1220868"/>
                    <a:pt x="763208" y="1222152"/>
                    <a:pt x="761925" y="1224719"/>
                  </a:cubicBezTo>
                  <a:cubicBezTo>
                    <a:pt x="758073" y="1232421"/>
                    <a:pt x="752938" y="1237554"/>
                    <a:pt x="749087" y="1243973"/>
                  </a:cubicBezTo>
                  <a:cubicBezTo>
                    <a:pt x="746519" y="1249107"/>
                    <a:pt x="746519" y="1256809"/>
                    <a:pt x="746519" y="1261942"/>
                  </a:cubicBezTo>
                  <a:cubicBezTo>
                    <a:pt x="747803" y="1270928"/>
                    <a:pt x="751654" y="1276062"/>
                    <a:pt x="758073" y="1282480"/>
                  </a:cubicBezTo>
                  <a:cubicBezTo>
                    <a:pt x="763208" y="1287614"/>
                    <a:pt x="763208" y="1294032"/>
                    <a:pt x="765776" y="1300450"/>
                  </a:cubicBezTo>
                  <a:cubicBezTo>
                    <a:pt x="765776" y="1303017"/>
                    <a:pt x="767060" y="1305584"/>
                    <a:pt x="768344" y="1308151"/>
                  </a:cubicBezTo>
                  <a:cubicBezTo>
                    <a:pt x="769627" y="1310718"/>
                    <a:pt x="772195" y="1312002"/>
                    <a:pt x="772195" y="1315853"/>
                  </a:cubicBezTo>
                  <a:cubicBezTo>
                    <a:pt x="772195" y="1317136"/>
                    <a:pt x="772195" y="1318420"/>
                    <a:pt x="772195" y="1320987"/>
                  </a:cubicBezTo>
                  <a:cubicBezTo>
                    <a:pt x="772195" y="1323554"/>
                    <a:pt x="773479" y="1329972"/>
                    <a:pt x="776046" y="1331256"/>
                  </a:cubicBezTo>
                  <a:cubicBezTo>
                    <a:pt x="777330" y="1332539"/>
                    <a:pt x="779898" y="1333823"/>
                    <a:pt x="782465" y="1333823"/>
                  </a:cubicBezTo>
                  <a:cubicBezTo>
                    <a:pt x="785033" y="1335106"/>
                    <a:pt x="788885" y="1336390"/>
                    <a:pt x="791452" y="1338957"/>
                  </a:cubicBezTo>
                  <a:cubicBezTo>
                    <a:pt x="794020" y="1341524"/>
                    <a:pt x="796588" y="1342808"/>
                    <a:pt x="799155" y="1345375"/>
                  </a:cubicBezTo>
                  <a:cubicBezTo>
                    <a:pt x="800439" y="1346659"/>
                    <a:pt x="800439" y="1349225"/>
                    <a:pt x="801723" y="1351793"/>
                  </a:cubicBezTo>
                  <a:cubicBezTo>
                    <a:pt x="803007" y="1354360"/>
                    <a:pt x="803007" y="1358211"/>
                    <a:pt x="803007" y="1362062"/>
                  </a:cubicBezTo>
                  <a:cubicBezTo>
                    <a:pt x="803007" y="1363345"/>
                    <a:pt x="801723" y="1364628"/>
                    <a:pt x="801723" y="1367196"/>
                  </a:cubicBezTo>
                  <a:cubicBezTo>
                    <a:pt x="801723" y="1368480"/>
                    <a:pt x="803007" y="1369763"/>
                    <a:pt x="801723" y="1371046"/>
                  </a:cubicBezTo>
                  <a:lnTo>
                    <a:pt x="801723" y="1376181"/>
                  </a:lnTo>
                  <a:cubicBezTo>
                    <a:pt x="801723" y="1380031"/>
                    <a:pt x="799155" y="1382599"/>
                    <a:pt x="799155" y="1386449"/>
                  </a:cubicBezTo>
                  <a:cubicBezTo>
                    <a:pt x="799155" y="1390300"/>
                    <a:pt x="800439" y="1392868"/>
                    <a:pt x="800439" y="1395434"/>
                  </a:cubicBezTo>
                  <a:cubicBezTo>
                    <a:pt x="799155" y="1398001"/>
                    <a:pt x="797872" y="1399285"/>
                    <a:pt x="799155" y="1403136"/>
                  </a:cubicBezTo>
                  <a:cubicBezTo>
                    <a:pt x="799155" y="1404419"/>
                    <a:pt x="799155" y="1405703"/>
                    <a:pt x="799155" y="1408270"/>
                  </a:cubicBezTo>
                  <a:cubicBezTo>
                    <a:pt x="799155" y="1409554"/>
                    <a:pt x="797872" y="1410837"/>
                    <a:pt x="797872" y="1413404"/>
                  </a:cubicBezTo>
                  <a:lnTo>
                    <a:pt x="796588" y="1418539"/>
                  </a:lnTo>
                  <a:lnTo>
                    <a:pt x="795304" y="1423673"/>
                  </a:lnTo>
                  <a:cubicBezTo>
                    <a:pt x="796588" y="1424957"/>
                    <a:pt x="796588" y="1426240"/>
                    <a:pt x="796588" y="1428807"/>
                  </a:cubicBezTo>
                  <a:cubicBezTo>
                    <a:pt x="796588" y="1430091"/>
                    <a:pt x="795304" y="1431375"/>
                    <a:pt x="795304" y="1433942"/>
                  </a:cubicBezTo>
                  <a:cubicBezTo>
                    <a:pt x="795304" y="1436509"/>
                    <a:pt x="796588" y="1437792"/>
                    <a:pt x="797872" y="1439076"/>
                  </a:cubicBezTo>
                  <a:cubicBezTo>
                    <a:pt x="800439" y="1444210"/>
                    <a:pt x="794020" y="1449345"/>
                    <a:pt x="792736" y="1454479"/>
                  </a:cubicBezTo>
                  <a:cubicBezTo>
                    <a:pt x="791452" y="1458330"/>
                    <a:pt x="790168" y="1462180"/>
                    <a:pt x="790168" y="1466031"/>
                  </a:cubicBezTo>
                  <a:lnTo>
                    <a:pt x="787732" y="1475775"/>
                  </a:lnTo>
                  <a:cubicBezTo>
                    <a:pt x="653361" y="1402919"/>
                    <a:pt x="563183" y="1260279"/>
                    <a:pt x="563183" y="1096578"/>
                  </a:cubicBezTo>
                  <a:lnTo>
                    <a:pt x="569630" y="1032630"/>
                  </a:lnTo>
                  <a:cubicBezTo>
                    <a:pt x="572113" y="1036233"/>
                    <a:pt x="574535" y="1038748"/>
                    <a:pt x="575770" y="1042452"/>
                  </a:cubicBezTo>
                  <a:cubicBezTo>
                    <a:pt x="578337" y="1045018"/>
                    <a:pt x="575770" y="1047586"/>
                    <a:pt x="575770" y="1050153"/>
                  </a:cubicBezTo>
                  <a:cubicBezTo>
                    <a:pt x="574486" y="1054003"/>
                    <a:pt x="579621" y="1056571"/>
                    <a:pt x="580905" y="1057855"/>
                  </a:cubicBezTo>
                  <a:cubicBezTo>
                    <a:pt x="583473" y="1060421"/>
                    <a:pt x="586040" y="1062988"/>
                    <a:pt x="587324" y="1065556"/>
                  </a:cubicBezTo>
                  <a:cubicBezTo>
                    <a:pt x="589892" y="1068123"/>
                    <a:pt x="591176" y="1071974"/>
                    <a:pt x="592460" y="1075824"/>
                  </a:cubicBezTo>
                  <a:lnTo>
                    <a:pt x="596311" y="1079675"/>
                  </a:lnTo>
                  <a:lnTo>
                    <a:pt x="598879" y="1075824"/>
                  </a:lnTo>
                  <a:lnTo>
                    <a:pt x="596311" y="1070690"/>
                  </a:lnTo>
                  <a:cubicBezTo>
                    <a:pt x="595027" y="1069406"/>
                    <a:pt x="593743" y="1066839"/>
                    <a:pt x="592460" y="1064272"/>
                  </a:cubicBezTo>
                  <a:cubicBezTo>
                    <a:pt x="591176" y="1062988"/>
                    <a:pt x="589892" y="1061705"/>
                    <a:pt x="588608" y="1059138"/>
                  </a:cubicBezTo>
                  <a:cubicBezTo>
                    <a:pt x="586040" y="1056571"/>
                    <a:pt x="584757" y="1054003"/>
                    <a:pt x="583473" y="1050153"/>
                  </a:cubicBezTo>
                  <a:cubicBezTo>
                    <a:pt x="582189" y="1046302"/>
                    <a:pt x="579621" y="1043735"/>
                    <a:pt x="579621" y="1039884"/>
                  </a:cubicBezTo>
                  <a:cubicBezTo>
                    <a:pt x="578337" y="1037317"/>
                    <a:pt x="578337" y="1034750"/>
                    <a:pt x="578337" y="1030899"/>
                  </a:cubicBezTo>
                  <a:cubicBezTo>
                    <a:pt x="578337" y="1027049"/>
                    <a:pt x="582189" y="1025765"/>
                    <a:pt x="586040" y="1028332"/>
                  </a:cubicBezTo>
                  <a:close/>
                  <a:moveTo>
                    <a:pt x="1769979" y="1006408"/>
                  </a:moveTo>
                  <a:lnTo>
                    <a:pt x="1769979" y="1206966"/>
                  </a:lnTo>
                  <a:lnTo>
                    <a:pt x="2103009" y="1206966"/>
                  </a:lnTo>
                  <a:lnTo>
                    <a:pt x="2103009" y="1378873"/>
                  </a:lnTo>
                  <a:lnTo>
                    <a:pt x="1769979" y="1378873"/>
                  </a:lnTo>
                  <a:lnTo>
                    <a:pt x="1769979" y="1579431"/>
                  </a:lnTo>
                  <a:lnTo>
                    <a:pt x="1341008" y="1292920"/>
                  </a:lnTo>
                  <a:close/>
                  <a:moveTo>
                    <a:pt x="874865" y="879164"/>
                  </a:moveTo>
                  <a:cubicBezTo>
                    <a:pt x="872278" y="879164"/>
                    <a:pt x="872278" y="884318"/>
                    <a:pt x="872278" y="886895"/>
                  </a:cubicBezTo>
                  <a:cubicBezTo>
                    <a:pt x="870986" y="893336"/>
                    <a:pt x="861933" y="897201"/>
                    <a:pt x="861933" y="902354"/>
                  </a:cubicBezTo>
                  <a:cubicBezTo>
                    <a:pt x="863226" y="910085"/>
                    <a:pt x="869692" y="911373"/>
                    <a:pt x="874865" y="911373"/>
                  </a:cubicBezTo>
                  <a:cubicBezTo>
                    <a:pt x="878745" y="910085"/>
                    <a:pt x="881331" y="910085"/>
                    <a:pt x="885210" y="911373"/>
                  </a:cubicBezTo>
                  <a:cubicBezTo>
                    <a:pt x="887797" y="911373"/>
                    <a:pt x="889090" y="913949"/>
                    <a:pt x="891677" y="913949"/>
                  </a:cubicBezTo>
                  <a:cubicBezTo>
                    <a:pt x="894263" y="913949"/>
                    <a:pt x="896849" y="913949"/>
                    <a:pt x="898142" y="911373"/>
                  </a:cubicBezTo>
                  <a:cubicBezTo>
                    <a:pt x="899435" y="907507"/>
                    <a:pt x="896849" y="906219"/>
                    <a:pt x="894263" y="903643"/>
                  </a:cubicBezTo>
                  <a:cubicBezTo>
                    <a:pt x="892970" y="902354"/>
                    <a:pt x="891677" y="901066"/>
                    <a:pt x="890383" y="899778"/>
                  </a:cubicBezTo>
                  <a:cubicBezTo>
                    <a:pt x="889090" y="897201"/>
                    <a:pt x="886504" y="893336"/>
                    <a:pt x="882624" y="894624"/>
                  </a:cubicBezTo>
                  <a:cubicBezTo>
                    <a:pt x="881331" y="894624"/>
                    <a:pt x="881331" y="895912"/>
                    <a:pt x="880038" y="895912"/>
                  </a:cubicBezTo>
                  <a:lnTo>
                    <a:pt x="876158" y="894624"/>
                  </a:lnTo>
                  <a:cubicBezTo>
                    <a:pt x="874865" y="893336"/>
                    <a:pt x="876158" y="892048"/>
                    <a:pt x="876158" y="889471"/>
                  </a:cubicBezTo>
                  <a:cubicBezTo>
                    <a:pt x="877451" y="888183"/>
                    <a:pt x="877451" y="885606"/>
                    <a:pt x="878745" y="883030"/>
                  </a:cubicBezTo>
                  <a:lnTo>
                    <a:pt x="877451" y="879164"/>
                  </a:lnTo>
                  <a:cubicBezTo>
                    <a:pt x="876158" y="879164"/>
                    <a:pt x="876158" y="879164"/>
                    <a:pt x="874865" y="879164"/>
                  </a:cubicBezTo>
                  <a:close/>
                  <a:moveTo>
                    <a:pt x="1125354" y="850902"/>
                  </a:moveTo>
                  <a:cubicBezTo>
                    <a:pt x="1124056" y="850902"/>
                    <a:pt x="1122757" y="852202"/>
                    <a:pt x="1121459" y="853502"/>
                  </a:cubicBezTo>
                  <a:cubicBezTo>
                    <a:pt x="1120160" y="854801"/>
                    <a:pt x="1118862" y="856101"/>
                    <a:pt x="1117564" y="856101"/>
                  </a:cubicBezTo>
                  <a:cubicBezTo>
                    <a:pt x="1116265" y="857401"/>
                    <a:pt x="1114967" y="856101"/>
                    <a:pt x="1113669" y="857401"/>
                  </a:cubicBezTo>
                  <a:cubicBezTo>
                    <a:pt x="1113669" y="858701"/>
                    <a:pt x="1114967" y="858701"/>
                    <a:pt x="1114967" y="860001"/>
                  </a:cubicBezTo>
                  <a:cubicBezTo>
                    <a:pt x="1114967" y="862600"/>
                    <a:pt x="1111072" y="861300"/>
                    <a:pt x="1112370" y="863900"/>
                  </a:cubicBezTo>
                  <a:cubicBezTo>
                    <a:pt x="1112370" y="865199"/>
                    <a:pt x="1113669" y="865199"/>
                    <a:pt x="1114967" y="866499"/>
                  </a:cubicBezTo>
                  <a:lnTo>
                    <a:pt x="1114967" y="870398"/>
                  </a:lnTo>
                  <a:cubicBezTo>
                    <a:pt x="1114967" y="871698"/>
                    <a:pt x="1114967" y="872997"/>
                    <a:pt x="1111072" y="874297"/>
                  </a:cubicBezTo>
                  <a:cubicBezTo>
                    <a:pt x="1111072" y="875597"/>
                    <a:pt x="1111072" y="876896"/>
                    <a:pt x="1111072" y="879496"/>
                  </a:cubicBezTo>
                  <a:lnTo>
                    <a:pt x="1112370" y="879496"/>
                  </a:lnTo>
                  <a:cubicBezTo>
                    <a:pt x="1113669" y="879496"/>
                    <a:pt x="1113669" y="879496"/>
                    <a:pt x="1114967" y="879496"/>
                  </a:cubicBezTo>
                  <a:cubicBezTo>
                    <a:pt x="1116265" y="879496"/>
                    <a:pt x="1117564" y="880795"/>
                    <a:pt x="1118862" y="880795"/>
                  </a:cubicBezTo>
                  <a:cubicBezTo>
                    <a:pt x="1120160" y="880795"/>
                    <a:pt x="1120160" y="879496"/>
                    <a:pt x="1121459" y="878196"/>
                  </a:cubicBezTo>
                  <a:cubicBezTo>
                    <a:pt x="1122757" y="878196"/>
                    <a:pt x="1122757" y="876896"/>
                    <a:pt x="1124056" y="876896"/>
                  </a:cubicBezTo>
                  <a:cubicBezTo>
                    <a:pt x="1125354" y="875597"/>
                    <a:pt x="1125354" y="875597"/>
                    <a:pt x="1127950" y="874297"/>
                  </a:cubicBezTo>
                  <a:cubicBezTo>
                    <a:pt x="1129249" y="872997"/>
                    <a:pt x="1129249" y="871698"/>
                    <a:pt x="1130547" y="871698"/>
                  </a:cubicBezTo>
                  <a:cubicBezTo>
                    <a:pt x="1130547" y="869098"/>
                    <a:pt x="1129249" y="867799"/>
                    <a:pt x="1129249" y="861300"/>
                  </a:cubicBezTo>
                  <a:cubicBezTo>
                    <a:pt x="1129249" y="860001"/>
                    <a:pt x="1131845" y="860001"/>
                    <a:pt x="1131845" y="858701"/>
                  </a:cubicBezTo>
                  <a:lnTo>
                    <a:pt x="1127950" y="852202"/>
                  </a:lnTo>
                  <a:cubicBezTo>
                    <a:pt x="1126652" y="852202"/>
                    <a:pt x="1126652" y="850902"/>
                    <a:pt x="1125354" y="850902"/>
                  </a:cubicBezTo>
                  <a:close/>
                  <a:moveTo>
                    <a:pt x="1222389" y="844426"/>
                  </a:moveTo>
                  <a:cubicBezTo>
                    <a:pt x="1221084" y="845060"/>
                    <a:pt x="1220105" y="846645"/>
                    <a:pt x="1220105" y="848548"/>
                  </a:cubicBezTo>
                  <a:cubicBezTo>
                    <a:pt x="1220105" y="851084"/>
                    <a:pt x="1221410" y="853620"/>
                    <a:pt x="1224019" y="852352"/>
                  </a:cubicBezTo>
                  <a:cubicBezTo>
                    <a:pt x="1226628" y="852352"/>
                    <a:pt x="1226628" y="848548"/>
                    <a:pt x="1226628" y="846011"/>
                  </a:cubicBezTo>
                  <a:cubicBezTo>
                    <a:pt x="1225323" y="844108"/>
                    <a:pt x="1223693" y="843792"/>
                    <a:pt x="1222389" y="844426"/>
                  </a:cubicBezTo>
                  <a:close/>
                  <a:moveTo>
                    <a:pt x="1143190" y="820466"/>
                  </a:moveTo>
                  <a:cubicBezTo>
                    <a:pt x="1141893" y="821747"/>
                    <a:pt x="1140595" y="821747"/>
                    <a:pt x="1139298" y="821747"/>
                  </a:cubicBezTo>
                  <a:cubicBezTo>
                    <a:pt x="1138001" y="821747"/>
                    <a:pt x="1138001" y="823028"/>
                    <a:pt x="1138001" y="824309"/>
                  </a:cubicBezTo>
                  <a:cubicBezTo>
                    <a:pt x="1138001" y="825590"/>
                    <a:pt x="1136703" y="824309"/>
                    <a:pt x="1136703" y="825590"/>
                  </a:cubicBezTo>
                  <a:cubicBezTo>
                    <a:pt x="1135406" y="826871"/>
                    <a:pt x="1136703" y="826871"/>
                    <a:pt x="1134109" y="829434"/>
                  </a:cubicBezTo>
                  <a:cubicBezTo>
                    <a:pt x="1132811" y="830715"/>
                    <a:pt x="1134109" y="831996"/>
                    <a:pt x="1134109" y="833277"/>
                  </a:cubicBezTo>
                  <a:cubicBezTo>
                    <a:pt x="1136703" y="833277"/>
                    <a:pt x="1134109" y="835840"/>
                    <a:pt x="1132811" y="837121"/>
                  </a:cubicBezTo>
                  <a:cubicBezTo>
                    <a:pt x="1132811" y="838402"/>
                    <a:pt x="1134109" y="838402"/>
                    <a:pt x="1134109" y="839683"/>
                  </a:cubicBezTo>
                  <a:cubicBezTo>
                    <a:pt x="1134109" y="840964"/>
                    <a:pt x="1134109" y="840964"/>
                    <a:pt x="1135406" y="843526"/>
                  </a:cubicBezTo>
                  <a:cubicBezTo>
                    <a:pt x="1136703" y="844807"/>
                    <a:pt x="1138001" y="844807"/>
                    <a:pt x="1138001" y="848651"/>
                  </a:cubicBezTo>
                  <a:cubicBezTo>
                    <a:pt x="1138001" y="849932"/>
                    <a:pt x="1139298" y="851213"/>
                    <a:pt x="1140595" y="851213"/>
                  </a:cubicBezTo>
                  <a:lnTo>
                    <a:pt x="1145785" y="852494"/>
                  </a:lnTo>
                  <a:cubicBezTo>
                    <a:pt x="1147083" y="853775"/>
                    <a:pt x="1141893" y="856337"/>
                    <a:pt x="1144488" y="857618"/>
                  </a:cubicBezTo>
                  <a:cubicBezTo>
                    <a:pt x="1145785" y="857618"/>
                    <a:pt x="1147083" y="856337"/>
                    <a:pt x="1148380" y="857618"/>
                  </a:cubicBezTo>
                  <a:cubicBezTo>
                    <a:pt x="1149677" y="862743"/>
                    <a:pt x="1141893" y="861462"/>
                    <a:pt x="1140595" y="864025"/>
                  </a:cubicBezTo>
                  <a:cubicBezTo>
                    <a:pt x="1139298" y="865306"/>
                    <a:pt x="1140595" y="865306"/>
                    <a:pt x="1140595" y="866587"/>
                  </a:cubicBezTo>
                  <a:cubicBezTo>
                    <a:pt x="1140595" y="867868"/>
                    <a:pt x="1139298" y="867868"/>
                    <a:pt x="1139298" y="870430"/>
                  </a:cubicBezTo>
                  <a:cubicBezTo>
                    <a:pt x="1139298" y="871711"/>
                    <a:pt x="1140595" y="871711"/>
                    <a:pt x="1139298" y="872992"/>
                  </a:cubicBezTo>
                  <a:cubicBezTo>
                    <a:pt x="1139298" y="874273"/>
                    <a:pt x="1138001" y="874273"/>
                    <a:pt x="1136703" y="875554"/>
                  </a:cubicBezTo>
                  <a:cubicBezTo>
                    <a:pt x="1140595" y="878117"/>
                    <a:pt x="1140595" y="879398"/>
                    <a:pt x="1141893" y="879398"/>
                  </a:cubicBezTo>
                  <a:cubicBezTo>
                    <a:pt x="1143190" y="879398"/>
                    <a:pt x="1144488" y="879398"/>
                    <a:pt x="1148380" y="880679"/>
                  </a:cubicBezTo>
                  <a:lnTo>
                    <a:pt x="1141893" y="881960"/>
                  </a:lnTo>
                  <a:cubicBezTo>
                    <a:pt x="1140595" y="881960"/>
                    <a:pt x="1139298" y="881960"/>
                    <a:pt x="1138001" y="883241"/>
                  </a:cubicBezTo>
                  <a:cubicBezTo>
                    <a:pt x="1138001" y="884522"/>
                    <a:pt x="1136703" y="885803"/>
                    <a:pt x="1135406" y="887084"/>
                  </a:cubicBezTo>
                  <a:cubicBezTo>
                    <a:pt x="1134109" y="888366"/>
                    <a:pt x="1132811" y="888366"/>
                    <a:pt x="1131513" y="889647"/>
                  </a:cubicBezTo>
                  <a:cubicBezTo>
                    <a:pt x="1131513" y="890928"/>
                    <a:pt x="1131513" y="892209"/>
                    <a:pt x="1132811" y="892209"/>
                  </a:cubicBezTo>
                  <a:cubicBezTo>
                    <a:pt x="1135406" y="892209"/>
                    <a:pt x="1135406" y="890928"/>
                    <a:pt x="1136703" y="889647"/>
                  </a:cubicBezTo>
                  <a:cubicBezTo>
                    <a:pt x="1138001" y="889647"/>
                    <a:pt x="1139298" y="888366"/>
                    <a:pt x="1141893" y="888366"/>
                  </a:cubicBezTo>
                  <a:cubicBezTo>
                    <a:pt x="1143190" y="888366"/>
                    <a:pt x="1144488" y="888366"/>
                    <a:pt x="1145785" y="887084"/>
                  </a:cubicBezTo>
                  <a:cubicBezTo>
                    <a:pt x="1147083" y="885803"/>
                    <a:pt x="1148380" y="887084"/>
                    <a:pt x="1149677" y="887084"/>
                  </a:cubicBezTo>
                  <a:cubicBezTo>
                    <a:pt x="1152272" y="887084"/>
                    <a:pt x="1153569" y="885803"/>
                    <a:pt x="1154867" y="884522"/>
                  </a:cubicBezTo>
                  <a:cubicBezTo>
                    <a:pt x="1157462" y="884522"/>
                    <a:pt x="1158759" y="885803"/>
                    <a:pt x="1160057" y="885803"/>
                  </a:cubicBezTo>
                  <a:lnTo>
                    <a:pt x="1165246" y="885803"/>
                  </a:lnTo>
                  <a:lnTo>
                    <a:pt x="1166544" y="879398"/>
                  </a:lnTo>
                  <a:cubicBezTo>
                    <a:pt x="1169138" y="876836"/>
                    <a:pt x="1170436" y="876836"/>
                    <a:pt x="1170436" y="875554"/>
                  </a:cubicBezTo>
                  <a:cubicBezTo>
                    <a:pt x="1171733" y="875554"/>
                    <a:pt x="1171733" y="874273"/>
                    <a:pt x="1171733" y="872992"/>
                  </a:cubicBezTo>
                  <a:cubicBezTo>
                    <a:pt x="1171733" y="870430"/>
                    <a:pt x="1171733" y="867868"/>
                    <a:pt x="1167841" y="867868"/>
                  </a:cubicBezTo>
                  <a:cubicBezTo>
                    <a:pt x="1166544" y="867868"/>
                    <a:pt x="1165246" y="869149"/>
                    <a:pt x="1163949" y="865306"/>
                  </a:cubicBezTo>
                  <a:cubicBezTo>
                    <a:pt x="1163949" y="864025"/>
                    <a:pt x="1163949" y="864025"/>
                    <a:pt x="1163949" y="862743"/>
                  </a:cubicBezTo>
                  <a:cubicBezTo>
                    <a:pt x="1161354" y="858900"/>
                    <a:pt x="1160057" y="858900"/>
                    <a:pt x="1157462" y="855056"/>
                  </a:cubicBezTo>
                  <a:cubicBezTo>
                    <a:pt x="1156165" y="853775"/>
                    <a:pt x="1156165" y="852494"/>
                    <a:pt x="1154867" y="851213"/>
                  </a:cubicBezTo>
                  <a:cubicBezTo>
                    <a:pt x="1154867" y="849932"/>
                    <a:pt x="1153569" y="848651"/>
                    <a:pt x="1152272" y="848651"/>
                  </a:cubicBezTo>
                  <a:cubicBezTo>
                    <a:pt x="1152272" y="847370"/>
                    <a:pt x="1152272" y="846089"/>
                    <a:pt x="1150975" y="846089"/>
                  </a:cubicBezTo>
                  <a:cubicBezTo>
                    <a:pt x="1150975" y="844807"/>
                    <a:pt x="1149677" y="844807"/>
                    <a:pt x="1148380" y="843526"/>
                  </a:cubicBezTo>
                  <a:cubicBezTo>
                    <a:pt x="1148380" y="842245"/>
                    <a:pt x="1148380" y="842245"/>
                    <a:pt x="1149677" y="840964"/>
                  </a:cubicBezTo>
                  <a:cubicBezTo>
                    <a:pt x="1149677" y="839683"/>
                    <a:pt x="1149677" y="839683"/>
                    <a:pt x="1149677" y="838402"/>
                  </a:cubicBezTo>
                  <a:cubicBezTo>
                    <a:pt x="1149677" y="837121"/>
                    <a:pt x="1150975" y="837121"/>
                    <a:pt x="1153569" y="833277"/>
                  </a:cubicBezTo>
                  <a:cubicBezTo>
                    <a:pt x="1154867" y="831996"/>
                    <a:pt x="1154867" y="829434"/>
                    <a:pt x="1153569" y="828153"/>
                  </a:cubicBezTo>
                  <a:cubicBezTo>
                    <a:pt x="1152272" y="828153"/>
                    <a:pt x="1152272" y="828153"/>
                    <a:pt x="1150975" y="828153"/>
                  </a:cubicBezTo>
                  <a:cubicBezTo>
                    <a:pt x="1149677" y="826871"/>
                    <a:pt x="1144488" y="828153"/>
                    <a:pt x="1145785" y="823028"/>
                  </a:cubicBezTo>
                  <a:cubicBezTo>
                    <a:pt x="1145785" y="820466"/>
                    <a:pt x="1144488" y="820466"/>
                    <a:pt x="1143190" y="820466"/>
                  </a:cubicBezTo>
                  <a:close/>
                  <a:moveTo>
                    <a:pt x="835030" y="783181"/>
                  </a:moveTo>
                  <a:cubicBezTo>
                    <a:pt x="833806" y="781877"/>
                    <a:pt x="832584" y="785790"/>
                    <a:pt x="833806" y="785790"/>
                  </a:cubicBezTo>
                  <a:cubicBezTo>
                    <a:pt x="836252" y="788399"/>
                    <a:pt x="837475" y="784486"/>
                    <a:pt x="835030" y="783181"/>
                  </a:cubicBezTo>
                  <a:close/>
                  <a:moveTo>
                    <a:pt x="724721" y="765209"/>
                  </a:moveTo>
                  <a:cubicBezTo>
                    <a:pt x="723437" y="765209"/>
                    <a:pt x="723437" y="766477"/>
                    <a:pt x="722152" y="766477"/>
                  </a:cubicBezTo>
                  <a:cubicBezTo>
                    <a:pt x="720867" y="769014"/>
                    <a:pt x="723437" y="770282"/>
                    <a:pt x="723437" y="771550"/>
                  </a:cubicBezTo>
                  <a:lnTo>
                    <a:pt x="720867" y="775354"/>
                  </a:lnTo>
                  <a:cubicBezTo>
                    <a:pt x="715729" y="777891"/>
                    <a:pt x="724721" y="782963"/>
                    <a:pt x="727291" y="780427"/>
                  </a:cubicBezTo>
                  <a:cubicBezTo>
                    <a:pt x="731145" y="777891"/>
                    <a:pt x="727291" y="771550"/>
                    <a:pt x="732429" y="771550"/>
                  </a:cubicBezTo>
                  <a:cubicBezTo>
                    <a:pt x="733714" y="771550"/>
                    <a:pt x="733714" y="776623"/>
                    <a:pt x="734998" y="777891"/>
                  </a:cubicBezTo>
                  <a:lnTo>
                    <a:pt x="742707" y="779159"/>
                  </a:lnTo>
                  <a:lnTo>
                    <a:pt x="740137" y="774086"/>
                  </a:lnTo>
                  <a:cubicBezTo>
                    <a:pt x="738852" y="774086"/>
                    <a:pt x="737568" y="772818"/>
                    <a:pt x="736283" y="771550"/>
                  </a:cubicBezTo>
                  <a:lnTo>
                    <a:pt x="729860" y="765209"/>
                  </a:lnTo>
                  <a:close/>
                  <a:moveTo>
                    <a:pt x="1080541" y="753287"/>
                  </a:moveTo>
                  <a:lnTo>
                    <a:pt x="1079249" y="754592"/>
                  </a:lnTo>
                  <a:cubicBezTo>
                    <a:pt x="1077956" y="755897"/>
                    <a:pt x="1076663" y="754592"/>
                    <a:pt x="1075371" y="755897"/>
                  </a:cubicBezTo>
                  <a:cubicBezTo>
                    <a:pt x="1074078" y="755897"/>
                    <a:pt x="1074078" y="757201"/>
                    <a:pt x="1072785" y="757201"/>
                  </a:cubicBezTo>
                  <a:cubicBezTo>
                    <a:pt x="1071493" y="757201"/>
                    <a:pt x="1071493" y="755897"/>
                    <a:pt x="1067615" y="755897"/>
                  </a:cubicBezTo>
                  <a:cubicBezTo>
                    <a:pt x="1066322" y="754592"/>
                    <a:pt x="1066322" y="753287"/>
                    <a:pt x="1065029" y="754592"/>
                  </a:cubicBezTo>
                  <a:lnTo>
                    <a:pt x="1061151" y="757201"/>
                  </a:lnTo>
                  <a:lnTo>
                    <a:pt x="1057273" y="761114"/>
                  </a:lnTo>
                  <a:cubicBezTo>
                    <a:pt x="1055981" y="761114"/>
                    <a:pt x="1055981" y="762418"/>
                    <a:pt x="1053395" y="761114"/>
                  </a:cubicBezTo>
                  <a:lnTo>
                    <a:pt x="1052103" y="757201"/>
                  </a:lnTo>
                  <a:cubicBezTo>
                    <a:pt x="1050810" y="757201"/>
                    <a:pt x="1049517" y="757201"/>
                    <a:pt x="1048225" y="757201"/>
                  </a:cubicBezTo>
                  <a:cubicBezTo>
                    <a:pt x="1046932" y="758505"/>
                    <a:pt x="1046932" y="759810"/>
                    <a:pt x="1048225" y="761114"/>
                  </a:cubicBezTo>
                  <a:cubicBezTo>
                    <a:pt x="1047255" y="764376"/>
                    <a:pt x="1046932" y="764376"/>
                    <a:pt x="1046932" y="765028"/>
                  </a:cubicBezTo>
                  <a:cubicBezTo>
                    <a:pt x="1045639" y="767636"/>
                    <a:pt x="1049517" y="767636"/>
                    <a:pt x="1052103" y="770245"/>
                  </a:cubicBezTo>
                  <a:cubicBezTo>
                    <a:pt x="1052103" y="771549"/>
                    <a:pt x="1050810" y="771549"/>
                    <a:pt x="1049517" y="774159"/>
                  </a:cubicBezTo>
                  <a:cubicBezTo>
                    <a:pt x="1050810" y="775463"/>
                    <a:pt x="1053395" y="774159"/>
                    <a:pt x="1054688" y="772854"/>
                  </a:cubicBezTo>
                  <a:cubicBezTo>
                    <a:pt x="1055981" y="772854"/>
                    <a:pt x="1055981" y="772854"/>
                    <a:pt x="1057273" y="774159"/>
                  </a:cubicBezTo>
                  <a:cubicBezTo>
                    <a:pt x="1058566" y="774159"/>
                    <a:pt x="1057273" y="775463"/>
                    <a:pt x="1058566" y="775463"/>
                  </a:cubicBezTo>
                  <a:cubicBezTo>
                    <a:pt x="1062444" y="776767"/>
                    <a:pt x="1065029" y="778072"/>
                    <a:pt x="1067615" y="776767"/>
                  </a:cubicBezTo>
                  <a:cubicBezTo>
                    <a:pt x="1070200" y="776767"/>
                    <a:pt x="1071493" y="774159"/>
                    <a:pt x="1076663" y="774159"/>
                  </a:cubicBezTo>
                  <a:cubicBezTo>
                    <a:pt x="1079249" y="775463"/>
                    <a:pt x="1081834" y="774159"/>
                    <a:pt x="1083127" y="772854"/>
                  </a:cubicBezTo>
                  <a:cubicBezTo>
                    <a:pt x="1085712" y="771549"/>
                    <a:pt x="1088297" y="770245"/>
                    <a:pt x="1092175" y="765028"/>
                  </a:cubicBezTo>
                  <a:cubicBezTo>
                    <a:pt x="1093468" y="763723"/>
                    <a:pt x="1093468" y="761114"/>
                    <a:pt x="1092175" y="759810"/>
                  </a:cubicBezTo>
                  <a:cubicBezTo>
                    <a:pt x="1090883" y="757201"/>
                    <a:pt x="1087005" y="761114"/>
                    <a:pt x="1085712" y="757201"/>
                  </a:cubicBezTo>
                  <a:cubicBezTo>
                    <a:pt x="1084419" y="755897"/>
                    <a:pt x="1084419" y="754592"/>
                    <a:pt x="1080541" y="753287"/>
                  </a:cubicBezTo>
                  <a:close/>
                  <a:moveTo>
                    <a:pt x="774894" y="735678"/>
                  </a:moveTo>
                  <a:cubicBezTo>
                    <a:pt x="771167" y="735678"/>
                    <a:pt x="771167" y="742132"/>
                    <a:pt x="773652" y="743423"/>
                  </a:cubicBezTo>
                  <a:cubicBezTo>
                    <a:pt x="778621" y="746005"/>
                    <a:pt x="779863" y="735678"/>
                    <a:pt x="774894" y="735678"/>
                  </a:cubicBezTo>
                  <a:close/>
                  <a:moveTo>
                    <a:pt x="1060679" y="666562"/>
                  </a:moveTo>
                  <a:cubicBezTo>
                    <a:pt x="1131042" y="674596"/>
                    <a:pt x="1195785" y="701162"/>
                    <a:pt x="1250573" y="740911"/>
                  </a:cubicBezTo>
                  <a:cubicBezTo>
                    <a:pt x="1251422" y="743780"/>
                    <a:pt x="1248221" y="741987"/>
                    <a:pt x="1245989" y="743102"/>
                  </a:cubicBezTo>
                  <a:cubicBezTo>
                    <a:pt x="1243421" y="744387"/>
                    <a:pt x="1245989" y="745671"/>
                    <a:pt x="1245989" y="746955"/>
                  </a:cubicBezTo>
                  <a:cubicBezTo>
                    <a:pt x="1245989" y="752092"/>
                    <a:pt x="1240852" y="748239"/>
                    <a:pt x="1238284" y="748239"/>
                  </a:cubicBezTo>
                  <a:cubicBezTo>
                    <a:pt x="1230578" y="748239"/>
                    <a:pt x="1240852" y="757229"/>
                    <a:pt x="1239568" y="758513"/>
                  </a:cubicBezTo>
                  <a:cubicBezTo>
                    <a:pt x="1235715" y="762365"/>
                    <a:pt x="1231863" y="754661"/>
                    <a:pt x="1228010" y="759797"/>
                  </a:cubicBezTo>
                  <a:cubicBezTo>
                    <a:pt x="1226726" y="762365"/>
                    <a:pt x="1225441" y="766218"/>
                    <a:pt x="1222873" y="768787"/>
                  </a:cubicBezTo>
                  <a:cubicBezTo>
                    <a:pt x="1222231" y="770071"/>
                    <a:pt x="1220625" y="770713"/>
                    <a:pt x="1219823" y="771355"/>
                  </a:cubicBezTo>
                  <a:lnTo>
                    <a:pt x="1221589" y="773923"/>
                  </a:lnTo>
                  <a:cubicBezTo>
                    <a:pt x="1222873" y="775207"/>
                    <a:pt x="1225441" y="776492"/>
                    <a:pt x="1222873" y="777776"/>
                  </a:cubicBezTo>
                  <a:cubicBezTo>
                    <a:pt x="1220304" y="777776"/>
                    <a:pt x="1216451" y="776492"/>
                    <a:pt x="1213883" y="776492"/>
                  </a:cubicBezTo>
                  <a:cubicBezTo>
                    <a:pt x="1212599" y="775207"/>
                    <a:pt x="1210031" y="775207"/>
                    <a:pt x="1208746" y="776492"/>
                  </a:cubicBezTo>
                  <a:cubicBezTo>
                    <a:pt x="1207462" y="779060"/>
                    <a:pt x="1210031" y="780344"/>
                    <a:pt x="1208746" y="781628"/>
                  </a:cubicBezTo>
                  <a:cubicBezTo>
                    <a:pt x="1208746" y="786765"/>
                    <a:pt x="1199756" y="781628"/>
                    <a:pt x="1198473" y="786765"/>
                  </a:cubicBezTo>
                  <a:lnTo>
                    <a:pt x="1198473" y="791902"/>
                  </a:lnTo>
                  <a:cubicBezTo>
                    <a:pt x="1197188" y="794470"/>
                    <a:pt x="1193335" y="793186"/>
                    <a:pt x="1190767" y="798323"/>
                  </a:cubicBezTo>
                  <a:cubicBezTo>
                    <a:pt x="1189483" y="799607"/>
                    <a:pt x="1189483" y="798323"/>
                    <a:pt x="1188198" y="799607"/>
                  </a:cubicBezTo>
                  <a:cubicBezTo>
                    <a:pt x="1188198" y="799928"/>
                    <a:pt x="1188118" y="800089"/>
                    <a:pt x="1188399" y="800570"/>
                  </a:cubicBezTo>
                  <a:lnTo>
                    <a:pt x="1190767" y="803459"/>
                  </a:lnTo>
                  <a:cubicBezTo>
                    <a:pt x="1192051" y="806028"/>
                    <a:pt x="1190767" y="804744"/>
                    <a:pt x="1189483" y="807312"/>
                  </a:cubicBezTo>
                  <a:cubicBezTo>
                    <a:pt x="1186914" y="809881"/>
                    <a:pt x="1193335" y="808596"/>
                    <a:pt x="1194620" y="809881"/>
                  </a:cubicBezTo>
                  <a:cubicBezTo>
                    <a:pt x="1198473" y="813733"/>
                    <a:pt x="1188198" y="813733"/>
                    <a:pt x="1189483" y="817586"/>
                  </a:cubicBezTo>
                  <a:cubicBezTo>
                    <a:pt x="1190767" y="820154"/>
                    <a:pt x="1197188" y="816301"/>
                    <a:pt x="1194620" y="821438"/>
                  </a:cubicBezTo>
                  <a:cubicBezTo>
                    <a:pt x="1193335" y="822723"/>
                    <a:pt x="1192051" y="822723"/>
                    <a:pt x="1192051" y="824007"/>
                  </a:cubicBezTo>
                  <a:cubicBezTo>
                    <a:pt x="1192051" y="827859"/>
                    <a:pt x="1194620" y="825291"/>
                    <a:pt x="1195904" y="825291"/>
                  </a:cubicBezTo>
                  <a:cubicBezTo>
                    <a:pt x="1198473" y="826575"/>
                    <a:pt x="1195904" y="831712"/>
                    <a:pt x="1199756" y="830427"/>
                  </a:cubicBezTo>
                  <a:cubicBezTo>
                    <a:pt x="1203609" y="830427"/>
                    <a:pt x="1202325" y="825291"/>
                    <a:pt x="1206178" y="825291"/>
                  </a:cubicBezTo>
                  <a:cubicBezTo>
                    <a:pt x="1207462" y="825291"/>
                    <a:pt x="1208746" y="826575"/>
                    <a:pt x="1210031" y="825291"/>
                  </a:cubicBezTo>
                  <a:lnTo>
                    <a:pt x="1212599" y="821438"/>
                  </a:lnTo>
                  <a:cubicBezTo>
                    <a:pt x="1215168" y="820154"/>
                    <a:pt x="1216451" y="822723"/>
                    <a:pt x="1217736" y="822723"/>
                  </a:cubicBezTo>
                  <a:cubicBezTo>
                    <a:pt x="1220304" y="822723"/>
                    <a:pt x="1221589" y="820154"/>
                    <a:pt x="1222873" y="822723"/>
                  </a:cubicBezTo>
                  <a:cubicBezTo>
                    <a:pt x="1222873" y="826575"/>
                    <a:pt x="1219020" y="829144"/>
                    <a:pt x="1221589" y="831712"/>
                  </a:cubicBezTo>
                  <a:lnTo>
                    <a:pt x="1231863" y="836849"/>
                  </a:lnTo>
                  <a:lnTo>
                    <a:pt x="1232665" y="840059"/>
                  </a:lnTo>
                  <a:cubicBezTo>
                    <a:pt x="1231863" y="840701"/>
                    <a:pt x="1230578" y="841343"/>
                    <a:pt x="1230578" y="843270"/>
                  </a:cubicBezTo>
                  <a:cubicBezTo>
                    <a:pt x="1229294" y="848406"/>
                    <a:pt x="1235715" y="850975"/>
                    <a:pt x="1238284" y="845838"/>
                  </a:cubicBezTo>
                  <a:cubicBezTo>
                    <a:pt x="1239568" y="841986"/>
                    <a:pt x="1238284" y="839417"/>
                    <a:pt x="1244705" y="840701"/>
                  </a:cubicBezTo>
                  <a:cubicBezTo>
                    <a:pt x="1248558" y="841986"/>
                    <a:pt x="1249842" y="839417"/>
                    <a:pt x="1248558" y="835564"/>
                  </a:cubicBezTo>
                  <a:cubicBezTo>
                    <a:pt x="1247274" y="830427"/>
                    <a:pt x="1244705" y="826575"/>
                    <a:pt x="1249842" y="824007"/>
                  </a:cubicBezTo>
                  <a:cubicBezTo>
                    <a:pt x="1252410" y="822723"/>
                    <a:pt x="1256263" y="822723"/>
                    <a:pt x="1257547" y="820154"/>
                  </a:cubicBezTo>
                  <a:cubicBezTo>
                    <a:pt x="1260116" y="816301"/>
                    <a:pt x="1258832" y="812449"/>
                    <a:pt x="1256263" y="809881"/>
                  </a:cubicBezTo>
                  <a:cubicBezTo>
                    <a:pt x="1253694" y="807312"/>
                    <a:pt x="1251126" y="804744"/>
                    <a:pt x="1251126" y="802175"/>
                  </a:cubicBezTo>
                  <a:cubicBezTo>
                    <a:pt x="1251126" y="799607"/>
                    <a:pt x="1253694" y="797039"/>
                    <a:pt x="1253694" y="794470"/>
                  </a:cubicBezTo>
                  <a:cubicBezTo>
                    <a:pt x="1253694" y="791902"/>
                    <a:pt x="1252410" y="788049"/>
                    <a:pt x="1254979" y="785481"/>
                  </a:cubicBezTo>
                  <a:cubicBezTo>
                    <a:pt x="1256263" y="784197"/>
                    <a:pt x="1258832" y="785481"/>
                    <a:pt x="1258832" y="781628"/>
                  </a:cubicBezTo>
                  <a:cubicBezTo>
                    <a:pt x="1260116" y="780344"/>
                    <a:pt x="1258832" y="779060"/>
                    <a:pt x="1261400" y="777776"/>
                  </a:cubicBezTo>
                  <a:cubicBezTo>
                    <a:pt x="1265253" y="775207"/>
                    <a:pt x="1267821" y="777776"/>
                    <a:pt x="1270390" y="772639"/>
                  </a:cubicBezTo>
                  <a:cubicBezTo>
                    <a:pt x="1271674" y="770071"/>
                    <a:pt x="1274242" y="766218"/>
                    <a:pt x="1274242" y="762365"/>
                  </a:cubicBezTo>
                  <a:lnTo>
                    <a:pt x="1275695" y="761639"/>
                  </a:lnTo>
                  <a:lnTo>
                    <a:pt x="1286268" y="770363"/>
                  </a:lnTo>
                  <a:cubicBezTo>
                    <a:pt x="1279379" y="775207"/>
                    <a:pt x="1276811" y="776492"/>
                    <a:pt x="1275527" y="779060"/>
                  </a:cubicBezTo>
                  <a:cubicBezTo>
                    <a:pt x="1274242" y="780344"/>
                    <a:pt x="1274242" y="781628"/>
                    <a:pt x="1274242" y="782913"/>
                  </a:cubicBezTo>
                  <a:cubicBezTo>
                    <a:pt x="1272958" y="786765"/>
                    <a:pt x="1275527" y="789333"/>
                    <a:pt x="1275527" y="793186"/>
                  </a:cubicBezTo>
                  <a:cubicBezTo>
                    <a:pt x="1276811" y="795755"/>
                    <a:pt x="1278095" y="797039"/>
                    <a:pt x="1278095" y="799607"/>
                  </a:cubicBezTo>
                  <a:cubicBezTo>
                    <a:pt x="1280664" y="802175"/>
                    <a:pt x="1279379" y="806028"/>
                    <a:pt x="1281948" y="808596"/>
                  </a:cubicBezTo>
                  <a:cubicBezTo>
                    <a:pt x="1284517" y="809881"/>
                    <a:pt x="1287085" y="809881"/>
                    <a:pt x="1289653" y="808596"/>
                  </a:cubicBezTo>
                  <a:cubicBezTo>
                    <a:pt x="1292222" y="806028"/>
                    <a:pt x="1294790" y="803459"/>
                    <a:pt x="1298643" y="803459"/>
                  </a:cubicBezTo>
                  <a:lnTo>
                    <a:pt x="1303780" y="806028"/>
                  </a:lnTo>
                  <a:cubicBezTo>
                    <a:pt x="1306348" y="807312"/>
                    <a:pt x="1307633" y="806028"/>
                    <a:pt x="1310201" y="806028"/>
                  </a:cubicBezTo>
                  <a:cubicBezTo>
                    <a:pt x="1312770" y="807312"/>
                    <a:pt x="1316622" y="811165"/>
                    <a:pt x="1311485" y="812449"/>
                  </a:cubicBezTo>
                  <a:cubicBezTo>
                    <a:pt x="1308917" y="813733"/>
                    <a:pt x="1306348" y="812449"/>
                    <a:pt x="1303780" y="812449"/>
                  </a:cubicBezTo>
                  <a:cubicBezTo>
                    <a:pt x="1299927" y="812449"/>
                    <a:pt x="1299927" y="815018"/>
                    <a:pt x="1297359" y="815018"/>
                  </a:cubicBezTo>
                  <a:cubicBezTo>
                    <a:pt x="1293506" y="816301"/>
                    <a:pt x="1290937" y="812449"/>
                    <a:pt x="1287085" y="815018"/>
                  </a:cubicBezTo>
                  <a:cubicBezTo>
                    <a:pt x="1279379" y="820154"/>
                    <a:pt x="1290937" y="826575"/>
                    <a:pt x="1285800" y="831712"/>
                  </a:cubicBezTo>
                  <a:cubicBezTo>
                    <a:pt x="1283232" y="835564"/>
                    <a:pt x="1280664" y="830427"/>
                    <a:pt x="1279379" y="829144"/>
                  </a:cubicBezTo>
                  <a:lnTo>
                    <a:pt x="1271674" y="832996"/>
                  </a:lnTo>
                  <a:cubicBezTo>
                    <a:pt x="1270390" y="836849"/>
                    <a:pt x="1272958" y="839417"/>
                    <a:pt x="1271674" y="843270"/>
                  </a:cubicBezTo>
                  <a:cubicBezTo>
                    <a:pt x="1271674" y="844553"/>
                    <a:pt x="1270390" y="844553"/>
                    <a:pt x="1269105" y="845838"/>
                  </a:cubicBezTo>
                  <a:cubicBezTo>
                    <a:pt x="1269105" y="848406"/>
                    <a:pt x="1270390" y="848406"/>
                    <a:pt x="1270390" y="849690"/>
                  </a:cubicBezTo>
                  <a:cubicBezTo>
                    <a:pt x="1269105" y="852259"/>
                    <a:pt x="1267821" y="850975"/>
                    <a:pt x="1266537" y="852259"/>
                  </a:cubicBezTo>
                  <a:cubicBezTo>
                    <a:pt x="1262684" y="852259"/>
                    <a:pt x="1263969" y="854827"/>
                    <a:pt x="1262684" y="856112"/>
                  </a:cubicBezTo>
                  <a:cubicBezTo>
                    <a:pt x="1260116" y="859964"/>
                    <a:pt x="1256263" y="858680"/>
                    <a:pt x="1252410" y="858680"/>
                  </a:cubicBezTo>
                  <a:cubicBezTo>
                    <a:pt x="1247274" y="858680"/>
                    <a:pt x="1244705" y="859964"/>
                    <a:pt x="1239568" y="862532"/>
                  </a:cubicBezTo>
                  <a:cubicBezTo>
                    <a:pt x="1234431" y="863817"/>
                    <a:pt x="1231863" y="859964"/>
                    <a:pt x="1228010" y="859964"/>
                  </a:cubicBezTo>
                  <a:cubicBezTo>
                    <a:pt x="1224157" y="858680"/>
                    <a:pt x="1226726" y="861248"/>
                    <a:pt x="1224157" y="862532"/>
                  </a:cubicBezTo>
                  <a:cubicBezTo>
                    <a:pt x="1221589" y="863817"/>
                    <a:pt x="1220304" y="862532"/>
                    <a:pt x="1219020" y="861248"/>
                  </a:cubicBezTo>
                  <a:cubicBezTo>
                    <a:pt x="1217736" y="861248"/>
                    <a:pt x="1216451" y="859964"/>
                    <a:pt x="1215168" y="858680"/>
                  </a:cubicBezTo>
                  <a:cubicBezTo>
                    <a:pt x="1211315" y="854827"/>
                    <a:pt x="1216451" y="853543"/>
                    <a:pt x="1215168" y="850975"/>
                  </a:cubicBezTo>
                  <a:cubicBezTo>
                    <a:pt x="1215168" y="847122"/>
                    <a:pt x="1213883" y="847122"/>
                    <a:pt x="1215168" y="844553"/>
                  </a:cubicBezTo>
                  <a:cubicBezTo>
                    <a:pt x="1215168" y="843270"/>
                    <a:pt x="1215168" y="841986"/>
                    <a:pt x="1215168" y="840701"/>
                  </a:cubicBezTo>
                  <a:cubicBezTo>
                    <a:pt x="1215168" y="839417"/>
                    <a:pt x="1215168" y="838133"/>
                    <a:pt x="1215168" y="835564"/>
                  </a:cubicBezTo>
                  <a:cubicBezTo>
                    <a:pt x="1216451" y="834280"/>
                    <a:pt x="1217736" y="827859"/>
                    <a:pt x="1213883" y="830427"/>
                  </a:cubicBezTo>
                  <a:cubicBezTo>
                    <a:pt x="1211315" y="830427"/>
                    <a:pt x="1212599" y="832996"/>
                    <a:pt x="1211315" y="832996"/>
                  </a:cubicBezTo>
                  <a:cubicBezTo>
                    <a:pt x="1210031" y="834280"/>
                    <a:pt x="1208746" y="832996"/>
                    <a:pt x="1207462" y="832996"/>
                  </a:cubicBezTo>
                  <a:cubicBezTo>
                    <a:pt x="1204893" y="835564"/>
                    <a:pt x="1211315" y="836849"/>
                    <a:pt x="1211315" y="838133"/>
                  </a:cubicBezTo>
                  <a:cubicBezTo>
                    <a:pt x="1208746" y="839417"/>
                    <a:pt x="1199756" y="839417"/>
                    <a:pt x="1202325" y="844553"/>
                  </a:cubicBezTo>
                  <a:cubicBezTo>
                    <a:pt x="1203609" y="845838"/>
                    <a:pt x="1204893" y="845838"/>
                    <a:pt x="1206178" y="847122"/>
                  </a:cubicBezTo>
                  <a:cubicBezTo>
                    <a:pt x="1206178" y="849690"/>
                    <a:pt x="1204893" y="849690"/>
                    <a:pt x="1204893" y="850975"/>
                  </a:cubicBezTo>
                  <a:cubicBezTo>
                    <a:pt x="1203609" y="854827"/>
                    <a:pt x="1208746" y="857396"/>
                    <a:pt x="1210031" y="859964"/>
                  </a:cubicBezTo>
                  <a:cubicBezTo>
                    <a:pt x="1211315" y="866385"/>
                    <a:pt x="1206178" y="865101"/>
                    <a:pt x="1199756" y="867669"/>
                  </a:cubicBezTo>
                  <a:cubicBezTo>
                    <a:pt x="1198473" y="868953"/>
                    <a:pt x="1197188" y="867669"/>
                    <a:pt x="1195904" y="867669"/>
                  </a:cubicBezTo>
                  <a:cubicBezTo>
                    <a:pt x="1192051" y="867669"/>
                    <a:pt x="1189483" y="868953"/>
                    <a:pt x="1186914" y="871522"/>
                  </a:cubicBezTo>
                  <a:cubicBezTo>
                    <a:pt x="1185630" y="875374"/>
                    <a:pt x="1186914" y="877943"/>
                    <a:pt x="1185630" y="880511"/>
                  </a:cubicBezTo>
                  <a:cubicBezTo>
                    <a:pt x="1183061" y="884364"/>
                    <a:pt x="1177925" y="884364"/>
                    <a:pt x="1174072" y="883080"/>
                  </a:cubicBezTo>
                  <a:cubicBezTo>
                    <a:pt x="1171503" y="883080"/>
                    <a:pt x="1168935" y="883080"/>
                    <a:pt x="1168935" y="886932"/>
                  </a:cubicBezTo>
                  <a:cubicBezTo>
                    <a:pt x="1168935" y="889500"/>
                    <a:pt x="1171503" y="890784"/>
                    <a:pt x="1170219" y="893353"/>
                  </a:cubicBezTo>
                  <a:cubicBezTo>
                    <a:pt x="1170219" y="895921"/>
                    <a:pt x="1166366" y="895921"/>
                    <a:pt x="1163798" y="895921"/>
                  </a:cubicBezTo>
                  <a:cubicBezTo>
                    <a:pt x="1161230" y="895921"/>
                    <a:pt x="1159945" y="893353"/>
                    <a:pt x="1157377" y="893353"/>
                  </a:cubicBezTo>
                  <a:lnTo>
                    <a:pt x="1154326" y="894477"/>
                  </a:lnTo>
                  <a:cubicBezTo>
                    <a:pt x="1154487" y="895600"/>
                    <a:pt x="1155451" y="897206"/>
                    <a:pt x="1156093" y="898490"/>
                  </a:cubicBezTo>
                  <a:cubicBezTo>
                    <a:pt x="1157377" y="902343"/>
                    <a:pt x="1152240" y="901058"/>
                    <a:pt x="1149671" y="901058"/>
                  </a:cubicBezTo>
                  <a:cubicBezTo>
                    <a:pt x="1145819" y="902343"/>
                    <a:pt x="1138113" y="899774"/>
                    <a:pt x="1138113" y="904911"/>
                  </a:cubicBezTo>
                  <a:cubicBezTo>
                    <a:pt x="1138113" y="908763"/>
                    <a:pt x="1143250" y="908763"/>
                    <a:pt x="1147103" y="910047"/>
                  </a:cubicBezTo>
                  <a:cubicBezTo>
                    <a:pt x="1150955" y="911332"/>
                    <a:pt x="1148387" y="916469"/>
                    <a:pt x="1152240" y="919037"/>
                  </a:cubicBezTo>
                  <a:cubicBezTo>
                    <a:pt x="1156093" y="921605"/>
                    <a:pt x="1163798" y="921605"/>
                    <a:pt x="1159945" y="928026"/>
                  </a:cubicBezTo>
                  <a:cubicBezTo>
                    <a:pt x="1158661" y="930595"/>
                    <a:pt x="1157377" y="930595"/>
                    <a:pt x="1156093" y="933163"/>
                  </a:cubicBezTo>
                  <a:cubicBezTo>
                    <a:pt x="1156093" y="935731"/>
                    <a:pt x="1156093" y="938300"/>
                    <a:pt x="1154808" y="940868"/>
                  </a:cubicBezTo>
                  <a:cubicBezTo>
                    <a:pt x="1152240" y="944721"/>
                    <a:pt x="1145819" y="944721"/>
                    <a:pt x="1141966" y="944721"/>
                  </a:cubicBezTo>
                  <a:cubicBezTo>
                    <a:pt x="1139397" y="944721"/>
                    <a:pt x="1135545" y="944721"/>
                    <a:pt x="1132976" y="943437"/>
                  </a:cubicBezTo>
                  <a:cubicBezTo>
                    <a:pt x="1131692" y="943437"/>
                    <a:pt x="1130407" y="943437"/>
                    <a:pt x="1129124" y="942152"/>
                  </a:cubicBezTo>
                  <a:cubicBezTo>
                    <a:pt x="1127839" y="942152"/>
                    <a:pt x="1126555" y="939584"/>
                    <a:pt x="1122702" y="940868"/>
                  </a:cubicBezTo>
                  <a:cubicBezTo>
                    <a:pt x="1121418" y="942152"/>
                    <a:pt x="1121418" y="942152"/>
                    <a:pt x="1120134" y="942152"/>
                  </a:cubicBezTo>
                  <a:cubicBezTo>
                    <a:pt x="1116281" y="943437"/>
                    <a:pt x="1113712" y="944721"/>
                    <a:pt x="1114997" y="948573"/>
                  </a:cubicBezTo>
                  <a:cubicBezTo>
                    <a:pt x="1114997" y="953710"/>
                    <a:pt x="1118850" y="957563"/>
                    <a:pt x="1116281" y="962699"/>
                  </a:cubicBezTo>
                  <a:cubicBezTo>
                    <a:pt x="1113712" y="965268"/>
                    <a:pt x="1112429" y="967836"/>
                    <a:pt x="1113712" y="970405"/>
                  </a:cubicBezTo>
                  <a:cubicBezTo>
                    <a:pt x="1113712" y="975541"/>
                    <a:pt x="1116281" y="981962"/>
                    <a:pt x="1120134" y="984531"/>
                  </a:cubicBezTo>
                  <a:lnTo>
                    <a:pt x="1126555" y="985815"/>
                  </a:lnTo>
                  <a:cubicBezTo>
                    <a:pt x="1129124" y="988383"/>
                    <a:pt x="1131692" y="989668"/>
                    <a:pt x="1135545" y="989668"/>
                  </a:cubicBezTo>
                  <a:cubicBezTo>
                    <a:pt x="1138113" y="989668"/>
                    <a:pt x="1139397" y="988383"/>
                    <a:pt x="1141966" y="988383"/>
                  </a:cubicBezTo>
                  <a:cubicBezTo>
                    <a:pt x="1144535" y="988383"/>
                    <a:pt x="1145819" y="990951"/>
                    <a:pt x="1148387" y="989668"/>
                  </a:cubicBezTo>
                  <a:cubicBezTo>
                    <a:pt x="1150955" y="989668"/>
                    <a:pt x="1152240" y="988383"/>
                    <a:pt x="1153524" y="985815"/>
                  </a:cubicBezTo>
                  <a:cubicBezTo>
                    <a:pt x="1153524" y="983246"/>
                    <a:pt x="1154808" y="983246"/>
                    <a:pt x="1157377" y="981962"/>
                  </a:cubicBezTo>
                  <a:cubicBezTo>
                    <a:pt x="1159945" y="980678"/>
                    <a:pt x="1162514" y="978109"/>
                    <a:pt x="1162514" y="975541"/>
                  </a:cubicBezTo>
                  <a:cubicBezTo>
                    <a:pt x="1163798" y="972973"/>
                    <a:pt x="1162514" y="970405"/>
                    <a:pt x="1163798" y="966552"/>
                  </a:cubicBezTo>
                  <a:cubicBezTo>
                    <a:pt x="1166366" y="963983"/>
                    <a:pt x="1167650" y="958847"/>
                    <a:pt x="1171503" y="957563"/>
                  </a:cubicBezTo>
                  <a:lnTo>
                    <a:pt x="1179209" y="953710"/>
                  </a:lnTo>
                  <a:cubicBezTo>
                    <a:pt x="1180493" y="949857"/>
                    <a:pt x="1177925" y="946005"/>
                    <a:pt x="1180493" y="943437"/>
                  </a:cubicBezTo>
                  <a:cubicBezTo>
                    <a:pt x="1181778" y="942152"/>
                    <a:pt x="1184346" y="942152"/>
                    <a:pt x="1186914" y="942152"/>
                  </a:cubicBezTo>
                  <a:lnTo>
                    <a:pt x="1193335" y="943437"/>
                  </a:lnTo>
                  <a:cubicBezTo>
                    <a:pt x="1194620" y="944721"/>
                    <a:pt x="1195904" y="943437"/>
                    <a:pt x="1198473" y="942152"/>
                  </a:cubicBezTo>
                  <a:lnTo>
                    <a:pt x="1203609" y="937015"/>
                  </a:lnTo>
                  <a:cubicBezTo>
                    <a:pt x="1204893" y="935731"/>
                    <a:pt x="1206178" y="935731"/>
                    <a:pt x="1208746" y="935731"/>
                  </a:cubicBezTo>
                  <a:cubicBezTo>
                    <a:pt x="1212599" y="935731"/>
                    <a:pt x="1215168" y="939584"/>
                    <a:pt x="1216451" y="942152"/>
                  </a:cubicBezTo>
                  <a:cubicBezTo>
                    <a:pt x="1216451" y="944721"/>
                    <a:pt x="1217736" y="946005"/>
                    <a:pt x="1219020" y="948573"/>
                  </a:cubicBezTo>
                  <a:cubicBezTo>
                    <a:pt x="1219020" y="949857"/>
                    <a:pt x="1220304" y="951141"/>
                    <a:pt x="1221589" y="952426"/>
                  </a:cubicBezTo>
                  <a:cubicBezTo>
                    <a:pt x="1224157" y="954994"/>
                    <a:pt x="1228010" y="957563"/>
                    <a:pt x="1230578" y="958847"/>
                  </a:cubicBezTo>
                  <a:cubicBezTo>
                    <a:pt x="1235715" y="960131"/>
                    <a:pt x="1238284" y="961415"/>
                    <a:pt x="1240852" y="966552"/>
                  </a:cubicBezTo>
                  <a:cubicBezTo>
                    <a:pt x="1242136" y="969120"/>
                    <a:pt x="1243421" y="971689"/>
                    <a:pt x="1243421" y="975541"/>
                  </a:cubicBezTo>
                  <a:lnTo>
                    <a:pt x="1242136" y="980678"/>
                  </a:lnTo>
                  <a:cubicBezTo>
                    <a:pt x="1240852" y="981962"/>
                    <a:pt x="1239568" y="981962"/>
                    <a:pt x="1238284" y="981962"/>
                  </a:cubicBezTo>
                  <a:cubicBezTo>
                    <a:pt x="1235715" y="981962"/>
                    <a:pt x="1234431" y="980678"/>
                    <a:pt x="1231863" y="980678"/>
                  </a:cubicBezTo>
                  <a:cubicBezTo>
                    <a:pt x="1228010" y="981962"/>
                    <a:pt x="1228010" y="984531"/>
                    <a:pt x="1230578" y="987099"/>
                  </a:cubicBezTo>
                  <a:cubicBezTo>
                    <a:pt x="1231863" y="988383"/>
                    <a:pt x="1233147" y="988383"/>
                    <a:pt x="1234431" y="988383"/>
                  </a:cubicBezTo>
                  <a:cubicBezTo>
                    <a:pt x="1235715" y="989668"/>
                    <a:pt x="1236999" y="989668"/>
                    <a:pt x="1238284" y="988383"/>
                  </a:cubicBezTo>
                  <a:cubicBezTo>
                    <a:pt x="1239568" y="987099"/>
                    <a:pt x="1239568" y="985815"/>
                    <a:pt x="1240852" y="984531"/>
                  </a:cubicBezTo>
                  <a:cubicBezTo>
                    <a:pt x="1242136" y="983246"/>
                    <a:pt x="1243421" y="983246"/>
                    <a:pt x="1244705" y="980678"/>
                  </a:cubicBezTo>
                  <a:cubicBezTo>
                    <a:pt x="1245989" y="979394"/>
                    <a:pt x="1245989" y="979394"/>
                    <a:pt x="1248558" y="975541"/>
                  </a:cubicBezTo>
                  <a:cubicBezTo>
                    <a:pt x="1249842" y="972973"/>
                    <a:pt x="1249842" y="972973"/>
                    <a:pt x="1248558" y="970405"/>
                  </a:cubicBezTo>
                  <a:cubicBezTo>
                    <a:pt x="1247274" y="969120"/>
                    <a:pt x="1247274" y="966552"/>
                    <a:pt x="1248558" y="965268"/>
                  </a:cubicBezTo>
                  <a:cubicBezTo>
                    <a:pt x="1249842" y="962699"/>
                    <a:pt x="1253694" y="967836"/>
                    <a:pt x="1254979" y="966552"/>
                  </a:cubicBezTo>
                  <a:cubicBezTo>
                    <a:pt x="1257547" y="965268"/>
                    <a:pt x="1252410" y="961415"/>
                    <a:pt x="1251126" y="960131"/>
                  </a:cubicBezTo>
                  <a:cubicBezTo>
                    <a:pt x="1249842" y="960131"/>
                    <a:pt x="1248558" y="960131"/>
                    <a:pt x="1245989" y="958847"/>
                  </a:cubicBezTo>
                  <a:cubicBezTo>
                    <a:pt x="1244705" y="957563"/>
                    <a:pt x="1244705" y="956278"/>
                    <a:pt x="1243421" y="954994"/>
                  </a:cubicBezTo>
                  <a:cubicBezTo>
                    <a:pt x="1239568" y="952426"/>
                    <a:pt x="1235715" y="951141"/>
                    <a:pt x="1233147" y="948573"/>
                  </a:cubicBezTo>
                  <a:cubicBezTo>
                    <a:pt x="1231863" y="946005"/>
                    <a:pt x="1230578" y="944721"/>
                    <a:pt x="1229294" y="942152"/>
                  </a:cubicBezTo>
                  <a:cubicBezTo>
                    <a:pt x="1228010" y="939584"/>
                    <a:pt x="1226726" y="938300"/>
                    <a:pt x="1225441" y="937015"/>
                  </a:cubicBezTo>
                  <a:cubicBezTo>
                    <a:pt x="1224157" y="933163"/>
                    <a:pt x="1224157" y="929311"/>
                    <a:pt x="1228010" y="929311"/>
                  </a:cubicBezTo>
                  <a:cubicBezTo>
                    <a:pt x="1230578" y="930595"/>
                    <a:pt x="1231863" y="931878"/>
                    <a:pt x="1233147" y="933163"/>
                  </a:cubicBezTo>
                  <a:cubicBezTo>
                    <a:pt x="1234431" y="935731"/>
                    <a:pt x="1235715" y="938300"/>
                    <a:pt x="1238284" y="939584"/>
                  </a:cubicBezTo>
                  <a:cubicBezTo>
                    <a:pt x="1240852" y="943437"/>
                    <a:pt x="1244705" y="946005"/>
                    <a:pt x="1248558" y="947289"/>
                  </a:cubicBezTo>
                  <a:cubicBezTo>
                    <a:pt x="1251126" y="948573"/>
                    <a:pt x="1254979" y="949857"/>
                    <a:pt x="1257547" y="951141"/>
                  </a:cubicBezTo>
                  <a:cubicBezTo>
                    <a:pt x="1258832" y="952426"/>
                    <a:pt x="1260116" y="953710"/>
                    <a:pt x="1261400" y="956278"/>
                  </a:cubicBezTo>
                  <a:cubicBezTo>
                    <a:pt x="1261400" y="958847"/>
                    <a:pt x="1261400" y="961415"/>
                    <a:pt x="1261400" y="965268"/>
                  </a:cubicBezTo>
                  <a:cubicBezTo>
                    <a:pt x="1262684" y="967836"/>
                    <a:pt x="1263969" y="970405"/>
                    <a:pt x="1266537" y="972973"/>
                  </a:cubicBezTo>
                  <a:cubicBezTo>
                    <a:pt x="1267821" y="974257"/>
                    <a:pt x="1267821" y="974257"/>
                    <a:pt x="1269105" y="975541"/>
                  </a:cubicBezTo>
                  <a:cubicBezTo>
                    <a:pt x="1270390" y="976825"/>
                    <a:pt x="1270390" y="976825"/>
                    <a:pt x="1271674" y="978109"/>
                  </a:cubicBezTo>
                  <a:lnTo>
                    <a:pt x="1276811" y="980678"/>
                  </a:lnTo>
                  <a:cubicBezTo>
                    <a:pt x="1278088" y="983233"/>
                    <a:pt x="1274281" y="981976"/>
                    <a:pt x="1274242" y="981962"/>
                  </a:cubicBezTo>
                  <a:cubicBezTo>
                    <a:pt x="1271674" y="981962"/>
                    <a:pt x="1271674" y="984531"/>
                    <a:pt x="1272958" y="985815"/>
                  </a:cubicBezTo>
                  <a:cubicBezTo>
                    <a:pt x="1272958" y="988383"/>
                    <a:pt x="1275527" y="989668"/>
                    <a:pt x="1278095" y="989668"/>
                  </a:cubicBezTo>
                  <a:cubicBezTo>
                    <a:pt x="1280664" y="989668"/>
                    <a:pt x="1280664" y="988383"/>
                    <a:pt x="1280664" y="987099"/>
                  </a:cubicBezTo>
                  <a:cubicBezTo>
                    <a:pt x="1280664" y="983246"/>
                    <a:pt x="1281948" y="983246"/>
                    <a:pt x="1284517" y="983246"/>
                  </a:cubicBezTo>
                  <a:lnTo>
                    <a:pt x="1285800" y="978109"/>
                  </a:lnTo>
                  <a:cubicBezTo>
                    <a:pt x="1285800" y="976825"/>
                    <a:pt x="1284517" y="975541"/>
                    <a:pt x="1283232" y="974257"/>
                  </a:cubicBezTo>
                  <a:cubicBezTo>
                    <a:pt x="1281948" y="972973"/>
                    <a:pt x="1280664" y="971689"/>
                    <a:pt x="1280664" y="969120"/>
                  </a:cubicBezTo>
                  <a:lnTo>
                    <a:pt x="1285800" y="967836"/>
                  </a:lnTo>
                  <a:cubicBezTo>
                    <a:pt x="1287085" y="966552"/>
                    <a:pt x="1287085" y="966552"/>
                    <a:pt x="1288369" y="966552"/>
                  </a:cubicBezTo>
                  <a:cubicBezTo>
                    <a:pt x="1288369" y="965268"/>
                    <a:pt x="1288369" y="963983"/>
                    <a:pt x="1288369" y="962699"/>
                  </a:cubicBezTo>
                  <a:cubicBezTo>
                    <a:pt x="1289653" y="961415"/>
                    <a:pt x="1290937" y="961415"/>
                    <a:pt x="1292222" y="961415"/>
                  </a:cubicBezTo>
                  <a:cubicBezTo>
                    <a:pt x="1293506" y="961415"/>
                    <a:pt x="1293506" y="961415"/>
                    <a:pt x="1294790" y="961415"/>
                  </a:cubicBezTo>
                  <a:cubicBezTo>
                    <a:pt x="1297359" y="962699"/>
                    <a:pt x="1297359" y="962699"/>
                    <a:pt x="1298643" y="965268"/>
                  </a:cubicBezTo>
                  <a:cubicBezTo>
                    <a:pt x="1299927" y="967836"/>
                    <a:pt x="1301212" y="970405"/>
                    <a:pt x="1301212" y="972973"/>
                  </a:cubicBezTo>
                  <a:cubicBezTo>
                    <a:pt x="1301212" y="978109"/>
                    <a:pt x="1299927" y="981962"/>
                    <a:pt x="1303780" y="987099"/>
                  </a:cubicBezTo>
                  <a:cubicBezTo>
                    <a:pt x="1305064" y="988383"/>
                    <a:pt x="1307633" y="988383"/>
                    <a:pt x="1308917" y="989668"/>
                  </a:cubicBezTo>
                  <a:lnTo>
                    <a:pt x="1314054" y="996088"/>
                  </a:lnTo>
                  <a:cubicBezTo>
                    <a:pt x="1317907" y="998657"/>
                    <a:pt x="1319190" y="993520"/>
                    <a:pt x="1323043" y="993520"/>
                  </a:cubicBezTo>
                  <a:cubicBezTo>
                    <a:pt x="1326896" y="990951"/>
                    <a:pt x="1328180" y="994804"/>
                    <a:pt x="1330749" y="996088"/>
                  </a:cubicBezTo>
                  <a:cubicBezTo>
                    <a:pt x="1334602" y="997372"/>
                    <a:pt x="1341023" y="996088"/>
                    <a:pt x="1342307" y="994804"/>
                  </a:cubicBezTo>
                  <a:cubicBezTo>
                    <a:pt x="1343591" y="993520"/>
                    <a:pt x="1346160" y="988383"/>
                    <a:pt x="1348728" y="992236"/>
                  </a:cubicBezTo>
                  <a:cubicBezTo>
                    <a:pt x="1353865" y="997372"/>
                    <a:pt x="1342307" y="1007646"/>
                    <a:pt x="1343591" y="1014067"/>
                  </a:cubicBezTo>
                  <a:cubicBezTo>
                    <a:pt x="1343591" y="1016635"/>
                    <a:pt x="1346160" y="1020488"/>
                    <a:pt x="1342307" y="1023056"/>
                  </a:cubicBezTo>
                  <a:cubicBezTo>
                    <a:pt x="1338454" y="1024340"/>
                    <a:pt x="1333318" y="1023056"/>
                    <a:pt x="1329465" y="1024340"/>
                  </a:cubicBezTo>
                  <a:cubicBezTo>
                    <a:pt x="1326896" y="1024340"/>
                    <a:pt x="1324328" y="1025625"/>
                    <a:pt x="1321759" y="1026909"/>
                  </a:cubicBezTo>
                  <a:cubicBezTo>
                    <a:pt x="1317907" y="1029477"/>
                    <a:pt x="1315338" y="1028193"/>
                    <a:pt x="1311485" y="1026909"/>
                  </a:cubicBezTo>
                  <a:cubicBezTo>
                    <a:pt x="1310201" y="1025625"/>
                    <a:pt x="1308917" y="1025625"/>
                    <a:pt x="1307633" y="1025625"/>
                  </a:cubicBezTo>
                  <a:cubicBezTo>
                    <a:pt x="1306348" y="1025625"/>
                    <a:pt x="1306348" y="1026909"/>
                    <a:pt x="1305064" y="1026909"/>
                  </a:cubicBezTo>
                  <a:cubicBezTo>
                    <a:pt x="1303780" y="1028193"/>
                    <a:pt x="1303780" y="1026909"/>
                    <a:pt x="1301212" y="1026909"/>
                  </a:cubicBezTo>
                  <a:cubicBezTo>
                    <a:pt x="1296075" y="1026909"/>
                    <a:pt x="1290937" y="1028193"/>
                    <a:pt x="1285800" y="1024340"/>
                  </a:cubicBezTo>
                  <a:cubicBezTo>
                    <a:pt x="1281948" y="1020488"/>
                    <a:pt x="1278095" y="1016635"/>
                    <a:pt x="1272958" y="1016635"/>
                  </a:cubicBezTo>
                  <a:cubicBezTo>
                    <a:pt x="1269105" y="1017920"/>
                    <a:pt x="1265253" y="1019203"/>
                    <a:pt x="1263969" y="1024340"/>
                  </a:cubicBezTo>
                  <a:cubicBezTo>
                    <a:pt x="1263969" y="1026909"/>
                    <a:pt x="1265253" y="1030762"/>
                    <a:pt x="1261400" y="1032046"/>
                  </a:cubicBezTo>
                  <a:cubicBezTo>
                    <a:pt x="1257547" y="1034614"/>
                    <a:pt x="1245989" y="1030762"/>
                    <a:pt x="1243421" y="1026909"/>
                  </a:cubicBezTo>
                  <a:cubicBezTo>
                    <a:pt x="1239568" y="1023056"/>
                    <a:pt x="1235715" y="1020488"/>
                    <a:pt x="1229294" y="1019203"/>
                  </a:cubicBezTo>
                  <a:cubicBezTo>
                    <a:pt x="1224157" y="1017920"/>
                    <a:pt x="1217736" y="1015351"/>
                    <a:pt x="1215168" y="1010214"/>
                  </a:cubicBezTo>
                  <a:cubicBezTo>
                    <a:pt x="1212599" y="1003794"/>
                    <a:pt x="1221589" y="992236"/>
                    <a:pt x="1213883" y="987099"/>
                  </a:cubicBezTo>
                  <a:cubicBezTo>
                    <a:pt x="1208746" y="985815"/>
                    <a:pt x="1202325" y="985815"/>
                    <a:pt x="1198473" y="988383"/>
                  </a:cubicBezTo>
                  <a:cubicBezTo>
                    <a:pt x="1192051" y="989668"/>
                    <a:pt x="1185630" y="990951"/>
                    <a:pt x="1179209" y="989668"/>
                  </a:cubicBezTo>
                  <a:cubicBezTo>
                    <a:pt x="1172788" y="989668"/>
                    <a:pt x="1168935" y="990951"/>
                    <a:pt x="1163798" y="994804"/>
                  </a:cubicBezTo>
                  <a:cubicBezTo>
                    <a:pt x="1157377" y="998657"/>
                    <a:pt x="1153524" y="1002509"/>
                    <a:pt x="1147103" y="999941"/>
                  </a:cubicBezTo>
                  <a:cubicBezTo>
                    <a:pt x="1143250" y="998657"/>
                    <a:pt x="1143250" y="999941"/>
                    <a:pt x="1139397" y="999941"/>
                  </a:cubicBezTo>
                  <a:cubicBezTo>
                    <a:pt x="1136829" y="999941"/>
                    <a:pt x="1135545" y="996088"/>
                    <a:pt x="1132976" y="996088"/>
                  </a:cubicBezTo>
                  <a:cubicBezTo>
                    <a:pt x="1125271" y="997372"/>
                    <a:pt x="1129124" y="1003794"/>
                    <a:pt x="1127839" y="1007646"/>
                  </a:cubicBezTo>
                  <a:cubicBezTo>
                    <a:pt x="1126555" y="1011499"/>
                    <a:pt x="1120134" y="1011499"/>
                    <a:pt x="1117565" y="1014067"/>
                  </a:cubicBezTo>
                  <a:cubicBezTo>
                    <a:pt x="1112429" y="1019203"/>
                    <a:pt x="1111144" y="1028193"/>
                    <a:pt x="1111144" y="1034614"/>
                  </a:cubicBezTo>
                  <a:cubicBezTo>
                    <a:pt x="1111144" y="1041035"/>
                    <a:pt x="1108576" y="1046172"/>
                    <a:pt x="1104723" y="1050024"/>
                  </a:cubicBezTo>
                  <a:cubicBezTo>
                    <a:pt x="1098302" y="1055161"/>
                    <a:pt x="1093165" y="1056445"/>
                    <a:pt x="1090596" y="1062866"/>
                  </a:cubicBezTo>
                  <a:cubicBezTo>
                    <a:pt x="1088028" y="1068003"/>
                    <a:pt x="1088028" y="1071856"/>
                    <a:pt x="1082891" y="1075708"/>
                  </a:cubicBezTo>
                  <a:cubicBezTo>
                    <a:pt x="1080322" y="1078276"/>
                    <a:pt x="1079038" y="1079560"/>
                    <a:pt x="1077754" y="1082129"/>
                  </a:cubicBezTo>
                  <a:cubicBezTo>
                    <a:pt x="1077754" y="1088550"/>
                    <a:pt x="1073901" y="1092402"/>
                    <a:pt x="1076470" y="1097539"/>
                  </a:cubicBezTo>
                  <a:cubicBezTo>
                    <a:pt x="1079038" y="1100108"/>
                    <a:pt x="1077754" y="1103960"/>
                    <a:pt x="1079038" y="1106528"/>
                  </a:cubicBezTo>
                  <a:cubicBezTo>
                    <a:pt x="1079038" y="1109097"/>
                    <a:pt x="1080322" y="1111665"/>
                    <a:pt x="1080322" y="1115518"/>
                  </a:cubicBezTo>
                  <a:cubicBezTo>
                    <a:pt x="1080322" y="1119371"/>
                    <a:pt x="1077754" y="1121939"/>
                    <a:pt x="1076470" y="1125791"/>
                  </a:cubicBezTo>
                  <a:lnTo>
                    <a:pt x="1075186" y="1141202"/>
                  </a:lnTo>
                  <a:cubicBezTo>
                    <a:pt x="1075186" y="1148907"/>
                    <a:pt x="1082891" y="1152759"/>
                    <a:pt x="1085459" y="1157896"/>
                  </a:cubicBezTo>
                  <a:cubicBezTo>
                    <a:pt x="1091881" y="1166885"/>
                    <a:pt x="1094449" y="1184864"/>
                    <a:pt x="1104723" y="1191285"/>
                  </a:cubicBezTo>
                  <a:cubicBezTo>
                    <a:pt x="1112429" y="1195138"/>
                    <a:pt x="1122702" y="1201559"/>
                    <a:pt x="1131692" y="1197706"/>
                  </a:cubicBezTo>
                  <a:cubicBezTo>
                    <a:pt x="1136829" y="1196422"/>
                    <a:pt x="1140682" y="1195138"/>
                    <a:pt x="1147103" y="1195138"/>
                  </a:cubicBezTo>
                  <a:lnTo>
                    <a:pt x="1152240" y="1193853"/>
                  </a:lnTo>
                  <a:lnTo>
                    <a:pt x="1157377" y="1196422"/>
                  </a:lnTo>
                  <a:cubicBezTo>
                    <a:pt x="1163798" y="1197706"/>
                    <a:pt x="1168935" y="1193853"/>
                    <a:pt x="1174072" y="1192570"/>
                  </a:cubicBezTo>
                  <a:lnTo>
                    <a:pt x="1181778" y="1191285"/>
                  </a:lnTo>
                  <a:cubicBezTo>
                    <a:pt x="1185630" y="1191285"/>
                    <a:pt x="1185630" y="1192570"/>
                    <a:pt x="1188198" y="1193853"/>
                  </a:cubicBezTo>
                  <a:cubicBezTo>
                    <a:pt x="1192051" y="1196422"/>
                    <a:pt x="1194620" y="1198990"/>
                    <a:pt x="1198473" y="1200275"/>
                  </a:cubicBezTo>
                  <a:cubicBezTo>
                    <a:pt x="1213883" y="1205412"/>
                    <a:pt x="1210031" y="1222106"/>
                    <a:pt x="1207462" y="1234948"/>
                  </a:cubicBezTo>
                  <a:cubicBezTo>
                    <a:pt x="1206178" y="1240084"/>
                    <a:pt x="1208746" y="1247790"/>
                    <a:pt x="1212599" y="1252926"/>
                  </a:cubicBezTo>
                  <a:cubicBezTo>
                    <a:pt x="1216451" y="1258063"/>
                    <a:pt x="1221589" y="1261916"/>
                    <a:pt x="1224157" y="1267052"/>
                  </a:cubicBezTo>
                  <a:cubicBezTo>
                    <a:pt x="1226726" y="1269621"/>
                    <a:pt x="1228010" y="1273473"/>
                    <a:pt x="1228010" y="1276042"/>
                  </a:cubicBezTo>
                  <a:cubicBezTo>
                    <a:pt x="1228010" y="1278610"/>
                    <a:pt x="1228010" y="1279895"/>
                    <a:pt x="1229294" y="1281178"/>
                  </a:cubicBezTo>
                  <a:cubicBezTo>
                    <a:pt x="1229294" y="1287600"/>
                    <a:pt x="1225441" y="1291452"/>
                    <a:pt x="1229294" y="1296589"/>
                  </a:cubicBezTo>
                  <a:cubicBezTo>
                    <a:pt x="1235715" y="1305578"/>
                    <a:pt x="1225441" y="1317136"/>
                    <a:pt x="1222873" y="1326125"/>
                  </a:cubicBezTo>
                  <a:cubicBezTo>
                    <a:pt x="1221589" y="1332546"/>
                    <a:pt x="1219020" y="1341535"/>
                    <a:pt x="1222873" y="1346672"/>
                  </a:cubicBezTo>
                  <a:cubicBezTo>
                    <a:pt x="1224157" y="1347957"/>
                    <a:pt x="1226726" y="1349241"/>
                    <a:pt x="1228010" y="1350525"/>
                  </a:cubicBezTo>
                  <a:cubicBezTo>
                    <a:pt x="1230578" y="1354377"/>
                    <a:pt x="1230578" y="1358230"/>
                    <a:pt x="1231863" y="1360798"/>
                  </a:cubicBezTo>
                  <a:cubicBezTo>
                    <a:pt x="1233147" y="1363367"/>
                    <a:pt x="1233147" y="1367220"/>
                    <a:pt x="1233147" y="1369788"/>
                  </a:cubicBezTo>
                  <a:cubicBezTo>
                    <a:pt x="1234431" y="1373640"/>
                    <a:pt x="1236999" y="1374925"/>
                    <a:pt x="1238284" y="1378777"/>
                  </a:cubicBezTo>
                  <a:cubicBezTo>
                    <a:pt x="1239568" y="1389051"/>
                    <a:pt x="1236999" y="1398040"/>
                    <a:pt x="1240852" y="1407029"/>
                  </a:cubicBezTo>
                  <a:cubicBezTo>
                    <a:pt x="1243421" y="1412166"/>
                    <a:pt x="1245989" y="1417303"/>
                    <a:pt x="1248558" y="1422440"/>
                  </a:cubicBezTo>
                  <a:cubicBezTo>
                    <a:pt x="1251126" y="1425008"/>
                    <a:pt x="1252410" y="1427576"/>
                    <a:pt x="1252410" y="1431429"/>
                  </a:cubicBezTo>
                  <a:cubicBezTo>
                    <a:pt x="1253694" y="1436566"/>
                    <a:pt x="1251126" y="1442986"/>
                    <a:pt x="1251126" y="1448123"/>
                  </a:cubicBezTo>
                  <a:lnTo>
                    <a:pt x="1252893" y="1450331"/>
                  </a:lnTo>
                  <a:cubicBezTo>
                    <a:pt x="1181930" y="1502527"/>
                    <a:pt x="1094187" y="1532774"/>
                    <a:pt x="999379" y="1532774"/>
                  </a:cubicBezTo>
                  <a:cubicBezTo>
                    <a:pt x="942720" y="1532774"/>
                    <a:pt x="888583" y="1521971"/>
                    <a:pt x="839242" y="1501491"/>
                  </a:cubicBezTo>
                  <a:cubicBezTo>
                    <a:pt x="842403" y="1500292"/>
                    <a:pt x="844299" y="1496331"/>
                    <a:pt x="841522" y="1491702"/>
                  </a:cubicBezTo>
                  <a:cubicBezTo>
                    <a:pt x="842485" y="1488815"/>
                    <a:pt x="844089" y="1489136"/>
                    <a:pt x="845373" y="1489136"/>
                  </a:cubicBezTo>
                  <a:lnTo>
                    <a:pt x="854360" y="1485284"/>
                  </a:lnTo>
                  <a:cubicBezTo>
                    <a:pt x="858211" y="1485284"/>
                    <a:pt x="860779" y="1485284"/>
                    <a:pt x="863346" y="1484001"/>
                  </a:cubicBezTo>
                  <a:cubicBezTo>
                    <a:pt x="865914" y="1482717"/>
                    <a:pt x="867198" y="1480151"/>
                    <a:pt x="868482" y="1477583"/>
                  </a:cubicBezTo>
                  <a:cubicBezTo>
                    <a:pt x="869766" y="1476299"/>
                    <a:pt x="871049" y="1475016"/>
                    <a:pt x="869766" y="1472449"/>
                  </a:cubicBezTo>
                  <a:lnTo>
                    <a:pt x="865914" y="1468598"/>
                  </a:lnTo>
                  <a:cubicBezTo>
                    <a:pt x="865914" y="1466031"/>
                    <a:pt x="867198" y="1464748"/>
                    <a:pt x="867198" y="1463464"/>
                  </a:cubicBezTo>
                  <a:cubicBezTo>
                    <a:pt x="865914" y="1460896"/>
                    <a:pt x="862063" y="1460896"/>
                    <a:pt x="860779" y="1458330"/>
                  </a:cubicBezTo>
                  <a:cubicBezTo>
                    <a:pt x="859495" y="1455763"/>
                    <a:pt x="858211" y="1453195"/>
                    <a:pt x="858211" y="1450628"/>
                  </a:cubicBezTo>
                  <a:lnTo>
                    <a:pt x="863346" y="1449345"/>
                  </a:lnTo>
                  <a:cubicBezTo>
                    <a:pt x="864630" y="1451912"/>
                    <a:pt x="864630" y="1455763"/>
                    <a:pt x="867198" y="1457046"/>
                  </a:cubicBezTo>
                  <a:cubicBezTo>
                    <a:pt x="868482" y="1459613"/>
                    <a:pt x="871049" y="1460896"/>
                    <a:pt x="873617" y="1459613"/>
                  </a:cubicBezTo>
                  <a:cubicBezTo>
                    <a:pt x="874901" y="1459613"/>
                    <a:pt x="876185" y="1458330"/>
                    <a:pt x="877469" y="1459613"/>
                  </a:cubicBezTo>
                  <a:cubicBezTo>
                    <a:pt x="878752" y="1459613"/>
                    <a:pt x="880036" y="1459613"/>
                    <a:pt x="881320" y="1459613"/>
                  </a:cubicBezTo>
                  <a:cubicBezTo>
                    <a:pt x="882604" y="1459613"/>
                    <a:pt x="886456" y="1454479"/>
                    <a:pt x="889023" y="1450628"/>
                  </a:cubicBezTo>
                  <a:cubicBezTo>
                    <a:pt x="890307" y="1448061"/>
                    <a:pt x="891591" y="1446777"/>
                    <a:pt x="891591" y="1445494"/>
                  </a:cubicBezTo>
                  <a:cubicBezTo>
                    <a:pt x="891591" y="1442927"/>
                    <a:pt x="890307" y="1442927"/>
                    <a:pt x="890307" y="1441643"/>
                  </a:cubicBezTo>
                  <a:lnTo>
                    <a:pt x="894159" y="1436509"/>
                  </a:lnTo>
                  <a:cubicBezTo>
                    <a:pt x="895442" y="1435225"/>
                    <a:pt x="896726" y="1432658"/>
                    <a:pt x="901862" y="1431375"/>
                  </a:cubicBezTo>
                  <a:lnTo>
                    <a:pt x="904429" y="1426240"/>
                  </a:lnTo>
                  <a:cubicBezTo>
                    <a:pt x="905713" y="1423673"/>
                    <a:pt x="906997" y="1422389"/>
                    <a:pt x="909564" y="1419822"/>
                  </a:cubicBezTo>
                  <a:cubicBezTo>
                    <a:pt x="915983" y="1413404"/>
                    <a:pt x="909564" y="1406987"/>
                    <a:pt x="910848" y="1399285"/>
                  </a:cubicBezTo>
                  <a:cubicBezTo>
                    <a:pt x="910848" y="1395434"/>
                    <a:pt x="915983" y="1392868"/>
                    <a:pt x="919835" y="1390300"/>
                  </a:cubicBezTo>
                  <a:cubicBezTo>
                    <a:pt x="921119" y="1389016"/>
                    <a:pt x="923686" y="1387733"/>
                    <a:pt x="926254" y="1385166"/>
                  </a:cubicBezTo>
                  <a:cubicBezTo>
                    <a:pt x="927538" y="1385166"/>
                    <a:pt x="927538" y="1383882"/>
                    <a:pt x="928821" y="1382599"/>
                  </a:cubicBezTo>
                  <a:cubicBezTo>
                    <a:pt x="932673" y="1381315"/>
                    <a:pt x="937808" y="1378748"/>
                    <a:pt x="941660" y="1377465"/>
                  </a:cubicBezTo>
                  <a:cubicBezTo>
                    <a:pt x="944227" y="1376181"/>
                    <a:pt x="948079" y="1376181"/>
                    <a:pt x="949363" y="1372330"/>
                  </a:cubicBezTo>
                  <a:lnTo>
                    <a:pt x="949363" y="1367196"/>
                  </a:lnTo>
                  <a:cubicBezTo>
                    <a:pt x="949363" y="1364628"/>
                    <a:pt x="950647" y="1363345"/>
                    <a:pt x="951930" y="1362062"/>
                  </a:cubicBezTo>
                  <a:lnTo>
                    <a:pt x="957066" y="1355644"/>
                  </a:lnTo>
                  <a:cubicBezTo>
                    <a:pt x="958350" y="1353077"/>
                    <a:pt x="958350" y="1351793"/>
                    <a:pt x="958350" y="1347942"/>
                  </a:cubicBezTo>
                  <a:cubicBezTo>
                    <a:pt x="957066" y="1346659"/>
                    <a:pt x="958350" y="1345375"/>
                    <a:pt x="959633" y="1342808"/>
                  </a:cubicBezTo>
                  <a:cubicBezTo>
                    <a:pt x="960917" y="1340241"/>
                    <a:pt x="960917" y="1336390"/>
                    <a:pt x="960917" y="1333823"/>
                  </a:cubicBezTo>
                  <a:cubicBezTo>
                    <a:pt x="960917" y="1329972"/>
                    <a:pt x="958350" y="1327405"/>
                    <a:pt x="958350" y="1323554"/>
                  </a:cubicBezTo>
                  <a:cubicBezTo>
                    <a:pt x="958350" y="1320987"/>
                    <a:pt x="958350" y="1319704"/>
                    <a:pt x="959633" y="1317136"/>
                  </a:cubicBezTo>
                  <a:cubicBezTo>
                    <a:pt x="960917" y="1315853"/>
                    <a:pt x="962201" y="1313286"/>
                    <a:pt x="963485" y="1312002"/>
                  </a:cubicBezTo>
                  <a:cubicBezTo>
                    <a:pt x="964769" y="1312002"/>
                    <a:pt x="966053" y="1312002"/>
                    <a:pt x="968620" y="1310718"/>
                  </a:cubicBezTo>
                  <a:cubicBezTo>
                    <a:pt x="969904" y="1308151"/>
                    <a:pt x="971188" y="1305584"/>
                    <a:pt x="972472" y="1301733"/>
                  </a:cubicBezTo>
                  <a:cubicBezTo>
                    <a:pt x="973756" y="1300450"/>
                    <a:pt x="973756" y="1299166"/>
                    <a:pt x="975039" y="1297883"/>
                  </a:cubicBezTo>
                  <a:cubicBezTo>
                    <a:pt x="975039" y="1296599"/>
                    <a:pt x="976323" y="1295316"/>
                    <a:pt x="977607" y="1295316"/>
                  </a:cubicBezTo>
                  <a:cubicBezTo>
                    <a:pt x="980175" y="1294032"/>
                    <a:pt x="981459" y="1291465"/>
                    <a:pt x="982742" y="1290181"/>
                  </a:cubicBezTo>
                  <a:cubicBezTo>
                    <a:pt x="984026" y="1286330"/>
                    <a:pt x="985310" y="1281197"/>
                    <a:pt x="984026" y="1276062"/>
                  </a:cubicBezTo>
                  <a:lnTo>
                    <a:pt x="981459" y="1270928"/>
                  </a:lnTo>
                  <a:cubicBezTo>
                    <a:pt x="980175" y="1268360"/>
                    <a:pt x="977607" y="1267077"/>
                    <a:pt x="976323" y="1265794"/>
                  </a:cubicBezTo>
                  <a:cubicBezTo>
                    <a:pt x="972472" y="1263226"/>
                    <a:pt x="968620" y="1259376"/>
                    <a:pt x="964769" y="1256809"/>
                  </a:cubicBezTo>
                  <a:cubicBezTo>
                    <a:pt x="960917" y="1254241"/>
                    <a:pt x="957066" y="1252957"/>
                    <a:pt x="953214" y="1251674"/>
                  </a:cubicBezTo>
                  <a:cubicBezTo>
                    <a:pt x="950647" y="1251674"/>
                    <a:pt x="946795" y="1251674"/>
                    <a:pt x="944227" y="1251674"/>
                  </a:cubicBezTo>
                  <a:cubicBezTo>
                    <a:pt x="940376" y="1250391"/>
                    <a:pt x="936524" y="1249107"/>
                    <a:pt x="933957" y="1245256"/>
                  </a:cubicBezTo>
                  <a:cubicBezTo>
                    <a:pt x="932673" y="1242689"/>
                    <a:pt x="931389" y="1242689"/>
                    <a:pt x="928821" y="1241406"/>
                  </a:cubicBezTo>
                  <a:cubicBezTo>
                    <a:pt x="926254" y="1240122"/>
                    <a:pt x="924970" y="1237554"/>
                    <a:pt x="922402" y="1237554"/>
                  </a:cubicBezTo>
                  <a:cubicBezTo>
                    <a:pt x="919835" y="1237554"/>
                    <a:pt x="918551" y="1237554"/>
                    <a:pt x="915983" y="1237554"/>
                  </a:cubicBezTo>
                  <a:cubicBezTo>
                    <a:pt x="913416" y="1236271"/>
                    <a:pt x="912132" y="1233704"/>
                    <a:pt x="909564" y="1232421"/>
                  </a:cubicBezTo>
                  <a:cubicBezTo>
                    <a:pt x="905713" y="1229853"/>
                    <a:pt x="903145" y="1226003"/>
                    <a:pt x="901862" y="1222152"/>
                  </a:cubicBezTo>
                  <a:cubicBezTo>
                    <a:pt x="900578" y="1219585"/>
                    <a:pt x="899294" y="1215734"/>
                    <a:pt x="898010" y="1213167"/>
                  </a:cubicBezTo>
                  <a:cubicBezTo>
                    <a:pt x="896726" y="1208033"/>
                    <a:pt x="894159" y="1199047"/>
                    <a:pt x="887739" y="1197764"/>
                  </a:cubicBezTo>
                  <a:cubicBezTo>
                    <a:pt x="885172" y="1196480"/>
                    <a:pt x="882604" y="1193913"/>
                    <a:pt x="880036" y="1192630"/>
                  </a:cubicBezTo>
                  <a:cubicBezTo>
                    <a:pt x="876185" y="1191346"/>
                    <a:pt x="872333" y="1190062"/>
                    <a:pt x="868482" y="1188779"/>
                  </a:cubicBezTo>
                  <a:cubicBezTo>
                    <a:pt x="860779" y="1186212"/>
                    <a:pt x="853076" y="1179794"/>
                    <a:pt x="847941" y="1173376"/>
                  </a:cubicBezTo>
                  <a:cubicBezTo>
                    <a:pt x="846657" y="1170809"/>
                    <a:pt x="844089" y="1166958"/>
                    <a:pt x="841522" y="1165674"/>
                  </a:cubicBezTo>
                  <a:cubicBezTo>
                    <a:pt x="838954" y="1164391"/>
                    <a:pt x="835103" y="1164391"/>
                    <a:pt x="831251" y="1163107"/>
                  </a:cubicBezTo>
                  <a:cubicBezTo>
                    <a:pt x="827400" y="1161824"/>
                    <a:pt x="822264" y="1161824"/>
                    <a:pt x="818413" y="1161824"/>
                  </a:cubicBezTo>
                  <a:cubicBezTo>
                    <a:pt x="814561" y="1161824"/>
                    <a:pt x="809426" y="1163107"/>
                    <a:pt x="805575" y="1161824"/>
                  </a:cubicBezTo>
                  <a:cubicBezTo>
                    <a:pt x="803007" y="1161824"/>
                    <a:pt x="800439" y="1161824"/>
                    <a:pt x="795304" y="1168242"/>
                  </a:cubicBezTo>
                  <a:cubicBezTo>
                    <a:pt x="796588" y="1169526"/>
                    <a:pt x="796588" y="1170809"/>
                    <a:pt x="795304" y="1174659"/>
                  </a:cubicBezTo>
                  <a:cubicBezTo>
                    <a:pt x="792736" y="1175943"/>
                    <a:pt x="791452" y="1173376"/>
                    <a:pt x="790168" y="1170809"/>
                  </a:cubicBezTo>
                  <a:lnTo>
                    <a:pt x="788885" y="1164391"/>
                  </a:lnTo>
                  <a:cubicBezTo>
                    <a:pt x="786317" y="1161824"/>
                    <a:pt x="785033" y="1161824"/>
                    <a:pt x="782465" y="1163107"/>
                  </a:cubicBezTo>
                  <a:cubicBezTo>
                    <a:pt x="779898" y="1164391"/>
                    <a:pt x="777330" y="1165674"/>
                    <a:pt x="776046" y="1168242"/>
                  </a:cubicBezTo>
                  <a:cubicBezTo>
                    <a:pt x="774763" y="1170809"/>
                    <a:pt x="774763" y="1174659"/>
                    <a:pt x="772195" y="1175943"/>
                  </a:cubicBezTo>
                  <a:lnTo>
                    <a:pt x="765776" y="1175943"/>
                  </a:lnTo>
                  <a:cubicBezTo>
                    <a:pt x="763208" y="1174659"/>
                    <a:pt x="760641" y="1172092"/>
                    <a:pt x="758073" y="1170809"/>
                  </a:cubicBezTo>
                  <a:cubicBezTo>
                    <a:pt x="754222" y="1169526"/>
                    <a:pt x="750370" y="1172092"/>
                    <a:pt x="746519" y="1172092"/>
                  </a:cubicBezTo>
                  <a:cubicBezTo>
                    <a:pt x="743951" y="1172092"/>
                    <a:pt x="740100" y="1172092"/>
                    <a:pt x="737532" y="1169526"/>
                  </a:cubicBezTo>
                  <a:cubicBezTo>
                    <a:pt x="736248" y="1166958"/>
                    <a:pt x="736248" y="1163107"/>
                    <a:pt x="736248" y="1160540"/>
                  </a:cubicBezTo>
                  <a:cubicBezTo>
                    <a:pt x="734964" y="1157973"/>
                    <a:pt x="733680" y="1156689"/>
                    <a:pt x="732397" y="1154123"/>
                  </a:cubicBezTo>
                  <a:lnTo>
                    <a:pt x="731113" y="1146421"/>
                  </a:lnTo>
                  <a:cubicBezTo>
                    <a:pt x="731113" y="1141286"/>
                    <a:pt x="732397" y="1137436"/>
                    <a:pt x="729829" y="1132302"/>
                  </a:cubicBezTo>
                  <a:lnTo>
                    <a:pt x="725977" y="1128451"/>
                  </a:lnTo>
                  <a:cubicBezTo>
                    <a:pt x="722126" y="1127167"/>
                    <a:pt x="719558" y="1128451"/>
                    <a:pt x="716991" y="1128451"/>
                  </a:cubicBezTo>
                  <a:cubicBezTo>
                    <a:pt x="714423" y="1129735"/>
                    <a:pt x="711855" y="1129735"/>
                    <a:pt x="709288" y="1129735"/>
                  </a:cubicBezTo>
                  <a:cubicBezTo>
                    <a:pt x="706720" y="1129735"/>
                    <a:pt x="704152" y="1128451"/>
                    <a:pt x="705436" y="1125883"/>
                  </a:cubicBezTo>
                  <a:cubicBezTo>
                    <a:pt x="708004" y="1123317"/>
                    <a:pt x="710571" y="1120750"/>
                    <a:pt x="710571" y="1118182"/>
                  </a:cubicBezTo>
                  <a:cubicBezTo>
                    <a:pt x="711855" y="1115615"/>
                    <a:pt x="710571" y="1115615"/>
                    <a:pt x="710571" y="1111764"/>
                  </a:cubicBezTo>
                  <a:cubicBezTo>
                    <a:pt x="711855" y="1111764"/>
                    <a:pt x="713139" y="1111764"/>
                    <a:pt x="714423" y="1111764"/>
                  </a:cubicBezTo>
                  <a:lnTo>
                    <a:pt x="714423" y="1106630"/>
                  </a:lnTo>
                  <a:lnTo>
                    <a:pt x="715707" y="1101496"/>
                  </a:lnTo>
                  <a:cubicBezTo>
                    <a:pt x="715707" y="1098929"/>
                    <a:pt x="716991" y="1096362"/>
                    <a:pt x="715707" y="1093794"/>
                  </a:cubicBezTo>
                  <a:lnTo>
                    <a:pt x="710571" y="1091227"/>
                  </a:lnTo>
                  <a:cubicBezTo>
                    <a:pt x="706720" y="1091227"/>
                    <a:pt x="702868" y="1093794"/>
                    <a:pt x="700301" y="1096362"/>
                  </a:cubicBezTo>
                  <a:cubicBezTo>
                    <a:pt x="697733" y="1098929"/>
                    <a:pt x="696449" y="1102779"/>
                    <a:pt x="695165" y="1105347"/>
                  </a:cubicBezTo>
                  <a:cubicBezTo>
                    <a:pt x="692598" y="1109197"/>
                    <a:pt x="686179" y="1110481"/>
                    <a:pt x="682327" y="1111764"/>
                  </a:cubicBezTo>
                  <a:cubicBezTo>
                    <a:pt x="679760" y="1111764"/>
                    <a:pt x="677192" y="1113048"/>
                    <a:pt x="674625" y="1113048"/>
                  </a:cubicBezTo>
                  <a:cubicBezTo>
                    <a:pt x="672057" y="1111764"/>
                    <a:pt x="672057" y="1107914"/>
                    <a:pt x="670773" y="1105347"/>
                  </a:cubicBezTo>
                  <a:cubicBezTo>
                    <a:pt x="669489" y="1104063"/>
                    <a:pt x="668206" y="1101496"/>
                    <a:pt x="666922" y="1100212"/>
                  </a:cubicBezTo>
                  <a:cubicBezTo>
                    <a:pt x="663070" y="1096362"/>
                    <a:pt x="661786" y="1088660"/>
                    <a:pt x="661786" y="1083526"/>
                  </a:cubicBezTo>
                  <a:cubicBezTo>
                    <a:pt x="661786" y="1079675"/>
                    <a:pt x="661786" y="1075824"/>
                    <a:pt x="663070" y="1073257"/>
                  </a:cubicBezTo>
                  <a:cubicBezTo>
                    <a:pt x="663070" y="1070690"/>
                    <a:pt x="664354" y="1069406"/>
                    <a:pt x="664354" y="1066839"/>
                  </a:cubicBezTo>
                  <a:cubicBezTo>
                    <a:pt x="664354" y="1064272"/>
                    <a:pt x="664354" y="1061705"/>
                    <a:pt x="664354" y="1057855"/>
                  </a:cubicBezTo>
                  <a:cubicBezTo>
                    <a:pt x="665638" y="1054003"/>
                    <a:pt x="666922" y="1051436"/>
                    <a:pt x="670773" y="1045018"/>
                  </a:cubicBezTo>
                  <a:lnTo>
                    <a:pt x="677192" y="1041168"/>
                  </a:lnTo>
                  <a:cubicBezTo>
                    <a:pt x="681044" y="1039884"/>
                    <a:pt x="686179" y="1036034"/>
                    <a:pt x="690030" y="1037317"/>
                  </a:cubicBezTo>
                  <a:cubicBezTo>
                    <a:pt x="695165" y="1037317"/>
                    <a:pt x="699017" y="1042452"/>
                    <a:pt x="704152" y="1041168"/>
                  </a:cubicBezTo>
                  <a:lnTo>
                    <a:pt x="705436" y="1036034"/>
                  </a:lnTo>
                  <a:lnTo>
                    <a:pt x="714423" y="1032183"/>
                  </a:lnTo>
                  <a:cubicBezTo>
                    <a:pt x="720842" y="1032183"/>
                    <a:pt x="725977" y="1033467"/>
                    <a:pt x="731113" y="1038600"/>
                  </a:cubicBezTo>
                  <a:cubicBezTo>
                    <a:pt x="736248" y="1043735"/>
                    <a:pt x="734964" y="1048869"/>
                    <a:pt x="737532" y="1055287"/>
                  </a:cubicBezTo>
                  <a:cubicBezTo>
                    <a:pt x="738816" y="1059138"/>
                    <a:pt x="741384" y="1064272"/>
                    <a:pt x="746519" y="1065556"/>
                  </a:cubicBezTo>
                  <a:cubicBezTo>
                    <a:pt x="751654" y="1066839"/>
                    <a:pt x="751654" y="1060421"/>
                    <a:pt x="751654" y="1056571"/>
                  </a:cubicBezTo>
                  <a:cubicBezTo>
                    <a:pt x="750370" y="1051436"/>
                    <a:pt x="747803" y="1047586"/>
                    <a:pt x="746519" y="1042452"/>
                  </a:cubicBezTo>
                  <a:cubicBezTo>
                    <a:pt x="743951" y="1037317"/>
                    <a:pt x="743951" y="1032183"/>
                    <a:pt x="746519" y="1027049"/>
                  </a:cubicBezTo>
                  <a:cubicBezTo>
                    <a:pt x="749087" y="1021914"/>
                    <a:pt x="754222" y="1018064"/>
                    <a:pt x="758073" y="1014212"/>
                  </a:cubicBezTo>
                  <a:cubicBezTo>
                    <a:pt x="760641" y="1010362"/>
                    <a:pt x="764492" y="1009079"/>
                    <a:pt x="767060" y="1005228"/>
                  </a:cubicBezTo>
                  <a:cubicBezTo>
                    <a:pt x="768344" y="1002661"/>
                    <a:pt x="769627" y="1000093"/>
                    <a:pt x="769627" y="997526"/>
                  </a:cubicBezTo>
                  <a:cubicBezTo>
                    <a:pt x="769627" y="996243"/>
                    <a:pt x="768344" y="994959"/>
                    <a:pt x="768344" y="993676"/>
                  </a:cubicBezTo>
                  <a:cubicBezTo>
                    <a:pt x="768344" y="991108"/>
                    <a:pt x="768344" y="989825"/>
                    <a:pt x="768344" y="988541"/>
                  </a:cubicBezTo>
                  <a:cubicBezTo>
                    <a:pt x="768344" y="984691"/>
                    <a:pt x="767060" y="980840"/>
                    <a:pt x="768344" y="976989"/>
                  </a:cubicBezTo>
                  <a:cubicBezTo>
                    <a:pt x="768344" y="975705"/>
                    <a:pt x="770911" y="970571"/>
                    <a:pt x="772195" y="973138"/>
                  </a:cubicBezTo>
                  <a:cubicBezTo>
                    <a:pt x="773479" y="974422"/>
                    <a:pt x="773479" y="975705"/>
                    <a:pt x="772195" y="976989"/>
                  </a:cubicBezTo>
                  <a:cubicBezTo>
                    <a:pt x="772195" y="978273"/>
                    <a:pt x="772195" y="979556"/>
                    <a:pt x="773479" y="980840"/>
                  </a:cubicBezTo>
                  <a:cubicBezTo>
                    <a:pt x="774763" y="982123"/>
                    <a:pt x="777330" y="983407"/>
                    <a:pt x="778614" y="980840"/>
                  </a:cubicBezTo>
                  <a:lnTo>
                    <a:pt x="778614" y="974422"/>
                  </a:lnTo>
                  <a:cubicBezTo>
                    <a:pt x="778614" y="973138"/>
                    <a:pt x="778614" y="973138"/>
                    <a:pt x="778614" y="971855"/>
                  </a:cubicBezTo>
                  <a:cubicBezTo>
                    <a:pt x="779898" y="969288"/>
                    <a:pt x="782465" y="968004"/>
                    <a:pt x="783749" y="966720"/>
                  </a:cubicBezTo>
                  <a:cubicBezTo>
                    <a:pt x="783749" y="965437"/>
                    <a:pt x="783749" y="964153"/>
                    <a:pt x="785033" y="962870"/>
                  </a:cubicBezTo>
                  <a:cubicBezTo>
                    <a:pt x="785033" y="961586"/>
                    <a:pt x="786317" y="960303"/>
                    <a:pt x="787601" y="959019"/>
                  </a:cubicBezTo>
                  <a:cubicBezTo>
                    <a:pt x="791452" y="953885"/>
                    <a:pt x="795304" y="948750"/>
                    <a:pt x="799155" y="943616"/>
                  </a:cubicBezTo>
                  <a:cubicBezTo>
                    <a:pt x="801723" y="941049"/>
                    <a:pt x="808142" y="935915"/>
                    <a:pt x="811994" y="935915"/>
                  </a:cubicBezTo>
                  <a:cubicBezTo>
                    <a:pt x="814561" y="934631"/>
                    <a:pt x="817129" y="935915"/>
                    <a:pt x="818413" y="933347"/>
                  </a:cubicBezTo>
                  <a:cubicBezTo>
                    <a:pt x="819697" y="930781"/>
                    <a:pt x="818413" y="930781"/>
                    <a:pt x="820981" y="929497"/>
                  </a:cubicBezTo>
                  <a:cubicBezTo>
                    <a:pt x="822264" y="928213"/>
                    <a:pt x="829967" y="925646"/>
                    <a:pt x="829967" y="929497"/>
                  </a:cubicBezTo>
                  <a:cubicBezTo>
                    <a:pt x="828684" y="930781"/>
                    <a:pt x="827400" y="932064"/>
                    <a:pt x="826116" y="933347"/>
                  </a:cubicBezTo>
                  <a:cubicBezTo>
                    <a:pt x="824832" y="934631"/>
                    <a:pt x="823548" y="935915"/>
                    <a:pt x="824832" y="938482"/>
                  </a:cubicBezTo>
                  <a:cubicBezTo>
                    <a:pt x="826116" y="939765"/>
                    <a:pt x="828684" y="941049"/>
                    <a:pt x="831251" y="941049"/>
                  </a:cubicBezTo>
                  <a:cubicBezTo>
                    <a:pt x="833819" y="941049"/>
                    <a:pt x="835103" y="939765"/>
                    <a:pt x="837670" y="937198"/>
                  </a:cubicBezTo>
                  <a:cubicBezTo>
                    <a:pt x="838954" y="935915"/>
                    <a:pt x="838954" y="933347"/>
                    <a:pt x="841522" y="932064"/>
                  </a:cubicBezTo>
                  <a:lnTo>
                    <a:pt x="847941" y="928213"/>
                  </a:lnTo>
                  <a:cubicBezTo>
                    <a:pt x="850508" y="924363"/>
                    <a:pt x="838954" y="925646"/>
                    <a:pt x="837670" y="925646"/>
                  </a:cubicBezTo>
                  <a:lnTo>
                    <a:pt x="831251" y="917944"/>
                  </a:lnTo>
                  <a:cubicBezTo>
                    <a:pt x="829967" y="914094"/>
                    <a:pt x="831251" y="911527"/>
                    <a:pt x="828684" y="910243"/>
                  </a:cubicBezTo>
                  <a:cubicBezTo>
                    <a:pt x="827400" y="908960"/>
                    <a:pt x="826116" y="908960"/>
                    <a:pt x="826116" y="905109"/>
                  </a:cubicBezTo>
                  <a:cubicBezTo>
                    <a:pt x="827400" y="903825"/>
                    <a:pt x="828684" y="905109"/>
                    <a:pt x="829967" y="903825"/>
                  </a:cubicBezTo>
                  <a:cubicBezTo>
                    <a:pt x="831251" y="902541"/>
                    <a:pt x="832535" y="901258"/>
                    <a:pt x="831251" y="898691"/>
                  </a:cubicBezTo>
                  <a:cubicBezTo>
                    <a:pt x="829967" y="894840"/>
                    <a:pt x="826116" y="894840"/>
                    <a:pt x="822264" y="896124"/>
                  </a:cubicBezTo>
                  <a:lnTo>
                    <a:pt x="818413" y="897408"/>
                  </a:lnTo>
                  <a:cubicBezTo>
                    <a:pt x="815845" y="898691"/>
                    <a:pt x="811994" y="901258"/>
                    <a:pt x="809426" y="903825"/>
                  </a:cubicBezTo>
                  <a:cubicBezTo>
                    <a:pt x="809426" y="905109"/>
                    <a:pt x="808142" y="906393"/>
                    <a:pt x="806858" y="906393"/>
                  </a:cubicBezTo>
                  <a:lnTo>
                    <a:pt x="808142" y="901258"/>
                  </a:lnTo>
                  <a:cubicBezTo>
                    <a:pt x="809426" y="899975"/>
                    <a:pt x="810710" y="897408"/>
                    <a:pt x="811994" y="896124"/>
                  </a:cubicBezTo>
                  <a:cubicBezTo>
                    <a:pt x="815845" y="892273"/>
                    <a:pt x="819697" y="889706"/>
                    <a:pt x="823548" y="889706"/>
                  </a:cubicBezTo>
                  <a:cubicBezTo>
                    <a:pt x="826116" y="888422"/>
                    <a:pt x="827400" y="888422"/>
                    <a:pt x="828684" y="888422"/>
                  </a:cubicBezTo>
                  <a:cubicBezTo>
                    <a:pt x="833819" y="888422"/>
                    <a:pt x="837670" y="889706"/>
                    <a:pt x="841522" y="888422"/>
                  </a:cubicBezTo>
                  <a:cubicBezTo>
                    <a:pt x="845373" y="888422"/>
                    <a:pt x="849224" y="889706"/>
                    <a:pt x="851792" y="888422"/>
                  </a:cubicBezTo>
                  <a:cubicBezTo>
                    <a:pt x="853076" y="888422"/>
                    <a:pt x="854360" y="887139"/>
                    <a:pt x="855643" y="887139"/>
                  </a:cubicBezTo>
                  <a:cubicBezTo>
                    <a:pt x="858211" y="885855"/>
                    <a:pt x="859495" y="884572"/>
                    <a:pt x="860779" y="883288"/>
                  </a:cubicBezTo>
                  <a:cubicBezTo>
                    <a:pt x="863346" y="882005"/>
                    <a:pt x="862063" y="879437"/>
                    <a:pt x="863346" y="878154"/>
                  </a:cubicBezTo>
                  <a:cubicBezTo>
                    <a:pt x="867198" y="873020"/>
                    <a:pt x="873617" y="879437"/>
                    <a:pt x="877469" y="875587"/>
                  </a:cubicBezTo>
                  <a:cubicBezTo>
                    <a:pt x="880036" y="874303"/>
                    <a:pt x="881320" y="870452"/>
                    <a:pt x="881320" y="867885"/>
                  </a:cubicBezTo>
                  <a:cubicBezTo>
                    <a:pt x="880036" y="865318"/>
                    <a:pt x="878752" y="865318"/>
                    <a:pt x="877469" y="864034"/>
                  </a:cubicBezTo>
                  <a:cubicBezTo>
                    <a:pt x="874901" y="864034"/>
                    <a:pt x="874901" y="862751"/>
                    <a:pt x="872333" y="862751"/>
                  </a:cubicBezTo>
                  <a:cubicBezTo>
                    <a:pt x="871049" y="862751"/>
                    <a:pt x="869766" y="864034"/>
                    <a:pt x="868482" y="864034"/>
                  </a:cubicBezTo>
                  <a:cubicBezTo>
                    <a:pt x="864630" y="866602"/>
                    <a:pt x="862063" y="867885"/>
                    <a:pt x="859495" y="867885"/>
                  </a:cubicBezTo>
                  <a:cubicBezTo>
                    <a:pt x="856927" y="867885"/>
                    <a:pt x="854360" y="865318"/>
                    <a:pt x="855643" y="862751"/>
                  </a:cubicBezTo>
                  <a:cubicBezTo>
                    <a:pt x="855643" y="860184"/>
                    <a:pt x="859495" y="860184"/>
                    <a:pt x="860779" y="857617"/>
                  </a:cubicBezTo>
                  <a:cubicBezTo>
                    <a:pt x="863346" y="856333"/>
                    <a:pt x="864630" y="853766"/>
                    <a:pt x="862063" y="852482"/>
                  </a:cubicBezTo>
                  <a:cubicBezTo>
                    <a:pt x="859495" y="851199"/>
                    <a:pt x="855643" y="851199"/>
                    <a:pt x="853076" y="851199"/>
                  </a:cubicBezTo>
                  <a:cubicBezTo>
                    <a:pt x="847941" y="849915"/>
                    <a:pt x="849224" y="847348"/>
                    <a:pt x="849224" y="844781"/>
                  </a:cubicBezTo>
                  <a:cubicBezTo>
                    <a:pt x="849224" y="843497"/>
                    <a:pt x="849224" y="842214"/>
                    <a:pt x="849224" y="840930"/>
                  </a:cubicBezTo>
                  <a:cubicBezTo>
                    <a:pt x="847941" y="838363"/>
                    <a:pt x="846657" y="837079"/>
                    <a:pt x="846657" y="835796"/>
                  </a:cubicBezTo>
                  <a:cubicBezTo>
                    <a:pt x="846657" y="833229"/>
                    <a:pt x="846657" y="831945"/>
                    <a:pt x="845373" y="829378"/>
                  </a:cubicBezTo>
                  <a:cubicBezTo>
                    <a:pt x="845373" y="826811"/>
                    <a:pt x="845373" y="825527"/>
                    <a:pt x="844089" y="824244"/>
                  </a:cubicBezTo>
                  <a:cubicBezTo>
                    <a:pt x="842805" y="821676"/>
                    <a:pt x="838954" y="820393"/>
                    <a:pt x="837670" y="817826"/>
                  </a:cubicBezTo>
                  <a:cubicBezTo>
                    <a:pt x="835103" y="815258"/>
                    <a:pt x="836386" y="813975"/>
                    <a:pt x="835103" y="811408"/>
                  </a:cubicBezTo>
                  <a:cubicBezTo>
                    <a:pt x="833819" y="808841"/>
                    <a:pt x="831251" y="806273"/>
                    <a:pt x="828684" y="808841"/>
                  </a:cubicBezTo>
                  <a:cubicBezTo>
                    <a:pt x="827400" y="810125"/>
                    <a:pt x="826116" y="812692"/>
                    <a:pt x="824832" y="813975"/>
                  </a:cubicBezTo>
                  <a:cubicBezTo>
                    <a:pt x="822264" y="817826"/>
                    <a:pt x="817129" y="817826"/>
                    <a:pt x="813278" y="816542"/>
                  </a:cubicBezTo>
                  <a:cubicBezTo>
                    <a:pt x="809426" y="815258"/>
                    <a:pt x="806858" y="811408"/>
                    <a:pt x="805575" y="807557"/>
                  </a:cubicBezTo>
                  <a:cubicBezTo>
                    <a:pt x="805575" y="803707"/>
                    <a:pt x="805575" y="799856"/>
                    <a:pt x="801723" y="797289"/>
                  </a:cubicBezTo>
                  <a:cubicBezTo>
                    <a:pt x="799155" y="794722"/>
                    <a:pt x="795304" y="793438"/>
                    <a:pt x="791452" y="790870"/>
                  </a:cubicBezTo>
                  <a:cubicBezTo>
                    <a:pt x="790168" y="788304"/>
                    <a:pt x="787601" y="785737"/>
                    <a:pt x="785033" y="784453"/>
                  </a:cubicBezTo>
                  <a:cubicBezTo>
                    <a:pt x="781182" y="784453"/>
                    <a:pt x="777330" y="785737"/>
                    <a:pt x="774763" y="788304"/>
                  </a:cubicBezTo>
                  <a:cubicBezTo>
                    <a:pt x="772195" y="789587"/>
                    <a:pt x="768344" y="788304"/>
                    <a:pt x="765776" y="789587"/>
                  </a:cubicBezTo>
                  <a:cubicBezTo>
                    <a:pt x="760641" y="790870"/>
                    <a:pt x="764492" y="797289"/>
                    <a:pt x="763208" y="801139"/>
                  </a:cubicBezTo>
                  <a:cubicBezTo>
                    <a:pt x="763208" y="802423"/>
                    <a:pt x="761925" y="802423"/>
                    <a:pt x="761925" y="803707"/>
                  </a:cubicBezTo>
                  <a:cubicBezTo>
                    <a:pt x="763208" y="804990"/>
                    <a:pt x="763208" y="804990"/>
                    <a:pt x="764492" y="806273"/>
                  </a:cubicBezTo>
                  <a:lnTo>
                    <a:pt x="761925" y="811408"/>
                  </a:lnTo>
                  <a:lnTo>
                    <a:pt x="756789" y="816542"/>
                  </a:lnTo>
                  <a:cubicBezTo>
                    <a:pt x="756789" y="820393"/>
                    <a:pt x="761925" y="820393"/>
                    <a:pt x="763208" y="822960"/>
                  </a:cubicBezTo>
                  <a:cubicBezTo>
                    <a:pt x="764492" y="824244"/>
                    <a:pt x="764492" y="825527"/>
                    <a:pt x="765776" y="828094"/>
                  </a:cubicBezTo>
                  <a:lnTo>
                    <a:pt x="768344" y="834513"/>
                  </a:lnTo>
                  <a:lnTo>
                    <a:pt x="768344" y="842214"/>
                  </a:lnTo>
                  <a:lnTo>
                    <a:pt x="764492" y="848632"/>
                  </a:lnTo>
                  <a:cubicBezTo>
                    <a:pt x="761925" y="849915"/>
                    <a:pt x="759357" y="851199"/>
                    <a:pt x="758073" y="853766"/>
                  </a:cubicBezTo>
                  <a:cubicBezTo>
                    <a:pt x="755506" y="856333"/>
                    <a:pt x="756789" y="860184"/>
                    <a:pt x="758073" y="862751"/>
                  </a:cubicBezTo>
                  <a:lnTo>
                    <a:pt x="756789" y="870452"/>
                  </a:lnTo>
                  <a:cubicBezTo>
                    <a:pt x="754222" y="873020"/>
                    <a:pt x="750370" y="874303"/>
                    <a:pt x="747803" y="873020"/>
                  </a:cubicBezTo>
                  <a:cubicBezTo>
                    <a:pt x="745235" y="873020"/>
                    <a:pt x="742667" y="867885"/>
                    <a:pt x="742667" y="864034"/>
                  </a:cubicBezTo>
                  <a:lnTo>
                    <a:pt x="740100" y="851199"/>
                  </a:lnTo>
                  <a:cubicBezTo>
                    <a:pt x="737532" y="848632"/>
                    <a:pt x="732397" y="848632"/>
                    <a:pt x="728545" y="847348"/>
                  </a:cubicBezTo>
                  <a:cubicBezTo>
                    <a:pt x="723410" y="847348"/>
                    <a:pt x="719558" y="843497"/>
                    <a:pt x="715707" y="840930"/>
                  </a:cubicBezTo>
                  <a:cubicBezTo>
                    <a:pt x="713139" y="839646"/>
                    <a:pt x="711855" y="837079"/>
                    <a:pt x="709288" y="837079"/>
                  </a:cubicBezTo>
                  <a:cubicBezTo>
                    <a:pt x="706720" y="835796"/>
                    <a:pt x="702868" y="834513"/>
                    <a:pt x="700301" y="834513"/>
                  </a:cubicBezTo>
                  <a:cubicBezTo>
                    <a:pt x="693882" y="833229"/>
                    <a:pt x="686179" y="828094"/>
                    <a:pt x="684895" y="821676"/>
                  </a:cubicBezTo>
                  <a:cubicBezTo>
                    <a:pt x="683611" y="817826"/>
                    <a:pt x="681044" y="815258"/>
                    <a:pt x="678476" y="811408"/>
                  </a:cubicBezTo>
                  <a:lnTo>
                    <a:pt x="680631" y="800639"/>
                  </a:lnTo>
                  <a:lnTo>
                    <a:pt x="687957" y="791759"/>
                  </a:lnTo>
                  <a:cubicBezTo>
                    <a:pt x="690227" y="790498"/>
                    <a:pt x="691504" y="788209"/>
                    <a:pt x="693882" y="787020"/>
                  </a:cubicBezTo>
                  <a:lnTo>
                    <a:pt x="694661" y="785073"/>
                  </a:lnTo>
                  <a:lnTo>
                    <a:pt x="705598" y="776049"/>
                  </a:lnTo>
                  <a:cubicBezTo>
                    <a:pt x="707144" y="775327"/>
                    <a:pt x="708858" y="774755"/>
                    <a:pt x="710571" y="774184"/>
                  </a:cubicBezTo>
                  <a:cubicBezTo>
                    <a:pt x="711855" y="772901"/>
                    <a:pt x="713139" y="772901"/>
                    <a:pt x="713139" y="771617"/>
                  </a:cubicBezTo>
                  <a:lnTo>
                    <a:pt x="712768" y="770133"/>
                  </a:lnTo>
                  <a:lnTo>
                    <a:pt x="730336" y="755638"/>
                  </a:lnTo>
                  <a:lnTo>
                    <a:pt x="737532" y="752363"/>
                  </a:lnTo>
                  <a:cubicBezTo>
                    <a:pt x="741384" y="751080"/>
                    <a:pt x="743951" y="749796"/>
                    <a:pt x="747803" y="749796"/>
                  </a:cubicBezTo>
                  <a:cubicBezTo>
                    <a:pt x="750370" y="748513"/>
                    <a:pt x="751654" y="747229"/>
                    <a:pt x="750370" y="744662"/>
                  </a:cubicBezTo>
                  <a:cubicBezTo>
                    <a:pt x="750370" y="742664"/>
                    <a:pt x="749679" y="741703"/>
                    <a:pt x="748668" y="740513"/>
                  </a:cubicBezTo>
                  <a:cubicBezTo>
                    <a:pt x="757366" y="733451"/>
                    <a:pt x="766760" y="727349"/>
                    <a:pt x="777261" y="723065"/>
                  </a:cubicBezTo>
                  <a:cubicBezTo>
                    <a:pt x="783363" y="727046"/>
                    <a:pt x="787824" y="733460"/>
                    <a:pt x="788700" y="740472"/>
                  </a:cubicBezTo>
                  <a:cubicBezTo>
                    <a:pt x="789983" y="745610"/>
                    <a:pt x="787416" y="750749"/>
                    <a:pt x="786132" y="754603"/>
                  </a:cubicBezTo>
                  <a:lnTo>
                    <a:pt x="786132" y="762310"/>
                  </a:lnTo>
                  <a:cubicBezTo>
                    <a:pt x="786132" y="764880"/>
                    <a:pt x="783564" y="767449"/>
                    <a:pt x="780997" y="768734"/>
                  </a:cubicBezTo>
                  <a:lnTo>
                    <a:pt x="770726" y="770019"/>
                  </a:lnTo>
                  <a:cubicBezTo>
                    <a:pt x="768159" y="770019"/>
                    <a:pt x="764307" y="768734"/>
                    <a:pt x="761740" y="770019"/>
                  </a:cubicBezTo>
                  <a:cubicBezTo>
                    <a:pt x="759172" y="772588"/>
                    <a:pt x="761740" y="777727"/>
                    <a:pt x="764307" y="779011"/>
                  </a:cubicBezTo>
                  <a:cubicBezTo>
                    <a:pt x="769443" y="782865"/>
                    <a:pt x="778429" y="775157"/>
                    <a:pt x="783564" y="779011"/>
                  </a:cubicBezTo>
                  <a:cubicBezTo>
                    <a:pt x="786132" y="780296"/>
                    <a:pt x="787416" y="782865"/>
                    <a:pt x="789983" y="784150"/>
                  </a:cubicBezTo>
                  <a:cubicBezTo>
                    <a:pt x="792551" y="785434"/>
                    <a:pt x="793835" y="786719"/>
                    <a:pt x="795119" y="786719"/>
                  </a:cubicBezTo>
                  <a:cubicBezTo>
                    <a:pt x="798970" y="788004"/>
                    <a:pt x="801538" y="786719"/>
                    <a:pt x="805389" y="786719"/>
                  </a:cubicBezTo>
                  <a:cubicBezTo>
                    <a:pt x="807957" y="786719"/>
                    <a:pt x="811808" y="786719"/>
                    <a:pt x="814376" y="788004"/>
                  </a:cubicBezTo>
                  <a:cubicBezTo>
                    <a:pt x="815660" y="789288"/>
                    <a:pt x="818227" y="789288"/>
                    <a:pt x="820795" y="790573"/>
                  </a:cubicBezTo>
                  <a:cubicBezTo>
                    <a:pt x="822079" y="790573"/>
                    <a:pt x="823362" y="790573"/>
                    <a:pt x="823362" y="788004"/>
                  </a:cubicBezTo>
                  <a:lnTo>
                    <a:pt x="819511" y="785434"/>
                  </a:lnTo>
                  <a:cubicBezTo>
                    <a:pt x="816943" y="784150"/>
                    <a:pt x="809240" y="782865"/>
                    <a:pt x="810524" y="779011"/>
                  </a:cubicBezTo>
                  <a:cubicBezTo>
                    <a:pt x="811808" y="776442"/>
                    <a:pt x="814376" y="777727"/>
                    <a:pt x="816943" y="777727"/>
                  </a:cubicBezTo>
                  <a:cubicBezTo>
                    <a:pt x="819511" y="777727"/>
                    <a:pt x="820795" y="776442"/>
                    <a:pt x="823362" y="776442"/>
                  </a:cubicBezTo>
                  <a:cubicBezTo>
                    <a:pt x="825930" y="775157"/>
                    <a:pt x="828498" y="775157"/>
                    <a:pt x="828498" y="772588"/>
                  </a:cubicBezTo>
                  <a:lnTo>
                    <a:pt x="824646" y="766165"/>
                  </a:lnTo>
                  <a:cubicBezTo>
                    <a:pt x="820795" y="764880"/>
                    <a:pt x="814376" y="759741"/>
                    <a:pt x="816943" y="754603"/>
                  </a:cubicBezTo>
                  <a:cubicBezTo>
                    <a:pt x="818227" y="752033"/>
                    <a:pt x="825930" y="754603"/>
                    <a:pt x="828498" y="755887"/>
                  </a:cubicBezTo>
                  <a:cubicBezTo>
                    <a:pt x="831065" y="758456"/>
                    <a:pt x="834917" y="762310"/>
                    <a:pt x="838768" y="762310"/>
                  </a:cubicBezTo>
                  <a:cubicBezTo>
                    <a:pt x="843903" y="762310"/>
                    <a:pt x="847755" y="757172"/>
                    <a:pt x="849039" y="752033"/>
                  </a:cubicBezTo>
                  <a:cubicBezTo>
                    <a:pt x="851606" y="746895"/>
                    <a:pt x="847755" y="744325"/>
                    <a:pt x="842620" y="744325"/>
                  </a:cubicBezTo>
                  <a:cubicBezTo>
                    <a:pt x="838768" y="744325"/>
                    <a:pt x="834917" y="744325"/>
                    <a:pt x="829781" y="741756"/>
                  </a:cubicBezTo>
                  <a:cubicBezTo>
                    <a:pt x="825930" y="740472"/>
                    <a:pt x="822079" y="739187"/>
                    <a:pt x="818227" y="736618"/>
                  </a:cubicBezTo>
                  <a:cubicBezTo>
                    <a:pt x="814376" y="731479"/>
                    <a:pt x="813092" y="725055"/>
                    <a:pt x="810524" y="719917"/>
                  </a:cubicBezTo>
                  <a:cubicBezTo>
                    <a:pt x="809240" y="716063"/>
                    <a:pt x="806673" y="712209"/>
                    <a:pt x="804105" y="709640"/>
                  </a:cubicBezTo>
                  <a:lnTo>
                    <a:pt x="802798" y="709204"/>
                  </a:lnTo>
                  <a:cubicBezTo>
                    <a:pt x="825545" y="695518"/>
                    <a:pt x="850387" y="685600"/>
                    <a:pt x="876810" y="680004"/>
                  </a:cubicBezTo>
                  <a:cubicBezTo>
                    <a:pt x="879309" y="684035"/>
                    <a:pt x="881965" y="688245"/>
                    <a:pt x="879970" y="693231"/>
                  </a:cubicBezTo>
                  <a:cubicBezTo>
                    <a:pt x="878687" y="694514"/>
                    <a:pt x="877404" y="694514"/>
                    <a:pt x="877404" y="695797"/>
                  </a:cubicBezTo>
                  <a:cubicBezTo>
                    <a:pt x="877404" y="699646"/>
                    <a:pt x="879970" y="699646"/>
                    <a:pt x="882537" y="699646"/>
                  </a:cubicBezTo>
                  <a:cubicBezTo>
                    <a:pt x="887670" y="699646"/>
                    <a:pt x="895369" y="699646"/>
                    <a:pt x="897936" y="704778"/>
                  </a:cubicBezTo>
                  <a:lnTo>
                    <a:pt x="896652" y="709910"/>
                  </a:lnTo>
                  <a:lnTo>
                    <a:pt x="890236" y="708627"/>
                  </a:lnTo>
                  <a:lnTo>
                    <a:pt x="881254" y="709910"/>
                  </a:lnTo>
                  <a:cubicBezTo>
                    <a:pt x="879970" y="712476"/>
                    <a:pt x="882537" y="712476"/>
                    <a:pt x="883820" y="713760"/>
                  </a:cubicBezTo>
                  <a:cubicBezTo>
                    <a:pt x="885104" y="713760"/>
                    <a:pt x="885104" y="715042"/>
                    <a:pt x="886386" y="716326"/>
                  </a:cubicBezTo>
                  <a:cubicBezTo>
                    <a:pt x="886364" y="716333"/>
                    <a:pt x="881254" y="717612"/>
                    <a:pt x="881254" y="718892"/>
                  </a:cubicBezTo>
                  <a:cubicBezTo>
                    <a:pt x="881254" y="721458"/>
                    <a:pt x="883820" y="721458"/>
                    <a:pt x="883820" y="724024"/>
                  </a:cubicBezTo>
                  <a:cubicBezTo>
                    <a:pt x="885104" y="725307"/>
                    <a:pt x="882537" y="725307"/>
                    <a:pt x="882537" y="727873"/>
                  </a:cubicBezTo>
                  <a:lnTo>
                    <a:pt x="887670" y="730439"/>
                  </a:lnTo>
                  <a:cubicBezTo>
                    <a:pt x="895369" y="729156"/>
                    <a:pt x="887670" y="720175"/>
                    <a:pt x="890236" y="717608"/>
                  </a:cubicBezTo>
                  <a:cubicBezTo>
                    <a:pt x="894086" y="713760"/>
                    <a:pt x="905635" y="718892"/>
                    <a:pt x="908201" y="720175"/>
                  </a:cubicBezTo>
                  <a:cubicBezTo>
                    <a:pt x="912051" y="721458"/>
                    <a:pt x="912051" y="725307"/>
                    <a:pt x="909485" y="727873"/>
                  </a:cubicBezTo>
                  <a:cubicBezTo>
                    <a:pt x="906918" y="730439"/>
                    <a:pt x="904352" y="730439"/>
                    <a:pt x="903068" y="734288"/>
                  </a:cubicBezTo>
                  <a:cubicBezTo>
                    <a:pt x="903068" y="736854"/>
                    <a:pt x="901785" y="738138"/>
                    <a:pt x="900502" y="739420"/>
                  </a:cubicBezTo>
                  <a:cubicBezTo>
                    <a:pt x="896652" y="740704"/>
                    <a:pt x="894086" y="739420"/>
                    <a:pt x="891520" y="740704"/>
                  </a:cubicBezTo>
                  <a:cubicBezTo>
                    <a:pt x="890236" y="740704"/>
                    <a:pt x="888953" y="741987"/>
                    <a:pt x="887670" y="743270"/>
                  </a:cubicBezTo>
                  <a:cubicBezTo>
                    <a:pt x="887670" y="745836"/>
                    <a:pt x="888953" y="745836"/>
                    <a:pt x="890236" y="747119"/>
                  </a:cubicBezTo>
                  <a:lnTo>
                    <a:pt x="890236" y="753534"/>
                  </a:lnTo>
                  <a:cubicBezTo>
                    <a:pt x="888953" y="754817"/>
                    <a:pt x="888953" y="754817"/>
                    <a:pt x="888953" y="756100"/>
                  </a:cubicBezTo>
                  <a:cubicBezTo>
                    <a:pt x="888953" y="759949"/>
                    <a:pt x="892803" y="761232"/>
                    <a:pt x="894086" y="763798"/>
                  </a:cubicBezTo>
                  <a:cubicBezTo>
                    <a:pt x="894086" y="765081"/>
                    <a:pt x="894086" y="766364"/>
                    <a:pt x="895369" y="767647"/>
                  </a:cubicBezTo>
                  <a:cubicBezTo>
                    <a:pt x="896652" y="770213"/>
                    <a:pt x="896652" y="768930"/>
                    <a:pt x="899219" y="770213"/>
                  </a:cubicBezTo>
                  <a:cubicBezTo>
                    <a:pt x="900502" y="770213"/>
                    <a:pt x="901785" y="770213"/>
                    <a:pt x="900502" y="772780"/>
                  </a:cubicBezTo>
                  <a:cubicBezTo>
                    <a:pt x="900502" y="774062"/>
                    <a:pt x="897936" y="772780"/>
                    <a:pt x="897936" y="775346"/>
                  </a:cubicBezTo>
                  <a:lnTo>
                    <a:pt x="903068" y="780478"/>
                  </a:lnTo>
                  <a:lnTo>
                    <a:pt x="904352" y="784327"/>
                  </a:lnTo>
                  <a:cubicBezTo>
                    <a:pt x="905635" y="788176"/>
                    <a:pt x="908201" y="786893"/>
                    <a:pt x="910768" y="788176"/>
                  </a:cubicBezTo>
                  <a:cubicBezTo>
                    <a:pt x="913334" y="788176"/>
                    <a:pt x="913334" y="792025"/>
                    <a:pt x="914617" y="793308"/>
                  </a:cubicBezTo>
                  <a:cubicBezTo>
                    <a:pt x="915901" y="797157"/>
                    <a:pt x="918467" y="799723"/>
                    <a:pt x="922317" y="799723"/>
                  </a:cubicBezTo>
                  <a:cubicBezTo>
                    <a:pt x="924883" y="799723"/>
                    <a:pt x="924883" y="798440"/>
                    <a:pt x="927449" y="799723"/>
                  </a:cubicBezTo>
                  <a:cubicBezTo>
                    <a:pt x="930016" y="801006"/>
                    <a:pt x="931299" y="802289"/>
                    <a:pt x="933866" y="804855"/>
                  </a:cubicBezTo>
                  <a:lnTo>
                    <a:pt x="938999" y="807421"/>
                  </a:lnTo>
                  <a:cubicBezTo>
                    <a:pt x="940282" y="806139"/>
                    <a:pt x="940282" y="804855"/>
                    <a:pt x="940282" y="803573"/>
                  </a:cubicBezTo>
                  <a:cubicBezTo>
                    <a:pt x="941565" y="802289"/>
                    <a:pt x="942848" y="801006"/>
                    <a:pt x="944132" y="799723"/>
                  </a:cubicBezTo>
                  <a:lnTo>
                    <a:pt x="944132" y="794591"/>
                  </a:lnTo>
                  <a:cubicBezTo>
                    <a:pt x="945415" y="792025"/>
                    <a:pt x="946698" y="790742"/>
                    <a:pt x="946698" y="789459"/>
                  </a:cubicBezTo>
                  <a:cubicBezTo>
                    <a:pt x="947981" y="786893"/>
                    <a:pt x="947981" y="785610"/>
                    <a:pt x="949264" y="783044"/>
                  </a:cubicBezTo>
                  <a:cubicBezTo>
                    <a:pt x="950548" y="781761"/>
                    <a:pt x="950548" y="781761"/>
                    <a:pt x="951831" y="779194"/>
                  </a:cubicBezTo>
                  <a:cubicBezTo>
                    <a:pt x="951831" y="776628"/>
                    <a:pt x="949264" y="772780"/>
                    <a:pt x="950548" y="770213"/>
                  </a:cubicBezTo>
                  <a:lnTo>
                    <a:pt x="958247" y="766364"/>
                  </a:lnTo>
                  <a:lnTo>
                    <a:pt x="962097" y="762515"/>
                  </a:lnTo>
                  <a:cubicBezTo>
                    <a:pt x="964663" y="758666"/>
                    <a:pt x="964663" y="757383"/>
                    <a:pt x="968513" y="757383"/>
                  </a:cubicBezTo>
                  <a:cubicBezTo>
                    <a:pt x="972363" y="757383"/>
                    <a:pt x="974929" y="758666"/>
                    <a:pt x="978779" y="756100"/>
                  </a:cubicBezTo>
                  <a:cubicBezTo>
                    <a:pt x="982628" y="754817"/>
                    <a:pt x="983911" y="752251"/>
                    <a:pt x="986478" y="749685"/>
                  </a:cubicBezTo>
                  <a:cubicBezTo>
                    <a:pt x="986478" y="748402"/>
                    <a:pt x="987761" y="747119"/>
                    <a:pt x="989044" y="745836"/>
                  </a:cubicBezTo>
                  <a:cubicBezTo>
                    <a:pt x="990328" y="744553"/>
                    <a:pt x="992894" y="744553"/>
                    <a:pt x="995460" y="743270"/>
                  </a:cubicBezTo>
                  <a:cubicBezTo>
                    <a:pt x="996744" y="741987"/>
                    <a:pt x="996744" y="740704"/>
                    <a:pt x="998027" y="739420"/>
                  </a:cubicBezTo>
                  <a:cubicBezTo>
                    <a:pt x="1000593" y="735572"/>
                    <a:pt x="1007010" y="736854"/>
                    <a:pt x="1010859" y="736854"/>
                  </a:cubicBezTo>
                  <a:cubicBezTo>
                    <a:pt x="1017275" y="736854"/>
                    <a:pt x="1023691" y="734288"/>
                    <a:pt x="1030107" y="731722"/>
                  </a:cubicBezTo>
                  <a:lnTo>
                    <a:pt x="1036523" y="726590"/>
                  </a:lnTo>
                  <a:cubicBezTo>
                    <a:pt x="1037807" y="725307"/>
                    <a:pt x="1040373" y="725307"/>
                    <a:pt x="1042940" y="724024"/>
                  </a:cubicBezTo>
                  <a:cubicBezTo>
                    <a:pt x="1045506" y="722741"/>
                    <a:pt x="1048072" y="721458"/>
                    <a:pt x="1046790" y="718892"/>
                  </a:cubicBezTo>
                  <a:cubicBezTo>
                    <a:pt x="1045506" y="715042"/>
                    <a:pt x="1039090" y="717608"/>
                    <a:pt x="1036523" y="716326"/>
                  </a:cubicBezTo>
                  <a:cubicBezTo>
                    <a:pt x="1033957" y="713760"/>
                    <a:pt x="1035240" y="711194"/>
                    <a:pt x="1033957" y="708627"/>
                  </a:cubicBezTo>
                  <a:lnTo>
                    <a:pt x="1028824" y="708627"/>
                  </a:lnTo>
                  <a:cubicBezTo>
                    <a:pt x="1028824" y="706061"/>
                    <a:pt x="1028824" y="706061"/>
                    <a:pt x="1027541" y="704778"/>
                  </a:cubicBezTo>
                  <a:cubicBezTo>
                    <a:pt x="1027541" y="703495"/>
                    <a:pt x="1024975" y="703495"/>
                    <a:pt x="1024975" y="702212"/>
                  </a:cubicBezTo>
                  <a:lnTo>
                    <a:pt x="1028824" y="699646"/>
                  </a:lnTo>
                  <a:lnTo>
                    <a:pt x="1039090" y="702212"/>
                  </a:lnTo>
                  <a:cubicBezTo>
                    <a:pt x="1040373" y="703495"/>
                    <a:pt x="1042940" y="704778"/>
                    <a:pt x="1044223" y="707344"/>
                  </a:cubicBezTo>
                  <a:cubicBezTo>
                    <a:pt x="1045506" y="708627"/>
                    <a:pt x="1046790" y="709910"/>
                    <a:pt x="1048072" y="711194"/>
                  </a:cubicBezTo>
                  <a:cubicBezTo>
                    <a:pt x="1050639" y="711194"/>
                    <a:pt x="1051922" y="711194"/>
                    <a:pt x="1051922" y="708627"/>
                  </a:cubicBezTo>
                  <a:cubicBezTo>
                    <a:pt x="1051922" y="707344"/>
                    <a:pt x="1050639" y="706061"/>
                    <a:pt x="1049356" y="704778"/>
                  </a:cubicBezTo>
                  <a:cubicBezTo>
                    <a:pt x="1049356" y="702212"/>
                    <a:pt x="1049356" y="700929"/>
                    <a:pt x="1050639" y="699646"/>
                  </a:cubicBezTo>
                  <a:cubicBezTo>
                    <a:pt x="1051922" y="697080"/>
                    <a:pt x="1051922" y="693231"/>
                    <a:pt x="1049356" y="690665"/>
                  </a:cubicBezTo>
                  <a:cubicBezTo>
                    <a:pt x="1048072" y="689382"/>
                    <a:pt x="1045506" y="689382"/>
                    <a:pt x="1046790" y="686816"/>
                  </a:cubicBezTo>
                  <a:lnTo>
                    <a:pt x="1058338" y="686816"/>
                  </a:lnTo>
                  <a:cubicBezTo>
                    <a:pt x="1059622" y="685533"/>
                    <a:pt x="1060905" y="685533"/>
                    <a:pt x="1060905" y="684250"/>
                  </a:cubicBezTo>
                  <a:cubicBezTo>
                    <a:pt x="1060905" y="681684"/>
                    <a:pt x="1059622" y="681684"/>
                    <a:pt x="1057055" y="681684"/>
                  </a:cubicBezTo>
                  <a:lnTo>
                    <a:pt x="1050639" y="677834"/>
                  </a:lnTo>
                  <a:cubicBezTo>
                    <a:pt x="1050158" y="673986"/>
                    <a:pt x="1056413" y="673986"/>
                    <a:pt x="1058338" y="673986"/>
                  </a:cubicBezTo>
                  <a:cubicBezTo>
                    <a:pt x="1059622" y="673986"/>
                    <a:pt x="1064754" y="676552"/>
                    <a:pt x="1064754" y="673986"/>
                  </a:cubicBezTo>
                  <a:cubicBezTo>
                    <a:pt x="1066038" y="671420"/>
                    <a:pt x="1058338" y="671420"/>
                    <a:pt x="1059622" y="667570"/>
                  </a:cubicBezTo>
                  <a:close/>
                  <a:moveTo>
                    <a:pt x="1065059" y="644628"/>
                  </a:moveTo>
                  <a:lnTo>
                    <a:pt x="1073323" y="646832"/>
                  </a:lnTo>
                  <a:lnTo>
                    <a:pt x="1068398" y="646336"/>
                  </a:lnTo>
                  <a:cubicBezTo>
                    <a:pt x="1068086" y="645834"/>
                    <a:pt x="1067679" y="645759"/>
                    <a:pt x="1067321" y="645759"/>
                  </a:cubicBezTo>
                  <a:close/>
                  <a:moveTo>
                    <a:pt x="999379" y="639378"/>
                  </a:moveTo>
                  <a:cubicBezTo>
                    <a:pt x="998987" y="639378"/>
                    <a:pt x="998595" y="639379"/>
                    <a:pt x="998203" y="639497"/>
                  </a:cubicBezTo>
                  <a:cubicBezTo>
                    <a:pt x="971578" y="639464"/>
                    <a:pt x="945496" y="641848"/>
                    <a:pt x="920379" y="647342"/>
                  </a:cubicBezTo>
                  <a:cubicBezTo>
                    <a:pt x="899534" y="649819"/>
                    <a:pt x="879362" y="654810"/>
                    <a:pt x="860441" y="663193"/>
                  </a:cubicBezTo>
                  <a:lnTo>
                    <a:pt x="858109" y="661862"/>
                  </a:lnTo>
                  <a:lnTo>
                    <a:pt x="842130" y="668877"/>
                  </a:lnTo>
                  <a:cubicBezTo>
                    <a:pt x="825571" y="673228"/>
                    <a:pt x="809995" y="679980"/>
                    <a:pt x="795747" y="689240"/>
                  </a:cubicBezTo>
                  <a:lnTo>
                    <a:pt x="781029" y="695701"/>
                  </a:lnTo>
                  <a:lnTo>
                    <a:pt x="782872" y="696228"/>
                  </a:lnTo>
                  <a:cubicBezTo>
                    <a:pt x="768415" y="701624"/>
                    <a:pt x="755385" y="709559"/>
                    <a:pt x="742864" y="718195"/>
                  </a:cubicBezTo>
                  <a:lnTo>
                    <a:pt x="742177" y="718057"/>
                  </a:lnTo>
                  <a:lnTo>
                    <a:pt x="737755" y="721706"/>
                  </a:lnTo>
                  <a:lnTo>
                    <a:pt x="738227" y="722021"/>
                  </a:lnTo>
                  <a:lnTo>
                    <a:pt x="724694" y="733187"/>
                  </a:lnTo>
                  <a:lnTo>
                    <a:pt x="724694" y="733110"/>
                  </a:lnTo>
                  <a:cubicBezTo>
                    <a:pt x="725977" y="731826"/>
                    <a:pt x="725977" y="730543"/>
                    <a:pt x="727261" y="730543"/>
                  </a:cubicBezTo>
                  <a:lnTo>
                    <a:pt x="727400" y="730249"/>
                  </a:lnTo>
                  <a:lnTo>
                    <a:pt x="713121" y="742030"/>
                  </a:lnTo>
                  <a:cubicBezTo>
                    <a:pt x="713116" y="742059"/>
                    <a:pt x="713127" y="742078"/>
                    <a:pt x="713139" y="742095"/>
                  </a:cubicBezTo>
                  <a:lnTo>
                    <a:pt x="713482" y="742438"/>
                  </a:lnTo>
                  <a:cubicBezTo>
                    <a:pt x="608487" y="824638"/>
                    <a:pt x="542179" y="952865"/>
                    <a:pt x="542179" y="1096578"/>
                  </a:cubicBezTo>
                  <a:cubicBezTo>
                    <a:pt x="542179" y="1349083"/>
                    <a:pt x="746874" y="1553778"/>
                    <a:pt x="999379" y="1553778"/>
                  </a:cubicBezTo>
                  <a:cubicBezTo>
                    <a:pt x="1162388" y="1553778"/>
                    <a:pt x="1305472" y="1468470"/>
                    <a:pt x="1385427" y="1339435"/>
                  </a:cubicBezTo>
                  <a:lnTo>
                    <a:pt x="1785689" y="1613205"/>
                  </a:lnTo>
                  <a:lnTo>
                    <a:pt x="1785689" y="1387583"/>
                  </a:lnTo>
                  <a:lnTo>
                    <a:pt x="2115709" y="1387583"/>
                  </a:lnTo>
                  <a:lnTo>
                    <a:pt x="2115709" y="1194193"/>
                  </a:lnTo>
                  <a:lnTo>
                    <a:pt x="1785689" y="1194193"/>
                  </a:lnTo>
                  <a:lnTo>
                    <a:pt x="1785689" y="968571"/>
                  </a:lnTo>
                  <a:lnTo>
                    <a:pt x="1442834" y="1203076"/>
                  </a:lnTo>
                  <a:cubicBezTo>
                    <a:pt x="1452238" y="1169106"/>
                    <a:pt x="1456579" y="1133349"/>
                    <a:pt x="1456579" y="1096578"/>
                  </a:cubicBezTo>
                  <a:cubicBezTo>
                    <a:pt x="1456579" y="1012997"/>
                    <a:pt x="1434151" y="934654"/>
                    <a:pt x="1393297" y="868220"/>
                  </a:cubicBezTo>
                  <a:cubicBezTo>
                    <a:pt x="1393106" y="867646"/>
                    <a:pt x="1392810" y="867132"/>
                    <a:pt x="1392448" y="866656"/>
                  </a:cubicBezTo>
                  <a:cubicBezTo>
                    <a:pt x="1377647" y="837655"/>
                    <a:pt x="1358306" y="811522"/>
                    <a:pt x="1335388" y="788705"/>
                  </a:cubicBezTo>
                  <a:cubicBezTo>
                    <a:pt x="1335328" y="788596"/>
                    <a:pt x="1335246" y="788507"/>
                    <a:pt x="1335157" y="788425"/>
                  </a:cubicBezTo>
                  <a:cubicBezTo>
                    <a:pt x="1296816" y="744516"/>
                    <a:pt x="1249305" y="709147"/>
                    <a:pt x="1195456" y="685139"/>
                  </a:cubicBezTo>
                  <a:cubicBezTo>
                    <a:pt x="1168878" y="668452"/>
                    <a:pt x="1138908" y="657520"/>
                    <a:pt x="1106711" y="653382"/>
                  </a:cubicBezTo>
                  <a:cubicBezTo>
                    <a:pt x="1100591" y="650570"/>
                    <a:pt x="1094113" y="649156"/>
                    <a:pt x="1087511" y="648263"/>
                  </a:cubicBezTo>
                  <a:cubicBezTo>
                    <a:pt x="1079872" y="644257"/>
                    <a:pt x="1071681" y="642933"/>
                    <a:pt x="1063417" y="641838"/>
                  </a:cubicBezTo>
                  <a:lnTo>
                    <a:pt x="1063471" y="641909"/>
                  </a:lnTo>
                  <a:cubicBezTo>
                    <a:pt x="1064754" y="643193"/>
                    <a:pt x="1063471" y="643193"/>
                    <a:pt x="1064754" y="644475"/>
                  </a:cubicBezTo>
                  <a:cubicBezTo>
                    <a:pt x="1064754" y="644540"/>
                    <a:pt x="1064758" y="644601"/>
                    <a:pt x="1065059" y="644628"/>
                  </a:cubicBezTo>
                  <a:lnTo>
                    <a:pt x="999645" y="639378"/>
                  </a:lnTo>
                  <a:lnTo>
                    <a:pt x="999499" y="639390"/>
                  </a:lnTo>
                  <a:close/>
                  <a:moveTo>
                    <a:pt x="2420008" y="517582"/>
                  </a:moveTo>
                  <a:lnTo>
                    <a:pt x="2420242" y="517582"/>
                  </a:lnTo>
                  <a:lnTo>
                    <a:pt x="2420008" y="518739"/>
                  </a:lnTo>
                  <a:close/>
                  <a:moveTo>
                    <a:pt x="311517" y="382148"/>
                  </a:moveTo>
                  <a:lnTo>
                    <a:pt x="956736" y="425169"/>
                  </a:lnTo>
                  <a:lnTo>
                    <a:pt x="956736" y="424822"/>
                  </a:lnTo>
                  <a:lnTo>
                    <a:pt x="2419502" y="521246"/>
                  </a:lnTo>
                  <a:lnTo>
                    <a:pt x="2419041" y="523529"/>
                  </a:lnTo>
                  <a:cubicBezTo>
                    <a:pt x="2457627" y="527513"/>
                    <a:pt x="2492277" y="546825"/>
                    <a:pt x="2489692" y="585709"/>
                  </a:cubicBezTo>
                  <a:lnTo>
                    <a:pt x="2488840" y="670935"/>
                  </a:lnTo>
                  <a:lnTo>
                    <a:pt x="2487534" y="671173"/>
                  </a:lnTo>
                  <a:lnTo>
                    <a:pt x="2421648" y="1671080"/>
                  </a:lnTo>
                  <a:cubicBezTo>
                    <a:pt x="2408325" y="1707656"/>
                    <a:pt x="2386877" y="1726260"/>
                    <a:pt x="2359534" y="1724079"/>
                  </a:cubicBezTo>
                  <a:lnTo>
                    <a:pt x="145534" y="1736658"/>
                  </a:lnTo>
                  <a:cubicBezTo>
                    <a:pt x="174077" y="1308592"/>
                    <a:pt x="202622" y="880528"/>
                    <a:pt x="231160" y="452462"/>
                  </a:cubicBezTo>
                  <a:cubicBezTo>
                    <a:pt x="233930" y="410856"/>
                    <a:pt x="269910" y="379374"/>
                    <a:pt x="311517" y="382148"/>
                  </a:cubicBezTo>
                  <a:close/>
                  <a:moveTo>
                    <a:pt x="1300253" y="0"/>
                  </a:moveTo>
                  <a:lnTo>
                    <a:pt x="2203833" y="0"/>
                  </a:lnTo>
                  <a:cubicBezTo>
                    <a:pt x="2251087" y="0"/>
                    <a:pt x="2290930" y="31720"/>
                    <a:pt x="2301543" y="75508"/>
                  </a:cubicBezTo>
                  <a:lnTo>
                    <a:pt x="2302960" y="75508"/>
                  </a:lnTo>
                  <a:lnTo>
                    <a:pt x="2302960" y="153340"/>
                  </a:lnTo>
                  <a:cubicBezTo>
                    <a:pt x="2302960" y="185560"/>
                    <a:pt x="2322135" y="213304"/>
                    <a:pt x="2349730" y="225539"/>
                  </a:cubicBezTo>
                  <a:lnTo>
                    <a:pt x="2352691" y="225539"/>
                  </a:lnTo>
                  <a:cubicBezTo>
                    <a:pt x="2390137" y="225539"/>
                    <a:pt x="2420490" y="255892"/>
                    <a:pt x="2420490" y="293337"/>
                  </a:cubicBezTo>
                  <a:lnTo>
                    <a:pt x="2420490" y="478155"/>
                  </a:lnTo>
                  <a:lnTo>
                    <a:pt x="2420008" y="478155"/>
                  </a:lnTo>
                  <a:lnTo>
                    <a:pt x="2418385" y="478044"/>
                  </a:lnTo>
                  <a:lnTo>
                    <a:pt x="2418385" y="477489"/>
                  </a:lnTo>
                  <a:lnTo>
                    <a:pt x="955892" y="376628"/>
                  </a:lnTo>
                  <a:lnTo>
                    <a:pt x="995936" y="380425"/>
                  </a:lnTo>
                  <a:lnTo>
                    <a:pt x="953777" y="377532"/>
                  </a:lnTo>
                  <a:lnTo>
                    <a:pt x="953797" y="377981"/>
                  </a:lnTo>
                  <a:lnTo>
                    <a:pt x="265757" y="332107"/>
                  </a:lnTo>
                  <a:cubicBezTo>
                    <a:pt x="221689" y="329168"/>
                    <a:pt x="183585" y="362511"/>
                    <a:pt x="180646" y="406578"/>
                  </a:cubicBezTo>
                  <a:lnTo>
                    <a:pt x="92708" y="1725472"/>
                  </a:lnTo>
                  <a:lnTo>
                    <a:pt x="75504" y="1725472"/>
                  </a:lnTo>
                  <a:cubicBezTo>
                    <a:pt x="33806" y="1725472"/>
                    <a:pt x="0" y="1691667"/>
                    <a:pt x="0" y="1649970"/>
                  </a:cubicBezTo>
                  <a:lnTo>
                    <a:pt x="4" y="307622"/>
                  </a:lnTo>
                  <a:cubicBezTo>
                    <a:pt x="0" y="265921"/>
                    <a:pt x="33806" y="232116"/>
                    <a:pt x="75504" y="232116"/>
                  </a:cubicBezTo>
                  <a:lnTo>
                    <a:pt x="996290" y="232116"/>
                  </a:lnTo>
                  <a:lnTo>
                    <a:pt x="997952" y="231729"/>
                  </a:lnTo>
                  <a:lnTo>
                    <a:pt x="1163695" y="231729"/>
                  </a:lnTo>
                  <a:cubicBezTo>
                    <a:pt x="1186126" y="231729"/>
                    <a:pt x="1204309" y="213546"/>
                    <a:pt x="1204309" y="191115"/>
                  </a:cubicBezTo>
                  <a:lnTo>
                    <a:pt x="1204309" y="71429"/>
                  </a:lnTo>
                  <a:cubicBezTo>
                    <a:pt x="1215773" y="29676"/>
                    <a:pt x="1254548" y="0"/>
                    <a:pt x="13002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12" tIns="46607" rIns="46607" bIns="93212" anchor="b"/>
            <a:lstStyle/>
            <a:p>
              <a:pPr algn="ctr" defTabSz="931545" eaLnBrk="1" hangingPunct="1">
                <a:defRPr/>
              </a:pPr>
              <a:endParaRPr lang="en-US" spc="-5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888" name="TextBox 10"/>
            <p:cNvSpPr txBox="1">
              <a:spLocks noChangeArrowheads="1"/>
            </p:cNvSpPr>
            <p:nvPr/>
          </p:nvSpPr>
          <p:spPr bwMode="auto">
            <a:xfrm>
              <a:off x="871017" y="1534254"/>
              <a:ext cx="1107996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100" name="组合 4099"/>
          <p:cNvGrpSpPr/>
          <p:nvPr/>
        </p:nvGrpSpPr>
        <p:grpSpPr bwMode="auto">
          <a:xfrm>
            <a:off x="3332163" y="1179513"/>
            <a:ext cx="2473325" cy="1254125"/>
            <a:chOff x="3332191" y="1179197"/>
            <a:chExt cx="2472708" cy="1255207"/>
          </a:xfrm>
        </p:grpSpPr>
        <p:sp>
          <p:nvSpPr>
            <p:cNvPr id="53" name="矩形 52"/>
            <p:cNvSpPr/>
            <p:nvPr/>
          </p:nvSpPr>
          <p:spPr>
            <a:xfrm>
              <a:off x="3332191" y="1179197"/>
              <a:ext cx="2472708" cy="1255207"/>
            </a:xfrm>
            <a:prstGeom prst="rect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9" name="Group 15"/>
            <p:cNvGrpSpPr/>
            <p:nvPr>
              <p:custDataLst>
                <p:tags r:id="rId3"/>
              </p:custDataLst>
            </p:nvPr>
          </p:nvGrpSpPr>
          <p:grpSpPr>
            <a:xfrm flipH="1">
              <a:off x="4958702" y="1299419"/>
              <a:ext cx="666169" cy="413359"/>
              <a:chOff x="8369398" y="1851899"/>
              <a:chExt cx="756170" cy="516124"/>
            </a:xfrm>
            <a:solidFill>
              <a:schemeClr val="bg1"/>
            </a:solidFill>
          </p:grpSpPr>
          <p:sp>
            <p:nvSpPr>
              <p:cNvPr id="40" name="Rounded Rectangle 307"/>
              <p:cNvSpPr/>
              <p:nvPr/>
            </p:nvSpPr>
            <p:spPr bwMode="auto">
              <a:xfrm rot="1411326">
                <a:off x="8816737" y="2158724"/>
                <a:ext cx="308831" cy="209299"/>
              </a:xfrm>
              <a:custGeom>
                <a:avLst/>
                <a:gdLst/>
                <a:ahLst/>
                <a:cxnLst/>
                <a:rect l="l" t="t" r="r" b="b"/>
                <a:pathLst>
                  <a:path w="308831" h="209299">
                    <a:moveTo>
                      <a:pt x="6932" y="0"/>
                    </a:moveTo>
                    <a:lnTo>
                      <a:pt x="62731" y="5004"/>
                    </a:lnTo>
                    <a:cubicBezTo>
                      <a:pt x="73820" y="4021"/>
                      <a:pt x="83149" y="12888"/>
                      <a:pt x="85697" y="24169"/>
                    </a:cubicBezTo>
                    <a:lnTo>
                      <a:pt x="85452" y="33272"/>
                    </a:lnTo>
                    <a:cubicBezTo>
                      <a:pt x="85954" y="32635"/>
                      <a:pt x="86485" y="32624"/>
                      <a:pt x="87017" y="32624"/>
                    </a:cubicBezTo>
                    <a:lnTo>
                      <a:pt x="270296" y="32624"/>
                    </a:lnTo>
                    <a:cubicBezTo>
                      <a:pt x="291578" y="32624"/>
                      <a:pt x="308831" y="49877"/>
                      <a:pt x="308831" y="71159"/>
                    </a:cubicBezTo>
                    <a:lnTo>
                      <a:pt x="308831" y="146071"/>
                    </a:lnTo>
                    <a:cubicBezTo>
                      <a:pt x="308831" y="167353"/>
                      <a:pt x="291578" y="184606"/>
                      <a:pt x="270296" y="184606"/>
                    </a:cubicBezTo>
                    <a:lnTo>
                      <a:pt x="87017" y="184606"/>
                    </a:lnTo>
                    <a:lnTo>
                      <a:pt x="81440" y="182295"/>
                    </a:lnTo>
                    <a:lnTo>
                      <a:pt x="81438" y="182371"/>
                    </a:lnTo>
                    <a:cubicBezTo>
                      <a:pt x="82699" y="196467"/>
                      <a:pt x="69880" y="211811"/>
                      <a:pt x="54012" y="208953"/>
                    </a:cubicBezTo>
                    <a:lnTo>
                      <a:pt x="0" y="208054"/>
                    </a:lnTo>
                    <a:cubicBezTo>
                      <a:pt x="11559" y="178614"/>
                      <a:pt x="19544" y="140965"/>
                      <a:pt x="23432" y="105100"/>
                    </a:cubicBezTo>
                    <a:cubicBezTo>
                      <a:pt x="23221" y="71020"/>
                      <a:pt x="17126" y="34619"/>
                      <a:pt x="69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247"/>
              <p:cNvSpPr/>
              <p:nvPr/>
            </p:nvSpPr>
            <p:spPr bwMode="auto">
              <a:xfrm>
                <a:off x="8369398" y="1851899"/>
                <a:ext cx="482863" cy="482862"/>
              </a:xfrm>
              <a:custGeom>
                <a:avLst/>
                <a:gdLst/>
                <a:ahLst/>
                <a:cxnLst/>
                <a:rect l="l" t="t" r="r" b="b"/>
                <a:pathLst>
                  <a:path w="573170" h="573170">
                    <a:moveTo>
                      <a:pt x="286585" y="47056"/>
                    </a:moveTo>
                    <a:cubicBezTo>
                      <a:pt x="154297" y="47056"/>
                      <a:pt x="47056" y="154297"/>
                      <a:pt x="47056" y="286585"/>
                    </a:cubicBezTo>
                    <a:cubicBezTo>
                      <a:pt x="47056" y="418873"/>
                      <a:pt x="154297" y="526114"/>
                      <a:pt x="286585" y="526114"/>
                    </a:cubicBezTo>
                    <a:cubicBezTo>
                      <a:pt x="418873" y="526114"/>
                      <a:pt x="526114" y="418873"/>
                      <a:pt x="526114" y="286585"/>
                    </a:cubicBezTo>
                    <a:cubicBezTo>
                      <a:pt x="526114" y="154297"/>
                      <a:pt x="418873" y="47056"/>
                      <a:pt x="286585" y="47056"/>
                    </a:cubicBezTo>
                    <a:close/>
                    <a:moveTo>
                      <a:pt x="286585" y="0"/>
                    </a:moveTo>
                    <a:cubicBezTo>
                      <a:pt x="444862" y="0"/>
                      <a:pt x="573170" y="128308"/>
                      <a:pt x="573170" y="286585"/>
                    </a:cubicBezTo>
                    <a:cubicBezTo>
                      <a:pt x="573170" y="444862"/>
                      <a:pt x="444862" y="573170"/>
                      <a:pt x="286585" y="573170"/>
                    </a:cubicBezTo>
                    <a:cubicBezTo>
                      <a:pt x="128308" y="573170"/>
                      <a:pt x="0" y="444862"/>
                      <a:pt x="0" y="286585"/>
                    </a:cubicBezTo>
                    <a:cubicBezTo>
                      <a:pt x="0" y="128308"/>
                      <a:pt x="128308" y="0"/>
                      <a:pt x="28658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Freeform 257"/>
              <p:cNvSpPr/>
              <p:nvPr/>
            </p:nvSpPr>
            <p:spPr bwMode="black">
              <a:xfrm>
                <a:off x="8477432" y="1892946"/>
                <a:ext cx="187186" cy="125197"/>
              </a:xfrm>
              <a:custGeom>
                <a:avLst/>
                <a:gdLst>
                  <a:gd name="T0" fmla="*/ 39 w 42"/>
                  <a:gd name="T1" fmla="*/ 7 h 28"/>
                  <a:gd name="T2" fmla="*/ 39 w 42"/>
                  <a:gd name="T3" fmla="*/ 7 h 28"/>
                  <a:gd name="T4" fmla="*/ 1 w 42"/>
                  <a:gd name="T5" fmla="*/ 20 h 28"/>
                  <a:gd name="T6" fmla="*/ 3 w 42"/>
                  <a:gd name="T7" fmla="*/ 27 h 28"/>
                  <a:gd name="T8" fmla="*/ 10 w 42"/>
                  <a:gd name="T9" fmla="*/ 24 h 28"/>
                  <a:gd name="T10" fmla="*/ 35 w 42"/>
                  <a:gd name="T11" fmla="*/ 15 h 28"/>
                  <a:gd name="T12" fmla="*/ 41 w 42"/>
                  <a:gd name="T13" fmla="*/ 13 h 28"/>
                  <a:gd name="T14" fmla="*/ 39 w 42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8">
                    <a:moveTo>
                      <a:pt x="39" y="7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25" y="0"/>
                      <a:pt x="8" y="6"/>
                      <a:pt x="1" y="20"/>
                    </a:cubicBezTo>
                    <a:cubicBezTo>
                      <a:pt x="0" y="23"/>
                      <a:pt x="1" y="25"/>
                      <a:pt x="3" y="27"/>
                    </a:cubicBezTo>
                    <a:cubicBezTo>
                      <a:pt x="6" y="28"/>
                      <a:pt x="8" y="27"/>
                      <a:pt x="10" y="24"/>
                    </a:cubicBezTo>
                    <a:cubicBezTo>
                      <a:pt x="14" y="15"/>
                      <a:pt x="25" y="11"/>
                      <a:pt x="35" y="15"/>
                    </a:cubicBezTo>
                    <a:cubicBezTo>
                      <a:pt x="37" y="16"/>
                      <a:pt x="40" y="15"/>
                      <a:pt x="41" y="13"/>
                    </a:cubicBezTo>
                    <a:cubicBezTo>
                      <a:pt x="42" y="11"/>
                      <a:pt x="41" y="8"/>
                      <a:pt x="39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93247" tIns="46623" rIns="93247" bIns="46623"/>
              <a:lstStyle/>
              <a:p>
                <a:pPr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43" name="Group 19"/>
              <p:cNvGrpSpPr/>
              <p:nvPr/>
            </p:nvGrpSpPr>
            <p:grpSpPr bwMode="black">
              <a:xfrm>
                <a:off x="8459235" y="1994058"/>
                <a:ext cx="303219" cy="246679"/>
                <a:chOff x="5184779" y="225425"/>
                <a:chExt cx="1500184" cy="1220787"/>
              </a:xfrm>
              <a:grpFill/>
            </p:grpSpPr>
            <p:sp>
              <p:nvSpPr>
                <p:cNvPr id="44" name="Freeform 86"/>
                <p:cNvSpPr>
                  <a:spLocks noEditPoints="1"/>
                </p:cNvSpPr>
                <p:nvPr/>
              </p:nvSpPr>
              <p:spPr bwMode="black">
                <a:xfrm>
                  <a:off x="5184779" y="344490"/>
                  <a:ext cx="1095376" cy="1101722"/>
                </a:xfrm>
                <a:custGeom>
                  <a:avLst/>
                  <a:gdLst>
                    <a:gd name="T0" fmla="*/ 287 w 292"/>
                    <a:gd name="T1" fmla="*/ 113 h 294"/>
                    <a:gd name="T2" fmla="*/ 239 w 292"/>
                    <a:gd name="T3" fmla="*/ 105 h 294"/>
                    <a:gd name="T4" fmla="*/ 252 w 292"/>
                    <a:gd name="T5" fmla="*/ 58 h 294"/>
                    <a:gd name="T6" fmla="*/ 229 w 292"/>
                    <a:gd name="T7" fmla="*/ 32 h 294"/>
                    <a:gd name="T8" fmla="*/ 187 w 292"/>
                    <a:gd name="T9" fmla="*/ 57 h 294"/>
                    <a:gd name="T10" fmla="*/ 167 w 292"/>
                    <a:gd name="T11" fmla="*/ 6 h 294"/>
                    <a:gd name="T12" fmla="*/ 132 w 292"/>
                    <a:gd name="T13" fmla="*/ 0 h 294"/>
                    <a:gd name="T14" fmla="*/ 115 w 292"/>
                    <a:gd name="T15" fmla="*/ 53 h 294"/>
                    <a:gd name="T16" fmla="*/ 72 w 292"/>
                    <a:gd name="T17" fmla="*/ 31 h 294"/>
                    <a:gd name="T18" fmla="*/ 42 w 292"/>
                    <a:gd name="T19" fmla="*/ 49 h 294"/>
                    <a:gd name="T20" fmla="*/ 59 w 292"/>
                    <a:gd name="T21" fmla="*/ 95 h 294"/>
                    <a:gd name="T22" fmla="*/ 12 w 292"/>
                    <a:gd name="T23" fmla="*/ 107 h 294"/>
                    <a:gd name="T24" fmla="*/ 0 w 292"/>
                    <a:gd name="T25" fmla="*/ 140 h 294"/>
                    <a:gd name="T26" fmla="*/ 43 w 292"/>
                    <a:gd name="T27" fmla="*/ 164 h 294"/>
                    <a:gd name="T28" fmla="*/ 14 w 292"/>
                    <a:gd name="T29" fmla="*/ 204 h 294"/>
                    <a:gd name="T30" fmla="*/ 27 w 292"/>
                    <a:gd name="T31" fmla="*/ 237 h 294"/>
                    <a:gd name="T32" fmla="*/ 75 w 292"/>
                    <a:gd name="T33" fmla="*/ 227 h 294"/>
                    <a:gd name="T34" fmla="*/ 79 w 292"/>
                    <a:gd name="T35" fmla="*/ 276 h 294"/>
                    <a:gd name="T36" fmla="*/ 109 w 292"/>
                    <a:gd name="T37" fmla="*/ 293 h 294"/>
                    <a:gd name="T38" fmla="*/ 140 w 292"/>
                    <a:gd name="T39" fmla="*/ 255 h 294"/>
                    <a:gd name="T40" fmla="*/ 152 w 292"/>
                    <a:gd name="T41" fmla="*/ 255 h 294"/>
                    <a:gd name="T42" fmla="*/ 183 w 292"/>
                    <a:gd name="T43" fmla="*/ 293 h 294"/>
                    <a:gd name="T44" fmla="*/ 213 w 292"/>
                    <a:gd name="T45" fmla="*/ 276 h 294"/>
                    <a:gd name="T46" fmla="*/ 217 w 292"/>
                    <a:gd name="T47" fmla="*/ 227 h 294"/>
                    <a:gd name="T48" fmla="*/ 265 w 292"/>
                    <a:gd name="T49" fmla="*/ 237 h 294"/>
                    <a:gd name="T50" fmla="*/ 278 w 292"/>
                    <a:gd name="T51" fmla="*/ 204 h 294"/>
                    <a:gd name="T52" fmla="*/ 249 w 292"/>
                    <a:gd name="T53" fmla="*/ 164 h 294"/>
                    <a:gd name="T54" fmla="*/ 292 w 292"/>
                    <a:gd name="T55" fmla="*/ 140 h 294"/>
                    <a:gd name="T56" fmla="*/ 187 w 292"/>
                    <a:gd name="T57" fmla="*/ 193 h 294"/>
                    <a:gd name="T58" fmla="*/ 105 w 292"/>
                    <a:gd name="T59" fmla="*/ 193 h 294"/>
                    <a:gd name="T60" fmla="*/ 105 w 292"/>
                    <a:gd name="T61" fmla="*/ 111 h 294"/>
                    <a:gd name="T62" fmla="*/ 187 w 292"/>
                    <a:gd name="T63" fmla="*/ 111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2" h="294">
                      <a:moveTo>
                        <a:pt x="292" y="140"/>
                      </a:moveTo>
                      <a:cubicBezTo>
                        <a:pt x="287" y="113"/>
                        <a:pt x="287" y="113"/>
                        <a:pt x="287" y="113"/>
                      </a:cubicBezTo>
                      <a:cubicBezTo>
                        <a:pt x="286" y="110"/>
                        <a:pt x="284" y="108"/>
                        <a:pt x="280" y="107"/>
                      </a:cubicBezTo>
                      <a:cubicBezTo>
                        <a:pt x="239" y="105"/>
                        <a:pt x="239" y="105"/>
                        <a:pt x="239" y="105"/>
                      </a:cubicBezTo>
                      <a:cubicBezTo>
                        <a:pt x="237" y="102"/>
                        <a:pt x="235" y="98"/>
                        <a:pt x="233" y="95"/>
                      </a:cubicBezTo>
                      <a:cubicBezTo>
                        <a:pt x="252" y="58"/>
                        <a:pt x="252" y="58"/>
                        <a:pt x="252" y="58"/>
                      </a:cubicBezTo>
                      <a:cubicBezTo>
                        <a:pt x="254" y="55"/>
                        <a:pt x="253" y="51"/>
                        <a:pt x="250" y="49"/>
                      </a:cubicBezTo>
                      <a:cubicBezTo>
                        <a:pt x="229" y="32"/>
                        <a:pt x="229" y="32"/>
                        <a:pt x="229" y="32"/>
                      </a:cubicBezTo>
                      <a:cubicBezTo>
                        <a:pt x="227" y="29"/>
                        <a:pt x="223" y="29"/>
                        <a:pt x="220" y="31"/>
                      </a:cubicBezTo>
                      <a:cubicBezTo>
                        <a:pt x="187" y="57"/>
                        <a:pt x="187" y="57"/>
                        <a:pt x="187" y="57"/>
                      </a:cubicBezTo>
                      <a:cubicBezTo>
                        <a:pt x="184" y="55"/>
                        <a:pt x="181" y="54"/>
                        <a:pt x="177" y="53"/>
                      </a:cubicBezTo>
                      <a:cubicBezTo>
                        <a:pt x="167" y="6"/>
                        <a:pt x="167" y="6"/>
                        <a:pt x="167" y="6"/>
                      </a:cubicBezTo>
                      <a:cubicBezTo>
                        <a:pt x="166" y="3"/>
                        <a:pt x="163" y="0"/>
                        <a:pt x="160" y="0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29" y="0"/>
                        <a:pt x="126" y="3"/>
                        <a:pt x="125" y="6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1" y="54"/>
                        <a:pt x="108" y="55"/>
                        <a:pt x="105" y="57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69" y="29"/>
                        <a:pt x="65" y="29"/>
                        <a:pt x="63" y="31"/>
                      </a:cubicBezTo>
                      <a:cubicBezTo>
                        <a:pt x="42" y="49"/>
                        <a:pt x="42" y="49"/>
                        <a:pt x="42" y="49"/>
                      </a:cubicBezTo>
                      <a:cubicBezTo>
                        <a:pt x="39" y="51"/>
                        <a:pt x="39" y="55"/>
                        <a:pt x="40" y="58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7" y="98"/>
                        <a:pt x="55" y="102"/>
                        <a:pt x="53" y="105"/>
                      </a:cubicBezTo>
                      <a:cubicBezTo>
                        <a:pt x="12" y="107"/>
                        <a:pt x="12" y="107"/>
                        <a:pt x="12" y="107"/>
                      </a:cubicBezTo>
                      <a:cubicBezTo>
                        <a:pt x="8" y="107"/>
                        <a:pt x="6" y="110"/>
                        <a:pt x="5" y="113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0" y="143"/>
                        <a:pt x="1" y="147"/>
                        <a:pt x="4" y="148"/>
                      </a:cubicBezTo>
                      <a:cubicBezTo>
                        <a:pt x="43" y="164"/>
                        <a:pt x="43" y="164"/>
                        <a:pt x="43" y="164"/>
                      </a:cubicBezTo>
                      <a:cubicBezTo>
                        <a:pt x="44" y="168"/>
                        <a:pt x="44" y="172"/>
                        <a:pt x="45" y="176"/>
                      </a:cubicBezTo>
                      <a:cubicBezTo>
                        <a:pt x="14" y="204"/>
                        <a:pt x="14" y="204"/>
                        <a:pt x="14" y="204"/>
                      </a:cubicBezTo>
                      <a:cubicBezTo>
                        <a:pt x="12" y="206"/>
                        <a:pt x="11" y="210"/>
                        <a:pt x="13" y="213"/>
                      </a:cubicBezTo>
                      <a:cubicBezTo>
                        <a:pt x="27" y="237"/>
                        <a:pt x="27" y="237"/>
                        <a:pt x="27" y="237"/>
                      </a:cubicBezTo>
                      <a:cubicBezTo>
                        <a:pt x="28" y="239"/>
                        <a:pt x="32" y="241"/>
                        <a:pt x="35" y="240"/>
                      </a:cubicBezTo>
                      <a:cubicBezTo>
                        <a:pt x="75" y="227"/>
                        <a:pt x="75" y="227"/>
                        <a:pt x="75" y="227"/>
                      </a:cubicBezTo>
                      <a:cubicBezTo>
                        <a:pt x="78" y="230"/>
                        <a:pt x="81" y="233"/>
                        <a:pt x="84" y="235"/>
                      </a:cubicBezTo>
                      <a:cubicBezTo>
                        <a:pt x="79" y="276"/>
                        <a:pt x="79" y="276"/>
                        <a:pt x="79" y="276"/>
                      </a:cubicBezTo>
                      <a:cubicBezTo>
                        <a:pt x="78" y="280"/>
                        <a:pt x="80" y="283"/>
                        <a:pt x="83" y="284"/>
                      </a:cubicBezTo>
                      <a:cubicBezTo>
                        <a:pt x="109" y="293"/>
                        <a:pt x="109" y="293"/>
                        <a:pt x="109" y="293"/>
                      </a:cubicBezTo>
                      <a:cubicBezTo>
                        <a:pt x="112" y="294"/>
                        <a:pt x="116" y="293"/>
                        <a:pt x="118" y="291"/>
                      </a:cubicBezTo>
                      <a:cubicBezTo>
                        <a:pt x="140" y="255"/>
                        <a:pt x="140" y="255"/>
                        <a:pt x="140" y="255"/>
                      </a:cubicBezTo>
                      <a:cubicBezTo>
                        <a:pt x="142" y="255"/>
                        <a:pt x="144" y="256"/>
                        <a:pt x="146" y="256"/>
                      </a:cubicBezTo>
                      <a:cubicBezTo>
                        <a:pt x="148" y="256"/>
                        <a:pt x="150" y="255"/>
                        <a:pt x="152" y="255"/>
                      </a:cubicBezTo>
                      <a:cubicBezTo>
                        <a:pt x="174" y="291"/>
                        <a:pt x="174" y="291"/>
                        <a:pt x="174" y="291"/>
                      </a:cubicBezTo>
                      <a:cubicBezTo>
                        <a:pt x="176" y="293"/>
                        <a:pt x="180" y="294"/>
                        <a:pt x="183" y="293"/>
                      </a:cubicBezTo>
                      <a:cubicBezTo>
                        <a:pt x="209" y="284"/>
                        <a:pt x="209" y="284"/>
                        <a:pt x="209" y="284"/>
                      </a:cubicBezTo>
                      <a:cubicBezTo>
                        <a:pt x="212" y="283"/>
                        <a:pt x="214" y="280"/>
                        <a:pt x="213" y="276"/>
                      </a:cubicBezTo>
                      <a:cubicBezTo>
                        <a:pt x="208" y="235"/>
                        <a:pt x="208" y="235"/>
                        <a:pt x="208" y="235"/>
                      </a:cubicBezTo>
                      <a:cubicBezTo>
                        <a:pt x="211" y="232"/>
                        <a:pt x="214" y="230"/>
                        <a:pt x="217" y="227"/>
                      </a:cubicBezTo>
                      <a:cubicBezTo>
                        <a:pt x="257" y="240"/>
                        <a:pt x="257" y="240"/>
                        <a:pt x="257" y="240"/>
                      </a:cubicBezTo>
                      <a:cubicBezTo>
                        <a:pt x="260" y="241"/>
                        <a:pt x="264" y="239"/>
                        <a:pt x="265" y="237"/>
                      </a:cubicBezTo>
                      <a:cubicBezTo>
                        <a:pt x="279" y="213"/>
                        <a:pt x="279" y="213"/>
                        <a:pt x="279" y="213"/>
                      </a:cubicBezTo>
                      <a:cubicBezTo>
                        <a:pt x="281" y="210"/>
                        <a:pt x="280" y="206"/>
                        <a:pt x="278" y="204"/>
                      </a:cubicBezTo>
                      <a:cubicBezTo>
                        <a:pt x="247" y="176"/>
                        <a:pt x="247" y="176"/>
                        <a:pt x="247" y="176"/>
                      </a:cubicBezTo>
                      <a:cubicBezTo>
                        <a:pt x="248" y="172"/>
                        <a:pt x="248" y="168"/>
                        <a:pt x="249" y="164"/>
                      </a:cubicBezTo>
                      <a:cubicBezTo>
                        <a:pt x="288" y="148"/>
                        <a:pt x="288" y="148"/>
                        <a:pt x="288" y="148"/>
                      </a:cubicBezTo>
                      <a:cubicBezTo>
                        <a:pt x="291" y="147"/>
                        <a:pt x="292" y="144"/>
                        <a:pt x="292" y="140"/>
                      </a:cubicBezTo>
                      <a:close/>
                      <a:moveTo>
                        <a:pt x="204" y="152"/>
                      </a:moveTo>
                      <a:cubicBezTo>
                        <a:pt x="204" y="168"/>
                        <a:pt x="197" y="182"/>
                        <a:pt x="187" y="193"/>
                      </a:cubicBezTo>
                      <a:cubicBezTo>
                        <a:pt x="176" y="203"/>
                        <a:pt x="162" y="210"/>
                        <a:pt x="146" y="210"/>
                      </a:cubicBezTo>
                      <a:cubicBezTo>
                        <a:pt x="130" y="210"/>
                        <a:pt x="116" y="203"/>
                        <a:pt x="105" y="193"/>
                      </a:cubicBezTo>
                      <a:cubicBezTo>
                        <a:pt x="95" y="182"/>
                        <a:pt x="88" y="168"/>
                        <a:pt x="88" y="152"/>
                      </a:cubicBezTo>
                      <a:cubicBezTo>
                        <a:pt x="88" y="136"/>
                        <a:pt x="95" y="121"/>
                        <a:pt x="105" y="111"/>
                      </a:cubicBezTo>
                      <a:cubicBezTo>
                        <a:pt x="116" y="100"/>
                        <a:pt x="130" y="94"/>
                        <a:pt x="146" y="94"/>
                      </a:cubicBezTo>
                      <a:cubicBezTo>
                        <a:pt x="162" y="94"/>
                        <a:pt x="176" y="100"/>
                        <a:pt x="187" y="111"/>
                      </a:cubicBezTo>
                      <a:cubicBezTo>
                        <a:pt x="197" y="121"/>
                        <a:pt x="204" y="136"/>
                        <a:pt x="204" y="1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45" name="Oval 87"/>
                <p:cNvSpPr>
                  <a:spLocks noChangeArrowheads="1"/>
                </p:cNvSpPr>
                <p:nvPr/>
              </p:nvSpPr>
              <p:spPr bwMode="black">
                <a:xfrm>
                  <a:off x="5630869" y="812799"/>
                  <a:ext cx="203201" cy="20320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46" name="Freeform 88"/>
                <p:cNvSpPr>
                  <a:spLocks noEditPoints="1"/>
                </p:cNvSpPr>
                <p:nvPr/>
              </p:nvSpPr>
              <p:spPr bwMode="black">
                <a:xfrm>
                  <a:off x="6129339" y="225425"/>
                  <a:ext cx="555624" cy="598489"/>
                </a:xfrm>
                <a:custGeom>
                  <a:avLst/>
                  <a:gdLst>
                    <a:gd name="T0" fmla="*/ 129 w 148"/>
                    <a:gd name="T1" fmla="*/ 91 h 160"/>
                    <a:gd name="T2" fmla="*/ 131 w 148"/>
                    <a:gd name="T3" fmla="*/ 80 h 160"/>
                    <a:gd name="T4" fmla="*/ 129 w 148"/>
                    <a:gd name="T5" fmla="*/ 70 h 160"/>
                    <a:gd name="T6" fmla="*/ 145 w 148"/>
                    <a:gd name="T7" fmla="*/ 55 h 160"/>
                    <a:gd name="T8" fmla="*/ 147 w 148"/>
                    <a:gd name="T9" fmla="*/ 50 h 160"/>
                    <a:gd name="T10" fmla="*/ 147 w 148"/>
                    <a:gd name="T11" fmla="*/ 46 h 160"/>
                    <a:gd name="T12" fmla="*/ 140 w 148"/>
                    <a:gd name="T13" fmla="*/ 34 h 160"/>
                    <a:gd name="T14" fmla="*/ 133 w 148"/>
                    <a:gd name="T15" fmla="*/ 31 h 160"/>
                    <a:gd name="T16" fmla="*/ 131 w 148"/>
                    <a:gd name="T17" fmla="*/ 31 h 160"/>
                    <a:gd name="T18" fmla="*/ 111 w 148"/>
                    <a:gd name="T19" fmla="*/ 37 h 160"/>
                    <a:gd name="T20" fmla="*/ 92 w 148"/>
                    <a:gd name="T21" fmla="*/ 27 h 160"/>
                    <a:gd name="T22" fmla="*/ 88 w 148"/>
                    <a:gd name="T23" fmla="*/ 6 h 160"/>
                    <a:gd name="T24" fmla="*/ 81 w 148"/>
                    <a:gd name="T25" fmla="*/ 0 h 160"/>
                    <a:gd name="T26" fmla="*/ 67 w 148"/>
                    <a:gd name="T27" fmla="*/ 0 h 160"/>
                    <a:gd name="T28" fmla="*/ 60 w 148"/>
                    <a:gd name="T29" fmla="*/ 6 h 160"/>
                    <a:gd name="T30" fmla="*/ 55 w 148"/>
                    <a:gd name="T31" fmla="*/ 27 h 160"/>
                    <a:gd name="T32" fmla="*/ 37 w 148"/>
                    <a:gd name="T33" fmla="*/ 38 h 160"/>
                    <a:gd name="T34" fmla="*/ 16 w 148"/>
                    <a:gd name="T35" fmla="*/ 31 h 160"/>
                    <a:gd name="T36" fmla="*/ 14 w 148"/>
                    <a:gd name="T37" fmla="*/ 31 h 160"/>
                    <a:gd name="T38" fmla="*/ 8 w 148"/>
                    <a:gd name="T39" fmla="*/ 34 h 160"/>
                    <a:gd name="T40" fmla="*/ 1 w 148"/>
                    <a:gd name="T41" fmla="*/ 46 h 160"/>
                    <a:gd name="T42" fmla="*/ 0 w 148"/>
                    <a:gd name="T43" fmla="*/ 50 h 160"/>
                    <a:gd name="T44" fmla="*/ 2 w 148"/>
                    <a:gd name="T45" fmla="*/ 55 h 160"/>
                    <a:gd name="T46" fmla="*/ 19 w 148"/>
                    <a:gd name="T47" fmla="*/ 70 h 160"/>
                    <a:gd name="T48" fmla="*/ 17 w 148"/>
                    <a:gd name="T49" fmla="*/ 80 h 160"/>
                    <a:gd name="T50" fmla="*/ 19 w 148"/>
                    <a:gd name="T51" fmla="*/ 91 h 160"/>
                    <a:gd name="T52" fmla="*/ 2 w 148"/>
                    <a:gd name="T53" fmla="*/ 106 h 160"/>
                    <a:gd name="T54" fmla="*/ 0 w 148"/>
                    <a:gd name="T55" fmla="*/ 111 h 160"/>
                    <a:gd name="T56" fmla="*/ 1 w 148"/>
                    <a:gd name="T57" fmla="*/ 114 h 160"/>
                    <a:gd name="T58" fmla="*/ 8 w 148"/>
                    <a:gd name="T59" fmla="*/ 126 h 160"/>
                    <a:gd name="T60" fmla="*/ 14 w 148"/>
                    <a:gd name="T61" fmla="*/ 130 h 160"/>
                    <a:gd name="T62" fmla="*/ 16 w 148"/>
                    <a:gd name="T63" fmla="*/ 130 h 160"/>
                    <a:gd name="T64" fmla="*/ 37 w 148"/>
                    <a:gd name="T65" fmla="*/ 123 h 160"/>
                    <a:gd name="T66" fmla="*/ 55 w 148"/>
                    <a:gd name="T67" fmla="*/ 133 h 160"/>
                    <a:gd name="T68" fmla="*/ 60 w 148"/>
                    <a:gd name="T69" fmla="*/ 155 h 160"/>
                    <a:gd name="T70" fmla="*/ 67 w 148"/>
                    <a:gd name="T71" fmla="*/ 160 h 160"/>
                    <a:gd name="T72" fmla="*/ 81 w 148"/>
                    <a:gd name="T73" fmla="*/ 160 h 160"/>
                    <a:gd name="T74" fmla="*/ 88 w 148"/>
                    <a:gd name="T75" fmla="*/ 155 h 160"/>
                    <a:gd name="T76" fmla="*/ 92 w 148"/>
                    <a:gd name="T77" fmla="*/ 134 h 160"/>
                    <a:gd name="T78" fmla="*/ 111 w 148"/>
                    <a:gd name="T79" fmla="*/ 123 h 160"/>
                    <a:gd name="T80" fmla="*/ 131 w 148"/>
                    <a:gd name="T81" fmla="*/ 130 h 160"/>
                    <a:gd name="T82" fmla="*/ 133 w 148"/>
                    <a:gd name="T83" fmla="*/ 130 h 160"/>
                    <a:gd name="T84" fmla="*/ 140 w 148"/>
                    <a:gd name="T85" fmla="*/ 126 h 160"/>
                    <a:gd name="T86" fmla="*/ 147 w 148"/>
                    <a:gd name="T87" fmla="*/ 114 h 160"/>
                    <a:gd name="T88" fmla="*/ 147 w 148"/>
                    <a:gd name="T89" fmla="*/ 111 h 160"/>
                    <a:gd name="T90" fmla="*/ 145 w 148"/>
                    <a:gd name="T91" fmla="*/ 106 h 160"/>
                    <a:gd name="T92" fmla="*/ 129 w 148"/>
                    <a:gd name="T93" fmla="*/ 91 h 160"/>
                    <a:gd name="T94" fmla="*/ 96 w 148"/>
                    <a:gd name="T95" fmla="*/ 80 h 160"/>
                    <a:gd name="T96" fmla="*/ 74 w 148"/>
                    <a:gd name="T97" fmla="*/ 102 h 160"/>
                    <a:gd name="T98" fmla="*/ 52 w 148"/>
                    <a:gd name="T99" fmla="*/ 80 h 160"/>
                    <a:gd name="T100" fmla="*/ 74 w 148"/>
                    <a:gd name="T101" fmla="*/ 58 h 160"/>
                    <a:gd name="T102" fmla="*/ 96 w 148"/>
                    <a:gd name="T103" fmla="*/ 8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8" h="160">
                      <a:moveTo>
                        <a:pt x="129" y="91"/>
                      </a:moveTo>
                      <a:cubicBezTo>
                        <a:pt x="130" y="88"/>
                        <a:pt x="131" y="84"/>
                        <a:pt x="131" y="80"/>
                      </a:cubicBezTo>
                      <a:cubicBezTo>
                        <a:pt x="131" y="77"/>
                        <a:pt x="130" y="73"/>
                        <a:pt x="129" y="70"/>
                      </a:cubicBezTo>
                      <a:cubicBezTo>
                        <a:pt x="145" y="55"/>
                        <a:pt x="145" y="55"/>
                        <a:pt x="145" y="55"/>
                      </a:cubicBezTo>
                      <a:cubicBezTo>
                        <a:pt x="147" y="54"/>
                        <a:pt x="147" y="52"/>
                        <a:pt x="147" y="50"/>
                      </a:cubicBezTo>
                      <a:cubicBezTo>
                        <a:pt x="147" y="49"/>
                        <a:pt x="147" y="47"/>
                        <a:pt x="147" y="46"/>
                      </a:cubicBezTo>
                      <a:cubicBezTo>
                        <a:pt x="140" y="34"/>
                        <a:pt x="140" y="34"/>
                        <a:pt x="140" y="34"/>
                      </a:cubicBezTo>
                      <a:cubicBezTo>
                        <a:pt x="138" y="32"/>
                        <a:pt x="136" y="31"/>
                        <a:pt x="133" y="31"/>
                      </a:cubicBezTo>
                      <a:cubicBezTo>
                        <a:pt x="133" y="31"/>
                        <a:pt x="132" y="31"/>
                        <a:pt x="131" y="31"/>
                      </a:cubicBezTo>
                      <a:cubicBezTo>
                        <a:pt x="111" y="37"/>
                        <a:pt x="111" y="37"/>
                        <a:pt x="111" y="37"/>
                      </a:cubicBezTo>
                      <a:cubicBezTo>
                        <a:pt x="105" y="33"/>
                        <a:pt x="99" y="29"/>
                        <a:pt x="92" y="27"/>
                      </a:cubicBezTo>
                      <a:cubicBezTo>
                        <a:pt x="88" y="6"/>
                        <a:pt x="88" y="6"/>
                        <a:pt x="88" y="6"/>
                      </a:cubicBezTo>
                      <a:cubicBezTo>
                        <a:pt x="87" y="3"/>
                        <a:pt x="84" y="0"/>
                        <a:pt x="81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3" y="0"/>
                        <a:pt x="61" y="3"/>
                        <a:pt x="60" y="6"/>
                      </a:cubicBezTo>
                      <a:cubicBezTo>
                        <a:pt x="55" y="27"/>
                        <a:pt x="55" y="27"/>
                        <a:pt x="55" y="27"/>
                      </a:cubicBezTo>
                      <a:cubicBezTo>
                        <a:pt x="48" y="29"/>
                        <a:pt x="42" y="33"/>
                        <a:pt x="37" y="38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5" y="31"/>
                        <a:pt x="15" y="31"/>
                        <a:pt x="14" y="31"/>
                      </a:cubicBezTo>
                      <a:cubicBezTo>
                        <a:pt x="12" y="31"/>
                        <a:pt x="9" y="32"/>
                        <a:pt x="8" y="34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7"/>
                        <a:pt x="0" y="49"/>
                        <a:pt x="0" y="50"/>
                      </a:cubicBezTo>
                      <a:cubicBezTo>
                        <a:pt x="0" y="52"/>
                        <a:pt x="1" y="54"/>
                        <a:pt x="2" y="55"/>
                      </a:cubicBezTo>
                      <a:cubicBezTo>
                        <a:pt x="19" y="70"/>
                        <a:pt x="19" y="70"/>
                        <a:pt x="19" y="70"/>
                      </a:cubicBezTo>
                      <a:cubicBezTo>
                        <a:pt x="18" y="73"/>
                        <a:pt x="17" y="77"/>
                        <a:pt x="17" y="80"/>
                      </a:cubicBezTo>
                      <a:cubicBezTo>
                        <a:pt x="17" y="84"/>
                        <a:pt x="18" y="87"/>
                        <a:pt x="19" y="91"/>
                      </a:cubicBezTo>
                      <a:cubicBezTo>
                        <a:pt x="2" y="106"/>
                        <a:pt x="2" y="106"/>
                        <a:pt x="2" y="106"/>
                      </a:cubicBezTo>
                      <a:cubicBezTo>
                        <a:pt x="1" y="107"/>
                        <a:pt x="0" y="109"/>
                        <a:pt x="0" y="111"/>
                      </a:cubicBezTo>
                      <a:cubicBezTo>
                        <a:pt x="0" y="112"/>
                        <a:pt x="0" y="113"/>
                        <a:pt x="1" y="114"/>
                      </a:cubicBezTo>
                      <a:cubicBezTo>
                        <a:pt x="8" y="126"/>
                        <a:pt x="8" y="126"/>
                        <a:pt x="8" y="126"/>
                      </a:cubicBezTo>
                      <a:cubicBezTo>
                        <a:pt x="9" y="129"/>
                        <a:pt x="12" y="130"/>
                        <a:pt x="14" y="130"/>
                      </a:cubicBezTo>
                      <a:cubicBezTo>
                        <a:pt x="15" y="130"/>
                        <a:pt x="15" y="130"/>
                        <a:pt x="16" y="130"/>
                      </a:cubicBezTo>
                      <a:cubicBezTo>
                        <a:pt x="37" y="123"/>
                        <a:pt x="37" y="123"/>
                        <a:pt x="37" y="123"/>
                      </a:cubicBezTo>
                      <a:cubicBezTo>
                        <a:pt x="42" y="127"/>
                        <a:pt x="48" y="131"/>
                        <a:pt x="55" y="133"/>
                      </a:cubicBezTo>
                      <a:cubicBezTo>
                        <a:pt x="60" y="155"/>
                        <a:pt x="60" y="155"/>
                        <a:pt x="60" y="155"/>
                      </a:cubicBezTo>
                      <a:cubicBezTo>
                        <a:pt x="61" y="158"/>
                        <a:pt x="63" y="160"/>
                        <a:pt x="67" y="160"/>
                      </a:cubicBezTo>
                      <a:cubicBezTo>
                        <a:pt x="81" y="160"/>
                        <a:pt x="81" y="160"/>
                        <a:pt x="81" y="160"/>
                      </a:cubicBezTo>
                      <a:cubicBezTo>
                        <a:pt x="84" y="160"/>
                        <a:pt x="87" y="158"/>
                        <a:pt x="88" y="155"/>
                      </a:cubicBezTo>
                      <a:cubicBezTo>
                        <a:pt x="92" y="134"/>
                        <a:pt x="92" y="134"/>
                        <a:pt x="92" y="134"/>
                      </a:cubicBezTo>
                      <a:cubicBezTo>
                        <a:pt x="99" y="131"/>
                        <a:pt x="105" y="128"/>
                        <a:pt x="111" y="123"/>
                      </a:cubicBezTo>
                      <a:cubicBezTo>
                        <a:pt x="131" y="130"/>
                        <a:pt x="131" y="130"/>
                        <a:pt x="131" y="130"/>
                      </a:cubicBezTo>
                      <a:cubicBezTo>
                        <a:pt x="132" y="130"/>
                        <a:pt x="133" y="130"/>
                        <a:pt x="133" y="130"/>
                      </a:cubicBezTo>
                      <a:cubicBezTo>
                        <a:pt x="136" y="130"/>
                        <a:pt x="138" y="129"/>
                        <a:pt x="140" y="126"/>
                      </a:cubicBezTo>
                      <a:cubicBezTo>
                        <a:pt x="147" y="114"/>
                        <a:pt x="147" y="114"/>
                        <a:pt x="147" y="114"/>
                      </a:cubicBezTo>
                      <a:cubicBezTo>
                        <a:pt x="147" y="113"/>
                        <a:pt x="148" y="112"/>
                        <a:pt x="147" y="111"/>
                      </a:cubicBezTo>
                      <a:cubicBezTo>
                        <a:pt x="148" y="109"/>
                        <a:pt x="147" y="107"/>
                        <a:pt x="145" y="106"/>
                      </a:cubicBezTo>
                      <a:lnTo>
                        <a:pt x="129" y="91"/>
                      </a:lnTo>
                      <a:close/>
                      <a:moveTo>
                        <a:pt x="96" y="80"/>
                      </a:moveTo>
                      <a:cubicBezTo>
                        <a:pt x="96" y="92"/>
                        <a:pt x="86" y="102"/>
                        <a:pt x="74" y="102"/>
                      </a:cubicBezTo>
                      <a:cubicBezTo>
                        <a:pt x="62" y="102"/>
                        <a:pt x="52" y="92"/>
                        <a:pt x="52" y="80"/>
                      </a:cubicBezTo>
                      <a:cubicBezTo>
                        <a:pt x="52" y="68"/>
                        <a:pt x="62" y="58"/>
                        <a:pt x="74" y="58"/>
                      </a:cubicBezTo>
                      <a:cubicBezTo>
                        <a:pt x="86" y="58"/>
                        <a:pt x="96" y="68"/>
                        <a:pt x="96" y="8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sp>
          <p:nvSpPr>
            <p:cNvPr id="36885" name="TextBox 10"/>
            <p:cNvSpPr txBox="1">
              <a:spLocks noChangeArrowheads="1"/>
            </p:cNvSpPr>
            <p:nvPr/>
          </p:nvSpPr>
          <p:spPr bwMode="auto">
            <a:xfrm>
              <a:off x="3491043" y="1534254"/>
              <a:ext cx="1107996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099" name="组合 4098"/>
          <p:cNvGrpSpPr/>
          <p:nvPr/>
        </p:nvGrpSpPr>
        <p:grpSpPr bwMode="auto">
          <a:xfrm>
            <a:off x="5937250" y="1179513"/>
            <a:ext cx="2528888" cy="1254125"/>
            <a:chOff x="5936781" y="1179197"/>
            <a:chExt cx="2528909" cy="1255207"/>
          </a:xfrm>
        </p:grpSpPr>
        <p:sp>
          <p:nvSpPr>
            <p:cNvPr id="54" name="矩形 53"/>
            <p:cNvSpPr/>
            <p:nvPr/>
          </p:nvSpPr>
          <p:spPr>
            <a:xfrm>
              <a:off x="5936781" y="1179197"/>
              <a:ext cx="2528909" cy="1255207"/>
            </a:xfrm>
            <a:prstGeom prst="rect">
              <a:avLst/>
            </a:prstGeom>
            <a:solidFill>
              <a:srgbClr val="92D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7" name="Rectangle 92166"/>
            <p:cNvSpPr/>
            <p:nvPr>
              <p:custDataLst>
                <p:tags r:id="rId4"/>
              </p:custDataLst>
            </p:nvPr>
          </p:nvSpPr>
          <p:spPr bwMode="auto">
            <a:xfrm flipV="1">
              <a:off x="7884660" y="1292006"/>
              <a:ext cx="433391" cy="459184"/>
            </a:xfrm>
            <a:custGeom>
              <a:avLst/>
              <a:gdLst/>
              <a:ahLst/>
              <a:cxnLst/>
              <a:rect l="l" t="t" r="r" b="b"/>
              <a:pathLst>
                <a:path w="822103" h="1128292">
                  <a:moveTo>
                    <a:pt x="698119" y="563492"/>
                  </a:moveTo>
                  <a:lnTo>
                    <a:pt x="370918" y="284334"/>
                  </a:lnTo>
                  <a:lnTo>
                    <a:pt x="280941" y="205737"/>
                  </a:lnTo>
                  <a:lnTo>
                    <a:pt x="128851" y="379847"/>
                  </a:lnTo>
                  <a:lnTo>
                    <a:pt x="56929" y="317022"/>
                  </a:lnTo>
                  <a:lnTo>
                    <a:pt x="264169" y="79779"/>
                  </a:lnTo>
                  <a:cubicBezTo>
                    <a:pt x="269372" y="74505"/>
                    <a:pt x="274695" y="68970"/>
                    <a:pt x="280207" y="63224"/>
                  </a:cubicBezTo>
                  <a:lnTo>
                    <a:pt x="765173" y="487802"/>
                  </a:lnTo>
                  <a:lnTo>
                    <a:pt x="702684" y="559339"/>
                  </a:lnTo>
                  <a:close/>
                  <a:moveTo>
                    <a:pt x="574455" y="1110341"/>
                  </a:moveTo>
                  <a:lnTo>
                    <a:pt x="574455" y="823073"/>
                  </a:lnTo>
                  <a:lnTo>
                    <a:pt x="803055" y="823073"/>
                  </a:lnTo>
                  <a:close/>
                  <a:moveTo>
                    <a:pt x="0" y="1128292"/>
                  </a:moveTo>
                  <a:lnTo>
                    <a:pt x="593503" y="1128292"/>
                  </a:lnTo>
                  <a:lnTo>
                    <a:pt x="822103" y="841025"/>
                  </a:lnTo>
                  <a:lnTo>
                    <a:pt x="822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9050" cap="flat" cmpd="sng" algn="ctr">
              <a:noFill/>
              <a:prstDash val="solid"/>
            </a:ln>
            <a:effectLst/>
          </p:spPr>
          <p:txBody>
            <a:bodyPr lIns="91406" tIns="45702" rIns="91406" bIns="45702" anchor="ctr"/>
            <a:lstStyle/>
            <a:p>
              <a:pPr algn="ctr" defTabSz="93154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+mn-lt"/>
                <a:ea typeface="+mn-ea"/>
              </a:endParaRPr>
            </a:p>
          </p:txBody>
        </p:sp>
        <p:sp>
          <p:nvSpPr>
            <p:cNvPr id="36882" name="TextBox 10"/>
            <p:cNvSpPr txBox="1">
              <a:spLocks noChangeArrowheads="1"/>
            </p:cNvSpPr>
            <p:nvPr/>
          </p:nvSpPr>
          <p:spPr bwMode="auto">
            <a:xfrm>
              <a:off x="6062382" y="1534254"/>
              <a:ext cx="1107996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6" presetClass="emph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 tmFilter="0, 0; .2, .5; .8, .5; 1, 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" dur="250" autoRev="1" fill="hold"/>
                                        <p:tgtEl>
                                          <p:spTgt spid="410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409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6" presetClass="emph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41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410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90" name="组合 1"/>
          <p:cNvGrpSpPr/>
          <p:nvPr/>
        </p:nvGrpSpPr>
        <p:grpSpPr bwMode="auto">
          <a:xfrm>
            <a:off x="6472238" y="-23813"/>
            <a:ext cx="1195387" cy="338138"/>
            <a:chOff x="2724938" y="-712266"/>
            <a:chExt cx="1195562" cy="338554"/>
          </a:xfrm>
        </p:grpSpPr>
        <p:sp>
          <p:nvSpPr>
            <p:cNvPr id="37941" name="矩形 2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B0F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任意多边形 3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37891" name="组合 4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7892" name="组合 7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7938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893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7936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894" name="组合 13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7895" name="组合 16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7896" name="组合 1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7897" name="组合 22"/>
          <p:cNvGrpSpPr/>
          <p:nvPr/>
        </p:nvGrpSpPr>
        <p:grpSpPr bwMode="auto">
          <a:xfrm>
            <a:off x="2724150" y="17463"/>
            <a:ext cx="1214438" cy="295275"/>
            <a:chOff x="5223502" y="16303"/>
            <a:chExt cx="1214507" cy="294898"/>
          </a:xfrm>
        </p:grpSpPr>
        <p:sp>
          <p:nvSpPr>
            <p:cNvPr id="24" name="任意多边形 23"/>
            <p:cNvSpPr/>
            <p:nvPr/>
          </p:nvSpPr>
          <p:spPr>
            <a:xfrm rot="5400000">
              <a:off x="5673780" y="-433975"/>
              <a:ext cx="294898" cy="119545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91"/>
            <p:cNvSpPr>
              <a:spLocks noChangeArrowheads="1"/>
            </p:cNvSpPr>
            <p:nvPr/>
          </p:nvSpPr>
          <p:spPr bwMode="auto">
            <a:xfrm>
              <a:off x="5223502" y="54354"/>
              <a:ext cx="1214507" cy="214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oup 57"/>
          <p:cNvGrpSpPr/>
          <p:nvPr/>
        </p:nvGrpSpPr>
        <p:grpSpPr>
          <a:xfrm>
            <a:off x="734433" y="1006624"/>
            <a:ext cx="3342244" cy="2967614"/>
            <a:chOff x="5625793" y="1599766"/>
            <a:chExt cx="4594903" cy="4080928"/>
          </a:xfrm>
          <a:solidFill>
            <a:srgbClr val="FFC000"/>
          </a:solidFill>
        </p:grpSpPr>
        <p:grpSp>
          <p:nvGrpSpPr>
            <p:cNvPr id="30" name="Group 58"/>
            <p:cNvGrpSpPr/>
            <p:nvPr/>
          </p:nvGrpSpPr>
          <p:grpSpPr>
            <a:xfrm>
              <a:off x="6191250" y="1599766"/>
              <a:ext cx="3473482" cy="1069614"/>
              <a:chOff x="6191250" y="1599766"/>
              <a:chExt cx="3473482" cy="1069614"/>
            </a:xfrm>
            <a:grpFill/>
          </p:grpSpPr>
          <p:sp>
            <p:nvSpPr>
              <p:cNvPr id="36" name="Freeform 64"/>
              <p:cNvSpPr/>
              <p:nvPr/>
            </p:nvSpPr>
            <p:spPr bwMode="auto">
              <a:xfrm>
                <a:off x="6191250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7" name="Freeform 65"/>
              <p:cNvSpPr/>
              <p:nvPr/>
            </p:nvSpPr>
            <p:spPr bwMode="auto">
              <a:xfrm flipH="1">
                <a:off x="8043101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1" name="Group 59"/>
            <p:cNvGrpSpPr/>
            <p:nvPr/>
          </p:nvGrpSpPr>
          <p:grpSpPr>
            <a:xfrm flipV="1">
              <a:off x="6191251" y="4611080"/>
              <a:ext cx="3473482" cy="1069614"/>
              <a:chOff x="6191251" y="1599766"/>
              <a:chExt cx="3473482" cy="1069614"/>
            </a:xfrm>
            <a:grpFill/>
          </p:grpSpPr>
          <p:sp>
            <p:nvSpPr>
              <p:cNvPr id="34" name="Freeform 62"/>
              <p:cNvSpPr/>
              <p:nvPr/>
            </p:nvSpPr>
            <p:spPr bwMode="auto">
              <a:xfrm>
                <a:off x="6191251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" name="Freeform 63"/>
              <p:cNvSpPr/>
              <p:nvPr/>
            </p:nvSpPr>
            <p:spPr bwMode="auto">
              <a:xfrm flipH="1">
                <a:off x="8043102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2" name="Freeform 60"/>
            <p:cNvSpPr/>
            <p:nvPr/>
          </p:nvSpPr>
          <p:spPr bwMode="auto">
            <a:xfrm rot="17954294">
              <a:off x="5349784" y="3127550"/>
              <a:ext cx="1621631" cy="1069614"/>
            </a:xfrm>
            <a:custGeom>
              <a:avLst/>
              <a:gdLst>
                <a:gd name="connsiteX0" fmla="*/ 668844 w 4158105"/>
                <a:gd name="connsiteY0" fmla="*/ 1079241 h 4110786"/>
                <a:gd name="connsiteX1" fmla="*/ 671967 w 4158105"/>
                <a:gd name="connsiteY1" fmla="*/ 1081087 h 4110786"/>
                <a:gd name="connsiteX2" fmla="*/ 576717 w 4158105"/>
                <a:gd name="connsiteY2" fmla="*/ 1235869 h 4110786"/>
                <a:gd name="connsiteX3" fmla="*/ 574232 w 4158105"/>
                <a:gd name="connsiteY3" fmla="*/ 1234330 h 4110786"/>
                <a:gd name="connsiteX4" fmla="*/ 668844 w 4158105"/>
                <a:gd name="connsiteY4" fmla="*/ 1079241 h 4110786"/>
                <a:gd name="connsiteX5" fmla="*/ 398124 w 4158105"/>
                <a:gd name="connsiteY5" fmla="*/ 919162 h 4110786"/>
                <a:gd name="connsiteX6" fmla="*/ 399753 w 4158105"/>
                <a:gd name="connsiteY6" fmla="*/ 920125 h 4110786"/>
                <a:gd name="connsiteX7" fmla="*/ 308772 w 4158105"/>
                <a:gd name="connsiteY7" fmla="*/ 1069886 h 4110786"/>
                <a:gd name="connsiteX8" fmla="*/ 307636 w 4158105"/>
                <a:gd name="connsiteY8" fmla="*/ 1069182 h 4110786"/>
                <a:gd name="connsiteX9" fmla="*/ 398124 w 4158105"/>
                <a:gd name="connsiteY9" fmla="*/ 919162 h 4110786"/>
                <a:gd name="connsiteX10" fmla="*/ 2106264 w 4158105"/>
                <a:gd name="connsiteY10" fmla="*/ 319178 h 4110786"/>
                <a:gd name="connsiteX11" fmla="*/ 2198792 w 4158105"/>
                <a:gd name="connsiteY11" fmla="*/ 323850 h 4110786"/>
                <a:gd name="connsiteX12" fmla="*/ 2019755 w 4158105"/>
                <a:gd name="connsiteY12" fmla="*/ 323850 h 4110786"/>
                <a:gd name="connsiteX13" fmla="*/ 2019755 w 4158105"/>
                <a:gd name="connsiteY13" fmla="*/ 323546 h 4110786"/>
                <a:gd name="connsiteX14" fmla="*/ 2106264 w 4158105"/>
                <a:gd name="connsiteY14" fmla="*/ 319178 h 4110786"/>
                <a:gd name="connsiteX15" fmla="*/ 2224351 w 4158105"/>
                <a:gd name="connsiteY15" fmla="*/ 13068 h 4110786"/>
                <a:gd name="connsiteX16" fmla="*/ 4158105 w 4158105"/>
                <a:gd name="connsiteY16" fmla="*/ 2058946 h 4110786"/>
                <a:gd name="connsiteX17" fmla="*/ 2106265 w 4158105"/>
                <a:gd name="connsiteY17" fmla="*/ 4110786 h 4110786"/>
                <a:gd name="connsiteX18" fmla="*/ 54424 w 4158105"/>
                <a:gd name="connsiteY18" fmla="*/ 2058946 h 4110786"/>
                <a:gd name="connsiteX19" fmla="*/ 574232 w 4158105"/>
                <a:gd name="connsiteY19" fmla="*/ 1234330 h 4110786"/>
                <a:gd name="connsiteX20" fmla="*/ 366497 w 4158105"/>
                <a:gd name="connsiteY20" fmla="*/ 2058945 h 4110786"/>
                <a:gd name="connsiteX21" fmla="*/ 2106264 w 4158105"/>
                <a:gd name="connsiteY21" fmla="*/ 3798712 h 4110786"/>
                <a:gd name="connsiteX22" fmla="*/ 3846030 w 4158105"/>
                <a:gd name="connsiteY22" fmla="*/ 2058945 h 4110786"/>
                <a:gd name="connsiteX23" fmla="*/ 2198792 w 4158105"/>
                <a:gd name="connsiteY23" fmla="*/ 323850 h 4110786"/>
                <a:gd name="connsiteX24" fmla="*/ 2219780 w 4158105"/>
                <a:gd name="connsiteY24" fmla="*/ 323850 h 4110786"/>
                <a:gd name="connsiteX25" fmla="*/ 2224351 w 4158105"/>
                <a:gd name="connsiteY25" fmla="*/ 13068 h 4110786"/>
                <a:gd name="connsiteX26" fmla="*/ 2019755 w 4158105"/>
                <a:gd name="connsiteY26" fmla="*/ 11473 h 4110786"/>
                <a:gd name="connsiteX27" fmla="*/ 2019755 w 4158105"/>
                <a:gd name="connsiteY27" fmla="*/ 323546 h 4110786"/>
                <a:gd name="connsiteX28" fmla="*/ 668844 w 4158105"/>
                <a:gd name="connsiteY28" fmla="*/ 1079241 h 4110786"/>
                <a:gd name="connsiteX29" fmla="*/ 399753 w 4158105"/>
                <a:gd name="connsiteY29" fmla="*/ 920125 h 4110786"/>
                <a:gd name="connsiteX30" fmla="*/ 2019755 w 4158105"/>
                <a:gd name="connsiteY30" fmla="*/ 11473 h 4110786"/>
                <a:gd name="connsiteX31" fmla="*/ 2224543 w 4158105"/>
                <a:gd name="connsiteY31" fmla="*/ 0 h 4110786"/>
                <a:gd name="connsiteX32" fmla="*/ 2224351 w 4158105"/>
                <a:gd name="connsiteY32" fmla="*/ 13068 h 4110786"/>
                <a:gd name="connsiteX33" fmla="*/ 2106265 w 4158105"/>
                <a:gd name="connsiteY33" fmla="*/ 7105 h 4110786"/>
                <a:gd name="connsiteX34" fmla="*/ 2019755 w 4158105"/>
                <a:gd name="connsiteY34" fmla="*/ 11473 h 4110786"/>
                <a:gd name="connsiteX35" fmla="*/ 2019755 w 4158105"/>
                <a:gd name="connsiteY35" fmla="*/ 2381 h 4110786"/>
                <a:gd name="connsiteX36" fmla="*/ 2224543 w 4158105"/>
                <a:gd name="connsiteY36" fmla="*/ 0 h 4110786"/>
                <a:gd name="connsiteX0-1" fmla="*/ 668844 w 4158105"/>
                <a:gd name="connsiteY0-2" fmla="*/ 1079241 h 4110786"/>
                <a:gd name="connsiteX1-3" fmla="*/ 671967 w 4158105"/>
                <a:gd name="connsiteY1-4" fmla="*/ 1081087 h 4110786"/>
                <a:gd name="connsiteX2-5" fmla="*/ 576717 w 4158105"/>
                <a:gd name="connsiteY2-6" fmla="*/ 1235869 h 4110786"/>
                <a:gd name="connsiteX3-7" fmla="*/ 574232 w 4158105"/>
                <a:gd name="connsiteY3-8" fmla="*/ 1234330 h 4110786"/>
                <a:gd name="connsiteX4-9" fmla="*/ 668844 w 4158105"/>
                <a:gd name="connsiteY4-10" fmla="*/ 1079241 h 4110786"/>
                <a:gd name="connsiteX5-11" fmla="*/ 398124 w 4158105"/>
                <a:gd name="connsiteY5-12" fmla="*/ 919162 h 4110786"/>
                <a:gd name="connsiteX6-13" fmla="*/ 399753 w 4158105"/>
                <a:gd name="connsiteY6-14" fmla="*/ 920125 h 4110786"/>
                <a:gd name="connsiteX7-15" fmla="*/ 308772 w 4158105"/>
                <a:gd name="connsiteY7-16" fmla="*/ 1069886 h 4110786"/>
                <a:gd name="connsiteX8-17" fmla="*/ 398124 w 4158105"/>
                <a:gd name="connsiteY8-18" fmla="*/ 919162 h 4110786"/>
                <a:gd name="connsiteX9-19" fmla="*/ 2106264 w 4158105"/>
                <a:gd name="connsiteY9-20" fmla="*/ 319178 h 4110786"/>
                <a:gd name="connsiteX10-21" fmla="*/ 2198792 w 4158105"/>
                <a:gd name="connsiteY10-22" fmla="*/ 323850 h 4110786"/>
                <a:gd name="connsiteX11-23" fmla="*/ 2019755 w 4158105"/>
                <a:gd name="connsiteY11-24" fmla="*/ 323850 h 4110786"/>
                <a:gd name="connsiteX12-25" fmla="*/ 2019755 w 4158105"/>
                <a:gd name="connsiteY12-26" fmla="*/ 323546 h 4110786"/>
                <a:gd name="connsiteX13-27" fmla="*/ 2106264 w 4158105"/>
                <a:gd name="connsiteY13-28" fmla="*/ 319178 h 4110786"/>
                <a:gd name="connsiteX14-29" fmla="*/ 2224351 w 4158105"/>
                <a:gd name="connsiteY14-30" fmla="*/ 13068 h 4110786"/>
                <a:gd name="connsiteX15-31" fmla="*/ 4158105 w 4158105"/>
                <a:gd name="connsiteY15-32" fmla="*/ 2058946 h 4110786"/>
                <a:gd name="connsiteX16-33" fmla="*/ 2106265 w 4158105"/>
                <a:gd name="connsiteY16-34" fmla="*/ 4110786 h 4110786"/>
                <a:gd name="connsiteX17-35" fmla="*/ 54424 w 4158105"/>
                <a:gd name="connsiteY17-36" fmla="*/ 2058946 h 4110786"/>
                <a:gd name="connsiteX18-37" fmla="*/ 574232 w 4158105"/>
                <a:gd name="connsiteY18-38" fmla="*/ 1234330 h 4110786"/>
                <a:gd name="connsiteX19-39" fmla="*/ 366497 w 4158105"/>
                <a:gd name="connsiteY19-40" fmla="*/ 2058945 h 4110786"/>
                <a:gd name="connsiteX20-41" fmla="*/ 2106264 w 4158105"/>
                <a:gd name="connsiteY20-42" fmla="*/ 3798712 h 4110786"/>
                <a:gd name="connsiteX21-43" fmla="*/ 3846030 w 4158105"/>
                <a:gd name="connsiteY21-44" fmla="*/ 2058945 h 4110786"/>
                <a:gd name="connsiteX22-45" fmla="*/ 2198792 w 4158105"/>
                <a:gd name="connsiteY22-46" fmla="*/ 323850 h 4110786"/>
                <a:gd name="connsiteX23-47" fmla="*/ 2219780 w 4158105"/>
                <a:gd name="connsiteY23-48" fmla="*/ 323850 h 4110786"/>
                <a:gd name="connsiteX24-49" fmla="*/ 2224351 w 4158105"/>
                <a:gd name="connsiteY24-50" fmla="*/ 13068 h 4110786"/>
                <a:gd name="connsiteX25-51" fmla="*/ 2019755 w 4158105"/>
                <a:gd name="connsiteY25-52" fmla="*/ 11473 h 4110786"/>
                <a:gd name="connsiteX26-53" fmla="*/ 2019755 w 4158105"/>
                <a:gd name="connsiteY26-54" fmla="*/ 323546 h 4110786"/>
                <a:gd name="connsiteX27-55" fmla="*/ 668844 w 4158105"/>
                <a:gd name="connsiteY27-56" fmla="*/ 1079241 h 4110786"/>
                <a:gd name="connsiteX28-57" fmla="*/ 399753 w 4158105"/>
                <a:gd name="connsiteY28-58" fmla="*/ 920125 h 4110786"/>
                <a:gd name="connsiteX29-59" fmla="*/ 2019755 w 4158105"/>
                <a:gd name="connsiteY29-60" fmla="*/ 11473 h 4110786"/>
                <a:gd name="connsiteX30-61" fmla="*/ 2224543 w 4158105"/>
                <a:gd name="connsiteY30-62" fmla="*/ 0 h 4110786"/>
                <a:gd name="connsiteX31-63" fmla="*/ 2224351 w 4158105"/>
                <a:gd name="connsiteY31-64" fmla="*/ 13068 h 4110786"/>
                <a:gd name="connsiteX32-65" fmla="*/ 2106265 w 4158105"/>
                <a:gd name="connsiteY32-66" fmla="*/ 7105 h 4110786"/>
                <a:gd name="connsiteX33-67" fmla="*/ 2019755 w 4158105"/>
                <a:gd name="connsiteY33-68" fmla="*/ 11473 h 4110786"/>
                <a:gd name="connsiteX34-69" fmla="*/ 2019755 w 4158105"/>
                <a:gd name="connsiteY34-70" fmla="*/ 2381 h 4110786"/>
                <a:gd name="connsiteX35-71" fmla="*/ 2224543 w 4158105"/>
                <a:gd name="connsiteY35-72" fmla="*/ 0 h 4110786"/>
                <a:gd name="connsiteX0-73" fmla="*/ 668844 w 4158105"/>
                <a:gd name="connsiteY0-74" fmla="*/ 1079241 h 4110786"/>
                <a:gd name="connsiteX1-75" fmla="*/ 671967 w 4158105"/>
                <a:gd name="connsiteY1-76" fmla="*/ 1081087 h 4110786"/>
                <a:gd name="connsiteX2-77" fmla="*/ 576717 w 4158105"/>
                <a:gd name="connsiteY2-78" fmla="*/ 1235869 h 4110786"/>
                <a:gd name="connsiteX3-79" fmla="*/ 574232 w 4158105"/>
                <a:gd name="connsiteY3-80" fmla="*/ 1234330 h 4110786"/>
                <a:gd name="connsiteX4-81" fmla="*/ 668844 w 4158105"/>
                <a:gd name="connsiteY4-82" fmla="*/ 1079241 h 4110786"/>
                <a:gd name="connsiteX5-83" fmla="*/ 398124 w 4158105"/>
                <a:gd name="connsiteY5-84" fmla="*/ 919162 h 4110786"/>
                <a:gd name="connsiteX6-85" fmla="*/ 399753 w 4158105"/>
                <a:gd name="connsiteY6-86" fmla="*/ 920125 h 4110786"/>
                <a:gd name="connsiteX7-87" fmla="*/ 398124 w 4158105"/>
                <a:gd name="connsiteY7-88" fmla="*/ 919162 h 4110786"/>
                <a:gd name="connsiteX8-89" fmla="*/ 2106264 w 4158105"/>
                <a:gd name="connsiteY8-90" fmla="*/ 319178 h 4110786"/>
                <a:gd name="connsiteX9-91" fmla="*/ 2198792 w 4158105"/>
                <a:gd name="connsiteY9-92" fmla="*/ 323850 h 4110786"/>
                <a:gd name="connsiteX10-93" fmla="*/ 2019755 w 4158105"/>
                <a:gd name="connsiteY10-94" fmla="*/ 323850 h 4110786"/>
                <a:gd name="connsiteX11-95" fmla="*/ 2019755 w 4158105"/>
                <a:gd name="connsiteY11-96" fmla="*/ 323546 h 4110786"/>
                <a:gd name="connsiteX12-97" fmla="*/ 2106264 w 4158105"/>
                <a:gd name="connsiteY12-98" fmla="*/ 319178 h 4110786"/>
                <a:gd name="connsiteX13-99" fmla="*/ 2224351 w 4158105"/>
                <a:gd name="connsiteY13-100" fmla="*/ 13068 h 4110786"/>
                <a:gd name="connsiteX14-101" fmla="*/ 4158105 w 4158105"/>
                <a:gd name="connsiteY14-102" fmla="*/ 2058946 h 4110786"/>
                <a:gd name="connsiteX15-103" fmla="*/ 2106265 w 4158105"/>
                <a:gd name="connsiteY15-104" fmla="*/ 4110786 h 4110786"/>
                <a:gd name="connsiteX16-105" fmla="*/ 54424 w 4158105"/>
                <a:gd name="connsiteY16-106" fmla="*/ 2058946 h 4110786"/>
                <a:gd name="connsiteX17-107" fmla="*/ 574232 w 4158105"/>
                <a:gd name="connsiteY17-108" fmla="*/ 1234330 h 4110786"/>
                <a:gd name="connsiteX18-109" fmla="*/ 366497 w 4158105"/>
                <a:gd name="connsiteY18-110" fmla="*/ 2058945 h 4110786"/>
                <a:gd name="connsiteX19-111" fmla="*/ 2106264 w 4158105"/>
                <a:gd name="connsiteY19-112" fmla="*/ 3798712 h 4110786"/>
                <a:gd name="connsiteX20-113" fmla="*/ 3846030 w 4158105"/>
                <a:gd name="connsiteY20-114" fmla="*/ 2058945 h 4110786"/>
                <a:gd name="connsiteX21-115" fmla="*/ 2198792 w 4158105"/>
                <a:gd name="connsiteY21-116" fmla="*/ 323850 h 4110786"/>
                <a:gd name="connsiteX22-117" fmla="*/ 2219780 w 4158105"/>
                <a:gd name="connsiteY22-118" fmla="*/ 323850 h 4110786"/>
                <a:gd name="connsiteX23-119" fmla="*/ 2224351 w 4158105"/>
                <a:gd name="connsiteY23-120" fmla="*/ 13068 h 4110786"/>
                <a:gd name="connsiteX24-121" fmla="*/ 2019755 w 4158105"/>
                <a:gd name="connsiteY24-122" fmla="*/ 11473 h 4110786"/>
                <a:gd name="connsiteX25-123" fmla="*/ 2019755 w 4158105"/>
                <a:gd name="connsiteY25-124" fmla="*/ 323546 h 4110786"/>
                <a:gd name="connsiteX26-125" fmla="*/ 668844 w 4158105"/>
                <a:gd name="connsiteY26-126" fmla="*/ 1079241 h 4110786"/>
                <a:gd name="connsiteX27-127" fmla="*/ 399753 w 4158105"/>
                <a:gd name="connsiteY27-128" fmla="*/ 920125 h 4110786"/>
                <a:gd name="connsiteX28-129" fmla="*/ 2019755 w 4158105"/>
                <a:gd name="connsiteY28-130" fmla="*/ 11473 h 4110786"/>
                <a:gd name="connsiteX29-131" fmla="*/ 2224543 w 4158105"/>
                <a:gd name="connsiteY29-132" fmla="*/ 0 h 4110786"/>
                <a:gd name="connsiteX30-133" fmla="*/ 2224351 w 4158105"/>
                <a:gd name="connsiteY30-134" fmla="*/ 13068 h 4110786"/>
                <a:gd name="connsiteX31-135" fmla="*/ 2106265 w 4158105"/>
                <a:gd name="connsiteY31-136" fmla="*/ 7105 h 4110786"/>
                <a:gd name="connsiteX32-137" fmla="*/ 2019755 w 4158105"/>
                <a:gd name="connsiteY32-138" fmla="*/ 11473 h 4110786"/>
                <a:gd name="connsiteX33-139" fmla="*/ 2019755 w 4158105"/>
                <a:gd name="connsiteY33-140" fmla="*/ 2381 h 4110786"/>
                <a:gd name="connsiteX34-141" fmla="*/ 2224543 w 4158105"/>
                <a:gd name="connsiteY34-142" fmla="*/ 0 h 4110786"/>
                <a:gd name="connsiteX0-143" fmla="*/ 739525 w 4228786"/>
                <a:gd name="connsiteY0-144" fmla="*/ 1079241 h 4110786"/>
                <a:gd name="connsiteX1-145" fmla="*/ 742648 w 4228786"/>
                <a:gd name="connsiteY1-146" fmla="*/ 1081087 h 4110786"/>
                <a:gd name="connsiteX2-147" fmla="*/ 647398 w 4228786"/>
                <a:gd name="connsiteY2-148" fmla="*/ 1235869 h 4110786"/>
                <a:gd name="connsiteX3-149" fmla="*/ 644913 w 4228786"/>
                <a:gd name="connsiteY3-150" fmla="*/ 1234330 h 4110786"/>
                <a:gd name="connsiteX4-151" fmla="*/ 739525 w 4228786"/>
                <a:gd name="connsiteY4-152" fmla="*/ 1079241 h 4110786"/>
                <a:gd name="connsiteX5-153" fmla="*/ 468805 w 4228786"/>
                <a:gd name="connsiteY5-154" fmla="*/ 919162 h 4110786"/>
                <a:gd name="connsiteX6-155" fmla="*/ 470434 w 4228786"/>
                <a:gd name="connsiteY6-156" fmla="*/ 920125 h 4110786"/>
                <a:gd name="connsiteX7-157" fmla="*/ 468805 w 4228786"/>
                <a:gd name="connsiteY7-158" fmla="*/ 919162 h 4110786"/>
                <a:gd name="connsiteX8-159" fmla="*/ 2176945 w 4228786"/>
                <a:gd name="connsiteY8-160" fmla="*/ 319178 h 4110786"/>
                <a:gd name="connsiteX9-161" fmla="*/ 2269473 w 4228786"/>
                <a:gd name="connsiteY9-162" fmla="*/ 323850 h 4110786"/>
                <a:gd name="connsiteX10-163" fmla="*/ 2090436 w 4228786"/>
                <a:gd name="connsiteY10-164" fmla="*/ 323850 h 4110786"/>
                <a:gd name="connsiteX11-165" fmla="*/ 2090436 w 4228786"/>
                <a:gd name="connsiteY11-166" fmla="*/ 323546 h 4110786"/>
                <a:gd name="connsiteX12-167" fmla="*/ 2176945 w 4228786"/>
                <a:gd name="connsiteY12-168" fmla="*/ 319178 h 4110786"/>
                <a:gd name="connsiteX13-169" fmla="*/ 2295032 w 4228786"/>
                <a:gd name="connsiteY13-170" fmla="*/ 13068 h 4110786"/>
                <a:gd name="connsiteX14-171" fmla="*/ 4228786 w 4228786"/>
                <a:gd name="connsiteY14-172" fmla="*/ 2058946 h 4110786"/>
                <a:gd name="connsiteX15-173" fmla="*/ 2176946 w 4228786"/>
                <a:gd name="connsiteY15-174" fmla="*/ 4110786 h 4110786"/>
                <a:gd name="connsiteX16-175" fmla="*/ 125105 w 4228786"/>
                <a:gd name="connsiteY16-176" fmla="*/ 2058946 h 4110786"/>
                <a:gd name="connsiteX17-177" fmla="*/ 437178 w 4228786"/>
                <a:gd name="connsiteY17-178" fmla="*/ 2058945 h 4110786"/>
                <a:gd name="connsiteX18-179" fmla="*/ 2176945 w 4228786"/>
                <a:gd name="connsiteY18-180" fmla="*/ 3798712 h 4110786"/>
                <a:gd name="connsiteX19-181" fmla="*/ 3916711 w 4228786"/>
                <a:gd name="connsiteY19-182" fmla="*/ 2058945 h 4110786"/>
                <a:gd name="connsiteX20-183" fmla="*/ 2269473 w 4228786"/>
                <a:gd name="connsiteY20-184" fmla="*/ 323850 h 4110786"/>
                <a:gd name="connsiteX21-185" fmla="*/ 2290461 w 4228786"/>
                <a:gd name="connsiteY21-186" fmla="*/ 323850 h 4110786"/>
                <a:gd name="connsiteX22-187" fmla="*/ 2295032 w 4228786"/>
                <a:gd name="connsiteY22-188" fmla="*/ 13068 h 4110786"/>
                <a:gd name="connsiteX23-189" fmla="*/ 2090436 w 4228786"/>
                <a:gd name="connsiteY23-190" fmla="*/ 11473 h 4110786"/>
                <a:gd name="connsiteX24-191" fmla="*/ 2090436 w 4228786"/>
                <a:gd name="connsiteY24-192" fmla="*/ 323546 h 4110786"/>
                <a:gd name="connsiteX25-193" fmla="*/ 739525 w 4228786"/>
                <a:gd name="connsiteY25-194" fmla="*/ 1079241 h 4110786"/>
                <a:gd name="connsiteX26-195" fmla="*/ 470434 w 4228786"/>
                <a:gd name="connsiteY26-196" fmla="*/ 920125 h 4110786"/>
                <a:gd name="connsiteX27-197" fmla="*/ 2090436 w 4228786"/>
                <a:gd name="connsiteY27-198" fmla="*/ 11473 h 4110786"/>
                <a:gd name="connsiteX28-199" fmla="*/ 2295224 w 4228786"/>
                <a:gd name="connsiteY28-200" fmla="*/ 0 h 4110786"/>
                <a:gd name="connsiteX29-201" fmla="*/ 2295032 w 4228786"/>
                <a:gd name="connsiteY29-202" fmla="*/ 13068 h 4110786"/>
                <a:gd name="connsiteX30-203" fmla="*/ 2176946 w 4228786"/>
                <a:gd name="connsiteY30-204" fmla="*/ 7105 h 4110786"/>
                <a:gd name="connsiteX31-205" fmla="*/ 2090436 w 4228786"/>
                <a:gd name="connsiteY31-206" fmla="*/ 11473 h 4110786"/>
                <a:gd name="connsiteX32-207" fmla="*/ 2090436 w 4228786"/>
                <a:gd name="connsiteY32-208" fmla="*/ 2381 h 4110786"/>
                <a:gd name="connsiteX33-209" fmla="*/ 2295224 w 4228786"/>
                <a:gd name="connsiteY33-210" fmla="*/ 0 h 4110786"/>
                <a:gd name="connsiteX0-211" fmla="*/ 739525 w 4228786"/>
                <a:gd name="connsiteY0-212" fmla="*/ 1079241 h 4110786"/>
                <a:gd name="connsiteX1-213" fmla="*/ 742648 w 4228786"/>
                <a:gd name="connsiteY1-214" fmla="*/ 1081087 h 4110786"/>
                <a:gd name="connsiteX2-215" fmla="*/ 647398 w 4228786"/>
                <a:gd name="connsiteY2-216" fmla="*/ 1235869 h 4110786"/>
                <a:gd name="connsiteX3-217" fmla="*/ 739525 w 4228786"/>
                <a:gd name="connsiteY3-218" fmla="*/ 1079241 h 4110786"/>
                <a:gd name="connsiteX4-219" fmla="*/ 468805 w 4228786"/>
                <a:gd name="connsiteY4-220" fmla="*/ 919162 h 4110786"/>
                <a:gd name="connsiteX5-221" fmla="*/ 470434 w 4228786"/>
                <a:gd name="connsiteY5-222" fmla="*/ 920125 h 4110786"/>
                <a:gd name="connsiteX6-223" fmla="*/ 468805 w 4228786"/>
                <a:gd name="connsiteY6-224" fmla="*/ 919162 h 4110786"/>
                <a:gd name="connsiteX7-225" fmla="*/ 2176945 w 4228786"/>
                <a:gd name="connsiteY7-226" fmla="*/ 319178 h 4110786"/>
                <a:gd name="connsiteX8-227" fmla="*/ 2269473 w 4228786"/>
                <a:gd name="connsiteY8-228" fmla="*/ 323850 h 4110786"/>
                <a:gd name="connsiteX9-229" fmla="*/ 2090436 w 4228786"/>
                <a:gd name="connsiteY9-230" fmla="*/ 323850 h 4110786"/>
                <a:gd name="connsiteX10-231" fmla="*/ 2090436 w 4228786"/>
                <a:gd name="connsiteY10-232" fmla="*/ 323546 h 4110786"/>
                <a:gd name="connsiteX11-233" fmla="*/ 2176945 w 4228786"/>
                <a:gd name="connsiteY11-234" fmla="*/ 319178 h 4110786"/>
                <a:gd name="connsiteX12-235" fmla="*/ 2295032 w 4228786"/>
                <a:gd name="connsiteY12-236" fmla="*/ 13068 h 4110786"/>
                <a:gd name="connsiteX13-237" fmla="*/ 4228786 w 4228786"/>
                <a:gd name="connsiteY13-238" fmla="*/ 2058946 h 4110786"/>
                <a:gd name="connsiteX14-239" fmla="*/ 2176946 w 4228786"/>
                <a:gd name="connsiteY14-240" fmla="*/ 4110786 h 4110786"/>
                <a:gd name="connsiteX15-241" fmla="*/ 125105 w 4228786"/>
                <a:gd name="connsiteY15-242" fmla="*/ 2058946 h 4110786"/>
                <a:gd name="connsiteX16-243" fmla="*/ 437178 w 4228786"/>
                <a:gd name="connsiteY16-244" fmla="*/ 2058945 h 4110786"/>
                <a:gd name="connsiteX17-245" fmla="*/ 2176945 w 4228786"/>
                <a:gd name="connsiteY17-246" fmla="*/ 3798712 h 4110786"/>
                <a:gd name="connsiteX18-247" fmla="*/ 3916711 w 4228786"/>
                <a:gd name="connsiteY18-248" fmla="*/ 2058945 h 4110786"/>
                <a:gd name="connsiteX19-249" fmla="*/ 2269473 w 4228786"/>
                <a:gd name="connsiteY19-250" fmla="*/ 323850 h 4110786"/>
                <a:gd name="connsiteX20-251" fmla="*/ 2290461 w 4228786"/>
                <a:gd name="connsiteY20-252" fmla="*/ 323850 h 4110786"/>
                <a:gd name="connsiteX21-253" fmla="*/ 2295032 w 4228786"/>
                <a:gd name="connsiteY21-254" fmla="*/ 13068 h 4110786"/>
                <a:gd name="connsiteX22-255" fmla="*/ 2090436 w 4228786"/>
                <a:gd name="connsiteY22-256" fmla="*/ 11473 h 4110786"/>
                <a:gd name="connsiteX23-257" fmla="*/ 2090436 w 4228786"/>
                <a:gd name="connsiteY23-258" fmla="*/ 323546 h 4110786"/>
                <a:gd name="connsiteX24-259" fmla="*/ 739525 w 4228786"/>
                <a:gd name="connsiteY24-260" fmla="*/ 1079241 h 4110786"/>
                <a:gd name="connsiteX25-261" fmla="*/ 470434 w 4228786"/>
                <a:gd name="connsiteY25-262" fmla="*/ 920125 h 4110786"/>
                <a:gd name="connsiteX26-263" fmla="*/ 2090436 w 4228786"/>
                <a:gd name="connsiteY26-264" fmla="*/ 11473 h 4110786"/>
                <a:gd name="connsiteX27-265" fmla="*/ 2295224 w 4228786"/>
                <a:gd name="connsiteY27-266" fmla="*/ 0 h 4110786"/>
                <a:gd name="connsiteX28-267" fmla="*/ 2295032 w 4228786"/>
                <a:gd name="connsiteY28-268" fmla="*/ 13068 h 4110786"/>
                <a:gd name="connsiteX29-269" fmla="*/ 2176946 w 4228786"/>
                <a:gd name="connsiteY29-270" fmla="*/ 7105 h 4110786"/>
                <a:gd name="connsiteX30-271" fmla="*/ 2090436 w 4228786"/>
                <a:gd name="connsiteY30-272" fmla="*/ 11473 h 4110786"/>
                <a:gd name="connsiteX31-273" fmla="*/ 2090436 w 4228786"/>
                <a:gd name="connsiteY31-274" fmla="*/ 2381 h 4110786"/>
                <a:gd name="connsiteX32-275" fmla="*/ 2295224 w 4228786"/>
                <a:gd name="connsiteY32-276" fmla="*/ 0 h 4110786"/>
                <a:gd name="connsiteX0-277" fmla="*/ 739525 w 4228786"/>
                <a:gd name="connsiteY0-278" fmla="*/ 1079241 h 4110786"/>
                <a:gd name="connsiteX1-279" fmla="*/ 742648 w 4228786"/>
                <a:gd name="connsiteY1-280" fmla="*/ 1081087 h 4110786"/>
                <a:gd name="connsiteX2-281" fmla="*/ 739525 w 4228786"/>
                <a:gd name="connsiteY2-282" fmla="*/ 1079241 h 4110786"/>
                <a:gd name="connsiteX3-283" fmla="*/ 468805 w 4228786"/>
                <a:gd name="connsiteY3-284" fmla="*/ 919162 h 4110786"/>
                <a:gd name="connsiteX4-285" fmla="*/ 470434 w 4228786"/>
                <a:gd name="connsiteY4-286" fmla="*/ 920125 h 4110786"/>
                <a:gd name="connsiteX5-287" fmla="*/ 468805 w 4228786"/>
                <a:gd name="connsiteY5-288" fmla="*/ 919162 h 4110786"/>
                <a:gd name="connsiteX6-289" fmla="*/ 2176945 w 4228786"/>
                <a:gd name="connsiteY6-290" fmla="*/ 319178 h 4110786"/>
                <a:gd name="connsiteX7-291" fmla="*/ 2269473 w 4228786"/>
                <a:gd name="connsiteY7-292" fmla="*/ 323850 h 4110786"/>
                <a:gd name="connsiteX8-293" fmla="*/ 2090436 w 4228786"/>
                <a:gd name="connsiteY8-294" fmla="*/ 323850 h 4110786"/>
                <a:gd name="connsiteX9-295" fmla="*/ 2090436 w 4228786"/>
                <a:gd name="connsiteY9-296" fmla="*/ 323546 h 4110786"/>
                <a:gd name="connsiteX10-297" fmla="*/ 2176945 w 4228786"/>
                <a:gd name="connsiteY10-298" fmla="*/ 319178 h 4110786"/>
                <a:gd name="connsiteX11-299" fmla="*/ 2295032 w 4228786"/>
                <a:gd name="connsiteY11-300" fmla="*/ 13068 h 4110786"/>
                <a:gd name="connsiteX12-301" fmla="*/ 4228786 w 4228786"/>
                <a:gd name="connsiteY12-302" fmla="*/ 2058946 h 4110786"/>
                <a:gd name="connsiteX13-303" fmla="*/ 2176946 w 4228786"/>
                <a:gd name="connsiteY13-304" fmla="*/ 4110786 h 4110786"/>
                <a:gd name="connsiteX14-305" fmla="*/ 125105 w 4228786"/>
                <a:gd name="connsiteY14-306" fmla="*/ 2058946 h 4110786"/>
                <a:gd name="connsiteX15-307" fmla="*/ 437178 w 4228786"/>
                <a:gd name="connsiteY15-308" fmla="*/ 2058945 h 4110786"/>
                <a:gd name="connsiteX16-309" fmla="*/ 2176945 w 4228786"/>
                <a:gd name="connsiteY16-310" fmla="*/ 3798712 h 4110786"/>
                <a:gd name="connsiteX17-311" fmla="*/ 3916711 w 4228786"/>
                <a:gd name="connsiteY17-312" fmla="*/ 2058945 h 4110786"/>
                <a:gd name="connsiteX18-313" fmla="*/ 2269473 w 4228786"/>
                <a:gd name="connsiteY18-314" fmla="*/ 323850 h 4110786"/>
                <a:gd name="connsiteX19-315" fmla="*/ 2290461 w 4228786"/>
                <a:gd name="connsiteY19-316" fmla="*/ 323850 h 4110786"/>
                <a:gd name="connsiteX20-317" fmla="*/ 2295032 w 4228786"/>
                <a:gd name="connsiteY20-318" fmla="*/ 13068 h 4110786"/>
                <a:gd name="connsiteX21-319" fmla="*/ 2090436 w 4228786"/>
                <a:gd name="connsiteY21-320" fmla="*/ 11473 h 4110786"/>
                <a:gd name="connsiteX22-321" fmla="*/ 2090436 w 4228786"/>
                <a:gd name="connsiteY22-322" fmla="*/ 323546 h 4110786"/>
                <a:gd name="connsiteX23-323" fmla="*/ 739525 w 4228786"/>
                <a:gd name="connsiteY23-324" fmla="*/ 1079241 h 4110786"/>
                <a:gd name="connsiteX24-325" fmla="*/ 470434 w 4228786"/>
                <a:gd name="connsiteY24-326" fmla="*/ 920125 h 4110786"/>
                <a:gd name="connsiteX25-327" fmla="*/ 2090436 w 4228786"/>
                <a:gd name="connsiteY25-328" fmla="*/ 11473 h 4110786"/>
                <a:gd name="connsiteX26-329" fmla="*/ 2295224 w 4228786"/>
                <a:gd name="connsiteY26-330" fmla="*/ 0 h 4110786"/>
                <a:gd name="connsiteX27-331" fmla="*/ 2295032 w 4228786"/>
                <a:gd name="connsiteY27-332" fmla="*/ 13068 h 4110786"/>
                <a:gd name="connsiteX28-333" fmla="*/ 2176946 w 4228786"/>
                <a:gd name="connsiteY28-334" fmla="*/ 7105 h 4110786"/>
                <a:gd name="connsiteX29-335" fmla="*/ 2090436 w 4228786"/>
                <a:gd name="connsiteY29-336" fmla="*/ 11473 h 4110786"/>
                <a:gd name="connsiteX30-337" fmla="*/ 2090436 w 4228786"/>
                <a:gd name="connsiteY30-338" fmla="*/ 2381 h 4110786"/>
                <a:gd name="connsiteX31-339" fmla="*/ 2295224 w 4228786"/>
                <a:gd name="connsiteY31-340" fmla="*/ 0 h 4110786"/>
                <a:gd name="connsiteX0-341" fmla="*/ 739525 w 4228786"/>
                <a:gd name="connsiteY0-342" fmla="*/ 1079241 h 4110786"/>
                <a:gd name="connsiteX1-343" fmla="*/ 742648 w 4228786"/>
                <a:gd name="connsiteY1-344" fmla="*/ 1081087 h 4110786"/>
                <a:gd name="connsiteX2-345" fmla="*/ 739525 w 4228786"/>
                <a:gd name="connsiteY2-346" fmla="*/ 1079241 h 4110786"/>
                <a:gd name="connsiteX3-347" fmla="*/ 468805 w 4228786"/>
                <a:gd name="connsiteY3-348" fmla="*/ 919162 h 4110786"/>
                <a:gd name="connsiteX4-349" fmla="*/ 470434 w 4228786"/>
                <a:gd name="connsiteY4-350" fmla="*/ 920125 h 4110786"/>
                <a:gd name="connsiteX5-351" fmla="*/ 468805 w 4228786"/>
                <a:gd name="connsiteY5-352" fmla="*/ 919162 h 4110786"/>
                <a:gd name="connsiteX6-353" fmla="*/ 2176945 w 4228786"/>
                <a:gd name="connsiteY6-354" fmla="*/ 319178 h 4110786"/>
                <a:gd name="connsiteX7-355" fmla="*/ 2269473 w 4228786"/>
                <a:gd name="connsiteY7-356" fmla="*/ 323850 h 4110786"/>
                <a:gd name="connsiteX8-357" fmla="*/ 2090436 w 4228786"/>
                <a:gd name="connsiteY8-358" fmla="*/ 323850 h 4110786"/>
                <a:gd name="connsiteX9-359" fmla="*/ 2090436 w 4228786"/>
                <a:gd name="connsiteY9-360" fmla="*/ 323546 h 4110786"/>
                <a:gd name="connsiteX10-361" fmla="*/ 2176945 w 4228786"/>
                <a:gd name="connsiteY10-362" fmla="*/ 319178 h 4110786"/>
                <a:gd name="connsiteX11-363" fmla="*/ 2295032 w 4228786"/>
                <a:gd name="connsiteY11-364" fmla="*/ 13068 h 4110786"/>
                <a:gd name="connsiteX12-365" fmla="*/ 4228786 w 4228786"/>
                <a:gd name="connsiteY12-366" fmla="*/ 2058946 h 4110786"/>
                <a:gd name="connsiteX13-367" fmla="*/ 2176946 w 4228786"/>
                <a:gd name="connsiteY13-368" fmla="*/ 4110786 h 4110786"/>
                <a:gd name="connsiteX14-369" fmla="*/ 125105 w 4228786"/>
                <a:gd name="connsiteY14-370" fmla="*/ 2058946 h 4110786"/>
                <a:gd name="connsiteX15-371" fmla="*/ 437178 w 4228786"/>
                <a:gd name="connsiteY15-372" fmla="*/ 2058945 h 4110786"/>
                <a:gd name="connsiteX16-373" fmla="*/ 2176945 w 4228786"/>
                <a:gd name="connsiteY16-374" fmla="*/ 3798712 h 4110786"/>
                <a:gd name="connsiteX17-375" fmla="*/ 3916711 w 4228786"/>
                <a:gd name="connsiteY17-376" fmla="*/ 2058945 h 4110786"/>
                <a:gd name="connsiteX18-377" fmla="*/ 2269473 w 4228786"/>
                <a:gd name="connsiteY18-378" fmla="*/ 323850 h 4110786"/>
                <a:gd name="connsiteX19-379" fmla="*/ 2290461 w 4228786"/>
                <a:gd name="connsiteY19-380" fmla="*/ 323850 h 4110786"/>
                <a:gd name="connsiteX20-381" fmla="*/ 2295032 w 4228786"/>
                <a:gd name="connsiteY20-382" fmla="*/ 13068 h 4110786"/>
                <a:gd name="connsiteX21-383" fmla="*/ 2090436 w 4228786"/>
                <a:gd name="connsiteY21-384" fmla="*/ 11473 h 4110786"/>
                <a:gd name="connsiteX22-385" fmla="*/ 2090436 w 4228786"/>
                <a:gd name="connsiteY22-386" fmla="*/ 323546 h 4110786"/>
                <a:gd name="connsiteX23-387" fmla="*/ 739525 w 4228786"/>
                <a:gd name="connsiteY23-388" fmla="*/ 1079241 h 4110786"/>
                <a:gd name="connsiteX24-389" fmla="*/ 470434 w 4228786"/>
                <a:gd name="connsiteY24-390" fmla="*/ 920125 h 4110786"/>
                <a:gd name="connsiteX25-391" fmla="*/ 2090436 w 4228786"/>
                <a:gd name="connsiteY25-392" fmla="*/ 11473 h 4110786"/>
                <a:gd name="connsiteX26-393" fmla="*/ 2295224 w 4228786"/>
                <a:gd name="connsiteY26-394" fmla="*/ 0 h 4110786"/>
                <a:gd name="connsiteX27-395" fmla="*/ 2176946 w 4228786"/>
                <a:gd name="connsiteY27-396" fmla="*/ 7105 h 4110786"/>
                <a:gd name="connsiteX28-397" fmla="*/ 2090436 w 4228786"/>
                <a:gd name="connsiteY28-398" fmla="*/ 11473 h 4110786"/>
                <a:gd name="connsiteX29-399" fmla="*/ 2090436 w 4228786"/>
                <a:gd name="connsiteY29-400" fmla="*/ 2381 h 4110786"/>
                <a:gd name="connsiteX30-401" fmla="*/ 2295224 w 4228786"/>
                <a:gd name="connsiteY30-402" fmla="*/ 0 h 4110786"/>
                <a:gd name="connsiteX0-403" fmla="*/ 739525 w 4228949"/>
                <a:gd name="connsiteY0-404" fmla="*/ 1079241 h 4110786"/>
                <a:gd name="connsiteX1-405" fmla="*/ 742648 w 4228949"/>
                <a:gd name="connsiteY1-406" fmla="*/ 1081087 h 4110786"/>
                <a:gd name="connsiteX2-407" fmla="*/ 739525 w 4228949"/>
                <a:gd name="connsiteY2-408" fmla="*/ 1079241 h 4110786"/>
                <a:gd name="connsiteX3-409" fmla="*/ 468805 w 4228949"/>
                <a:gd name="connsiteY3-410" fmla="*/ 919162 h 4110786"/>
                <a:gd name="connsiteX4-411" fmla="*/ 470434 w 4228949"/>
                <a:gd name="connsiteY4-412" fmla="*/ 920125 h 4110786"/>
                <a:gd name="connsiteX5-413" fmla="*/ 468805 w 4228949"/>
                <a:gd name="connsiteY5-414" fmla="*/ 919162 h 4110786"/>
                <a:gd name="connsiteX6-415" fmla="*/ 2176945 w 4228949"/>
                <a:gd name="connsiteY6-416" fmla="*/ 319178 h 4110786"/>
                <a:gd name="connsiteX7-417" fmla="*/ 2269473 w 4228949"/>
                <a:gd name="connsiteY7-418" fmla="*/ 323850 h 4110786"/>
                <a:gd name="connsiteX8-419" fmla="*/ 2090436 w 4228949"/>
                <a:gd name="connsiteY8-420" fmla="*/ 323850 h 4110786"/>
                <a:gd name="connsiteX9-421" fmla="*/ 2090436 w 4228949"/>
                <a:gd name="connsiteY9-422" fmla="*/ 323546 h 4110786"/>
                <a:gd name="connsiteX10-423" fmla="*/ 2176945 w 4228949"/>
                <a:gd name="connsiteY10-424" fmla="*/ 319178 h 4110786"/>
                <a:gd name="connsiteX11-425" fmla="*/ 2290461 w 4228949"/>
                <a:gd name="connsiteY11-426" fmla="*/ 323850 h 4110786"/>
                <a:gd name="connsiteX12-427" fmla="*/ 4228786 w 4228949"/>
                <a:gd name="connsiteY12-428" fmla="*/ 2058946 h 4110786"/>
                <a:gd name="connsiteX13-429" fmla="*/ 2176946 w 4228949"/>
                <a:gd name="connsiteY13-430" fmla="*/ 4110786 h 4110786"/>
                <a:gd name="connsiteX14-431" fmla="*/ 125105 w 4228949"/>
                <a:gd name="connsiteY14-432" fmla="*/ 2058946 h 4110786"/>
                <a:gd name="connsiteX15-433" fmla="*/ 437178 w 4228949"/>
                <a:gd name="connsiteY15-434" fmla="*/ 2058945 h 4110786"/>
                <a:gd name="connsiteX16-435" fmla="*/ 2176945 w 4228949"/>
                <a:gd name="connsiteY16-436" fmla="*/ 3798712 h 4110786"/>
                <a:gd name="connsiteX17-437" fmla="*/ 3916711 w 4228949"/>
                <a:gd name="connsiteY17-438" fmla="*/ 2058945 h 4110786"/>
                <a:gd name="connsiteX18-439" fmla="*/ 2269473 w 4228949"/>
                <a:gd name="connsiteY18-440" fmla="*/ 323850 h 4110786"/>
                <a:gd name="connsiteX19-441" fmla="*/ 2290461 w 4228949"/>
                <a:gd name="connsiteY19-442" fmla="*/ 323850 h 4110786"/>
                <a:gd name="connsiteX20-443" fmla="*/ 2090436 w 4228949"/>
                <a:gd name="connsiteY20-444" fmla="*/ 11473 h 4110786"/>
                <a:gd name="connsiteX21-445" fmla="*/ 2090436 w 4228949"/>
                <a:gd name="connsiteY21-446" fmla="*/ 323546 h 4110786"/>
                <a:gd name="connsiteX22-447" fmla="*/ 739525 w 4228949"/>
                <a:gd name="connsiteY22-448" fmla="*/ 1079241 h 4110786"/>
                <a:gd name="connsiteX23-449" fmla="*/ 470434 w 4228949"/>
                <a:gd name="connsiteY23-450" fmla="*/ 920125 h 4110786"/>
                <a:gd name="connsiteX24-451" fmla="*/ 2090436 w 4228949"/>
                <a:gd name="connsiteY24-452" fmla="*/ 11473 h 4110786"/>
                <a:gd name="connsiteX25-453" fmla="*/ 2295224 w 4228949"/>
                <a:gd name="connsiteY25-454" fmla="*/ 0 h 4110786"/>
                <a:gd name="connsiteX26-455" fmla="*/ 2176946 w 4228949"/>
                <a:gd name="connsiteY26-456" fmla="*/ 7105 h 4110786"/>
                <a:gd name="connsiteX27-457" fmla="*/ 2090436 w 4228949"/>
                <a:gd name="connsiteY27-458" fmla="*/ 11473 h 4110786"/>
                <a:gd name="connsiteX28-459" fmla="*/ 2090436 w 4228949"/>
                <a:gd name="connsiteY28-460" fmla="*/ 2381 h 4110786"/>
                <a:gd name="connsiteX29-461" fmla="*/ 2295224 w 4228949"/>
                <a:gd name="connsiteY29-462" fmla="*/ 0 h 4110786"/>
                <a:gd name="connsiteX0-463" fmla="*/ 739525 w 4228949"/>
                <a:gd name="connsiteY0-464" fmla="*/ 1076860 h 4108405"/>
                <a:gd name="connsiteX1-465" fmla="*/ 742648 w 4228949"/>
                <a:gd name="connsiteY1-466" fmla="*/ 1078706 h 4108405"/>
                <a:gd name="connsiteX2-467" fmla="*/ 739525 w 4228949"/>
                <a:gd name="connsiteY2-468" fmla="*/ 1076860 h 4108405"/>
                <a:gd name="connsiteX3-469" fmla="*/ 468805 w 4228949"/>
                <a:gd name="connsiteY3-470" fmla="*/ 916781 h 4108405"/>
                <a:gd name="connsiteX4-471" fmla="*/ 470434 w 4228949"/>
                <a:gd name="connsiteY4-472" fmla="*/ 917744 h 4108405"/>
                <a:gd name="connsiteX5-473" fmla="*/ 468805 w 4228949"/>
                <a:gd name="connsiteY5-474" fmla="*/ 916781 h 4108405"/>
                <a:gd name="connsiteX6-475" fmla="*/ 2176945 w 4228949"/>
                <a:gd name="connsiteY6-476" fmla="*/ 316797 h 4108405"/>
                <a:gd name="connsiteX7-477" fmla="*/ 2269473 w 4228949"/>
                <a:gd name="connsiteY7-478" fmla="*/ 321469 h 4108405"/>
                <a:gd name="connsiteX8-479" fmla="*/ 2090436 w 4228949"/>
                <a:gd name="connsiteY8-480" fmla="*/ 321469 h 4108405"/>
                <a:gd name="connsiteX9-481" fmla="*/ 2090436 w 4228949"/>
                <a:gd name="connsiteY9-482" fmla="*/ 321165 h 4108405"/>
                <a:gd name="connsiteX10-483" fmla="*/ 2176945 w 4228949"/>
                <a:gd name="connsiteY10-484" fmla="*/ 316797 h 4108405"/>
                <a:gd name="connsiteX11-485" fmla="*/ 2290461 w 4228949"/>
                <a:gd name="connsiteY11-486" fmla="*/ 321469 h 4108405"/>
                <a:gd name="connsiteX12-487" fmla="*/ 4228786 w 4228949"/>
                <a:gd name="connsiteY12-488" fmla="*/ 2056565 h 4108405"/>
                <a:gd name="connsiteX13-489" fmla="*/ 2176946 w 4228949"/>
                <a:gd name="connsiteY13-490" fmla="*/ 4108405 h 4108405"/>
                <a:gd name="connsiteX14-491" fmla="*/ 125105 w 4228949"/>
                <a:gd name="connsiteY14-492" fmla="*/ 2056565 h 4108405"/>
                <a:gd name="connsiteX15-493" fmla="*/ 437178 w 4228949"/>
                <a:gd name="connsiteY15-494" fmla="*/ 2056564 h 4108405"/>
                <a:gd name="connsiteX16-495" fmla="*/ 2176945 w 4228949"/>
                <a:gd name="connsiteY16-496" fmla="*/ 3796331 h 4108405"/>
                <a:gd name="connsiteX17-497" fmla="*/ 3916711 w 4228949"/>
                <a:gd name="connsiteY17-498" fmla="*/ 2056564 h 4108405"/>
                <a:gd name="connsiteX18-499" fmla="*/ 2269473 w 4228949"/>
                <a:gd name="connsiteY18-500" fmla="*/ 321469 h 4108405"/>
                <a:gd name="connsiteX19-501" fmla="*/ 2290461 w 4228949"/>
                <a:gd name="connsiteY19-502" fmla="*/ 321469 h 4108405"/>
                <a:gd name="connsiteX20-503" fmla="*/ 2090436 w 4228949"/>
                <a:gd name="connsiteY20-504" fmla="*/ 9092 h 4108405"/>
                <a:gd name="connsiteX21-505" fmla="*/ 2090436 w 4228949"/>
                <a:gd name="connsiteY21-506" fmla="*/ 321165 h 4108405"/>
                <a:gd name="connsiteX22-507" fmla="*/ 739525 w 4228949"/>
                <a:gd name="connsiteY22-508" fmla="*/ 1076860 h 4108405"/>
                <a:gd name="connsiteX23-509" fmla="*/ 470434 w 4228949"/>
                <a:gd name="connsiteY23-510" fmla="*/ 917744 h 4108405"/>
                <a:gd name="connsiteX24-511" fmla="*/ 2090436 w 4228949"/>
                <a:gd name="connsiteY24-512" fmla="*/ 9092 h 4108405"/>
                <a:gd name="connsiteX25-513" fmla="*/ 2090436 w 4228949"/>
                <a:gd name="connsiteY25-514" fmla="*/ 0 h 4108405"/>
                <a:gd name="connsiteX26-515" fmla="*/ 2176946 w 4228949"/>
                <a:gd name="connsiteY26-516" fmla="*/ 4724 h 4108405"/>
                <a:gd name="connsiteX27-517" fmla="*/ 2090436 w 4228949"/>
                <a:gd name="connsiteY27-518" fmla="*/ 9092 h 4108405"/>
                <a:gd name="connsiteX28-519" fmla="*/ 2090436 w 4228949"/>
                <a:gd name="connsiteY28-520" fmla="*/ 0 h 4108405"/>
                <a:gd name="connsiteX0-521" fmla="*/ 739525 w 4228949"/>
                <a:gd name="connsiteY0-522" fmla="*/ 1076860 h 4108405"/>
                <a:gd name="connsiteX1-523" fmla="*/ 742648 w 4228949"/>
                <a:gd name="connsiteY1-524" fmla="*/ 1078706 h 4108405"/>
                <a:gd name="connsiteX2-525" fmla="*/ 739525 w 4228949"/>
                <a:gd name="connsiteY2-526" fmla="*/ 1076860 h 4108405"/>
                <a:gd name="connsiteX3-527" fmla="*/ 468805 w 4228949"/>
                <a:gd name="connsiteY3-528" fmla="*/ 916781 h 4108405"/>
                <a:gd name="connsiteX4-529" fmla="*/ 470434 w 4228949"/>
                <a:gd name="connsiteY4-530" fmla="*/ 917744 h 4108405"/>
                <a:gd name="connsiteX5-531" fmla="*/ 468805 w 4228949"/>
                <a:gd name="connsiteY5-532" fmla="*/ 916781 h 4108405"/>
                <a:gd name="connsiteX6-533" fmla="*/ 2176945 w 4228949"/>
                <a:gd name="connsiteY6-534" fmla="*/ 316797 h 4108405"/>
                <a:gd name="connsiteX7-535" fmla="*/ 2269473 w 4228949"/>
                <a:gd name="connsiteY7-536" fmla="*/ 321469 h 4108405"/>
                <a:gd name="connsiteX8-537" fmla="*/ 2090436 w 4228949"/>
                <a:gd name="connsiteY8-538" fmla="*/ 321469 h 4108405"/>
                <a:gd name="connsiteX9-539" fmla="*/ 2090436 w 4228949"/>
                <a:gd name="connsiteY9-540" fmla="*/ 321165 h 4108405"/>
                <a:gd name="connsiteX10-541" fmla="*/ 2176945 w 4228949"/>
                <a:gd name="connsiteY10-542" fmla="*/ 316797 h 4108405"/>
                <a:gd name="connsiteX11-543" fmla="*/ 2290461 w 4228949"/>
                <a:gd name="connsiteY11-544" fmla="*/ 321469 h 4108405"/>
                <a:gd name="connsiteX12-545" fmla="*/ 4228786 w 4228949"/>
                <a:gd name="connsiteY12-546" fmla="*/ 2056565 h 4108405"/>
                <a:gd name="connsiteX13-547" fmla="*/ 2176946 w 4228949"/>
                <a:gd name="connsiteY13-548" fmla="*/ 4108405 h 4108405"/>
                <a:gd name="connsiteX14-549" fmla="*/ 125105 w 4228949"/>
                <a:gd name="connsiteY14-550" fmla="*/ 2056565 h 4108405"/>
                <a:gd name="connsiteX15-551" fmla="*/ 437178 w 4228949"/>
                <a:gd name="connsiteY15-552" fmla="*/ 2056564 h 4108405"/>
                <a:gd name="connsiteX16-553" fmla="*/ 2176945 w 4228949"/>
                <a:gd name="connsiteY16-554" fmla="*/ 3796331 h 4108405"/>
                <a:gd name="connsiteX17-555" fmla="*/ 3916711 w 4228949"/>
                <a:gd name="connsiteY17-556" fmla="*/ 2056564 h 4108405"/>
                <a:gd name="connsiteX18-557" fmla="*/ 2269473 w 4228949"/>
                <a:gd name="connsiteY18-558" fmla="*/ 321469 h 4108405"/>
                <a:gd name="connsiteX19-559" fmla="*/ 2290461 w 4228949"/>
                <a:gd name="connsiteY19-560" fmla="*/ 321469 h 4108405"/>
                <a:gd name="connsiteX20-561" fmla="*/ 2090436 w 4228949"/>
                <a:gd name="connsiteY20-562" fmla="*/ 9092 h 4108405"/>
                <a:gd name="connsiteX21-563" fmla="*/ 2090436 w 4228949"/>
                <a:gd name="connsiteY21-564" fmla="*/ 321165 h 4108405"/>
                <a:gd name="connsiteX22-565" fmla="*/ 739525 w 4228949"/>
                <a:gd name="connsiteY22-566" fmla="*/ 1076860 h 4108405"/>
                <a:gd name="connsiteX23-567" fmla="*/ 470434 w 4228949"/>
                <a:gd name="connsiteY23-568" fmla="*/ 917744 h 4108405"/>
                <a:gd name="connsiteX24-569" fmla="*/ 2090436 w 4228949"/>
                <a:gd name="connsiteY24-570" fmla="*/ 9092 h 4108405"/>
                <a:gd name="connsiteX25-571" fmla="*/ 2090436 w 4228949"/>
                <a:gd name="connsiteY25-572" fmla="*/ 0 h 4108405"/>
                <a:gd name="connsiteX26-573" fmla="*/ 2090436 w 4228949"/>
                <a:gd name="connsiteY26-574" fmla="*/ 9092 h 4108405"/>
                <a:gd name="connsiteX27-575" fmla="*/ 2090436 w 4228949"/>
                <a:gd name="connsiteY27-576" fmla="*/ 0 h 4108405"/>
                <a:gd name="connsiteX0-577" fmla="*/ 739525 w 4228925"/>
                <a:gd name="connsiteY0-578" fmla="*/ 1076860 h 4108405"/>
                <a:gd name="connsiteX1-579" fmla="*/ 742648 w 4228925"/>
                <a:gd name="connsiteY1-580" fmla="*/ 1078706 h 4108405"/>
                <a:gd name="connsiteX2-581" fmla="*/ 739525 w 4228925"/>
                <a:gd name="connsiteY2-582" fmla="*/ 1076860 h 4108405"/>
                <a:gd name="connsiteX3-583" fmla="*/ 468805 w 4228925"/>
                <a:gd name="connsiteY3-584" fmla="*/ 916781 h 4108405"/>
                <a:gd name="connsiteX4-585" fmla="*/ 470434 w 4228925"/>
                <a:gd name="connsiteY4-586" fmla="*/ 917744 h 4108405"/>
                <a:gd name="connsiteX5-587" fmla="*/ 468805 w 4228925"/>
                <a:gd name="connsiteY5-588" fmla="*/ 916781 h 4108405"/>
                <a:gd name="connsiteX6-589" fmla="*/ 2176945 w 4228925"/>
                <a:gd name="connsiteY6-590" fmla="*/ 316797 h 4108405"/>
                <a:gd name="connsiteX7-591" fmla="*/ 2269473 w 4228925"/>
                <a:gd name="connsiteY7-592" fmla="*/ 321469 h 4108405"/>
                <a:gd name="connsiteX8-593" fmla="*/ 2090436 w 4228925"/>
                <a:gd name="connsiteY8-594" fmla="*/ 321469 h 4108405"/>
                <a:gd name="connsiteX9-595" fmla="*/ 2090436 w 4228925"/>
                <a:gd name="connsiteY9-596" fmla="*/ 321165 h 4108405"/>
                <a:gd name="connsiteX10-597" fmla="*/ 2176945 w 4228925"/>
                <a:gd name="connsiteY10-598" fmla="*/ 316797 h 4108405"/>
                <a:gd name="connsiteX11-599" fmla="*/ 2290461 w 4228925"/>
                <a:gd name="connsiteY11-600" fmla="*/ 321469 h 4108405"/>
                <a:gd name="connsiteX12-601" fmla="*/ 4228786 w 4228925"/>
                <a:gd name="connsiteY12-602" fmla="*/ 2056565 h 4108405"/>
                <a:gd name="connsiteX13-603" fmla="*/ 2176946 w 4228925"/>
                <a:gd name="connsiteY13-604" fmla="*/ 4108405 h 4108405"/>
                <a:gd name="connsiteX14-605" fmla="*/ 125105 w 4228925"/>
                <a:gd name="connsiteY14-606" fmla="*/ 2056565 h 4108405"/>
                <a:gd name="connsiteX15-607" fmla="*/ 437178 w 4228925"/>
                <a:gd name="connsiteY15-608" fmla="*/ 2056564 h 4108405"/>
                <a:gd name="connsiteX16-609" fmla="*/ 2176945 w 4228925"/>
                <a:gd name="connsiteY16-610" fmla="*/ 3796331 h 4108405"/>
                <a:gd name="connsiteX17-611" fmla="*/ 3916711 w 4228925"/>
                <a:gd name="connsiteY17-612" fmla="*/ 2056564 h 4108405"/>
                <a:gd name="connsiteX18-613" fmla="*/ 2290461 w 4228925"/>
                <a:gd name="connsiteY18-614" fmla="*/ 321469 h 4108405"/>
                <a:gd name="connsiteX19-615" fmla="*/ 2090436 w 4228925"/>
                <a:gd name="connsiteY19-616" fmla="*/ 9092 h 4108405"/>
                <a:gd name="connsiteX20-617" fmla="*/ 2090436 w 4228925"/>
                <a:gd name="connsiteY20-618" fmla="*/ 321165 h 4108405"/>
                <a:gd name="connsiteX21-619" fmla="*/ 739525 w 4228925"/>
                <a:gd name="connsiteY21-620" fmla="*/ 1076860 h 4108405"/>
                <a:gd name="connsiteX22-621" fmla="*/ 470434 w 4228925"/>
                <a:gd name="connsiteY22-622" fmla="*/ 917744 h 4108405"/>
                <a:gd name="connsiteX23-623" fmla="*/ 2090436 w 4228925"/>
                <a:gd name="connsiteY23-624" fmla="*/ 9092 h 4108405"/>
                <a:gd name="connsiteX24-625" fmla="*/ 2090436 w 4228925"/>
                <a:gd name="connsiteY24-626" fmla="*/ 0 h 4108405"/>
                <a:gd name="connsiteX25-627" fmla="*/ 2090436 w 4228925"/>
                <a:gd name="connsiteY25-628" fmla="*/ 9092 h 4108405"/>
                <a:gd name="connsiteX26-629" fmla="*/ 2090436 w 4228925"/>
                <a:gd name="connsiteY26-630" fmla="*/ 0 h 4108405"/>
                <a:gd name="connsiteX0-631" fmla="*/ 739525 w 4228925"/>
                <a:gd name="connsiteY0-632" fmla="*/ 1076860 h 4108405"/>
                <a:gd name="connsiteX1-633" fmla="*/ 742648 w 4228925"/>
                <a:gd name="connsiteY1-634" fmla="*/ 1078706 h 4108405"/>
                <a:gd name="connsiteX2-635" fmla="*/ 739525 w 4228925"/>
                <a:gd name="connsiteY2-636" fmla="*/ 1076860 h 4108405"/>
                <a:gd name="connsiteX3-637" fmla="*/ 468805 w 4228925"/>
                <a:gd name="connsiteY3-638" fmla="*/ 916781 h 4108405"/>
                <a:gd name="connsiteX4-639" fmla="*/ 470434 w 4228925"/>
                <a:gd name="connsiteY4-640" fmla="*/ 917744 h 4108405"/>
                <a:gd name="connsiteX5-641" fmla="*/ 468805 w 4228925"/>
                <a:gd name="connsiteY5-642" fmla="*/ 916781 h 4108405"/>
                <a:gd name="connsiteX6-643" fmla="*/ 2176945 w 4228925"/>
                <a:gd name="connsiteY6-644" fmla="*/ 316797 h 4108405"/>
                <a:gd name="connsiteX7-645" fmla="*/ 2090436 w 4228925"/>
                <a:gd name="connsiteY7-646" fmla="*/ 321469 h 4108405"/>
                <a:gd name="connsiteX8-647" fmla="*/ 2090436 w 4228925"/>
                <a:gd name="connsiteY8-648" fmla="*/ 321165 h 4108405"/>
                <a:gd name="connsiteX9-649" fmla="*/ 2176945 w 4228925"/>
                <a:gd name="connsiteY9-650" fmla="*/ 316797 h 4108405"/>
                <a:gd name="connsiteX10-651" fmla="*/ 2290461 w 4228925"/>
                <a:gd name="connsiteY10-652" fmla="*/ 321469 h 4108405"/>
                <a:gd name="connsiteX11-653" fmla="*/ 4228786 w 4228925"/>
                <a:gd name="connsiteY11-654" fmla="*/ 2056565 h 4108405"/>
                <a:gd name="connsiteX12-655" fmla="*/ 2176946 w 4228925"/>
                <a:gd name="connsiteY12-656" fmla="*/ 4108405 h 4108405"/>
                <a:gd name="connsiteX13-657" fmla="*/ 125105 w 4228925"/>
                <a:gd name="connsiteY13-658" fmla="*/ 2056565 h 4108405"/>
                <a:gd name="connsiteX14-659" fmla="*/ 437178 w 4228925"/>
                <a:gd name="connsiteY14-660" fmla="*/ 2056564 h 4108405"/>
                <a:gd name="connsiteX15-661" fmla="*/ 2176945 w 4228925"/>
                <a:gd name="connsiteY15-662" fmla="*/ 3796331 h 4108405"/>
                <a:gd name="connsiteX16-663" fmla="*/ 3916711 w 4228925"/>
                <a:gd name="connsiteY16-664" fmla="*/ 2056564 h 4108405"/>
                <a:gd name="connsiteX17-665" fmla="*/ 2290461 w 4228925"/>
                <a:gd name="connsiteY17-666" fmla="*/ 321469 h 4108405"/>
                <a:gd name="connsiteX18-667" fmla="*/ 2090436 w 4228925"/>
                <a:gd name="connsiteY18-668" fmla="*/ 9092 h 4108405"/>
                <a:gd name="connsiteX19-669" fmla="*/ 2090436 w 4228925"/>
                <a:gd name="connsiteY19-670" fmla="*/ 321165 h 4108405"/>
                <a:gd name="connsiteX20-671" fmla="*/ 739525 w 4228925"/>
                <a:gd name="connsiteY20-672" fmla="*/ 1076860 h 4108405"/>
                <a:gd name="connsiteX21-673" fmla="*/ 470434 w 4228925"/>
                <a:gd name="connsiteY21-674" fmla="*/ 917744 h 4108405"/>
                <a:gd name="connsiteX22-675" fmla="*/ 2090436 w 4228925"/>
                <a:gd name="connsiteY22-676" fmla="*/ 9092 h 4108405"/>
                <a:gd name="connsiteX23-677" fmla="*/ 2090436 w 4228925"/>
                <a:gd name="connsiteY23-678" fmla="*/ 0 h 4108405"/>
                <a:gd name="connsiteX24-679" fmla="*/ 2090436 w 4228925"/>
                <a:gd name="connsiteY24-680" fmla="*/ 9092 h 4108405"/>
                <a:gd name="connsiteX25-681" fmla="*/ 2090436 w 4228925"/>
                <a:gd name="connsiteY25-682" fmla="*/ 0 h 4108405"/>
                <a:gd name="connsiteX0-683" fmla="*/ 739525 w 4228925"/>
                <a:gd name="connsiteY0-684" fmla="*/ 1076860 h 4108405"/>
                <a:gd name="connsiteX1-685" fmla="*/ 742648 w 4228925"/>
                <a:gd name="connsiteY1-686" fmla="*/ 1078706 h 4108405"/>
                <a:gd name="connsiteX2-687" fmla="*/ 739525 w 4228925"/>
                <a:gd name="connsiteY2-688" fmla="*/ 1076860 h 4108405"/>
                <a:gd name="connsiteX3-689" fmla="*/ 468805 w 4228925"/>
                <a:gd name="connsiteY3-690" fmla="*/ 916781 h 4108405"/>
                <a:gd name="connsiteX4-691" fmla="*/ 470434 w 4228925"/>
                <a:gd name="connsiteY4-692" fmla="*/ 917744 h 4108405"/>
                <a:gd name="connsiteX5-693" fmla="*/ 468805 w 4228925"/>
                <a:gd name="connsiteY5-694" fmla="*/ 916781 h 4108405"/>
                <a:gd name="connsiteX6-695" fmla="*/ 2090436 w 4228925"/>
                <a:gd name="connsiteY6-696" fmla="*/ 321165 h 4108405"/>
                <a:gd name="connsiteX7-697" fmla="*/ 2090436 w 4228925"/>
                <a:gd name="connsiteY7-698" fmla="*/ 321469 h 4108405"/>
                <a:gd name="connsiteX8-699" fmla="*/ 2090436 w 4228925"/>
                <a:gd name="connsiteY8-700" fmla="*/ 321165 h 4108405"/>
                <a:gd name="connsiteX9-701" fmla="*/ 2290461 w 4228925"/>
                <a:gd name="connsiteY9-702" fmla="*/ 321469 h 4108405"/>
                <a:gd name="connsiteX10-703" fmla="*/ 4228786 w 4228925"/>
                <a:gd name="connsiteY10-704" fmla="*/ 2056565 h 4108405"/>
                <a:gd name="connsiteX11-705" fmla="*/ 2176946 w 4228925"/>
                <a:gd name="connsiteY11-706" fmla="*/ 4108405 h 4108405"/>
                <a:gd name="connsiteX12-707" fmla="*/ 125105 w 4228925"/>
                <a:gd name="connsiteY12-708" fmla="*/ 2056565 h 4108405"/>
                <a:gd name="connsiteX13-709" fmla="*/ 437178 w 4228925"/>
                <a:gd name="connsiteY13-710" fmla="*/ 2056564 h 4108405"/>
                <a:gd name="connsiteX14-711" fmla="*/ 2176945 w 4228925"/>
                <a:gd name="connsiteY14-712" fmla="*/ 3796331 h 4108405"/>
                <a:gd name="connsiteX15-713" fmla="*/ 3916711 w 4228925"/>
                <a:gd name="connsiteY15-714" fmla="*/ 2056564 h 4108405"/>
                <a:gd name="connsiteX16-715" fmla="*/ 2290461 w 4228925"/>
                <a:gd name="connsiteY16-716" fmla="*/ 321469 h 4108405"/>
                <a:gd name="connsiteX17-717" fmla="*/ 2090436 w 4228925"/>
                <a:gd name="connsiteY17-718" fmla="*/ 9092 h 4108405"/>
                <a:gd name="connsiteX18-719" fmla="*/ 2090436 w 4228925"/>
                <a:gd name="connsiteY18-720" fmla="*/ 321165 h 4108405"/>
                <a:gd name="connsiteX19-721" fmla="*/ 739525 w 4228925"/>
                <a:gd name="connsiteY19-722" fmla="*/ 1076860 h 4108405"/>
                <a:gd name="connsiteX20-723" fmla="*/ 470434 w 4228925"/>
                <a:gd name="connsiteY20-724" fmla="*/ 917744 h 4108405"/>
                <a:gd name="connsiteX21-725" fmla="*/ 2090436 w 4228925"/>
                <a:gd name="connsiteY21-726" fmla="*/ 9092 h 4108405"/>
                <a:gd name="connsiteX22-727" fmla="*/ 2090436 w 4228925"/>
                <a:gd name="connsiteY22-728" fmla="*/ 0 h 4108405"/>
                <a:gd name="connsiteX23-729" fmla="*/ 2090436 w 4228925"/>
                <a:gd name="connsiteY23-730" fmla="*/ 9092 h 4108405"/>
                <a:gd name="connsiteX24-731" fmla="*/ 2090436 w 4228925"/>
                <a:gd name="connsiteY24-732" fmla="*/ 0 h 4108405"/>
                <a:gd name="connsiteX0-733" fmla="*/ 739525 w 4228925"/>
                <a:gd name="connsiteY0-734" fmla="*/ 1067768 h 4099313"/>
                <a:gd name="connsiteX1-735" fmla="*/ 742648 w 4228925"/>
                <a:gd name="connsiteY1-736" fmla="*/ 1069614 h 4099313"/>
                <a:gd name="connsiteX2-737" fmla="*/ 739525 w 4228925"/>
                <a:gd name="connsiteY2-738" fmla="*/ 1067768 h 4099313"/>
                <a:gd name="connsiteX3-739" fmla="*/ 468805 w 4228925"/>
                <a:gd name="connsiteY3-740" fmla="*/ 907689 h 4099313"/>
                <a:gd name="connsiteX4-741" fmla="*/ 470434 w 4228925"/>
                <a:gd name="connsiteY4-742" fmla="*/ 908652 h 4099313"/>
                <a:gd name="connsiteX5-743" fmla="*/ 468805 w 4228925"/>
                <a:gd name="connsiteY5-744" fmla="*/ 907689 h 4099313"/>
                <a:gd name="connsiteX6-745" fmla="*/ 2090436 w 4228925"/>
                <a:gd name="connsiteY6-746" fmla="*/ 312073 h 4099313"/>
                <a:gd name="connsiteX7-747" fmla="*/ 2090436 w 4228925"/>
                <a:gd name="connsiteY7-748" fmla="*/ 312377 h 4099313"/>
                <a:gd name="connsiteX8-749" fmla="*/ 2090436 w 4228925"/>
                <a:gd name="connsiteY8-750" fmla="*/ 312073 h 4099313"/>
                <a:gd name="connsiteX9-751" fmla="*/ 2290461 w 4228925"/>
                <a:gd name="connsiteY9-752" fmla="*/ 312377 h 4099313"/>
                <a:gd name="connsiteX10-753" fmla="*/ 4228786 w 4228925"/>
                <a:gd name="connsiteY10-754" fmla="*/ 2047473 h 4099313"/>
                <a:gd name="connsiteX11-755" fmla="*/ 2176946 w 4228925"/>
                <a:gd name="connsiteY11-756" fmla="*/ 4099313 h 4099313"/>
                <a:gd name="connsiteX12-757" fmla="*/ 125105 w 4228925"/>
                <a:gd name="connsiteY12-758" fmla="*/ 2047473 h 4099313"/>
                <a:gd name="connsiteX13-759" fmla="*/ 437178 w 4228925"/>
                <a:gd name="connsiteY13-760" fmla="*/ 2047472 h 4099313"/>
                <a:gd name="connsiteX14-761" fmla="*/ 2176945 w 4228925"/>
                <a:gd name="connsiteY14-762" fmla="*/ 3787239 h 4099313"/>
                <a:gd name="connsiteX15-763" fmla="*/ 3916711 w 4228925"/>
                <a:gd name="connsiteY15-764" fmla="*/ 2047472 h 4099313"/>
                <a:gd name="connsiteX16-765" fmla="*/ 2290461 w 4228925"/>
                <a:gd name="connsiteY16-766" fmla="*/ 312377 h 4099313"/>
                <a:gd name="connsiteX17-767" fmla="*/ 2090436 w 4228925"/>
                <a:gd name="connsiteY17-768" fmla="*/ 0 h 4099313"/>
                <a:gd name="connsiteX18-769" fmla="*/ 2090436 w 4228925"/>
                <a:gd name="connsiteY18-770" fmla="*/ 312073 h 4099313"/>
                <a:gd name="connsiteX19-771" fmla="*/ 739525 w 4228925"/>
                <a:gd name="connsiteY19-772" fmla="*/ 1067768 h 4099313"/>
                <a:gd name="connsiteX20-773" fmla="*/ 470434 w 4228925"/>
                <a:gd name="connsiteY20-774" fmla="*/ 908652 h 4099313"/>
                <a:gd name="connsiteX21-775" fmla="*/ 2090436 w 4228925"/>
                <a:gd name="connsiteY21-776" fmla="*/ 0 h 4099313"/>
                <a:gd name="connsiteX0-777" fmla="*/ 739525 w 4353891"/>
                <a:gd name="connsiteY0-778" fmla="*/ 1067768 h 4099313"/>
                <a:gd name="connsiteX1-779" fmla="*/ 742648 w 4353891"/>
                <a:gd name="connsiteY1-780" fmla="*/ 1069614 h 4099313"/>
                <a:gd name="connsiteX2-781" fmla="*/ 739525 w 4353891"/>
                <a:gd name="connsiteY2-782" fmla="*/ 1067768 h 4099313"/>
                <a:gd name="connsiteX3-783" fmla="*/ 468805 w 4353891"/>
                <a:gd name="connsiteY3-784" fmla="*/ 907689 h 4099313"/>
                <a:gd name="connsiteX4-785" fmla="*/ 470434 w 4353891"/>
                <a:gd name="connsiteY4-786" fmla="*/ 908652 h 4099313"/>
                <a:gd name="connsiteX5-787" fmla="*/ 468805 w 4353891"/>
                <a:gd name="connsiteY5-788" fmla="*/ 907689 h 4099313"/>
                <a:gd name="connsiteX6-789" fmla="*/ 2090436 w 4353891"/>
                <a:gd name="connsiteY6-790" fmla="*/ 312073 h 4099313"/>
                <a:gd name="connsiteX7-791" fmla="*/ 2090436 w 4353891"/>
                <a:gd name="connsiteY7-792" fmla="*/ 312377 h 4099313"/>
                <a:gd name="connsiteX8-793" fmla="*/ 2090436 w 4353891"/>
                <a:gd name="connsiteY8-794" fmla="*/ 312073 h 4099313"/>
                <a:gd name="connsiteX9-795" fmla="*/ 3916711 w 4353891"/>
                <a:gd name="connsiteY9-796" fmla="*/ 2047472 h 4099313"/>
                <a:gd name="connsiteX10-797" fmla="*/ 4228786 w 4353891"/>
                <a:gd name="connsiteY10-798" fmla="*/ 2047473 h 4099313"/>
                <a:gd name="connsiteX11-799" fmla="*/ 2176946 w 4353891"/>
                <a:gd name="connsiteY11-800" fmla="*/ 4099313 h 4099313"/>
                <a:gd name="connsiteX12-801" fmla="*/ 125105 w 4353891"/>
                <a:gd name="connsiteY12-802" fmla="*/ 2047473 h 4099313"/>
                <a:gd name="connsiteX13-803" fmla="*/ 437178 w 4353891"/>
                <a:gd name="connsiteY13-804" fmla="*/ 2047472 h 4099313"/>
                <a:gd name="connsiteX14-805" fmla="*/ 2176945 w 4353891"/>
                <a:gd name="connsiteY14-806" fmla="*/ 3787239 h 4099313"/>
                <a:gd name="connsiteX15-807" fmla="*/ 3916711 w 4353891"/>
                <a:gd name="connsiteY15-808" fmla="*/ 2047472 h 4099313"/>
                <a:gd name="connsiteX16-809" fmla="*/ 2090436 w 4353891"/>
                <a:gd name="connsiteY16-810" fmla="*/ 0 h 4099313"/>
                <a:gd name="connsiteX17-811" fmla="*/ 2090436 w 4353891"/>
                <a:gd name="connsiteY17-812" fmla="*/ 312073 h 4099313"/>
                <a:gd name="connsiteX18-813" fmla="*/ 739525 w 4353891"/>
                <a:gd name="connsiteY18-814" fmla="*/ 1067768 h 4099313"/>
                <a:gd name="connsiteX19-815" fmla="*/ 470434 w 4353891"/>
                <a:gd name="connsiteY19-816" fmla="*/ 908652 h 4099313"/>
                <a:gd name="connsiteX20-817" fmla="*/ 2090436 w 4353891"/>
                <a:gd name="connsiteY20-818" fmla="*/ 0 h 4099313"/>
                <a:gd name="connsiteX0-819" fmla="*/ 614420 w 4228786"/>
                <a:gd name="connsiteY0-820" fmla="*/ 1067768 h 4099313"/>
                <a:gd name="connsiteX1-821" fmla="*/ 617543 w 4228786"/>
                <a:gd name="connsiteY1-822" fmla="*/ 1069614 h 4099313"/>
                <a:gd name="connsiteX2-823" fmla="*/ 614420 w 4228786"/>
                <a:gd name="connsiteY2-824" fmla="*/ 1067768 h 4099313"/>
                <a:gd name="connsiteX3-825" fmla="*/ 343700 w 4228786"/>
                <a:gd name="connsiteY3-826" fmla="*/ 907689 h 4099313"/>
                <a:gd name="connsiteX4-827" fmla="*/ 345329 w 4228786"/>
                <a:gd name="connsiteY4-828" fmla="*/ 908652 h 4099313"/>
                <a:gd name="connsiteX5-829" fmla="*/ 343700 w 4228786"/>
                <a:gd name="connsiteY5-830" fmla="*/ 907689 h 4099313"/>
                <a:gd name="connsiteX6-831" fmla="*/ 1965331 w 4228786"/>
                <a:gd name="connsiteY6-832" fmla="*/ 312073 h 4099313"/>
                <a:gd name="connsiteX7-833" fmla="*/ 1965331 w 4228786"/>
                <a:gd name="connsiteY7-834" fmla="*/ 312377 h 4099313"/>
                <a:gd name="connsiteX8-835" fmla="*/ 1965331 w 4228786"/>
                <a:gd name="connsiteY8-836" fmla="*/ 312073 h 4099313"/>
                <a:gd name="connsiteX9-837" fmla="*/ 3791606 w 4228786"/>
                <a:gd name="connsiteY9-838" fmla="*/ 2047472 h 4099313"/>
                <a:gd name="connsiteX10-839" fmla="*/ 4103681 w 4228786"/>
                <a:gd name="connsiteY10-840" fmla="*/ 2047473 h 4099313"/>
                <a:gd name="connsiteX11-841" fmla="*/ 2051841 w 4228786"/>
                <a:gd name="connsiteY11-842" fmla="*/ 4099313 h 4099313"/>
                <a:gd name="connsiteX12-843" fmla="*/ 0 w 4228786"/>
                <a:gd name="connsiteY12-844" fmla="*/ 2047473 h 4099313"/>
                <a:gd name="connsiteX13-845" fmla="*/ 2051840 w 4228786"/>
                <a:gd name="connsiteY13-846" fmla="*/ 3787239 h 4099313"/>
                <a:gd name="connsiteX14-847" fmla="*/ 3791606 w 4228786"/>
                <a:gd name="connsiteY14-848" fmla="*/ 2047472 h 4099313"/>
                <a:gd name="connsiteX15-849" fmla="*/ 1965331 w 4228786"/>
                <a:gd name="connsiteY15-850" fmla="*/ 0 h 4099313"/>
                <a:gd name="connsiteX16-851" fmla="*/ 1965331 w 4228786"/>
                <a:gd name="connsiteY16-852" fmla="*/ 312073 h 4099313"/>
                <a:gd name="connsiteX17-853" fmla="*/ 614420 w 4228786"/>
                <a:gd name="connsiteY17-854" fmla="*/ 1067768 h 4099313"/>
                <a:gd name="connsiteX18-855" fmla="*/ 345329 w 4228786"/>
                <a:gd name="connsiteY18-856" fmla="*/ 908652 h 4099313"/>
                <a:gd name="connsiteX19-857" fmla="*/ 1965331 w 4228786"/>
                <a:gd name="connsiteY19-858" fmla="*/ 0 h 4099313"/>
                <a:gd name="connsiteX0-859" fmla="*/ 270720 w 3885086"/>
                <a:gd name="connsiteY0-860" fmla="*/ 1067768 h 4224418"/>
                <a:gd name="connsiteX1-861" fmla="*/ 273843 w 3885086"/>
                <a:gd name="connsiteY1-862" fmla="*/ 1069614 h 4224418"/>
                <a:gd name="connsiteX2-863" fmla="*/ 270720 w 3885086"/>
                <a:gd name="connsiteY2-864" fmla="*/ 1067768 h 4224418"/>
                <a:gd name="connsiteX3-865" fmla="*/ 0 w 3885086"/>
                <a:gd name="connsiteY3-866" fmla="*/ 907689 h 4224418"/>
                <a:gd name="connsiteX4-867" fmla="*/ 1629 w 3885086"/>
                <a:gd name="connsiteY4-868" fmla="*/ 908652 h 4224418"/>
                <a:gd name="connsiteX5-869" fmla="*/ 0 w 3885086"/>
                <a:gd name="connsiteY5-870" fmla="*/ 907689 h 4224418"/>
                <a:gd name="connsiteX6-871" fmla="*/ 1621631 w 3885086"/>
                <a:gd name="connsiteY6-872" fmla="*/ 312073 h 4224418"/>
                <a:gd name="connsiteX7-873" fmla="*/ 1621631 w 3885086"/>
                <a:gd name="connsiteY7-874" fmla="*/ 312377 h 4224418"/>
                <a:gd name="connsiteX8-875" fmla="*/ 1621631 w 3885086"/>
                <a:gd name="connsiteY8-876" fmla="*/ 312073 h 4224418"/>
                <a:gd name="connsiteX9-877" fmla="*/ 3447906 w 3885086"/>
                <a:gd name="connsiteY9-878" fmla="*/ 2047472 h 4224418"/>
                <a:gd name="connsiteX10-879" fmla="*/ 3759981 w 3885086"/>
                <a:gd name="connsiteY10-880" fmla="*/ 2047473 h 4224418"/>
                <a:gd name="connsiteX11-881" fmla="*/ 1708141 w 3885086"/>
                <a:gd name="connsiteY11-882" fmla="*/ 4099313 h 4224418"/>
                <a:gd name="connsiteX12-883" fmla="*/ 1708140 w 3885086"/>
                <a:gd name="connsiteY12-884" fmla="*/ 3787239 h 4224418"/>
                <a:gd name="connsiteX13-885" fmla="*/ 3447906 w 3885086"/>
                <a:gd name="connsiteY13-886" fmla="*/ 2047472 h 4224418"/>
                <a:gd name="connsiteX14-887" fmla="*/ 1621631 w 3885086"/>
                <a:gd name="connsiteY14-888" fmla="*/ 0 h 4224418"/>
                <a:gd name="connsiteX15-889" fmla="*/ 1621631 w 3885086"/>
                <a:gd name="connsiteY15-890" fmla="*/ 312073 h 4224418"/>
                <a:gd name="connsiteX16-891" fmla="*/ 270720 w 3885086"/>
                <a:gd name="connsiteY16-892" fmla="*/ 1067768 h 4224418"/>
                <a:gd name="connsiteX17-893" fmla="*/ 1629 w 3885086"/>
                <a:gd name="connsiteY17-894" fmla="*/ 908652 h 4224418"/>
                <a:gd name="connsiteX18-895" fmla="*/ 1621631 w 3885086"/>
                <a:gd name="connsiteY18-896" fmla="*/ 0 h 4224418"/>
                <a:gd name="connsiteX0-897" fmla="*/ 270720 w 3885086"/>
                <a:gd name="connsiteY0-898" fmla="*/ 1067768 h 4099313"/>
                <a:gd name="connsiteX1-899" fmla="*/ 273843 w 3885086"/>
                <a:gd name="connsiteY1-900" fmla="*/ 1069614 h 4099313"/>
                <a:gd name="connsiteX2-901" fmla="*/ 270720 w 3885086"/>
                <a:gd name="connsiteY2-902" fmla="*/ 1067768 h 4099313"/>
                <a:gd name="connsiteX3-903" fmla="*/ 0 w 3885086"/>
                <a:gd name="connsiteY3-904" fmla="*/ 907689 h 4099313"/>
                <a:gd name="connsiteX4-905" fmla="*/ 1629 w 3885086"/>
                <a:gd name="connsiteY4-906" fmla="*/ 908652 h 4099313"/>
                <a:gd name="connsiteX5-907" fmla="*/ 0 w 3885086"/>
                <a:gd name="connsiteY5-908" fmla="*/ 907689 h 4099313"/>
                <a:gd name="connsiteX6-909" fmla="*/ 1621631 w 3885086"/>
                <a:gd name="connsiteY6-910" fmla="*/ 312073 h 4099313"/>
                <a:gd name="connsiteX7-911" fmla="*/ 1621631 w 3885086"/>
                <a:gd name="connsiteY7-912" fmla="*/ 312377 h 4099313"/>
                <a:gd name="connsiteX8-913" fmla="*/ 1621631 w 3885086"/>
                <a:gd name="connsiteY8-914" fmla="*/ 312073 h 4099313"/>
                <a:gd name="connsiteX9-915" fmla="*/ 3447906 w 3885086"/>
                <a:gd name="connsiteY9-916" fmla="*/ 2047472 h 4099313"/>
                <a:gd name="connsiteX10-917" fmla="*/ 3759981 w 3885086"/>
                <a:gd name="connsiteY10-918" fmla="*/ 2047473 h 4099313"/>
                <a:gd name="connsiteX11-919" fmla="*/ 1708141 w 3885086"/>
                <a:gd name="connsiteY11-920" fmla="*/ 4099313 h 4099313"/>
                <a:gd name="connsiteX12-921" fmla="*/ 3447906 w 3885086"/>
                <a:gd name="connsiteY12-922" fmla="*/ 2047472 h 4099313"/>
                <a:gd name="connsiteX13-923" fmla="*/ 1621631 w 3885086"/>
                <a:gd name="connsiteY13-924" fmla="*/ 0 h 4099313"/>
                <a:gd name="connsiteX14-925" fmla="*/ 1621631 w 3885086"/>
                <a:gd name="connsiteY14-926" fmla="*/ 312073 h 4099313"/>
                <a:gd name="connsiteX15-927" fmla="*/ 270720 w 3885086"/>
                <a:gd name="connsiteY15-928" fmla="*/ 1067768 h 4099313"/>
                <a:gd name="connsiteX16-929" fmla="*/ 1629 w 3885086"/>
                <a:gd name="connsiteY16-930" fmla="*/ 908652 h 4099313"/>
                <a:gd name="connsiteX17-931" fmla="*/ 1621631 w 3885086"/>
                <a:gd name="connsiteY17-932" fmla="*/ 0 h 4099313"/>
                <a:gd name="connsiteX0-933" fmla="*/ 270720 w 3760643"/>
                <a:gd name="connsiteY0-934" fmla="*/ 1067768 h 2047473"/>
                <a:gd name="connsiteX1-935" fmla="*/ 273843 w 3760643"/>
                <a:gd name="connsiteY1-936" fmla="*/ 1069614 h 2047473"/>
                <a:gd name="connsiteX2-937" fmla="*/ 270720 w 3760643"/>
                <a:gd name="connsiteY2-938" fmla="*/ 1067768 h 2047473"/>
                <a:gd name="connsiteX3-939" fmla="*/ 0 w 3760643"/>
                <a:gd name="connsiteY3-940" fmla="*/ 907689 h 2047473"/>
                <a:gd name="connsiteX4-941" fmla="*/ 1629 w 3760643"/>
                <a:gd name="connsiteY4-942" fmla="*/ 908652 h 2047473"/>
                <a:gd name="connsiteX5-943" fmla="*/ 0 w 3760643"/>
                <a:gd name="connsiteY5-944" fmla="*/ 907689 h 2047473"/>
                <a:gd name="connsiteX6-945" fmla="*/ 1621631 w 3760643"/>
                <a:gd name="connsiteY6-946" fmla="*/ 312073 h 2047473"/>
                <a:gd name="connsiteX7-947" fmla="*/ 1621631 w 3760643"/>
                <a:gd name="connsiteY7-948" fmla="*/ 312377 h 2047473"/>
                <a:gd name="connsiteX8-949" fmla="*/ 1621631 w 3760643"/>
                <a:gd name="connsiteY8-950" fmla="*/ 312073 h 2047473"/>
                <a:gd name="connsiteX9-951" fmla="*/ 3447906 w 3760643"/>
                <a:gd name="connsiteY9-952" fmla="*/ 2047472 h 2047473"/>
                <a:gd name="connsiteX10-953" fmla="*/ 3759981 w 3760643"/>
                <a:gd name="connsiteY10-954" fmla="*/ 2047473 h 2047473"/>
                <a:gd name="connsiteX11-955" fmla="*/ 3447906 w 3760643"/>
                <a:gd name="connsiteY11-956" fmla="*/ 2047472 h 2047473"/>
                <a:gd name="connsiteX12-957" fmla="*/ 1621631 w 3760643"/>
                <a:gd name="connsiteY12-958" fmla="*/ 0 h 2047473"/>
                <a:gd name="connsiteX13-959" fmla="*/ 1621631 w 3760643"/>
                <a:gd name="connsiteY13-960" fmla="*/ 312073 h 2047473"/>
                <a:gd name="connsiteX14-961" fmla="*/ 270720 w 3760643"/>
                <a:gd name="connsiteY14-962" fmla="*/ 1067768 h 2047473"/>
                <a:gd name="connsiteX15-963" fmla="*/ 1629 w 3760643"/>
                <a:gd name="connsiteY15-964" fmla="*/ 908652 h 2047473"/>
                <a:gd name="connsiteX16-965" fmla="*/ 1621631 w 3760643"/>
                <a:gd name="connsiteY16-966" fmla="*/ 0 h 2047473"/>
                <a:gd name="connsiteX0-967" fmla="*/ 270720 w 1621631"/>
                <a:gd name="connsiteY0-968" fmla="*/ 1067768 h 1069614"/>
                <a:gd name="connsiteX1-969" fmla="*/ 273843 w 1621631"/>
                <a:gd name="connsiteY1-970" fmla="*/ 1069614 h 1069614"/>
                <a:gd name="connsiteX2-971" fmla="*/ 270720 w 1621631"/>
                <a:gd name="connsiteY2-972" fmla="*/ 1067768 h 1069614"/>
                <a:gd name="connsiteX3-973" fmla="*/ 0 w 1621631"/>
                <a:gd name="connsiteY3-974" fmla="*/ 907689 h 1069614"/>
                <a:gd name="connsiteX4-975" fmla="*/ 1629 w 1621631"/>
                <a:gd name="connsiteY4-976" fmla="*/ 908652 h 1069614"/>
                <a:gd name="connsiteX5-977" fmla="*/ 0 w 1621631"/>
                <a:gd name="connsiteY5-978" fmla="*/ 907689 h 1069614"/>
                <a:gd name="connsiteX6-979" fmla="*/ 1621631 w 1621631"/>
                <a:gd name="connsiteY6-980" fmla="*/ 312073 h 1069614"/>
                <a:gd name="connsiteX7-981" fmla="*/ 1621631 w 1621631"/>
                <a:gd name="connsiteY7-982" fmla="*/ 312377 h 1069614"/>
                <a:gd name="connsiteX8-983" fmla="*/ 1621631 w 1621631"/>
                <a:gd name="connsiteY8-984" fmla="*/ 312073 h 1069614"/>
                <a:gd name="connsiteX9-985" fmla="*/ 1621631 w 1621631"/>
                <a:gd name="connsiteY9-986" fmla="*/ 0 h 1069614"/>
                <a:gd name="connsiteX10-987" fmla="*/ 1621631 w 1621631"/>
                <a:gd name="connsiteY10-988" fmla="*/ 312073 h 1069614"/>
                <a:gd name="connsiteX11-989" fmla="*/ 270720 w 1621631"/>
                <a:gd name="connsiteY11-990" fmla="*/ 1067768 h 1069614"/>
                <a:gd name="connsiteX12-991" fmla="*/ 1629 w 1621631"/>
                <a:gd name="connsiteY12-992" fmla="*/ 908652 h 1069614"/>
                <a:gd name="connsiteX13-993" fmla="*/ 1621631 w 1621631"/>
                <a:gd name="connsiteY13-994" fmla="*/ 0 h 10696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</a:cxnLst>
              <a:rect l="l" t="t" r="r" b="b"/>
              <a:pathLst>
                <a:path w="1621631" h="1069614">
                  <a:moveTo>
                    <a:pt x="270720" y="1067768"/>
                  </a:moveTo>
                  <a:lnTo>
                    <a:pt x="273843" y="1069614"/>
                  </a:lnTo>
                  <a:lnTo>
                    <a:pt x="270720" y="1067768"/>
                  </a:lnTo>
                  <a:close/>
                  <a:moveTo>
                    <a:pt x="0" y="907689"/>
                  </a:moveTo>
                  <a:lnTo>
                    <a:pt x="1629" y="908652"/>
                  </a:lnTo>
                  <a:lnTo>
                    <a:pt x="0" y="907689"/>
                  </a:lnTo>
                  <a:close/>
                  <a:moveTo>
                    <a:pt x="1621631" y="312073"/>
                  </a:moveTo>
                  <a:lnTo>
                    <a:pt x="1621631" y="312377"/>
                  </a:lnTo>
                  <a:lnTo>
                    <a:pt x="1621631" y="312073"/>
                  </a:lnTo>
                  <a:close/>
                  <a:moveTo>
                    <a:pt x="1621631" y="0"/>
                  </a:moveTo>
                  <a:lnTo>
                    <a:pt x="1621631" y="312073"/>
                  </a:lnTo>
                  <a:cubicBezTo>
                    <a:pt x="1059988" y="337356"/>
                    <a:pt x="568425" y="631117"/>
                    <a:pt x="270720" y="1067768"/>
                  </a:cubicBezTo>
                  <a:lnTo>
                    <a:pt x="1629" y="908652"/>
                  </a:lnTo>
                  <a:cubicBezTo>
                    <a:pt x="354259" y="380480"/>
                    <a:pt x="945677" y="25494"/>
                    <a:pt x="1621631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Freeform 61"/>
            <p:cNvSpPr/>
            <p:nvPr/>
          </p:nvSpPr>
          <p:spPr bwMode="auto">
            <a:xfrm rot="3645706" flipH="1">
              <a:off x="8875073" y="3127550"/>
              <a:ext cx="1621631" cy="1069614"/>
            </a:xfrm>
            <a:custGeom>
              <a:avLst/>
              <a:gdLst>
                <a:gd name="connsiteX0" fmla="*/ 668844 w 4158105"/>
                <a:gd name="connsiteY0" fmla="*/ 1079241 h 4110786"/>
                <a:gd name="connsiteX1" fmla="*/ 671967 w 4158105"/>
                <a:gd name="connsiteY1" fmla="*/ 1081087 h 4110786"/>
                <a:gd name="connsiteX2" fmla="*/ 576717 w 4158105"/>
                <a:gd name="connsiteY2" fmla="*/ 1235869 h 4110786"/>
                <a:gd name="connsiteX3" fmla="*/ 574232 w 4158105"/>
                <a:gd name="connsiteY3" fmla="*/ 1234330 h 4110786"/>
                <a:gd name="connsiteX4" fmla="*/ 668844 w 4158105"/>
                <a:gd name="connsiteY4" fmla="*/ 1079241 h 4110786"/>
                <a:gd name="connsiteX5" fmla="*/ 398124 w 4158105"/>
                <a:gd name="connsiteY5" fmla="*/ 919162 h 4110786"/>
                <a:gd name="connsiteX6" fmla="*/ 399753 w 4158105"/>
                <a:gd name="connsiteY6" fmla="*/ 920125 h 4110786"/>
                <a:gd name="connsiteX7" fmla="*/ 308772 w 4158105"/>
                <a:gd name="connsiteY7" fmla="*/ 1069886 h 4110786"/>
                <a:gd name="connsiteX8" fmla="*/ 307636 w 4158105"/>
                <a:gd name="connsiteY8" fmla="*/ 1069182 h 4110786"/>
                <a:gd name="connsiteX9" fmla="*/ 398124 w 4158105"/>
                <a:gd name="connsiteY9" fmla="*/ 919162 h 4110786"/>
                <a:gd name="connsiteX10" fmla="*/ 2106264 w 4158105"/>
                <a:gd name="connsiteY10" fmla="*/ 319178 h 4110786"/>
                <a:gd name="connsiteX11" fmla="*/ 2198792 w 4158105"/>
                <a:gd name="connsiteY11" fmla="*/ 323850 h 4110786"/>
                <a:gd name="connsiteX12" fmla="*/ 2019755 w 4158105"/>
                <a:gd name="connsiteY12" fmla="*/ 323850 h 4110786"/>
                <a:gd name="connsiteX13" fmla="*/ 2019755 w 4158105"/>
                <a:gd name="connsiteY13" fmla="*/ 323546 h 4110786"/>
                <a:gd name="connsiteX14" fmla="*/ 2106264 w 4158105"/>
                <a:gd name="connsiteY14" fmla="*/ 319178 h 4110786"/>
                <a:gd name="connsiteX15" fmla="*/ 2224351 w 4158105"/>
                <a:gd name="connsiteY15" fmla="*/ 13068 h 4110786"/>
                <a:gd name="connsiteX16" fmla="*/ 4158105 w 4158105"/>
                <a:gd name="connsiteY16" fmla="*/ 2058946 h 4110786"/>
                <a:gd name="connsiteX17" fmla="*/ 2106265 w 4158105"/>
                <a:gd name="connsiteY17" fmla="*/ 4110786 h 4110786"/>
                <a:gd name="connsiteX18" fmla="*/ 54424 w 4158105"/>
                <a:gd name="connsiteY18" fmla="*/ 2058946 h 4110786"/>
                <a:gd name="connsiteX19" fmla="*/ 574232 w 4158105"/>
                <a:gd name="connsiteY19" fmla="*/ 1234330 h 4110786"/>
                <a:gd name="connsiteX20" fmla="*/ 366497 w 4158105"/>
                <a:gd name="connsiteY20" fmla="*/ 2058945 h 4110786"/>
                <a:gd name="connsiteX21" fmla="*/ 2106264 w 4158105"/>
                <a:gd name="connsiteY21" fmla="*/ 3798712 h 4110786"/>
                <a:gd name="connsiteX22" fmla="*/ 3846030 w 4158105"/>
                <a:gd name="connsiteY22" fmla="*/ 2058945 h 4110786"/>
                <a:gd name="connsiteX23" fmla="*/ 2198792 w 4158105"/>
                <a:gd name="connsiteY23" fmla="*/ 323850 h 4110786"/>
                <a:gd name="connsiteX24" fmla="*/ 2219780 w 4158105"/>
                <a:gd name="connsiteY24" fmla="*/ 323850 h 4110786"/>
                <a:gd name="connsiteX25" fmla="*/ 2224351 w 4158105"/>
                <a:gd name="connsiteY25" fmla="*/ 13068 h 4110786"/>
                <a:gd name="connsiteX26" fmla="*/ 2019755 w 4158105"/>
                <a:gd name="connsiteY26" fmla="*/ 11473 h 4110786"/>
                <a:gd name="connsiteX27" fmla="*/ 2019755 w 4158105"/>
                <a:gd name="connsiteY27" fmla="*/ 323546 h 4110786"/>
                <a:gd name="connsiteX28" fmla="*/ 668844 w 4158105"/>
                <a:gd name="connsiteY28" fmla="*/ 1079241 h 4110786"/>
                <a:gd name="connsiteX29" fmla="*/ 399753 w 4158105"/>
                <a:gd name="connsiteY29" fmla="*/ 920125 h 4110786"/>
                <a:gd name="connsiteX30" fmla="*/ 2019755 w 4158105"/>
                <a:gd name="connsiteY30" fmla="*/ 11473 h 4110786"/>
                <a:gd name="connsiteX31" fmla="*/ 2224543 w 4158105"/>
                <a:gd name="connsiteY31" fmla="*/ 0 h 4110786"/>
                <a:gd name="connsiteX32" fmla="*/ 2224351 w 4158105"/>
                <a:gd name="connsiteY32" fmla="*/ 13068 h 4110786"/>
                <a:gd name="connsiteX33" fmla="*/ 2106265 w 4158105"/>
                <a:gd name="connsiteY33" fmla="*/ 7105 h 4110786"/>
                <a:gd name="connsiteX34" fmla="*/ 2019755 w 4158105"/>
                <a:gd name="connsiteY34" fmla="*/ 11473 h 4110786"/>
                <a:gd name="connsiteX35" fmla="*/ 2019755 w 4158105"/>
                <a:gd name="connsiteY35" fmla="*/ 2381 h 4110786"/>
                <a:gd name="connsiteX36" fmla="*/ 2224543 w 4158105"/>
                <a:gd name="connsiteY36" fmla="*/ 0 h 4110786"/>
                <a:gd name="connsiteX0-1" fmla="*/ 668844 w 4158105"/>
                <a:gd name="connsiteY0-2" fmla="*/ 1079241 h 4110786"/>
                <a:gd name="connsiteX1-3" fmla="*/ 671967 w 4158105"/>
                <a:gd name="connsiteY1-4" fmla="*/ 1081087 h 4110786"/>
                <a:gd name="connsiteX2-5" fmla="*/ 576717 w 4158105"/>
                <a:gd name="connsiteY2-6" fmla="*/ 1235869 h 4110786"/>
                <a:gd name="connsiteX3-7" fmla="*/ 574232 w 4158105"/>
                <a:gd name="connsiteY3-8" fmla="*/ 1234330 h 4110786"/>
                <a:gd name="connsiteX4-9" fmla="*/ 668844 w 4158105"/>
                <a:gd name="connsiteY4-10" fmla="*/ 1079241 h 4110786"/>
                <a:gd name="connsiteX5-11" fmla="*/ 398124 w 4158105"/>
                <a:gd name="connsiteY5-12" fmla="*/ 919162 h 4110786"/>
                <a:gd name="connsiteX6-13" fmla="*/ 399753 w 4158105"/>
                <a:gd name="connsiteY6-14" fmla="*/ 920125 h 4110786"/>
                <a:gd name="connsiteX7-15" fmla="*/ 308772 w 4158105"/>
                <a:gd name="connsiteY7-16" fmla="*/ 1069886 h 4110786"/>
                <a:gd name="connsiteX8-17" fmla="*/ 398124 w 4158105"/>
                <a:gd name="connsiteY8-18" fmla="*/ 919162 h 4110786"/>
                <a:gd name="connsiteX9-19" fmla="*/ 2106264 w 4158105"/>
                <a:gd name="connsiteY9-20" fmla="*/ 319178 h 4110786"/>
                <a:gd name="connsiteX10-21" fmla="*/ 2198792 w 4158105"/>
                <a:gd name="connsiteY10-22" fmla="*/ 323850 h 4110786"/>
                <a:gd name="connsiteX11-23" fmla="*/ 2019755 w 4158105"/>
                <a:gd name="connsiteY11-24" fmla="*/ 323850 h 4110786"/>
                <a:gd name="connsiteX12-25" fmla="*/ 2019755 w 4158105"/>
                <a:gd name="connsiteY12-26" fmla="*/ 323546 h 4110786"/>
                <a:gd name="connsiteX13-27" fmla="*/ 2106264 w 4158105"/>
                <a:gd name="connsiteY13-28" fmla="*/ 319178 h 4110786"/>
                <a:gd name="connsiteX14-29" fmla="*/ 2224351 w 4158105"/>
                <a:gd name="connsiteY14-30" fmla="*/ 13068 h 4110786"/>
                <a:gd name="connsiteX15-31" fmla="*/ 4158105 w 4158105"/>
                <a:gd name="connsiteY15-32" fmla="*/ 2058946 h 4110786"/>
                <a:gd name="connsiteX16-33" fmla="*/ 2106265 w 4158105"/>
                <a:gd name="connsiteY16-34" fmla="*/ 4110786 h 4110786"/>
                <a:gd name="connsiteX17-35" fmla="*/ 54424 w 4158105"/>
                <a:gd name="connsiteY17-36" fmla="*/ 2058946 h 4110786"/>
                <a:gd name="connsiteX18-37" fmla="*/ 574232 w 4158105"/>
                <a:gd name="connsiteY18-38" fmla="*/ 1234330 h 4110786"/>
                <a:gd name="connsiteX19-39" fmla="*/ 366497 w 4158105"/>
                <a:gd name="connsiteY19-40" fmla="*/ 2058945 h 4110786"/>
                <a:gd name="connsiteX20-41" fmla="*/ 2106264 w 4158105"/>
                <a:gd name="connsiteY20-42" fmla="*/ 3798712 h 4110786"/>
                <a:gd name="connsiteX21-43" fmla="*/ 3846030 w 4158105"/>
                <a:gd name="connsiteY21-44" fmla="*/ 2058945 h 4110786"/>
                <a:gd name="connsiteX22-45" fmla="*/ 2198792 w 4158105"/>
                <a:gd name="connsiteY22-46" fmla="*/ 323850 h 4110786"/>
                <a:gd name="connsiteX23-47" fmla="*/ 2219780 w 4158105"/>
                <a:gd name="connsiteY23-48" fmla="*/ 323850 h 4110786"/>
                <a:gd name="connsiteX24-49" fmla="*/ 2224351 w 4158105"/>
                <a:gd name="connsiteY24-50" fmla="*/ 13068 h 4110786"/>
                <a:gd name="connsiteX25-51" fmla="*/ 2019755 w 4158105"/>
                <a:gd name="connsiteY25-52" fmla="*/ 11473 h 4110786"/>
                <a:gd name="connsiteX26-53" fmla="*/ 2019755 w 4158105"/>
                <a:gd name="connsiteY26-54" fmla="*/ 323546 h 4110786"/>
                <a:gd name="connsiteX27-55" fmla="*/ 668844 w 4158105"/>
                <a:gd name="connsiteY27-56" fmla="*/ 1079241 h 4110786"/>
                <a:gd name="connsiteX28-57" fmla="*/ 399753 w 4158105"/>
                <a:gd name="connsiteY28-58" fmla="*/ 920125 h 4110786"/>
                <a:gd name="connsiteX29-59" fmla="*/ 2019755 w 4158105"/>
                <a:gd name="connsiteY29-60" fmla="*/ 11473 h 4110786"/>
                <a:gd name="connsiteX30-61" fmla="*/ 2224543 w 4158105"/>
                <a:gd name="connsiteY30-62" fmla="*/ 0 h 4110786"/>
                <a:gd name="connsiteX31-63" fmla="*/ 2224351 w 4158105"/>
                <a:gd name="connsiteY31-64" fmla="*/ 13068 h 4110786"/>
                <a:gd name="connsiteX32-65" fmla="*/ 2106265 w 4158105"/>
                <a:gd name="connsiteY32-66" fmla="*/ 7105 h 4110786"/>
                <a:gd name="connsiteX33-67" fmla="*/ 2019755 w 4158105"/>
                <a:gd name="connsiteY33-68" fmla="*/ 11473 h 4110786"/>
                <a:gd name="connsiteX34-69" fmla="*/ 2019755 w 4158105"/>
                <a:gd name="connsiteY34-70" fmla="*/ 2381 h 4110786"/>
                <a:gd name="connsiteX35-71" fmla="*/ 2224543 w 4158105"/>
                <a:gd name="connsiteY35-72" fmla="*/ 0 h 4110786"/>
                <a:gd name="connsiteX0-73" fmla="*/ 668844 w 4158105"/>
                <a:gd name="connsiteY0-74" fmla="*/ 1079241 h 4110786"/>
                <a:gd name="connsiteX1-75" fmla="*/ 671967 w 4158105"/>
                <a:gd name="connsiteY1-76" fmla="*/ 1081087 h 4110786"/>
                <a:gd name="connsiteX2-77" fmla="*/ 576717 w 4158105"/>
                <a:gd name="connsiteY2-78" fmla="*/ 1235869 h 4110786"/>
                <a:gd name="connsiteX3-79" fmla="*/ 574232 w 4158105"/>
                <a:gd name="connsiteY3-80" fmla="*/ 1234330 h 4110786"/>
                <a:gd name="connsiteX4-81" fmla="*/ 668844 w 4158105"/>
                <a:gd name="connsiteY4-82" fmla="*/ 1079241 h 4110786"/>
                <a:gd name="connsiteX5-83" fmla="*/ 398124 w 4158105"/>
                <a:gd name="connsiteY5-84" fmla="*/ 919162 h 4110786"/>
                <a:gd name="connsiteX6-85" fmla="*/ 399753 w 4158105"/>
                <a:gd name="connsiteY6-86" fmla="*/ 920125 h 4110786"/>
                <a:gd name="connsiteX7-87" fmla="*/ 398124 w 4158105"/>
                <a:gd name="connsiteY7-88" fmla="*/ 919162 h 4110786"/>
                <a:gd name="connsiteX8-89" fmla="*/ 2106264 w 4158105"/>
                <a:gd name="connsiteY8-90" fmla="*/ 319178 h 4110786"/>
                <a:gd name="connsiteX9-91" fmla="*/ 2198792 w 4158105"/>
                <a:gd name="connsiteY9-92" fmla="*/ 323850 h 4110786"/>
                <a:gd name="connsiteX10-93" fmla="*/ 2019755 w 4158105"/>
                <a:gd name="connsiteY10-94" fmla="*/ 323850 h 4110786"/>
                <a:gd name="connsiteX11-95" fmla="*/ 2019755 w 4158105"/>
                <a:gd name="connsiteY11-96" fmla="*/ 323546 h 4110786"/>
                <a:gd name="connsiteX12-97" fmla="*/ 2106264 w 4158105"/>
                <a:gd name="connsiteY12-98" fmla="*/ 319178 h 4110786"/>
                <a:gd name="connsiteX13-99" fmla="*/ 2224351 w 4158105"/>
                <a:gd name="connsiteY13-100" fmla="*/ 13068 h 4110786"/>
                <a:gd name="connsiteX14-101" fmla="*/ 4158105 w 4158105"/>
                <a:gd name="connsiteY14-102" fmla="*/ 2058946 h 4110786"/>
                <a:gd name="connsiteX15-103" fmla="*/ 2106265 w 4158105"/>
                <a:gd name="connsiteY15-104" fmla="*/ 4110786 h 4110786"/>
                <a:gd name="connsiteX16-105" fmla="*/ 54424 w 4158105"/>
                <a:gd name="connsiteY16-106" fmla="*/ 2058946 h 4110786"/>
                <a:gd name="connsiteX17-107" fmla="*/ 574232 w 4158105"/>
                <a:gd name="connsiteY17-108" fmla="*/ 1234330 h 4110786"/>
                <a:gd name="connsiteX18-109" fmla="*/ 366497 w 4158105"/>
                <a:gd name="connsiteY18-110" fmla="*/ 2058945 h 4110786"/>
                <a:gd name="connsiteX19-111" fmla="*/ 2106264 w 4158105"/>
                <a:gd name="connsiteY19-112" fmla="*/ 3798712 h 4110786"/>
                <a:gd name="connsiteX20-113" fmla="*/ 3846030 w 4158105"/>
                <a:gd name="connsiteY20-114" fmla="*/ 2058945 h 4110786"/>
                <a:gd name="connsiteX21-115" fmla="*/ 2198792 w 4158105"/>
                <a:gd name="connsiteY21-116" fmla="*/ 323850 h 4110786"/>
                <a:gd name="connsiteX22-117" fmla="*/ 2219780 w 4158105"/>
                <a:gd name="connsiteY22-118" fmla="*/ 323850 h 4110786"/>
                <a:gd name="connsiteX23-119" fmla="*/ 2224351 w 4158105"/>
                <a:gd name="connsiteY23-120" fmla="*/ 13068 h 4110786"/>
                <a:gd name="connsiteX24-121" fmla="*/ 2019755 w 4158105"/>
                <a:gd name="connsiteY24-122" fmla="*/ 11473 h 4110786"/>
                <a:gd name="connsiteX25-123" fmla="*/ 2019755 w 4158105"/>
                <a:gd name="connsiteY25-124" fmla="*/ 323546 h 4110786"/>
                <a:gd name="connsiteX26-125" fmla="*/ 668844 w 4158105"/>
                <a:gd name="connsiteY26-126" fmla="*/ 1079241 h 4110786"/>
                <a:gd name="connsiteX27-127" fmla="*/ 399753 w 4158105"/>
                <a:gd name="connsiteY27-128" fmla="*/ 920125 h 4110786"/>
                <a:gd name="connsiteX28-129" fmla="*/ 2019755 w 4158105"/>
                <a:gd name="connsiteY28-130" fmla="*/ 11473 h 4110786"/>
                <a:gd name="connsiteX29-131" fmla="*/ 2224543 w 4158105"/>
                <a:gd name="connsiteY29-132" fmla="*/ 0 h 4110786"/>
                <a:gd name="connsiteX30-133" fmla="*/ 2224351 w 4158105"/>
                <a:gd name="connsiteY30-134" fmla="*/ 13068 h 4110786"/>
                <a:gd name="connsiteX31-135" fmla="*/ 2106265 w 4158105"/>
                <a:gd name="connsiteY31-136" fmla="*/ 7105 h 4110786"/>
                <a:gd name="connsiteX32-137" fmla="*/ 2019755 w 4158105"/>
                <a:gd name="connsiteY32-138" fmla="*/ 11473 h 4110786"/>
                <a:gd name="connsiteX33-139" fmla="*/ 2019755 w 4158105"/>
                <a:gd name="connsiteY33-140" fmla="*/ 2381 h 4110786"/>
                <a:gd name="connsiteX34-141" fmla="*/ 2224543 w 4158105"/>
                <a:gd name="connsiteY34-142" fmla="*/ 0 h 4110786"/>
                <a:gd name="connsiteX0-143" fmla="*/ 739525 w 4228786"/>
                <a:gd name="connsiteY0-144" fmla="*/ 1079241 h 4110786"/>
                <a:gd name="connsiteX1-145" fmla="*/ 742648 w 4228786"/>
                <a:gd name="connsiteY1-146" fmla="*/ 1081087 h 4110786"/>
                <a:gd name="connsiteX2-147" fmla="*/ 647398 w 4228786"/>
                <a:gd name="connsiteY2-148" fmla="*/ 1235869 h 4110786"/>
                <a:gd name="connsiteX3-149" fmla="*/ 644913 w 4228786"/>
                <a:gd name="connsiteY3-150" fmla="*/ 1234330 h 4110786"/>
                <a:gd name="connsiteX4-151" fmla="*/ 739525 w 4228786"/>
                <a:gd name="connsiteY4-152" fmla="*/ 1079241 h 4110786"/>
                <a:gd name="connsiteX5-153" fmla="*/ 468805 w 4228786"/>
                <a:gd name="connsiteY5-154" fmla="*/ 919162 h 4110786"/>
                <a:gd name="connsiteX6-155" fmla="*/ 470434 w 4228786"/>
                <a:gd name="connsiteY6-156" fmla="*/ 920125 h 4110786"/>
                <a:gd name="connsiteX7-157" fmla="*/ 468805 w 4228786"/>
                <a:gd name="connsiteY7-158" fmla="*/ 919162 h 4110786"/>
                <a:gd name="connsiteX8-159" fmla="*/ 2176945 w 4228786"/>
                <a:gd name="connsiteY8-160" fmla="*/ 319178 h 4110786"/>
                <a:gd name="connsiteX9-161" fmla="*/ 2269473 w 4228786"/>
                <a:gd name="connsiteY9-162" fmla="*/ 323850 h 4110786"/>
                <a:gd name="connsiteX10-163" fmla="*/ 2090436 w 4228786"/>
                <a:gd name="connsiteY10-164" fmla="*/ 323850 h 4110786"/>
                <a:gd name="connsiteX11-165" fmla="*/ 2090436 w 4228786"/>
                <a:gd name="connsiteY11-166" fmla="*/ 323546 h 4110786"/>
                <a:gd name="connsiteX12-167" fmla="*/ 2176945 w 4228786"/>
                <a:gd name="connsiteY12-168" fmla="*/ 319178 h 4110786"/>
                <a:gd name="connsiteX13-169" fmla="*/ 2295032 w 4228786"/>
                <a:gd name="connsiteY13-170" fmla="*/ 13068 h 4110786"/>
                <a:gd name="connsiteX14-171" fmla="*/ 4228786 w 4228786"/>
                <a:gd name="connsiteY14-172" fmla="*/ 2058946 h 4110786"/>
                <a:gd name="connsiteX15-173" fmla="*/ 2176946 w 4228786"/>
                <a:gd name="connsiteY15-174" fmla="*/ 4110786 h 4110786"/>
                <a:gd name="connsiteX16-175" fmla="*/ 125105 w 4228786"/>
                <a:gd name="connsiteY16-176" fmla="*/ 2058946 h 4110786"/>
                <a:gd name="connsiteX17-177" fmla="*/ 437178 w 4228786"/>
                <a:gd name="connsiteY17-178" fmla="*/ 2058945 h 4110786"/>
                <a:gd name="connsiteX18-179" fmla="*/ 2176945 w 4228786"/>
                <a:gd name="connsiteY18-180" fmla="*/ 3798712 h 4110786"/>
                <a:gd name="connsiteX19-181" fmla="*/ 3916711 w 4228786"/>
                <a:gd name="connsiteY19-182" fmla="*/ 2058945 h 4110786"/>
                <a:gd name="connsiteX20-183" fmla="*/ 2269473 w 4228786"/>
                <a:gd name="connsiteY20-184" fmla="*/ 323850 h 4110786"/>
                <a:gd name="connsiteX21-185" fmla="*/ 2290461 w 4228786"/>
                <a:gd name="connsiteY21-186" fmla="*/ 323850 h 4110786"/>
                <a:gd name="connsiteX22-187" fmla="*/ 2295032 w 4228786"/>
                <a:gd name="connsiteY22-188" fmla="*/ 13068 h 4110786"/>
                <a:gd name="connsiteX23-189" fmla="*/ 2090436 w 4228786"/>
                <a:gd name="connsiteY23-190" fmla="*/ 11473 h 4110786"/>
                <a:gd name="connsiteX24-191" fmla="*/ 2090436 w 4228786"/>
                <a:gd name="connsiteY24-192" fmla="*/ 323546 h 4110786"/>
                <a:gd name="connsiteX25-193" fmla="*/ 739525 w 4228786"/>
                <a:gd name="connsiteY25-194" fmla="*/ 1079241 h 4110786"/>
                <a:gd name="connsiteX26-195" fmla="*/ 470434 w 4228786"/>
                <a:gd name="connsiteY26-196" fmla="*/ 920125 h 4110786"/>
                <a:gd name="connsiteX27-197" fmla="*/ 2090436 w 4228786"/>
                <a:gd name="connsiteY27-198" fmla="*/ 11473 h 4110786"/>
                <a:gd name="connsiteX28-199" fmla="*/ 2295224 w 4228786"/>
                <a:gd name="connsiteY28-200" fmla="*/ 0 h 4110786"/>
                <a:gd name="connsiteX29-201" fmla="*/ 2295032 w 4228786"/>
                <a:gd name="connsiteY29-202" fmla="*/ 13068 h 4110786"/>
                <a:gd name="connsiteX30-203" fmla="*/ 2176946 w 4228786"/>
                <a:gd name="connsiteY30-204" fmla="*/ 7105 h 4110786"/>
                <a:gd name="connsiteX31-205" fmla="*/ 2090436 w 4228786"/>
                <a:gd name="connsiteY31-206" fmla="*/ 11473 h 4110786"/>
                <a:gd name="connsiteX32-207" fmla="*/ 2090436 w 4228786"/>
                <a:gd name="connsiteY32-208" fmla="*/ 2381 h 4110786"/>
                <a:gd name="connsiteX33-209" fmla="*/ 2295224 w 4228786"/>
                <a:gd name="connsiteY33-210" fmla="*/ 0 h 4110786"/>
                <a:gd name="connsiteX0-211" fmla="*/ 739525 w 4228786"/>
                <a:gd name="connsiteY0-212" fmla="*/ 1079241 h 4110786"/>
                <a:gd name="connsiteX1-213" fmla="*/ 742648 w 4228786"/>
                <a:gd name="connsiteY1-214" fmla="*/ 1081087 h 4110786"/>
                <a:gd name="connsiteX2-215" fmla="*/ 647398 w 4228786"/>
                <a:gd name="connsiteY2-216" fmla="*/ 1235869 h 4110786"/>
                <a:gd name="connsiteX3-217" fmla="*/ 739525 w 4228786"/>
                <a:gd name="connsiteY3-218" fmla="*/ 1079241 h 4110786"/>
                <a:gd name="connsiteX4-219" fmla="*/ 468805 w 4228786"/>
                <a:gd name="connsiteY4-220" fmla="*/ 919162 h 4110786"/>
                <a:gd name="connsiteX5-221" fmla="*/ 470434 w 4228786"/>
                <a:gd name="connsiteY5-222" fmla="*/ 920125 h 4110786"/>
                <a:gd name="connsiteX6-223" fmla="*/ 468805 w 4228786"/>
                <a:gd name="connsiteY6-224" fmla="*/ 919162 h 4110786"/>
                <a:gd name="connsiteX7-225" fmla="*/ 2176945 w 4228786"/>
                <a:gd name="connsiteY7-226" fmla="*/ 319178 h 4110786"/>
                <a:gd name="connsiteX8-227" fmla="*/ 2269473 w 4228786"/>
                <a:gd name="connsiteY8-228" fmla="*/ 323850 h 4110786"/>
                <a:gd name="connsiteX9-229" fmla="*/ 2090436 w 4228786"/>
                <a:gd name="connsiteY9-230" fmla="*/ 323850 h 4110786"/>
                <a:gd name="connsiteX10-231" fmla="*/ 2090436 w 4228786"/>
                <a:gd name="connsiteY10-232" fmla="*/ 323546 h 4110786"/>
                <a:gd name="connsiteX11-233" fmla="*/ 2176945 w 4228786"/>
                <a:gd name="connsiteY11-234" fmla="*/ 319178 h 4110786"/>
                <a:gd name="connsiteX12-235" fmla="*/ 2295032 w 4228786"/>
                <a:gd name="connsiteY12-236" fmla="*/ 13068 h 4110786"/>
                <a:gd name="connsiteX13-237" fmla="*/ 4228786 w 4228786"/>
                <a:gd name="connsiteY13-238" fmla="*/ 2058946 h 4110786"/>
                <a:gd name="connsiteX14-239" fmla="*/ 2176946 w 4228786"/>
                <a:gd name="connsiteY14-240" fmla="*/ 4110786 h 4110786"/>
                <a:gd name="connsiteX15-241" fmla="*/ 125105 w 4228786"/>
                <a:gd name="connsiteY15-242" fmla="*/ 2058946 h 4110786"/>
                <a:gd name="connsiteX16-243" fmla="*/ 437178 w 4228786"/>
                <a:gd name="connsiteY16-244" fmla="*/ 2058945 h 4110786"/>
                <a:gd name="connsiteX17-245" fmla="*/ 2176945 w 4228786"/>
                <a:gd name="connsiteY17-246" fmla="*/ 3798712 h 4110786"/>
                <a:gd name="connsiteX18-247" fmla="*/ 3916711 w 4228786"/>
                <a:gd name="connsiteY18-248" fmla="*/ 2058945 h 4110786"/>
                <a:gd name="connsiteX19-249" fmla="*/ 2269473 w 4228786"/>
                <a:gd name="connsiteY19-250" fmla="*/ 323850 h 4110786"/>
                <a:gd name="connsiteX20-251" fmla="*/ 2290461 w 4228786"/>
                <a:gd name="connsiteY20-252" fmla="*/ 323850 h 4110786"/>
                <a:gd name="connsiteX21-253" fmla="*/ 2295032 w 4228786"/>
                <a:gd name="connsiteY21-254" fmla="*/ 13068 h 4110786"/>
                <a:gd name="connsiteX22-255" fmla="*/ 2090436 w 4228786"/>
                <a:gd name="connsiteY22-256" fmla="*/ 11473 h 4110786"/>
                <a:gd name="connsiteX23-257" fmla="*/ 2090436 w 4228786"/>
                <a:gd name="connsiteY23-258" fmla="*/ 323546 h 4110786"/>
                <a:gd name="connsiteX24-259" fmla="*/ 739525 w 4228786"/>
                <a:gd name="connsiteY24-260" fmla="*/ 1079241 h 4110786"/>
                <a:gd name="connsiteX25-261" fmla="*/ 470434 w 4228786"/>
                <a:gd name="connsiteY25-262" fmla="*/ 920125 h 4110786"/>
                <a:gd name="connsiteX26-263" fmla="*/ 2090436 w 4228786"/>
                <a:gd name="connsiteY26-264" fmla="*/ 11473 h 4110786"/>
                <a:gd name="connsiteX27-265" fmla="*/ 2295224 w 4228786"/>
                <a:gd name="connsiteY27-266" fmla="*/ 0 h 4110786"/>
                <a:gd name="connsiteX28-267" fmla="*/ 2295032 w 4228786"/>
                <a:gd name="connsiteY28-268" fmla="*/ 13068 h 4110786"/>
                <a:gd name="connsiteX29-269" fmla="*/ 2176946 w 4228786"/>
                <a:gd name="connsiteY29-270" fmla="*/ 7105 h 4110786"/>
                <a:gd name="connsiteX30-271" fmla="*/ 2090436 w 4228786"/>
                <a:gd name="connsiteY30-272" fmla="*/ 11473 h 4110786"/>
                <a:gd name="connsiteX31-273" fmla="*/ 2090436 w 4228786"/>
                <a:gd name="connsiteY31-274" fmla="*/ 2381 h 4110786"/>
                <a:gd name="connsiteX32-275" fmla="*/ 2295224 w 4228786"/>
                <a:gd name="connsiteY32-276" fmla="*/ 0 h 4110786"/>
                <a:gd name="connsiteX0-277" fmla="*/ 739525 w 4228786"/>
                <a:gd name="connsiteY0-278" fmla="*/ 1079241 h 4110786"/>
                <a:gd name="connsiteX1-279" fmla="*/ 742648 w 4228786"/>
                <a:gd name="connsiteY1-280" fmla="*/ 1081087 h 4110786"/>
                <a:gd name="connsiteX2-281" fmla="*/ 739525 w 4228786"/>
                <a:gd name="connsiteY2-282" fmla="*/ 1079241 h 4110786"/>
                <a:gd name="connsiteX3-283" fmla="*/ 468805 w 4228786"/>
                <a:gd name="connsiteY3-284" fmla="*/ 919162 h 4110786"/>
                <a:gd name="connsiteX4-285" fmla="*/ 470434 w 4228786"/>
                <a:gd name="connsiteY4-286" fmla="*/ 920125 h 4110786"/>
                <a:gd name="connsiteX5-287" fmla="*/ 468805 w 4228786"/>
                <a:gd name="connsiteY5-288" fmla="*/ 919162 h 4110786"/>
                <a:gd name="connsiteX6-289" fmla="*/ 2176945 w 4228786"/>
                <a:gd name="connsiteY6-290" fmla="*/ 319178 h 4110786"/>
                <a:gd name="connsiteX7-291" fmla="*/ 2269473 w 4228786"/>
                <a:gd name="connsiteY7-292" fmla="*/ 323850 h 4110786"/>
                <a:gd name="connsiteX8-293" fmla="*/ 2090436 w 4228786"/>
                <a:gd name="connsiteY8-294" fmla="*/ 323850 h 4110786"/>
                <a:gd name="connsiteX9-295" fmla="*/ 2090436 w 4228786"/>
                <a:gd name="connsiteY9-296" fmla="*/ 323546 h 4110786"/>
                <a:gd name="connsiteX10-297" fmla="*/ 2176945 w 4228786"/>
                <a:gd name="connsiteY10-298" fmla="*/ 319178 h 4110786"/>
                <a:gd name="connsiteX11-299" fmla="*/ 2295032 w 4228786"/>
                <a:gd name="connsiteY11-300" fmla="*/ 13068 h 4110786"/>
                <a:gd name="connsiteX12-301" fmla="*/ 4228786 w 4228786"/>
                <a:gd name="connsiteY12-302" fmla="*/ 2058946 h 4110786"/>
                <a:gd name="connsiteX13-303" fmla="*/ 2176946 w 4228786"/>
                <a:gd name="connsiteY13-304" fmla="*/ 4110786 h 4110786"/>
                <a:gd name="connsiteX14-305" fmla="*/ 125105 w 4228786"/>
                <a:gd name="connsiteY14-306" fmla="*/ 2058946 h 4110786"/>
                <a:gd name="connsiteX15-307" fmla="*/ 437178 w 4228786"/>
                <a:gd name="connsiteY15-308" fmla="*/ 2058945 h 4110786"/>
                <a:gd name="connsiteX16-309" fmla="*/ 2176945 w 4228786"/>
                <a:gd name="connsiteY16-310" fmla="*/ 3798712 h 4110786"/>
                <a:gd name="connsiteX17-311" fmla="*/ 3916711 w 4228786"/>
                <a:gd name="connsiteY17-312" fmla="*/ 2058945 h 4110786"/>
                <a:gd name="connsiteX18-313" fmla="*/ 2269473 w 4228786"/>
                <a:gd name="connsiteY18-314" fmla="*/ 323850 h 4110786"/>
                <a:gd name="connsiteX19-315" fmla="*/ 2290461 w 4228786"/>
                <a:gd name="connsiteY19-316" fmla="*/ 323850 h 4110786"/>
                <a:gd name="connsiteX20-317" fmla="*/ 2295032 w 4228786"/>
                <a:gd name="connsiteY20-318" fmla="*/ 13068 h 4110786"/>
                <a:gd name="connsiteX21-319" fmla="*/ 2090436 w 4228786"/>
                <a:gd name="connsiteY21-320" fmla="*/ 11473 h 4110786"/>
                <a:gd name="connsiteX22-321" fmla="*/ 2090436 w 4228786"/>
                <a:gd name="connsiteY22-322" fmla="*/ 323546 h 4110786"/>
                <a:gd name="connsiteX23-323" fmla="*/ 739525 w 4228786"/>
                <a:gd name="connsiteY23-324" fmla="*/ 1079241 h 4110786"/>
                <a:gd name="connsiteX24-325" fmla="*/ 470434 w 4228786"/>
                <a:gd name="connsiteY24-326" fmla="*/ 920125 h 4110786"/>
                <a:gd name="connsiteX25-327" fmla="*/ 2090436 w 4228786"/>
                <a:gd name="connsiteY25-328" fmla="*/ 11473 h 4110786"/>
                <a:gd name="connsiteX26-329" fmla="*/ 2295224 w 4228786"/>
                <a:gd name="connsiteY26-330" fmla="*/ 0 h 4110786"/>
                <a:gd name="connsiteX27-331" fmla="*/ 2295032 w 4228786"/>
                <a:gd name="connsiteY27-332" fmla="*/ 13068 h 4110786"/>
                <a:gd name="connsiteX28-333" fmla="*/ 2176946 w 4228786"/>
                <a:gd name="connsiteY28-334" fmla="*/ 7105 h 4110786"/>
                <a:gd name="connsiteX29-335" fmla="*/ 2090436 w 4228786"/>
                <a:gd name="connsiteY29-336" fmla="*/ 11473 h 4110786"/>
                <a:gd name="connsiteX30-337" fmla="*/ 2090436 w 4228786"/>
                <a:gd name="connsiteY30-338" fmla="*/ 2381 h 4110786"/>
                <a:gd name="connsiteX31-339" fmla="*/ 2295224 w 4228786"/>
                <a:gd name="connsiteY31-340" fmla="*/ 0 h 4110786"/>
                <a:gd name="connsiteX0-341" fmla="*/ 739525 w 4228786"/>
                <a:gd name="connsiteY0-342" fmla="*/ 1079241 h 4110786"/>
                <a:gd name="connsiteX1-343" fmla="*/ 742648 w 4228786"/>
                <a:gd name="connsiteY1-344" fmla="*/ 1081087 h 4110786"/>
                <a:gd name="connsiteX2-345" fmla="*/ 739525 w 4228786"/>
                <a:gd name="connsiteY2-346" fmla="*/ 1079241 h 4110786"/>
                <a:gd name="connsiteX3-347" fmla="*/ 468805 w 4228786"/>
                <a:gd name="connsiteY3-348" fmla="*/ 919162 h 4110786"/>
                <a:gd name="connsiteX4-349" fmla="*/ 470434 w 4228786"/>
                <a:gd name="connsiteY4-350" fmla="*/ 920125 h 4110786"/>
                <a:gd name="connsiteX5-351" fmla="*/ 468805 w 4228786"/>
                <a:gd name="connsiteY5-352" fmla="*/ 919162 h 4110786"/>
                <a:gd name="connsiteX6-353" fmla="*/ 2176945 w 4228786"/>
                <a:gd name="connsiteY6-354" fmla="*/ 319178 h 4110786"/>
                <a:gd name="connsiteX7-355" fmla="*/ 2269473 w 4228786"/>
                <a:gd name="connsiteY7-356" fmla="*/ 323850 h 4110786"/>
                <a:gd name="connsiteX8-357" fmla="*/ 2090436 w 4228786"/>
                <a:gd name="connsiteY8-358" fmla="*/ 323850 h 4110786"/>
                <a:gd name="connsiteX9-359" fmla="*/ 2090436 w 4228786"/>
                <a:gd name="connsiteY9-360" fmla="*/ 323546 h 4110786"/>
                <a:gd name="connsiteX10-361" fmla="*/ 2176945 w 4228786"/>
                <a:gd name="connsiteY10-362" fmla="*/ 319178 h 4110786"/>
                <a:gd name="connsiteX11-363" fmla="*/ 2295032 w 4228786"/>
                <a:gd name="connsiteY11-364" fmla="*/ 13068 h 4110786"/>
                <a:gd name="connsiteX12-365" fmla="*/ 4228786 w 4228786"/>
                <a:gd name="connsiteY12-366" fmla="*/ 2058946 h 4110786"/>
                <a:gd name="connsiteX13-367" fmla="*/ 2176946 w 4228786"/>
                <a:gd name="connsiteY13-368" fmla="*/ 4110786 h 4110786"/>
                <a:gd name="connsiteX14-369" fmla="*/ 125105 w 4228786"/>
                <a:gd name="connsiteY14-370" fmla="*/ 2058946 h 4110786"/>
                <a:gd name="connsiteX15-371" fmla="*/ 437178 w 4228786"/>
                <a:gd name="connsiteY15-372" fmla="*/ 2058945 h 4110786"/>
                <a:gd name="connsiteX16-373" fmla="*/ 2176945 w 4228786"/>
                <a:gd name="connsiteY16-374" fmla="*/ 3798712 h 4110786"/>
                <a:gd name="connsiteX17-375" fmla="*/ 3916711 w 4228786"/>
                <a:gd name="connsiteY17-376" fmla="*/ 2058945 h 4110786"/>
                <a:gd name="connsiteX18-377" fmla="*/ 2269473 w 4228786"/>
                <a:gd name="connsiteY18-378" fmla="*/ 323850 h 4110786"/>
                <a:gd name="connsiteX19-379" fmla="*/ 2290461 w 4228786"/>
                <a:gd name="connsiteY19-380" fmla="*/ 323850 h 4110786"/>
                <a:gd name="connsiteX20-381" fmla="*/ 2295032 w 4228786"/>
                <a:gd name="connsiteY20-382" fmla="*/ 13068 h 4110786"/>
                <a:gd name="connsiteX21-383" fmla="*/ 2090436 w 4228786"/>
                <a:gd name="connsiteY21-384" fmla="*/ 11473 h 4110786"/>
                <a:gd name="connsiteX22-385" fmla="*/ 2090436 w 4228786"/>
                <a:gd name="connsiteY22-386" fmla="*/ 323546 h 4110786"/>
                <a:gd name="connsiteX23-387" fmla="*/ 739525 w 4228786"/>
                <a:gd name="connsiteY23-388" fmla="*/ 1079241 h 4110786"/>
                <a:gd name="connsiteX24-389" fmla="*/ 470434 w 4228786"/>
                <a:gd name="connsiteY24-390" fmla="*/ 920125 h 4110786"/>
                <a:gd name="connsiteX25-391" fmla="*/ 2090436 w 4228786"/>
                <a:gd name="connsiteY25-392" fmla="*/ 11473 h 4110786"/>
                <a:gd name="connsiteX26-393" fmla="*/ 2295224 w 4228786"/>
                <a:gd name="connsiteY26-394" fmla="*/ 0 h 4110786"/>
                <a:gd name="connsiteX27-395" fmla="*/ 2176946 w 4228786"/>
                <a:gd name="connsiteY27-396" fmla="*/ 7105 h 4110786"/>
                <a:gd name="connsiteX28-397" fmla="*/ 2090436 w 4228786"/>
                <a:gd name="connsiteY28-398" fmla="*/ 11473 h 4110786"/>
                <a:gd name="connsiteX29-399" fmla="*/ 2090436 w 4228786"/>
                <a:gd name="connsiteY29-400" fmla="*/ 2381 h 4110786"/>
                <a:gd name="connsiteX30-401" fmla="*/ 2295224 w 4228786"/>
                <a:gd name="connsiteY30-402" fmla="*/ 0 h 4110786"/>
                <a:gd name="connsiteX0-403" fmla="*/ 739525 w 4228949"/>
                <a:gd name="connsiteY0-404" fmla="*/ 1079241 h 4110786"/>
                <a:gd name="connsiteX1-405" fmla="*/ 742648 w 4228949"/>
                <a:gd name="connsiteY1-406" fmla="*/ 1081087 h 4110786"/>
                <a:gd name="connsiteX2-407" fmla="*/ 739525 w 4228949"/>
                <a:gd name="connsiteY2-408" fmla="*/ 1079241 h 4110786"/>
                <a:gd name="connsiteX3-409" fmla="*/ 468805 w 4228949"/>
                <a:gd name="connsiteY3-410" fmla="*/ 919162 h 4110786"/>
                <a:gd name="connsiteX4-411" fmla="*/ 470434 w 4228949"/>
                <a:gd name="connsiteY4-412" fmla="*/ 920125 h 4110786"/>
                <a:gd name="connsiteX5-413" fmla="*/ 468805 w 4228949"/>
                <a:gd name="connsiteY5-414" fmla="*/ 919162 h 4110786"/>
                <a:gd name="connsiteX6-415" fmla="*/ 2176945 w 4228949"/>
                <a:gd name="connsiteY6-416" fmla="*/ 319178 h 4110786"/>
                <a:gd name="connsiteX7-417" fmla="*/ 2269473 w 4228949"/>
                <a:gd name="connsiteY7-418" fmla="*/ 323850 h 4110786"/>
                <a:gd name="connsiteX8-419" fmla="*/ 2090436 w 4228949"/>
                <a:gd name="connsiteY8-420" fmla="*/ 323850 h 4110786"/>
                <a:gd name="connsiteX9-421" fmla="*/ 2090436 w 4228949"/>
                <a:gd name="connsiteY9-422" fmla="*/ 323546 h 4110786"/>
                <a:gd name="connsiteX10-423" fmla="*/ 2176945 w 4228949"/>
                <a:gd name="connsiteY10-424" fmla="*/ 319178 h 4110786"/>
                <a:gd name="connsiteX11-425" fmla="*/ 2290461 w 4228949"/>
                <a:gd name="connsiteY11-426" fmla="*/ 323850 h 4110786"/>
                <a:gd name="connsiteX12-427" fmla="*/ 4228786 w 4228949"/>
                <a:gd name="connsiteY12-428" fmla="*/ 2058946 h 4110786"/>
                <a:gd name="connsiteX13-429" fmla="*/ 2176946 w 4228949"/>
                <a:gd name="connsiteY13-430" fmla="*/ 4110786 h 4110786"/>
                <a:gd name="connsiteX14-431" fmla="*/ 125105 w 4228949"/>
                <a:gd name="connsiteY14-432" fmla="*/ 2058946 h 4110786"/>
                <a:gd name="connsiteX15-433" fmla="*/ 437178 w 4228949"/>
                <a:gd name="connsiteY15-434" fmla="*/ 2058945 h 4110786"/>
                <a:gd name="connsiteX16-435" fmla="*/ 2176945 w 4228949"/>
                <a:gd name="connsiteY16-436" fmla="*/ 3798712 h 4110786"/>
                <a:gd name="connsiteX17-437" fmla="*/ 3916711 w 4228949"/>
                <a:gd name="connsiteY17-438" fmla="*/ 2058945 h 4110786"/>
                <a:gd name="connsiteX18-439" fmla="*/ 2269473 w 4228949"/>
                <a:gd name="connsiteY18-440" fmla="*/ 323850 h 4110786"/>
                <a:gd name="connsiteX19-441" fmla="*/ 2290461 w 4228949"/>
                <a:gd name="connsiteY19-442" fmla="*/ 323850 h 4110786"/>
                <a:gd name="connsiteX20-443" fmla="*/ 2090436 w 4228949"/>
                <a:gd name="connsiteY20-444" fmla="*/ 11473 h 4110786"/>
                <a:gd name="connsiteX21-445" fmla="*/ 2090436 w 4228949"/>
                <a:gd name="connsiteY21-446" fmla="*/ 323546 h 4110786"/>
                <a:gd name="connsiteX22-447" fmla="*/ 739525 w 4228949"/>
                <a:gd name="connsiteY22-448" fmla="*/ 1079241 h 4110786"/>
                <a:gd name="connsiteX23-449" fmla="*/ 470434 w 4228949"/>
                <a:gd name="connsiteY23-450" fmla="*/ 920125 h 4110786"/>
                <a:gd name="connsiteX24-451" fmla="*/ 2090436 w 4228949"/>
                <a:gd name="connsiteY24-452" fmla="*/ 11473 h 4110786"/>
                <a:gd name="connsiteX25-453" fmla="*/ 2295224 w 4228949"/>
                <a:gd name="connsiteY25-454" fmla="*/ 0 h 4110786"/>
                <a:gd name="connsiteX26-455" fmla="*/ 2176946 w 4228949"/>
                <a:gd name="connsiteY26-456" fmla="*/ 7105 h 4110786"/>
                <a:gd name="connsiteX27-457" fmla="*/ 2090436 w 4228949"/>
                <a:gd name="connsiteY27-458" fmla="*/ 11473 h 4110786"/>
                <a:gd name="connsiteX28-459" fmla="*/ 2090436 w 4228949"/>
                <a:gd name="connsiteY28-460" fmla="*/ 2381 h 4110786"/>
                <a:gd name="connsiteX29-461" fmla="*/ 2295224 w 4228949"/>
                <a:gd name="connsiteY29-462" fmla="*/ 0 h 4110786"/>
                <a:gd name="connsiteX0-463" fmla="*/ 739525 w 4228949"/>
                <a:gd name="connsiteY0-464" fmla="*/ 1076860 h 4108405"/>
                <a:gd name="connsiteX1-465" fmla="*/ 742648 w 4228949"/>
                <a:gd name="connsiteY1-466" fmla="*/ 1078706 h 4108405"/>
                <a:gd name="connsiteX2-467" fmla="*/ 739525 w 4228949"/>
                <a:gd name="connsiteY2-468" fmla="*/ 1076860 h 4108405"/>
                <a:gd name="connsiteX3-469" fmla="*/ 468805 w 4228949"/>
                <a:gd name="connsiteY3-470" fmla="*/ 916781 h 4108405"/>
                <a:gd name="connsiteX4-471" fmla="*/ 470434 w 4228949"/>
                <a:gd name="connsiteY4-472" fmla="*/ 917744 h 4108405"/>
                <a:gd name="connsiteX5-473" fmla="*/ 468805 w 4228949"/>
                <a:gd name="connsiteY5-474" fmla="*/ 916781 h 4108405"/>
                <a:gd name="connsiteX6-475" fmla="*/ 2176945 w 4228949"/>
                <a:gd name="connsiteY6-476" fmla="*/ 316797 h 4108405"/>
                <a:gd name="connsiteX7-477" fmla="*/ 2269473 w 4228949"/>
                <a:gd name="connsiteY7-478" fmla="*/ 321469 h 4108405"/>
                <a:gd name="connsiteX8-479" fmla="*/ 2090436 w 4228949"/>
                <a:gd name="connsiteY8-480" fmla="*/ 321469 h 4108405"/>
                <a:gd name="connsiteX9-481" fmla="*/ 2090436 w 4228949"/>
                <a:gd name="connsiteY9-482" fmla="*/ 321165 h 4108405"/>
                <a:gd name="connsiteX10-483" fmla="*/ 2176945 w 4228949"/>
                <a:gd name="connsiteY10-484" fmla="*/ 316797 h 4108405"/>
                <a:gd name="connsiteX11-485" fmla="*/ 2290461 w 4228949"/>
                <a:gd name="connsiteY11-486" fmla="*/ 321469 h 4108405"/>
                <a:gd name="connsiteX12-487" fmla="*/ 4228786 w 4228949"/>
                <a:gd name="connsiteY12-488" fmla="*/ 2056565 h 4108405"/>
                <a:gd name="connsiteX13-489" fmla="*/ 2176946 w 4228949"/>
                <a:gd name="connsiteY13-490" fmla="*/ 4108405 h 4108405"/>
                <a:gd name="connsiteX14-491" fmla="*/ 125105 w 4228949"/>
                <a:gd name="connsiteY14-492" fmla="*/ 2056565 h 4108405"/>
                <a:gd name="connsiteX15-493" fmla="*/ 437178 w 4228949"/>
                <a:gd name="connsiteY15-494" fmla="*/ 2056564 h 4108405"/>
                <a:gd name="connsiteX16-495" fmla="*/ 2176945 w 4228949"/>
                <a:gd name="connsiteY16-496" fmla="*/ 3796331 h 4108405"/>
                <a:gd name="connsiteX17-497" fmla="*/ 3916711 w 4228949"/>
                <a:gd name="connsiteY17-498" fmla="*/ 2056564 h 4108405"/>
                <a:gd name="connsiteX18-499" fmla="*/ 2269473 w 4228949"/>
                <a:gd name="connsiteY18-500" fmla="*/ 321469 h 4108405"/>
                <a:gd name="connsiteX19-501" fmla="*/ 2290461 w 4228949"/>
                <a:gd name="connsiteY19-502" fmla="*/ 321469 h 4108405"/>
                <a:gd name="connsiteX20-503" fmla="*/ 2090436 w 4228949"/>
                <a:gd name="connsiteY20-504" fmla="*/ 9092 h 4108405"/>
                <a:gd name="connsiteX21-505" fmla="*/ 2090436 w 4228949"/>
                <a:gd name="connsiteY21-506" fmla="*/ 321165 h 4108405"/>
                <a:gd name="connsiteX22-507" fmla="*/ 739525 w 4228949"/>
                <a:gd name="connsiteY22-508" fmla="*/ 1076860 h 4108405"/>
                <a:gd name="connsiteX23-509" fmla="*/ 470434 w 4228949"/>
                <a:gd name="connsiteY23-510" fmla="*/ 917744 h 4108405"/>
                <a:gd name="connsiteX24-511" fmla="*/ 2090436 w 4228949"/>
                <a:gd name="connsiteY24-512" fmla="*/ 9092 h 4108405"/>
                <a:gd name="connsiteX25-513" fmla="*/ 2090436 w 4228949"/>
                <a:gd name="connsiteY25-514" fmla="*/ 0 h 4108405"/>
                <a:gd name="connsiteX26-515" fmla="*/ 2176946 w 4228949"/>
                <a:gd name="connsiteY26-516" fmla="*/ 4724 h 4108405"/>
                <a:gd name="connsiteX27-517" fmla="*/ 2090436 w 4228949"/>
                <a:gd name="connsiteY27-518" fmla="*/ 9092 h 4108405"/>
                <a:gd name="connsiteX28-519" fmla="*/ 2090436 w 4228949"/>
                <a:gd name="connsiteY28-520" fmla="*/ 0 h 4108405"/>
                <a:gd name="connsiteX0-521" fmla="*/ 739525 w 4228949"/>
                <a:gd name="connsiteY0-522" fmla="*/ 1076860 h 4108405"/>
                <a:gd name="connsiteX1-523" fmla="*/ 742648 w 4228949"/>
                <a:gd name="connsiteY1-524" fmla="*/ 1078706 h 4108405"/>
                <a:gd name="connsiteX2-525" fmla="*/ 739525 w 4228949"/>
                <a:gd name="connsiteY2-526" fmla="*/ 1076860 h 4108405"/>
                <a:gd name="connsiteX3-527" fmla="*/ 468805 w 4228949"/>
                <a:gd name="connsiteY3-528" fmla="*/ 916781 h 4108405"/>
                <a:gd name="connsiteX4-529" fmla="*/ 470434 w 4228949"/>
                <a:gd name="connsiteY4-530" fmla="*/ 917744 h 4108405"/>
                <a:gd name="connsiteX5-531" fmla="*/ 468805 w 4228949"/>
                <a:gd name="connsiteY5-532" fmla="*/ 916781 h 4108405"/>
                <a:gd name="connsiteX6-533" fmla="*/ 2176945 w 4228949"/>
                <a:gd name="connsiteY6-534" fmla="*/ 316797 h 4108405"/>
                <a:gd name="connsiteX7-535" fmla="*/ 2269473 w 4228949"/>
                <a:gd name="connsiteY7-536" fmla="*/ 321469 h 4108405"/>
                <a:gd name="connsiteX8-537" fmla="*/ 2090436 w 4228949"/>
                <a:gd name="connsiteY8-538" fmla="*/ 321469 h 4108405"/>
                <a:gd name="connsiteX9-539" fmla="*/ 2090436 w 4228949"/>
                <a:gd name="connsiteY9-540" fmla="*/ 321165 h 4108405"/>
                <a:gd name="connsiteX10-541" fmla="*/ 2176945 w 4228949"/>
                <a:gd name="connsiteY10-542" fmla="*/ 316797 h 4108405"/>
                <a:gd name="connsiteX11-543" fmla="*/ 2290461 w 4228949"/>
                <a:gd name="connsiteY11-544" fmla="*/ 321469 h 4108405"/>
                <a:gd name="connsiteX12-545" fmla="*/ 4228786 w 4228949"/>
                <a:gd name="connsiteY12-546" fmla="*/ 2056565 h 4108405"/>
                <a:gd name="connsiteX13-547" fmla="*/ 2176946 w 4228949"/>
                <a:gd name="connsiteY13-548" fmla="*/ 4108405 h 4108405"/>
                <a:gd name="connsiteX14-549" fmla="*/ 125105 w 4228949"/>
                <a:gd name="connsiteY14-550" fmla="*/ 2056565 h 4108405"/>
                <a:gd name="connsiteX15-551" fmla="*/ 437178 w 4228949"/>
                <a:gd name="connsiteY15-552" fmla="*/ 2056564 h 4108405"/>
                <a:gd name="connsiteX16-553" fmla="*/ 2176945 w 4228949"/>
                <a:gd name="connsiteY16-554" fmla="*/ 3796331 h 4108405"/>
                <a:gd name="connsiteX17-555" fmla="*/ 3916711 w 4228949"/>
                <a:gd name="connsiteY17-556" fmla="*/ 2056564 h 4108405"/>
                <a:gd name="connsiteX18-557" fmla="*/ 2269473 w 4228949"/>
                <a:gd name="connsiteY18-558" fmla="*/ 321469 h 4108405"/>
                <a:gd name="connsiteX19-559" fmla="*/ 2290461 w 4228949"/>
                <a:gd name="connsiteY19-560" fmla="*/ 321469 h 4108405"/>
                <a:gd name="connsiteX20-561" fmla="*/ 2090436 w 4228949"/>
                <a:gd name="connsiteY20-562" fmla="*/ 9092 h 4108405"/>
                <a:gd name="connsiteX21-563" fmla="*/ 2090436 w 4228949"/>
                <a:gd name="connsiteY21-564" fmla="*/ 321165 h 4108405"/>
                <a:gd name="connsiteX22-565" fmla="*/ 739525 w 4228949"/>
                <a:gd name="connsiteY22-566" fmla="*/ 1076860 h 4108405"/>
                <a:gd name="connsiteX23-567" fmla="*/ 470434 w 4228949"/>
                <a:gd name="connsiteY23-568" fmla="*/ 917744 h 4108405"/>
                <a:gd name="connsiteX24-569" fmla="*/ 2090436 w 4228949"/>
                <a:gd name="connsiteY24-570" fmla="*/ 9092 h 4108405"/>
                <a:gd name="connsiteX25-571" fmla="*/ 2090436 w 4228949"/>
                <a:gd name="connsiteY25-572" fmla="*/ 0 h 4108405"/>
                <a:gd name="connsiteX26-573" fmla="*/ 2090436 w 4228949"/>
                <a:gd name="connsiteY26-574" fmla="*/ 9092 h 4108405"/>
                <a:gd name="connsiteX27-575" fmla="*/ 2090436 w 4228949"/>
                <a:gd name="connsiteY27-576" fmla="*/ 0 h 4108405"/>
                <a:gd name="connsiteX0-577" fmla="*/ 739525 w 4228925"/>
                <a:gd name="connsiteY0-578" fmla="*/ 1076860 h 4108405"/>
                <a:gd name="connsiteX1-579" fmla="*/ 742648 w 4228925"/>
                <a:gd name="connsiteY1-580" fmla="*/ 1078706 h 4108405"/>
                <a:gd name="connsiteX2-581" fmla="*/ 739525 w 4228925"/>
                <a:gd name="connsiteY2-582" fmla="*/ 1076860 h 4108405"/>
                <a:gd name="connsiteX3-583" fmla="*/ 468805 w 4228925"/>
                <a:gd name="connsiteY3-584" fmla="*/ 916781 h 4108405"/>
                <a:gd name="connsiteX4-585" fmla="*/ 470434 w 4228925"/>
                <a:gd name="connsiteY4-586" fmla="*/ 917744 h 4108405"/>
                <a:gd name="connsiteX5-587" fmla="*/ 468805 w 4228925"/>
                <a:gd name="connsiteY5-588" fmla="*/ 916781 h 4108405"/>
                <a:gd name="connsiteX6-589" fmla="*/ 2176945 w 4228925"/>
                <a:gd name="connsiteY6-590" fmla="*/ 316797 h 4108405"/>
                <a:gd name="connsiteX7-591" fmla="*/ 2269473 w 4228925"/>
                <a:gd name="connsiteY7-592" fmla="*/ 321469 h 4108405"/>
                <a:gd name="connsiteX8-593" fmla="*/ 2090436 w 4228925"/>
                <a:gd name="connsiteY8-594" fmla="*/ 321469 h 4108405"/>
                <a:gd name="connsiteX9-595" fmla="*/ 2090436 w 4228925"/>
                <a:gd name="connsiteY9-596" fmla="*/ 321165 h 4108405"/>
                <a:gd name="connsiteX10-597" fmla="*/ 2176945 w 4228925"/>
                <a:gd name="connsiteY10-598" fmla="*/ 316797 h 4108405"/>
                <a:gd name="connsiteX11-599" fmla="*/ 2290461 w 4228925"/>
                <a:gd name="connsiteY11-600" fmla="*/ 321469 h 4108405"/>
                <a:gd name="connsiteX12-601" fmla="*/ 4228786 w 4228925"/>
                <a:gd name="connsiteY12-602" fmla="*/ 2056565 h 4108405"/>
                <a:gd name="connsiteX13-603" fmla="*/ 2176946 w 4228925"/>
                <a:gd name="connsiteY13-604" fmla="*/ 4108405 h 4108405"/>
                <a:gd name="connsiteX14-605" fmla="*/ 125105 w 4228925"/>
                <a:gd name="connsiteY14-606" fmla="*/ 2056565 h 4108405"/>
                <a:gd name="connsiteX15-607" fmla="*/ 437178 w 4228925"/>
                <a:gd name="connsiteY15-608" fmla="*/ 2056564 h 4108405"/>
                <a:gd name="connsiteX16-609" fmla="*/ 2176945 w 4228925"/>
                <a:gd name="connsiteY16-610" fmla="*/ 3796331 h 4108405"/>
                <a:gd name="connsiteX17-611" fmla="*/ 3916711 w 4228925"/>
                <a:gd name="connsiteY17-612" fmla="*/ 2056564 h 4108405"/>
                <a:gd name="connsiteX18-613" fmla="*/ 2290461 w 4228925"/>
                <a:gd name="connsiteY18-614" fmla="*/ 321469 h 4108405"/>
                <a:gd name="connsiteX19-615" fmla="*/ 2090436 w 4228925"/>
                <a:gd name="connsiteY19-616" fmla="*/ 9092 h 4108405"/>
                <a:gd name="connsiteX20-617" fmla="*/ 2090436 w 4228925"/>
                <a:gd name="connsiteY20-618" fmla="*/ 321165 h 4108405"/>
                <a:gd name="connsiteX21-619" fmla="*/ 739525 w 4228925"/>
                <a:gd name="connsiteY21-620" fmla="*/ 1076860 h 4108405"/>
                <a:gd name="connsiteX22-621" fmla="*/ 470434 w 4228925"/>
                <a:gd name="connsiteY22-622" fmla="*/ 917744 h 4108405"/>
                <a:gd name="connsiteX23-623" fmla="*/ 2090436 w 4228925"/>
                <a:gd name="connsiteY23-624" fmla="*/ 9092 h 4108405"/>
                <a:gd name="connsiteX24-625" fmla="*/ 2090436 w 4228925"/>
                <a:gd name="connsiteY24-626" fmla="*/ 0 h 4108405"/>
                <a:gd name="connsiteX25-627" fmla="*/ 2090436 w 4228925"/>
                <a:gd name="connsiteY25-628" fmla="*/ 9092 h 4108405"/>
                <a:gd name="connsiteX26-629" fmla="*/ 2090436 w 4228925"/>
                <a:gd name="connsiteY26-630" fmla="*/ 0 h 4108405"/>
                <a:gd name="connsiteX0-631" fmla="*/ 739525 w 4228925"/>
                <a:gd name="connsiteY0-632" fmla="*/ 1076860 h 4108405"/>
                <a:gd name="connsiteX1-633" fmla="*/ 742648 w 4228925"/>
                <a:gd name="connsiteY1-634" fmla="*/ 1078706 h 4108405"/>
                <a:gd name="connsiteX2-635" fmla="*/ 739525 w 4228925"/>
                <a:gd name="connsiteY2-636" fmla="*/ 1076860 h 4108405"/>
                <a:gd name="connsiteX3-637" fmla="*/ 468805 w 4228925"/>
                <a:gd name="connsiteY3-638" fmla="*/ 916781 h 4108405"/>
                <a:gd name="connsiteX4-639" fmla="*/ 470434 w 4228925"/>
                <a:gd name="connsiteY4-640" fmla="*/ 917744 h 4108405"/>
                <a:gd name="connsiteX5-641" fmla="*/ 468805 w 4228925"/>
                <a:gd name="connsiteY5-642" fmla="*/ 916781 h 4108405"/>
                <a:gd name="connsiteX6-643" fmla="*/ 2176945 w 4228925"/>
                <a:gd name="connsiteY6-644" fmla="*/ 316797 h 4108405"/>
                <a:gd name="connsiteX7-645" fmla="*/ 2090436 w 4228925"/>
                <a:gd name="connsiteY7-646" fmla="*/ 321469 h 4108405"/>
                <a:gd name="connsiteX8-647" fmla="*/ 2090436 w 4228925"/>
                <a:gd name="connsiteY8-648" fmla="*/ 321165 h 4108405"/>
                <a:gd name="connsiteX9-649" fmla="*/ 2176945 w 4228925"/>
                <a:gd name="connsiteY9-650" fmla="*/ 316797 h 4108405"/>
                <a:gd name="connsiteX10-651" fmla="*/ 2290461 w 4228925"/>
                <a:gd name="connsiteY10-652" fmla="*/ 321469 h 4108405"/>
                <a:gd name="connsiteX11-653" fmla="*/ 4228786 w 4228925"/>
                <a:gd name="connsiteY11-654" fmla="*/ 2056565 h 4108405"/>
                <a:gd name="connsiteX12-655" fmla="*/ 2176946 w 4228925"/>
                <a:gd name="connsiteY12-656" fmla="*/ 4108405 h 4108405"/>
                <a:gd name="connsiteX13-657" fmla="*/ 125105 w 4228925"/>
                <a:gd name="connsiteY13-658" fmla="*/ 2056565 h 4108405"/>
                <a:gd name="connsiteX14-659" fmla="*/ 437178 w 4228925"/>
                <a:gd name="connsiteY14-660" fmla="*/ 2056564 h 4108405"/>
                <a:gd name="connsiteX15-661" fmla="*/ 2176945 w 4228925"/>
                <a:gd name="connsiteY15-662" fmla="*/ 3796331 h 4108405"/>
                <a:gd name="connsiteX16-663" fmla="*/ 3916711 w 4228925"/>
                <a:gd name="connsiteY16-664" fmla="*/ 2056564 h 4108405"/>
                <a:gd name="connsiteX17-665" fmla="*/ 2290461 w 4228925"/>
                <a:gd name="connsiteY17-666" fmla="*/ 321469 h 4108405"/>
                <a:gd name="connsiteX18-667" fmla="*/ 2090436 w 4228925"/>
                <a:gd name="connsiteY18-668" fmla="*/ 9092 h 4108405"/>
                <a:gd name="connsiteX19-669" fmla="*/ 2090436 w 4228925"/>
                <a:gd name="connsiteY19-670" fmla="*/ 321165 h 4108405"/>
                <a:gd name="connsiteX20-671" fmla="*/ 739525 w 4228925"/>
                <a:gd name="connsiteY20-672" fmla="*/ 1076860 h 4108405"/>
                <a:gd name="connsiteX21-673" fmla="*/ 470434 w 4228925"/>
                <a:gd name="connsiteY21-674" fmla="*/ 917744 h 4108405"/>
                <a:gd name="connsiteX22-675" fmla="*/ 2090436 w 4228925"/>
                <a:gd name="connsiteY22-676" fmla="*/ 9092 h 4108405"/>
                <a:gd name="connsiteX23-677" fmla="*/ 2090436 w 4228925"/>
                <a:gd name="connsiteY23-678" fmla="*/ 0 h 4108405"/>
                <a:gd name="connsiteX24-679" fmla="*/ 2090436 w 4228925"/>
                <a:gd name="connsiteY24-680" fmla="*/ 9092 h 4108405"/>
                <a:gd name="connsiteX25-681" fmla="*/ 2090436 w 4228925"/>
                <a:gd name="connsiteY25-682" fmla="*/ 0 h 4108405"/>
                <a:gd name="connsiteX0-683" fmla="*/ 739525 w 4228925"/>
                <a:gd name="connsiteY0-684" fmla="*/ 1076860 h 4108405"/>
                <a:gd name="connsiteX1-685" fmla="*/ 742648 w 4228925"/>
                <a:gd name="connsiteY1-686" fmla="*/ 1078706 h 4108405"/>
                <a:gd name="connsiteX2-687" fmla="*/ 739525 w 4228925"/>
                <a:gd name="connsiteY2-688" fmla="*/ 1076860 h 4108405"/>
                <a:gd name="connsiteX3-689" fmla="*/ 468805 w 4228925"/>
                <a:gd name="connsiteY3-690" fmla="*/ 916781 h 4108405"/>
                <a:gd name="connsiteX4-691" fmla="*/ 470434 w 4228925"/>
                <a:gd name="connsiteY4-692" fmla="*/ 917744 h 4108405"/>
                <a:gd name="connsiteX5-693" fmla="*/ 468805 w 4228925"/>
                <a:gd name="connsiteY5-694" fmla="*/ 916781 h 4108405"/>
                <a:gd name="connsiteX6-695" fmla="*/ 2090436 w 4228925"/>
                <a:gd name="connsiteY6-696" fmla="*/ 321165 h 4108405"/>
                <a:gd name="connsiteX7-697" fmla="*/ 2090436 w 4228925"/>
                <a:gd name="connsiteY7-698" fmla="*/ 321469 h 4108405"/>
                <a:gd name="connsiteX8-699" fmla="*/ 2090436 w 4228925"/>
                <a:gd name="connsiteY8-700" fmla="*/ 321165 h 4108405"/>
                <a:gd name="connsiteX9-701" fmla="*/ 2290461 w 4228925"/>
                <a:gd name="connsiteY9-702" fmla="*/ 321469 h 4108405"/>
                <a:gd name="connsiteX10-703" fmla="*/ 4228786 w 4228925"/>
                <a:gd name="connsiteY10-704" fmla="*/ 2056565 h 4108405"/>
                <a:gd name="connsiteX11-705" fmla="*/ 2176946 w 4228925"/>
                <a:gd name="connsiteY11-706" fmla="*/ 4108405 h 4108405"/>
                <a:gd name="connsiteX12-707" fmla="*/ 125105 w 4228925"/>
                <a:gd name="connsiteY12-708" fmla="*/ 2056565 h 4108405"/>
                <a:gd name="connsiteX13-709" fmla="*/ 437178 w 4228925"/>
                <a:gd name="connsiteY13-710" fmla="*/ 2056564 h 4108405"/>
                <a:gd name="connsiteX14-711" fmla="*/ 2176945 w 4228925"/>
                <a:gd name="connsiteY14-712" fmla="*/ 3796331 h 4108405"/>
                <a:gd name="connsiteX15-713" fmla="*/ 3916711 w 4228925"/>
                <a:gd name="connsiteY15-714" fmla="*/ 2056564 h 4108405"/>
                <a:gd name="connsiteX16-715" fmla="*/ 2290461 w 4228925"/>
                <a:gd name="connsiteY16-716" fmla="*/ 321469 h 4108405"/>
                <a:gd name="connsiteX17-717" fmla="*/ 2090436 w 4228925"/>
                <a:gd name="connsiteY17-718" fmla="*/ 9092 h 4108405"/>
                <a:gd name="connsiteX18-719" fmla="*/ 2090436 w 4228925"/>
                <a:gd name="connsiteY18-720" fmla="*/ 321165 h 4108405"/>
                <a:gd name="connsiteX19-721" fmla="*/ 739525 w 4228925"/>
                <a:gd name="connsiteY19-722" fmla="*/ 1076860 h 4108405"/>
                <a:gd name="connsiteX20-723" fmla="*/ 470434 w 4228925"/>
                <a:gd name="connsiteY20-724" fmla="*/ 917744 h 4108405"/>
                <a:gd name="connsiteX21-725" fmla="*/ 2090436 w 4228925"/>
                <a:gd name="connsiteY21-726" fmla="*/ 9092 h 4108405"/>
                <a:gd name="connsiteX22-727" fmla="*/ 2090436 w 4228925"/>
                <a:gd name="connsiteY22-728" fmla="*/ 0 h 4108405"/>
                <a:gd name="connsiteX23-729" fmla="*/ 2090436 w 4228925"/>
                <a:gd name="connsiteY23-730" fmla="*/ 9092 h 4108405"/>
                <a:gd name="connsiteX24-731" fmla="*/ 2090436 w 4228925"/>
                <a:gd name="connsiteY24-732" fmla="*/ 0 h 4108405"/>
                <a:gd name="connsiteX0-733" fmla="*/ 739525 w 4228925"/>
                <a:gd name="connsiteY0-734" fmla="*/ 1067768 h 4099313"/>
                <a:gd name="connsiteX1-735" fmla="*/ 742648 w 4228925"/>
                <a:gd name="connsiteY1-736" fmla="*/ 1069614 h 4099313"/>
                <a:gd name="connsiteX2-737" fmla="*/ 739525 w 4228925"/>
                <a:gd name="connsiteY2-738" fmla="*/ 1067768 h 4099313"/>
                <a:gd name="connsiteX3-739" fmla="*/ 468805 w 4228925"/>
                <a:gd name="connsiteY3-740" fmla="*/ 907689 h 4099313"/>
                <a:gd name="connsiteX4-741" fmla="*/ 470434 w 4228925"/>
                <a:gd name="connsiteY4-742" fmla="*/ 908652 h 4099313"/>
                <a:gd name="connsiteX5-743" fmla="*/ 468805 w 4228925"/>
                <a:gd name="connsiteY5-744" fmla="*/ 907689 h 4099313"/>
                <a:gd name="connsiteX6-745" fmla="*/ 2090436 w 4228925"/>
                <a:gd name="connsiteY6-746" fmla="*/ 312073 h 4099313"/>
                <a:gd name="connsiteX7-747" fmla="*/ 2090436 w 4228925"/>
                <a:gd name="connsiteY7-748" fmla="*/ 312377 h 4099313"/>
                <a:gd name="connsiteX8-749" fmla="*/ 2090436 w 4228925"/>
                <a:gd name="connsiteY8-750" fmla="*/ 312073 h 4099313"/>
                <a:gd name="connsiteX9-751" fmla="*/ 2290461 w 4228925"/>
                <a:gd name="connsiteY9-752" fmla="*/ 312377 h 4099313"/>
                <a:gd name="connsiteX10-753" fmla="*/ 4228786 w 4228925"/>
                <a:gd name="connsiteY10-754" fmla="*/ 2047473 h 4099313"/>
                <a:gd name="connsiteX11-755" fmla="*/ 2176946 w 4228925"/>
                <a:gd name="connsiteY11-756" fmla="*/ 4099313 h 4099313"/>
                <a:gd name="connsiteX12-757" fmla="*/ 125105 w 4228925"/>
                <a:gd name="connsiteY12-758" fmla="*/ 2047473 h 4099313"/>
                <a:gd name="connsiteX13-759" fmla="*/ 437178 w 4228925"/>
                <a:gd name="connsiteY13-760" fmla="*/ 2047472 h 4099313"/>
                <a:gd name="connsiteX14-761" fmla="*/ 2176945 w 4228925"/>
                <a:gd name="connsiteY14-762" fmla="*/ 3787239 h 4099313"/>
                <a:gd name="connsiteX15-763" fmla="*/ 3916711 w 4228925"/>
                <a:gd name="connsiteY15-764" fmla="*/ 2047472 h 4099313"/>
                <a:gd name="connsiteX16-765" fmla="*/ 2290461 w 4228925"/>
                <a:gd name="connsiteY16-766" fmla="*/ 312377 h 4099313"/>
                <a:gd name="connsiteX17-767" fmla="*/ 2090436 w 4228925"/>
                <a:gd name="connsiteY17-768" fmla="*/ 0 h 4099313"/>
                <a:gd name="connsiteX18-769" fmla="*/ 2090436 w 4228925"/>
                <a:gd name="connsiteY18-770" fmla="*/ 312073 h 4099313"/>
                <a:gd name="connsiteX19-771" fmla="*/ 739525 w 4228925"/>
                <a:gd name="connsiteY19-772" fmla="*/ 1067768 h 4099313"/>
                <a:gd name="connsiteX20-773" fmla="*/ 470434 w 4228925"/>
                <a:gd name="connsiteY20-774" fmla="*/ 908652 h 4099313"/>
                <a:gd name="connsiteX21-775" fmla="*/ 2090436 w 4228925"/>
                <a:gd name="connsiteY21-776" fmla="*/ 0 h 4099313"/>
                <a:gd name="connsiteX0-777" fmla="*/ 739525 w 4353891"/>
                <a:gd name="connsiteY0-778" fmla="*/ 1067768 h 4099313"/>
                <a:gd name="connsiteX1-779" fmla="*/ 742648 w 4353891"/>
                <a:gd name="connsiteY1-780" fmla="*/ 1069614 h 4099313"/>
                <a:gd name="connsiteX2-781" fmla="*/ 739525 w 4353891"/>
                <a:gd name="connsiteY2-782" fmla="*/ 1067768 h 4099313"/>
                <a:gd name="connsiteX3-783" fmla="*/ 468805 w 4353891"/>
                <a:gd name="connsiteY3-784" fmla="*/ 907689 h 4099313"/>
                <a:gd name="connsiteX4-785" fmla="*/ 470434 w 4353891"/>
                <a:gd name="connsiteY4-786" fmla="*/ 908652 h 4099313"/>
                <a:gd name="connsiteX5-787" fmla="*/ 468805 w 4353891"/>
                <a:gd name="connsiteY5-788" fmla="*/ 907689 h 4099313"/>
                <a:gd name="connsiteX6-789" fmla="*/ 2090436 w 4353891"/>
                <a:gd name="connsiteY6-790" fmla="*/ 312073 h 4099313"/>
                <a:gd name="connsiteX7-791" fmla="*/ 2090436 w 4353891"/>
                <a:gd name="connsiteY7-792" fmla="*/ 312377 h 4099313"/>
                <a:gd name="connsiteX8-793" fmla="*/ 2090436 w 4353891"/>
                <a:gd name="connsiteY8-794" fmla="*/ 312073 h 4099313"/>
                <a:gd name="connsiteX9-795" fmla="*/ 3916711 w 4353891"/>
                <a:gd name="connsiteY9-796" fmla="*/ 2047472 h 4099313"/>
                <a:gd name="connsiteX10-797" fmla="*/ 4228786 w 4353891"/>
                <a:gd name="connsiteY10-798" fmla="*/ 2047473 h 4099313"/>
                <a:gd name="connsiteX11-799" fmla="*/ 2176946 w 4353891"/>
                <a:gd name="connsiteY11-800" fmla="*/ 4099313 h 4099313"/>
                <a:gd name="connsiteX12-801" fmla="*/ 125105 w 4353891"/>
                <a:gd name="connsiteY12-802" fmla="*/ 2047473 h 4099313"/>
                <a:gd name="connsiteX13-803" fmla="*/ 437178 w 4353891"/>
                <a:gd name="connsiteY13-804" fmla="*/ 2047472 h 4099313"/>
                <a:gd name="connsiteX14-805" fmla="*/ 2176945 w 4353891"/>
                <a:gd name="connsiteY14-806" fmla="*/ 3787239 h 4099313"/>
                <a:gd name="connsiteX15-807" fmla="*/ 3916711 w 4353891"/>
                <a:gd name="connsiteY15-808" fmla="*/ 2047472 h 4099313"/>
                <a:gd name="connsiteX16-809" fmla="*/ 2090436 w 4353891"/>
                <a:gd name="connsiteY16-810" fmla="*/ 0 h 4099313"/>
                <a:gd name="connsiteX17-811" fmla="*/ 2090436 w 4353891"/>
                <a:gd name="connsiteY17-812" fmla="*/ 312073 h 4099313"/>
                <a:gd name="connsiteX18-813" fmla="*/ 739525 w 4353891"/>
                <a:gd name="connsiteY18-814" fmla="*/ 1067768 h 4099313"/>
                <a:gd name="connsiteX19-815" fmla="*/ 470434 w 4353891"/>
                <a:gd name="connsiteY19-816" fmla="*/ 908652 h 4099313"/>
                <a:gd name="connsiteX20-817" fmla="*/ 2090436 w 4353891"/>
                <a:gd name="connsiteY20-818" fmla="*/ 0 h 4099313"/>
                <a:gd name="connsiteX0-819" fmla="*/ 614420 w 4228786"/>
                <a:gd name="connsiteY0-820" fmla="*/ 1067768 h 4099313"/>
                <a:gd name="connsiteX1-821" fmla="*/ 617543 w 4228786"/>
                <a:gd name="connsiteY1-822" fmla="*/ 1069614 h 4099313"/>
                <a:gd name="connsiteX2-823" fmla="*/ 614420 w 4228786"/>
                <a:gd name="connsiteY2-824" fmla="*/ 1067768 h 4099313"/>
                <a:gd name="connsiteX3-825" fmla="*/ 343700 w 4228786"/>
                <a:gd name="connsiteY3-826" fmla="*/ 907689 h 4099313"/>
                <a:gd name="connsiteX4-827" fmla="*/ 345329 w 4228786"/>
                <a:gd name="connsiteY4-828" fmla="*/ 908652 h 4099313"/>
                <a:gd name="connsiteX5-829" fmla="*/ 343700 w 4228786"/>
                <a:gd name="connsiteY5-830" fmla="*/ 907689 h 4099313"/>
                <a:gd name="connsiteX6-831" fmla="*/ 1965331 w 4228786"/>
                <a:gd name="connsiteY6-832" fmla="*/ 312073 h 4099313"/>
                <a:gd name="connsiteX7-833" fmla="*/ 1965331 w 4228786"/>
                <a:gd name="connsiteY7-834" fmla="*/ 312377 h 4099313"/>
                <a:gd name="connsiteX8-835" fmla="*/ 1965331 w 4228786"/>
                <a:gd name="connsiteY8-836" fmla="*/ 312073 h 4099313"/>
                <a:gd name="connsiteX9-837" fmla="*/ 3791606 w 4228786"/>
                <a:gd name="connsiteY9-838" fmla="*/ 2047472 h 4099313"/>
                <a:gd name="connsiteX10-839" fmla="*/ 4103681 w 4228786"/>
                <a:gd name="connsiteY10-840" fmla="*/ 2047473 h 4099313"/>
                <a:gd name="connsiteX11-841" fmla="*/ 2051841 w 4228786"/>
                <a:gd name="connsiteY11-842" fmla="*/ 4099313 h 4099313"/>
                <a:gd name="connsiteX12-843" fmla="*/ 0 w 4228786"/>
                <a:gd name="connsiteY12-844" fmla="*/ 2047473 h 4099313"/>
                <a:gd name="connsiteX13-845" fmla="*/ 2051840 w 4228786"/>
                <a:gd name="connsiteY13-846" fmla="*/ 3787239 h 4099313"/>
                <a:gd name="connsiteX14-847" fmla="*/ 3791606 w 4228786"/>
                <a:gd name="connsiteY14-848" fmla="*/ 2047472 h 4099313"/>
                <a:gd name="connsiteX15-849" fmla="*/ 1965331 w 4228786"/>
                <a:gd name="connsiteY15-850" fmla="*/ 0 h 4099313"/>
                <a:gd name="connsiteX16-851" fmla="*/ 1965331 w 4228786"/>
                <a:gd name="connsiteY16-852" fmla="*/ 312073 h 4099313"/>
                <a:gd name="connsiteX17-853" fmla="*/ 614420 w 4228786"/>
                <a:gd name="connsiteY17-854" fmla="*/ 1067768 h 4099313"/>
                <a:gd name="connsiteX18-855" fmla="*/ 345329 w 4228786"/>
                <a:gd name="connsiteY18-856" fmla="*/ 908652 h 4099313"/>
                <a:gd name="connsiteX19-857" fmla="*/ 1965331 w 4228786"/>
                <a:gd name="connsiteY19-858" fmla="*/ 0 h 4099313"/>
                <a:gd name="connsiteX0-859" fmla="*/ 270720 w 3885086"/>
                <a:gd name="connsiteY0-860" fmla="*/ 1067768 h 4224418"/>
                <a:gd name="connsiteX1-861" fmla="*/ 273843 w 3885086"/>
                <a:gd name="connsiteY1-862" fmla="*/ 1069614 h 4224418"/>
                <a:gd name="connsiteX2-863" fmla="*/ 270720 w 3885086"/>
                <a:gd name="connsiteY2-864" fmla="*/ 1067768 h 4224418"/>
                <a:gd name="connsiteX3-865" fmla="*/ 0 w 3885086"/>
                <a:gd name="connsiteY3-866" fmla="*/ 907689 h 4224418"/>
                <a:gd name="connsiteX4-867" fmla="*/ 1629 w 3885086"/>
                <a:gd name="connsiteY4-868" fmla="*/ 908652 h 4224418"/>
                <a:gd name="connsiteX5-869" fmla="*/ 0 w 3885086"/>
                <a:gd name="connsiteY5-870" fmla="*/ 907689 h 4224418"/>
                <a:gd name="connsiteX6-871" fmla="*/ 1621631 w 3885086"/>
                <a:gd name="connsiteY6-872" fmla="*/ 312073 h 4224418"/>
                <a:gd name="connsiteX7-873" fmla="*/ 1621631 w 3885086"/>
                <a:gd name="connsiteY7-874" fmla="*/ 312377 h 4224418"/>
                <a:gd name="connsiteX8-875" fmla="*/ 1621631 w 3885086"/>
                <a:gd name="connsiteY8-876" fmla="*/ 312073 h 4224418"/>
                <a:gd name="connsiteX9-877" fmla="*/ 3447906 w 3885086"/>
                <a:gd name="connsiteY9-878" fmla="*/ 2047472 h 4224418"/>
                <a:gd name="connsiteX10-879" fmla="*/ 3759981 w 3885086"/>
                <a:gd name="connsiteY10-880" fmla="*/ 2047473 h 4224418"/>
                <a:gd name="connsiteX11-881" fmla="*/ 1708141 w 3885086"/>
                <a:gd name="connsiteY11-882" fmla="*/ 4099313 h 4224418"/>
                <a:gd name="connsiteX12-883" fmla="*/ 1708140 w 3885086"/>
                <a:gd name="connsiteY12-884" fmla="*/ 3787239 h 4224418"/>
                <a:gd name="connsiteX13-885" fmla="*/ 3447906 w 3885086"/>
                <a:gd name="connsiteY13-886" fmla="*/ 2047472 h 4224418"/>
                <a:gd name="connsiteX14-887" fmla="*/ 1621631 w 3885086"/>
                <a:gd name="connsiteY14-888" fmla="*/ 0 h 4224418"/>
                <a:gd name="connsiteX15-889" fmla="*/ 1621631 w 3885086"/>
                <a:gd name="connsiteY15-890" fmla="*/ 312073 h 4224418"/>
                <a:gd name="connsiteX16-891" fmla="*/ 270720 w 3885086"/>
                <a:gd name="connsiteY16-892" fmla="*/ 1067768 h 4224418"/>
                <a:gd name="connsiteX17-893" fmla="*/ 1629 w 3885086"/>
                <a:gd name="connsiteY17-894" fmla="*/ 908652 h 4224418"/>
                <a:gd name="connsiteX18-895" fmla="*/ 1621631 w 3885086"/>
                <a:gd name="connsiteY18-896" fmla="*/ 0 h 4224418"/>
                <a:gd name="connsiteX0-897" fmla="*/ 270720 w 3885086"/>
                <a:gd name="connsiteY0-898" fmla="*/ 1067768 h 4099313"/>
                <a:gd name="connsiteX1-899" fmla="*/ 273843 w 3885086"/>
                <a:gd name="connsiteY1-900" fmla="*/ 1069614 h 4099313"/>
                <a:gd name="connsiteX2-901" fmla="*/ 270720 w 3885086"/>
                <a:gd name="connsiteY2-902" fmla="*/ 1067768 h 4099313"/>
                <a:gd name="connsiteX3-903" fmla="*/ 0 w 3885086"/>
                <a:gd name="connsiteY3-904" fmla="*/ 907689 h 4099313"/>
                <a:gd name="connsiteX4-905" fmla="*/ 1629 w 3885086"/>
                <a:gd name="connsiteY4-906" fmla="*/ 908652 h 4099313"/>
                <a:gd name="connsiteX5-907" fmla="*/ 0 w 3885086"/>
                <a:gd name="connsiteY5-908" fmla="*/ 907689 h 4099313"/>
                <a:gd name="connsiteX6-909" fmla="*/ 1621631 w 3885086"/>
                <a:gd name="connsiteY6-910" fmla="*/ 312073 h 4099313"/>
                <a:gd name="connsiteX7-911" fmla="*/ 1621631 w 3885086"/>
                <a:gd name="connsiteY7-912" fmla="*/ 312377 h 4099313"/>
                <a:gd name="connsiteX8-913" fmla="*/ 1621631 w 3885086"/>
                <a:gd name="connsiteY8-914" fmla="*/ 312073 h 4099313"/>
                <a:gd name="connsiteX9-915" fmla="*/ 3447906 w 3885086"/>
                <a:gd name="connsiteY9-916" fmla="*/ 2047472 h 4099313"/>
                <a:gd name="connsiteX10-917" fmla="*/ 3759981 w 3885086"/>
                <a:gd name="connsiteY10-918" fmla="*/ 2047473 h 4099313"/>
                <a:gd name="connsiteX11-919" fmla="*/ 1708141 w 3885086"/>
                <a:gd name="connsiteY11-920" fmla="*/ 4099313 h 4099313"/>
                <a:gd name="connsiteX12-921" fmla="*/ 3447906 w 3885086"/>
                <a:gd name="connsiteY12-922" fmla="*/ 2047472 h 4099313"/>
                <a:gd name="connsiteX13-923" fmla="*/ 1621631 w 3885086"/>
                <a:gd name="connsiteY13-924" fmla="*/ 0 h 4099313"/>
                <a:gd name="connsiteX14-925" fmla="*/ 1621631 w 3885086"/>
                <a:gd name="connsiteY14-926" fmla="*/ 312073 h 4099313"/>
                <a:gd name="connsiteX15-927" fmla="*/ 270720 w 3885086"/>
                <a:gd name="connsiteY15-928" fmla="*/ 1067768 h 4099313"/>
                <a:gd name="connsiteX16-929" fmla="*/ 1629 w 3885086"/>
                <a:gd name="connsiteY16-930" fmla="*/ 908652 h 4099313"/>
                <a:gd name="connsiteX17-931" fmla="*/ 1621631 w 3885086"/>
                <a:gd name="connsiteY17-932" fmla="*/ 0 h 4099313"/>
                <a:gd name="connsiteX0-933" fmla="*/ 270720 w 3760643"/>
                <a:gd name="connsiteY0-934" fmla="*/ 1067768 h 2047473"/>
                <a:gd name="connsiteX1-935" fmla="*/ 273843 w 3760643"/>
                <a:gd name="connsiteY1-936" fmla="*/ 1069614 h 2047473"/>
                <a:gd name="connsiteX2-937" fmla="*/ 270720 w 3760643"/>
                <a:gd name="connsiteY2-938" fmla="*/ 1067768 h 2047473"/>
                <a:gd name="connsiteX3-939" fmla="*/ 0 w 3760643"/>
                <a:gd name="connsiteY3-940" fmla="*/ 907689 h 2047473"/>
                <a:gd name="connsiteX4-941" fmla="*/ 1629 w 3760643"/>
                <a:gd name="connsiteY4-942" fmla="*/ 908652 h 2047473"/>
                <a:gd name="connsiteX5-943" fmla="*/ 0 w 3760643"/>
                <a:gd name="connsiteY5-944" fmla="*/ 907689 h 2047473"/>
                <a:gd name="connsiteX6-945" fmla="*/ 1621631 w 3760643"/>
                <a:gd name="connsiteY6-946" fmla="*/ 312073 h 2047473"/>
                <a:gd name="connsiteX7-947" fmla="*/ 1621631 w 3760643"/>
                <a:gd name="connsiteY7-948" fmla="*/ 312377 h 2047473"/>
                <a:gd name="connsiteX8-949" fmla="*/ 1621631 w 3760643"/>
                <a:gd name="connsiteY8-950" fmla="*/ 312073 h 2047473"/>
                <a:gd name="connsiteX9-951" fmla="*/ 3447906 w 3760643"/>
                <a:gd name="connsiteY9-952" fmla="*/ 2047472 h 2047473"/>
                <a:gd name="connsiteX10-953" fmla="*/ 3759981 w 3760643"/>
                <a:gd name="connsiteY10-954" fmla="*/ 2047473 h 2047473"/>
                <a:gd name="connsiteX11-955" fmla="*/ 3447906 w 3760643"/>
                <a:gd name="connsiteY11-956" fmla="*/ 2047472 h 2047473"/>
                <a:gd name="connsiteX12-957" fmla="*/ 1621631 w 3760643"/>
                <a:gd name="connsiteY12-958" fmla="*/ 0 h 2047473"/>
                <a:gd name="connsiteX13-959" fmla="*/ 1621631 w 3760643"/>
                <a:gd name="connsiteY13-960" fmla="*/ 312073 h 2047473"/>
                <a:gd name="connsiteX14-961" fmla="*/ 270720 w 3760643"/>
                <a:gd name="connsiteY14-962" fmla="*/ 1067768 h 2047473"/>
                <a:gd name="connsiteX15-963" fmla="*/ 1629 w 3760643"/>
                <a:gd name="connsiteY15-964" fmla="*/ 908652 h 2047473"/>
                <a:gd name="connsiteX16-965" fmla="*/ 1621631 w 3760643"/>
                <a:gd name="connsiteY16-966" fmla="*/ 0 h 2047473"/>
                <a:gd name="connsiteX0-967" fmla="*/ 270720 w 1621631"/>
                <a:gd name="connsiteY0-968" fmla="*/ 1067768 h 1069614"/>
                <a:gd name="connsiteX1-969" fmla="*/ 273843 w 1621631"/>
                <a:gd name="connsiteY1-970" fmla="*/ 1069614 h 1069614"/>
                <a:gd name="connsiteX2-971" fmla="*/ 270720 w 1621631"/>
                <a:gd name="connsiteY2-972" fmla="*/ 1067768 h 1069614"/>
                <a:gd name="connsiteX3-973" fmla="*/ 0 w 1621631"/>
                <a:gd name="connsiteY3-974" fmla="*/ 907689 h 1069614"/>
                <a:gd name="connsiteX4-975" fmla="*/ 1629 w 1621631"/>
                <a:gd name="connsiteY4-976" fmla="*/ 908652 h 1069614"/>
                <a:gd name="connsiteX5-977" fmla="*/ 0 w 1621631"/>
                <a:gd name="connsiteY5-978" fmla="*/ 907689 h 1069614"/>
                <a:gd name="connsiteX6-979" fmla="*/ 1621631 w 1621631"/>
                <a:gd name="connsiteY6-980" fmla="*/ 312073 h 1069614"/>
                <a:gd name="connsiteX7-981" fmla="*/ 1621631 w 1621631"/>
                <a:gd name="connsiteY7-982" fmla="*/ 312377 h 1069614"/>
                <a:gd name="connsiteX8-983" fmla="*/ 1621631 w 1621631"/>
                <a:gd name="connsiteY8-984" fmla="*/ 312073 h 1069614"/>
                <a:gd name="connsiteX9-985" fmla="*/ 1621631 w 1621631"/>
                <a:gd name="connsiteY9-986" fmla="*/ 0 h 1069614"/>
                <a:gd name="connsiteX10-987" fmla="*/ 1621631 w 1621631"/>
                <a:gd name="connsiteY10-988" fmla="*/ 312073 h 1069614"/>
                <a:gd name="connsiteX11-989" fmla="*/ 270720 w 1621631"/>
                <a:gd name="connsiteY11-990" fmla="*/ 1067768 h 1069614"/>
                <a:gd name="connsiteX12-991" fmla="*/ 1629 w 1621631"/>
                <a:gd name="connsiteY12-992" fmla="*/ 908652 h 1069614"/>
                <a:gd name="connsiteX13-993" fmla="*/ 1621631 w 1621631"/>
                <a:gd name="connsiteY13-994" fmla="*/ 0 h 10696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</a:cxnLst>
              <a:rect l="l" t="t" r="r" b="b"/>
              <a:pathLst>
                <a:path w="1621631" h="1069614">
                  <a:moveTo>
                    <a:pt x="270720" y="1067768"/>
                  </a:moveTo>
                  <a:lnTo>
                    <a:pt x="273843" y="1069614"/>
                  </a:lnTo>
                  <a:lnTo>
                    <a:pt x="270720" y="1067768"/>
                  </a:lnTo>
                  <a:close/>
                  <a:moveTo>
                    <a:pt x="0" y="907689"/>
                  </a:moveTo>
                  <a:lnTo>
                    <a:pt x="1629" y="908652"/>
                  </a:lnTo>
                  <a:lnTo>
                    <a:pt x="0" y="907689"/>
                  </a:lnTo>
                  <a:close/>
                  <a:moveTo>
                    <a:pt x="1621631" y="312073"/>
                  </a:moveTo>
                  <a:lnTo>
                    <a:pt x="1621631" y="312377"/>
                  </a:lnTo>
                  <a:lnTo>
                    <a:pt x="1621631" y="312073"/>
                  </a:lnTo>
                  <a:close/>
                  <a:moveTo>
                    <a:pt x="1621631" y="0"/>
                  </a:moveTo>
                  <a:lnTo>
                    <a:pt x="1621631" y="312073"/>
                  </a:lnTo>
                  <a:cubicBezTo>
                    <a:pt x="1059988" y="337356"/>
                    <a:pt x="568425" y="631117"/>
                    <a:pt x="270720" y="1067768"/>
                  </a:cubicBezTo>
                  <a:lnTo>
                    <a:pt x="1629" y="908652"/>
                  </a:lnTo>
                  <a:cubicBezTo>
                    <a:pt x="354259" y="380480"/>
                    <a:pt x="945677" y="25494"/>
                    <a:pt x="1621631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3" name="Group 79"/>
          <p:cNvGrpSpPr/>
          <p:nvPr/>
        </p:nvGrpSpPr>
        <p:grpSpPr>
          <a:xfrm>
            <a:off x="4485967" y="2607884"/>
            <a:ext cx="577234" cy="512667"/>
            <a:chOff x="5213294" y="3979675"/>
            <a:chExt cx="828966" cy="736049"/>
          </a:xfrm>
          <a:solidFill>
            <a:srgbClr val="92D050"/>
          </a:solidFill>
        </p:grpSpPr>
        <p:grpSp>
          <p:nvGrpSpPr>
            <p:cNvPr id="54" name="Group 80"/>
            <p:cNvGrpSpPr/>
            <p:nvPr/>
          </p:nvGrpSpPr>
          <p:grpSpPr>
            <a:xfrm>
              <a:off x="5213294" y="3979675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56" name="Group 82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62" name="Freeform 88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3" name="Freeform 89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57" name="Group 83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60" name="Freeform 86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" name="Freeform 87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58" name="Freeform 84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9" name="Freeform 85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55" name="Freeform 81"/>
            <p:cNvSpPr>
              <a:spLocks noEditPoints="1"/>
            </p:cNvSpPr>
            <p:nvPr/>
          </p:nvSpPr>
          <p:spPr bwMode="black">
            <a:xfrm>
              <a:off x="5369368" y="4184446"/>
              <a:ext cx="547323" cy="334102"/>
            </a:xfrm>
            <a:custGeom>
              <a:avLst/>
              <a:gdLst>
                <a:gd name="T0" fmla="*/ 1588 w 3451"/>
                <a:gd name="T1" fmla="*/ 2110 h 2110"/>
                <a:gd name="T2" fmla="*/ 2100 w 3451"/>
                <a:gd name="T3" fmla="*/ 1951 h 2110"/>
                <a:gd name="T4" fmla="*/ 1141 w 3451"/>
                <a:gd name="T5" fmla="*/ 1911 h 2110"/>
                <a:gd name="T6" fmla="*/ 1215 w 3451"/>
                <a:gd name="T7" fmla="*/ 1929 h 2110"/>
                <a:gd name="T8" fmla="*/ 1799 w 3451"/>
                <a:gd name="T9" fmla="*/ 2021 h 2110"/>
                <a:gd name="T10" fmla="*/ 2036 w 3451"/>
                <a:gd name="T11" fmla="*/ 1911 h 2110"/>
                <a:gd name="T12" fmla="*/ 1121 w 3451"/>
                <a:gd name="T13" fmla="*/ 1193 h 2110"/>
                <a:gd name="T14" fmla="*/ 1992 w 3451"/>
                <a:gd name="T15" fmla="*/ 1211 h 2110"/>
                <a:gd name="T16" fmla="*/ 2497 w 3451"/>
                <a:gd name="T17" fmla="*/ 803 h 2110"/>
                <a:gd name="T18" fmla="*/ 975 w 3451"/>
                <a:gd name="T19" fmla="*/ 240 h 2110"/>
                <a:gd name="T20" fmla="*/ 1616 w 3451"/>
                <a:gd name="T21" fmla="*/ 736 h 2110"/>
                <a:gd name="T22" fmla="*/ 2006 w 3451"/>
                <a:gd name="T23" fmla="*/ 508 h 2110"/>
                <a:gd name="T24" fmla="*/ 1990 w 3451"/>
                <a:gd name="T25" fmla="*/ 320 h 2110"/>
                <a:gd name="T26" fmla="*/ 2004 w 3451"/>
                <a:gd name="T27" fmla="*/ 426 h 2110"/>
                <a:gd name="T28" fmla="*/ 2038 w 3451"/>
                <a:gd name="T29" fmla="*/ 1120 h 2110"/>
                <a:gd name="T30" fmla="*/ 2304 w 3451"/>
                <a:gd name="T31" fmla="*/ 985 h 2110"/>
                <a:gd name="T32" fmla="*/ 2225 w 3451"/>
                <a:gd name="T33" fmla="*/ 465 h 2110"/>
                <a:gd name="T34" fmla="*/ 2219 w 3451"/>
                <a:gd name="T35" fmla="*/ 477 h 2110"/>
                <a:gd name="T36" fmla="*/ 1844 w 3451"/>
                <a:gd name="T37" fmla="*/ 192 h 2110"/>
                <a:gd name="T38" fmla="*/ 1818 w 3451"/>
                <a:gd name="T39" fmla="*/ 109 h 2110"/>
                <a:gd name="T40" fmla="*/ 1133 w 3451"/>
                <a:gd name="T41" fmla="*/ 1121 h 2110"/>
                <a:gd name="T42" fmla="*/ 1171 w 3451"/>
                <a:gd name="T43" fmla="*/ 951 h 2110"/>
                <a:gd name="T44" fmla="*/ 1115 w 3451"/>
                <a:gd name="T45" fmla="*/ 350 h 2110"/>
                <a:gd name="T46" fmla="*/ 1155 w 3451"/>
                <a:gd name="T47" fmla="*/ 517 h 2110"/>
                <a:gd name="T48" fmla="*/ 1265 w 3451"/>
                <a:gd name="T49" fmla="*/ 843 h 2110"/>
                <a:gd name="T50" fmla="*/ 1555 w 3451"/>
                <a:gd name="T51" fmla="*/ 284 h 2110"/>
                <a:gd name="T52" fmla="*/ 1353 w 3451"/>
                <a:gd name="T53" fmla="*/ 109 h 2110"/>
                <a:gd name="T54" fmla="*/ 1221 w 3451"/>
                <a:gd name="T55" fmla="*/ 201 h 2110"/>
                <a:gd name="T56" fmla="*/ 923 w 3451"/>
                <a:gd name="T57" fmla="*/ 379 h 2110"/>
                <a:gd name="T58" fmla="*/ 945 w 3451"/>
                <a:gd name="T59" fmla="*/ 466 h 2110"/>
                <a:gd name="T60" fmla="*/ 447 w 3451"/>
                <a:gd name="T61" fmla="*/ 993 h 2110"/>
                <a:gd name="T62" fmla="*/ 2737 w 3451"/>
                <a:gd name="T63" fmla="*/ 1157 h 2110"/>
                <a:gd name="T64" fmla="*/ 1748 w 3451"/>
                <a:gd name="T65" fmla="*/ 1552 h 2110"/>
                <a:gd name="T66" fmla="*/ 2015 w 3451"/>
                <a:gd name="T67" fmla="*/ 1319 h 2110"/>
                <a:gd name="T68" fmla="*/ 581 w 3451"/>
                <a:gd name="T69" fmla="*/ 1265 h 2110"/>
                <a:gd name="T70" fmla="*/ 1557 w 3451"/>
                <a:gd name="T71" fmla="*/ 1799 h 2110"/>
                <a:gd name="T72" fmla="*/ 2476 w 3451"/>
                <a:gd name="T73" fmla="*/ 1476 h 2110"/>
                <a:gd name="T74" fmla="*/ 123 w 3451"/>
                <a:gd name="T75" fmla="*/ 1195 h 2110"/>
                <a:gd name="T76" fmla="*/ 231 w 3451"/>
                <a:gd name="T77" fmla="*/ 956 h 2110"/>
                <a:gd name="T78" fmla="*/ 530 w 3451"/>
                <a:gd name="T79" fmla="*/ 1074 h 2110"/>
                <a:gd name="T80" fmla="*/ 658 w 3451"/>
                <a:gd name="T81" fmla="*/ 1255 h 2110"/>
                <a:gd name="T82" fmla="*/ 628 w 3451"/>
                <a:gd name="T83" fmla="*/ 1016 h 2110"/>
                <a:gd name="T84" fmla="*/ 724 w 3451"/>
                <a:gd name="T85" fmla="*/ 1343 h 2110"/>
                <a:gd name="T86" fmla="*/ 824 w 3451"/>
                <a:gd name="T87" fmla="*/ 1434 h 2110"/>
                <a:gd name="T88" fmla="*/ 767 w 3451"/>
                <a:gd name="T89" fmla="*/ 1212 h 2110"/>
                <a:gd name="T90" fmla="*/ 927 w 3451"/>
                <a:gd name="T91" fmla="*/ 1501 h 2110"/>
                <a:gd name="T92" fmla="*/ 988 w 3451"/>
                <a:gd name="T93" fmla="*/ 1427 h 2110"/>
                <a:gd name="T94" fmla="*/ 1270 w 3451"/>
                <a:gd name="T95" fmla="*/ 1671 h 2110"/>
                <a:gd name="T96" fmla="*/ 1264 w 3451"/>
                <a:gd name="T97" fmla="*/ 1444 h 2110"/>
                <a:gd name="T98" fmla="*/ 1501 w 3451"/>
                <a:gd name="T99" fmla="*/ 1703 h 2110"/>
                <a:gd name="T100" fmla="*/ 1695 w 3451"/>
                <a:gd name="T101" fmla="*/ 1440 h 2110"/>
                <a:gd name="T102" fmla="*/ 2020 w 3451"/>
                <a:gd name="T103" fmla="*/ 1654 h 2110"/>
                <a:gd name="T104" fmla="*/ 1901 w 3451"/>
                <a:gd name="T105" fmla="*/ 1457 h 2110"/>
                <a:gd name="T106" fmla="*/ 2053 w 3451"/>
                <a:gd name="T107" fmla="*/ 1600 h 2110"/>
                <a:gd name="T108" fmla="*/ 2208 w 3451"/>
                <a:gd name="T109" fmla="*/ 1543 h 2110"/>
                <a:gd name="T110" fmla="*/ 2294 w 3451"/>
                <a:gd name="T111" fmla="*/ 1280 h 2110"/>
                <a:gd name="T112" fmla="*/ 2386 w 3451"/>
                <a:gd name="T113" fmla="*/ 1486 h 2110"/>
                <a:gd name="T114" fmla="*/ 2473 w 3451"/>
                <a:gd name="T115" fmla="*/ 1155 h 2110"/>
                <a:gd name="T116" fmla="*/ 2654 w 3451"/>
                <a:gd name="T117" fmla="*/ 1074 h 2110"/>
                <a:gd name="T118" fmla="*/ 2954 w 3451"/>
                <a:gd name="T119" fmla="*/ 1154 h 2110"/>
                <a:gd name="T120" fmla="*/ 3062 w 3451"/>
                <a:gd name="T121" fmla="*/ 1154 h 2110"/>
                <a:gd name="T122" fmla="*/ 1038 w 3451"/>
                <a:gd name="T123" fmla="*/ 1498 h 2110"/>
                <a:gd name="T124" fmla="*/ 2472 w 3451"/>
                <a:gd name="T125" fmla="*/ 1231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1" h="2110">
                  <a:moveTo>
                    <a:pt x="1585" y="1902"/>
                  </a:moveTo>
                  <a:cubicBezTo>
                    <a:pt x="1383" y="1902"/>
                    <a:pt x="1184" y="1867"/>
                    <a:pt x="1012" y="1802"/>
                  </a:cubicBezTo>
                  <a:cubicBezTo>
                    <a:pt x="945" y="1776"/>
                    <a:pt x="884" y="1747"/>
                    <a:pt x="828" y="1714"/>
                  </a:cubicBezTo>
                  <a:cubicBezTo>
                    <a:pt x="896" y="1807"/>
                    <a:pt x="980" y="1887"/>
                    <a:pt x="1077" y="1951"/>
                  </a:cubicBezTo>
                  <a:cubicBezTo>
                    <a:pt x="1119" y="1979"/>
                    <a:pt x="1165" y="2004"/>
                    <a:pt x="1212" y="2026"/>
                  </a:cubicBezTo>
                  <a:cubicBezTo>
                    <a:pt x="1264" y="2049"/>
                    <a:pt x="1318" y="2068"/>
                    <a:pt x="1375" y="2082"/>
                  </a:cubicBezTo>
                  <a:cubicBezTo>
                    <a:pt x="1443" y="2099"/>
                    <a:pt x="1515" y="2108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662" y="2108"/>
                    <a:pt x="1733" y="2099"/>
                    <a:pt x="1802" y="2082"/>
                  </a:cubicBezTo>
                  <a:cubicBezTo>
                    <a:pt x="1858" y="2068"/>
                    <a:pt x="1913" y="2049"/>
                    <a:pt x="1965" y="2026"/>
                  </a:cubicBezTo>
                  <a:cubicBezTo>
                    <a:pt x="2012" y="2004"/>
                    <a:pt x="2057" y="1979"/>
                    <a:pt x="2100" y="1951"/>
                  </a:cubicBezTo>
                  <a:cubicBezTo>
                    <a:pt x="2199" y="1886"/>
                    <a:pt x="2285" y="1802"/>
                    <a:pt x="2354" y="1706"/>
                  </a:cubicBezTo>
                  <a:cubicBezTo>
                    <a:pt x="2264" y="1761"/>
                    <a:pt x="2159" y="1806"/>
                    <a:pt x="2045" y="1839"/>
                  </a:cubicBezTo>
                  <a:cubicBezTo>
                    <a:pt x="1899" y="1881"/>
                    <a:pt x="1744" y="1902"/>
                    <a:pt x="1585" y="1902"/>
                  </a:cubicBezTo>
                  <a:close/>
                  <a:moveTo>
                    <a:pt x="1104" y="1897"/>
                  </a:moveTo>
                  <a:cubicBezTo>
                    <a:pt x="1087" y="1886"/>
                    <a:pt x="1071" y="1874"/>
                    <a:pt x="1054" y="1861"/>
                  </a:cubicBezTo>
                  <a:cubicBezTo>
                    <a:pt x="1080" y="1873"/>
                    <a:pt x="1107" y="1883"/>
                    <a:pt x="1134" y="1893"/>
                  </a:cubicBezTo>
                  <a:cubicBezTo>
                    <a:pt x="1136" y="1899"/>
                    <a:pt x="1138" y="1905"/>
                    <a:pt x="1141" y="1911"/>
                  </a:cubicBezTo>
                  <a:cubicBezTo>
                    <a:pt x="1128" y="1907"/>
                    <a:pt x="1116" y="1902"/>
                    <a:pt x="1104" y="1897"/>
                  </a:cubicBezTo>
                  <a:close/>
                  <a:moveTo>
                    <a:pt x="1557" y="2049"/>
                  </a:moveTo>
                  <a:cubicBezTo>
                    <a:pt x="1532" y="2048"/>
                    <a:pt x="1513" y="2045"/>
                    <a:pt x="1488" y="2042"/>
                  </a:cubicBezTo>
                  <a:cubicBezTo>
                    <a:pt x="1451" y="2037"/>
                    <a:pt x="1414" y="2030"/>
                    <a:pt x="1378" y="2021"/>
                  </a:cubicBezTo>
                  <a:cubicBezTo>
                    <a:pt x="1353" y="2014"/>
                    <a:pt x="1328" y="2007"/>
                    <a:pt x="1304" y="1998"/>
                  </a:cubicBezTo>
                  <a:cubicBezTo>
                    <a:pt x="1284" y="1991"/>
                    <a:pt x="1265" y="1983"/>
                    <a:pt x="1247" y="1975"/>
                  </a:cubicBezTo>
                  <a:cubicBezTo>
                    <a:pt x="1235" y="1962"/>
                    <a:pt x="1224" y="1947"/>
                    <a:pt x="1215" y="1929"/>
                  </a:cubicBezTo>
                  <a:cubicBezTo>
                    <a:pt x="1213" y="1925"/>
                    <a:pt x="1211" y="1921"/>
                    <a:pt x="1209" y="1917"/>
                  </a:cubicBezTo>
                  <a:cubicBezTo>
                    <a:pt x="1329" y="1952"/>
                    <a:pt x="1449" y="1971"/>
                    <a:pt x="1557" y="1973"/>
                  </a:cubicBezTo>
                  <a:lnTo>
                    <a:pt x="1557" y="2049"/>
                  </a:lnTo>
                  <a:close/>
                  <a:moveTo>
                    <a:pt x="1962" y="1929"/>
                  </a:moveTo>
                  <a:cubicBezTo>
                    <a:pt x="1952" y="1947"/>
                    <a:pt x="1942" y="1962"/>
                    <a:pt x="1930" y="1975"/>
                  </a:cubicBezTo>
                  <a:cubicBezTo>
                    <a:pt x="1911" y="1983"/>
                    <a:pt x="1892" y="1991"/>
                    <a:pt x="1873" y="1998"/>
                  </a:cubicBezTo>
                  <a:cubicBezTo>
                    <a:pt x="1849" y="2007"/>
                    <a:pt x="1824" y="2014"/>
                    <a:pt x="1799" y="2021"/>
                  </a:cubicBezTo>
                  <a:cubicBezTo>
                    <a:pt x="1763" y="2030"/>
                    <a:pt x="1726" y="2037"/>
                    <a:pt x="1689" y="2042"/>
                  </a:cubicBezTo>
                  <a:cubicBezTo>
                    <a:pt x="1664" y="2045"/>
                    <a:pt x="1645" y="2048"/>
                    <a:pt x="1620" y="2049"/>
                  </a:cubicBezTo>
                  <a:cubicBezTo>
                    <a:pt x="1620" y="1973"/>
                    <a:pt x="1620" y="1973"/>
                    <a:pt x="1620" y="1973"/>
                  </a:cubicBezTo>
                  <a:cubicBezTo>
                    <a:pt x="1728" y="1971"/>
                    <a:pt x="1848" y="1952"/>
                    <a:pt x="1968" y="1917"/>
                  </a:cubicBezTo>
                  <a:cubicBezTo>
                    <a:pt x="1966" y="1921"/>
                    <a:pt x="1964" y="1925"/>
                    <a:pt x="1962" y="1929"/>
                  </a:cubicBezTo>
                  <a:close/>
                  <a:moveTo>
                    <a:pt x="2072" y="1897"/>
                  </a:moveTo>
                  <a:cubicBezTo>
                    <a:pt x="2060" y="1902"/>
                    <a:pt x="2048" y="1907"/>
                    <a:pt x="2036" y="1911"/>
                  </a:cubicBezTo>
                  <a:cubicBezTo>
                    <a:pt x="2038" y="1905"/>
                    <a:pt x="2040" y="1899"/>
                    <a:pt x="2043" y="1893"/>
                  </a:cubicBezTo>
                  <a:cubicBezTo>
                    <a:pt x="2070" y="1883"/>
                    <a:pt x="2097" y="1872"/>
                    <a:pt x="2123" y="1860"/>
                  </a:cubicBezTo>
                  <a:cubicBezTo>
                    <a:pt x="2107" y="1873"/>
                    <a:pt x="2090" y="1886"/>
                    <a:pt x="2072" y="1897"/>
                  </a:cubicBezTo>
                  <a:close/>
                  <a:moveTo>
                    <a:pt x="699" y="879"/>
                  </a:moveTo>
                  <a:cubicBezTo>
                    <a:pt x="783" y="1007"/>
                    <a:pt x="903" y="1100"/>
                    <a:pt x="1046" y="1163"/>
                  </a:cubicBezTo>
                  <a:cubicBezTo>
                    <a:pt x="1070" y="1173"/>
                    <a:pt x="1095" y="1182"/>
                    <a:pt x="1121" y="1191"/>
                  </a:cubicBezTo>
                  <a:cubicBezTo>
                    <a:pt x="1121" y="1191"/>
                    <a:pt x="1121" y="1192"/>
                    <a:pt x="1121" y="1193"/>
                  </a:cubicBezTo>
                  <a:cubicBezTo>
                    <a:pt x="1140" y="1199"/>
                    <a:pt x="1159" y="1205"/>
                    <a:pt x="1178" y="1211"/>
                  </a:cubicBezTo>
                  <a:cubicBezTo>
                    <a:pt x="1178" y="1210"/>
                    <a:pt x="1178" y="1209"/>
                    <a:pt x="1178" y="1208"/>
                  </a:cubicBezTo>
                  <a:cubicBezTo>
                    <a:pt x="1237" y="1225"/>
                    <a:pt x="1296" y="1239"/>
                    <a:pt x="1355" y="1249"/>
                  </a:cubicBezTo>
                  <a:cubicBezTo>
                    <a:pt x="1429" y="1259"/>
                    <a:pt x="1506" y="1264"/>
                    <a:pt x="1585" y="1264"/>
                  </a:cubicBezTo>
                  <a:cubicBezTo>
                    <a:pt x="1663" y="1264"/>
                    <a:pt x="1739" y="1259"/>
                    <a:pt x="1812" y="1249"/>
                  </a:cubicBezTo>
                  <a:cubicBezTo>
                    <a:pt x="1872" y="1239"/>
                    <a:pt x="1932" y="1225"/>
                    <a:pt x="1992" y="1208"/>
                  </a:cubicBezTo>
                  <a:cubicBezTo>
                    <a:pt x="1992" y="1209"/>
                    <a:pt x="1992" y="1210"/>
                    <a:pt x="1992" y="1211"/>
                  </a:cubicBezTo>
                  <a:cubicBezTo>
                    <a:pt x="2012" y="1205"/>
                    <a:pt x="2031" y="1199"/>
                    <a:pt x="2049" y="1193"/>
                  </a:cubicBezTo>
                  <a:cubicBezTo>
                    <a:pt x="2049" y="1192"/>
                    <a:pt x="2049" y="1191"/>
                    <a:pt x="2049" y="1190"/>
                  </a:cubicBezTo>
                  <a:cubicBezTo>
                    <a:pt x="2077" y="1181"/>
                    <a:pt x="2104" y="1171"/>
                    <a:pt x="2130" y="1161"/>
                  </a:cubicBezTo>
                  <a:cubicBezTo>
                    <a:pt x="2267" y="1099"/>
                    <a:pt x="2382" y="1010"/>
                    <a:pt x="2465" y="888"/>
                  </a:cubicBezTo>
                  <a:cubicBezTo>
                    <a:pt x="2466" y="887"/>
                    <a:pt x="2467" y="885"/>
                    <a:pt x="2467" y="883"/>
                  </a:cubicBezTo>
                  <a:cubicBezTo>
                    <a:pt x="2472" y="873"/>
                    <a:pt x="2476" y="863"/>
                    <a:pt x="2480" y="852"/>
                  </a:cubicBezTo>
                  <a:cubicBezTo>
                    <a:pt x="2497" y="803"/>
                    <a:pt x="2497" y="803"/>
                    <a:pt x="2497" y="803"/>
                  </a:cubicBezTo>
                  <a:cubicBezTo>
                    <a:pt x="2495" y="788"/>
                    <a:pt x="2491" y="763"/>
                    <a:pt x="2490" y="756"/>
                  </a:cubicBezTo>
                  <a:cubicBezTo>
                    <a:pt x="2458" y="596"/>
                    <a:pt x="2386" y="451"/>
                    <a:pt x="2285" y="332"/>
                  </a:cubicBezTo>
                  <a:cubicBezTo>
                    <a:pt x="2272" y="316"/>
                    <a:pt x="2259" y="301"/>
                    <a:pt x="2245" y="287"/>
                  </a:cubicBezTo>
                  <a:cubicBezTo>
                    <a:pt x="2241" y="283"/>
                    <a:pt x="2195" y="240"/>
                    <a:pt x="2195" y="240"/>
                  </a:cubicBezTo>
                  <a:cubicBezTo>
                    <a:pt x="2033" y="94"/>
                    <a:pt x="1819" y="4"/>
                    <a:pt x="1585" y="0"/>
                  </a:cubicBezTo>
                  <a:cubicBezTo>
                    <a:pt x="1585" y="0"/>
                    <a:pt x="1585" y="0"/>
                    <a:pt x="1585" y="0"/>
                  </a:cubicBezTo>
                  <a:cubicBezTo>
                    <a:pt x="1351" y="4"/>
                    <a:pt x="1137" y="94"/>
                    <a:pt x="975" y="240"/>
                  </a:cubicBezTo>
                  <a:cubicBezTo>
                    <a:pt x="975" y="240"/>
                    <a:pt x="925" y="283"/>
                    <a:pt x="886" y="332"/>
                  </a:cubicBezTo>
                  <a:cubicBezTo>
                    <a:pt x="784" y="451"/>
                    <a:pt x="712" y="596"/>
                    <a:pt x="681" y="756"/>
                  </a:cubicBezTo>
                  <a:cubicBezTo>
                    <a:pt x="680" y="759"/>
                    <a:pt x="677" y="779"/>
                    <a:pt x="673" y="806"/>
                  </a:cubicBezTo>
                  <a:cubicBezTo>
                    <a:pt x="689" y="853"/>
                    <a:pt x="689" y="853"/>
                    <a:pt x="689" y="853"/>
                  </a:cubicBezTo>
                  <a:cubicBezTo>
                    <a:pt x="692" y="861"/>
                    <a:pt x="695" y="870"/>
                    <a:pt x="699" y="879"/>
                  </a:cubicBezTo>
                  <a:close/>
                  <a:moveTo>
                    <a:pt x="1616" y="1197"/>
                  </a:moveTo>
                  <a:cubicBezTo>
                    <a:pt x="1616" y="736"/>
                    <a:pt x="1616" y="736"/>
                    <a:pt x="1616" y="736"/>
                  </a:cubicBezTo>
                  <a:cubicBezTo>
                    <a:pt x="1687" y="734"/>
                    <a:pt x="1767" y="723"/>
                    <a:pt x="1852" y="700"/>
                  </a:cubicBezTo>
                  <a:cubicBezTo>
                    <a:pt x="1871" y="747"/>
                    <a:pt x="1889" y="794"/>
                    <a:pt x="1905" y="843"/>
                  </a:cubicBezTo>
                  <a:cubicBezTo>
                    <a:pt x="1918" y="879"/>
                    <a:pt x="1928" y="916"/>
                    <a:pt x="1938" y="951"/>
                  </a:cubicBezTo>
                  <a:cubicBezTo>
                    <a:pt x="1949" y="989"/>
                    <a:pt x="1958" y="1026"/>
                    <a:pt x="1966" y="1063"/>
                  </a:cubicBezTo>
                  <a:cubicBezTo>
                    <a:pt x="1972" y="1088"/>
                    <a:pt x="1977" y="1113"/>
                    <a:pt x="1981" y="1138"/>
                  </a:cubicBezTo>
                  <a:cubicBezTo>
                    <a:pt x="1857" y="1175"/>
                    <a:pt x="1731" y="1195"/>
                    <a:pt x="1616" y="1197"/>
                  </a:cubicBezTo>
                  <a:close/>
                  <a:moveTo>
                    <a:pt x="2006" y="508"/>
                  </a:moveTo>
                  <a:cubicBezTo>
                    <a:pt x="2009" y="511"/>
                    <a:pt x="2012" y="514"/>
                    <a:pt x="2015" y="517"/>
                  </a:cubicBezTo>
                  <a:cubicBezTo>
                    <a:pt x="2026" y="527"/>
                    <a:pt x="2035" y="538"/>
                    <a:pt x="2045" y="548"/>
                  </a:cubicBezTo>
                  <a:cubicBezTo>
                    <a:pt x="1998" y="577"/>
                    <a:pt x="1942" y="601"/>
                    <a:pt x="1882" y="620"/>
                  </a:cubicBezTo>
                  <a:cubicBezTo>
                    <a:pt x="1823" y="488"/>
                    <a:pt x="1755" y="373"/>
                    <a:pt x="1684" y="281"/>
                  </a:cubicBezTo>
                  <a:cubicBezTo>
                    <a:pt x="1798" y="335"/>
                    <a:pt x="1909" y="413"/>
                    <a:pt x="2006" y="508"/>
                  </a:cubicBezTo>
                  <a:close/>
                  <a:moveTo>
                    <a:pt x="1755" y="251"/>
                  </a:moveTo>
                  <a:cubicBezTo>
                    <a:pt x="1838" y="265"/>
                    <a:pt x="1917" y="288"/>
                    <a:pt x="1990" y="320"/>
                  </a:cubicBezTo>
                  <a:cubicBezTo>
                    <a:pt x="2013" y="329"/>
                    <a:pt x="2034" y="339"/>
                    <a:pt x="2055" y="350"/>
                  </a:cubicBezTo>
                  <a:cubicBezTo>
                    <a:pt x="2095" y="371"/>
                    <a:pt x="2133" y="394"/>
                    <a:pt x="2168" y="420"/>
                  </a:cubicBezTo>
                  <a:cubicBezTo>
                    <a:pt x="2165" y="427"/>
                    <a:pt x="2162" y="435"/>
                    <a:pt x="2158" y="443"/>
                  </a:cubicBezTo>
                  <a:cubicBezTo>
                    <a:pt x="2143" y="468"/>
                    <a:pt x="2121" y="492"/>
                    <a:pt x="2094" y="515"/>
                  </a:cubicBezTo>
                  <a:cubicBezTo>
                    <a:pt x="2085" y="504"/>
                    <a:pt x="2075" y="494"/>
                    <a:pt x="2065" y="484"/>
                  </a:cubicBezTo>
                  <a:cubicBezTo>
                    <a:pt x="2062" y="481"/>
                    <a:pt x="2060" y="479"/>
                    <a:pt x="2057" y="476"/>
                  </a:cubicBezTo>
                  <a:cubicBezTo>
                    <a:pt x="2040" y="459"/>
                    <a:pt x="2022" y="442"/>
                    <a:pt x="2004" y="426"/>
                  </a:cubicBezTo>
                  <a:cubicBezTo>
                    <a:pt x="1926" y="356"/>
                    <a:pt x="1842" y="298"/>
                    <a:pt x="1755" y="251"/>
                  </a:cubicBezTo>
                  <a:close/>
                  <a:moveTo>
                    <a:pt x="1824" y="636"/>
                  </a:moveTo>
                  <a:cubicBezTo>
                    <a:pt x="1753" y="654"/>
                    <a:pt x="1684" y="664"/>
                    <a:pt x="1616" y="666"/>
                  </a:cubicBezTo>
                  <a:cubicBezTo>
                    <a:pt x="1616" y="284"/>
                    <a:pt x="1616" y="284"/>
                    <a:pt x="1616" y="284"/>
                  </a:cubicBezTo>
                  <a:cubicBezTo>
                    <a:pt x="1623" y="292"/>
                    <a:pt x="1625" y="302"/>
                    <a:pt x="1632" y="311"/>
                  </a:cubicBezTo>
                  <a:cubicBezTo>
                    <a:pt x="1702" y="400"/>
                    <a:pt x="1768" y="512"/>
                    <a:pt x="1824" y="636"/>
                  </a:cubicBezTo>
                  <a:close/>
                  <a:moveTo>
                    <a:pt x="2038" y="1120"/>
                  </a:moveTo>
                  <a:cubicBezTo>
                    <a:pt x="2028" y="1066"/>
                    <a:pt x="2015" y="1009"/>
                    <a:pt x="1999" y="951"/>
                  </a:cubicBezTo>
                  <a:cubicBezTo>
                    <a:pt x="1989" y="915"/>
                    <a:pt x="1978" y="878"/>
                    <a:pt x="1966" y="840"/>
                  </a:cubicBezTo>
                  <a:cubicBezTo>
                    <a:pt x="1964" y="835"/>
                    <a:pt x="1963" y="830"/>
                    <a:pt x="1961" y="825"/>
                  </a:cubicBezTo>
                  <a:cubicBezTo>
                    <a:pt x="1945" y="776"/>
                    <a:pt x="1927" y="729"/>
                    <a:pt x="1909" y="684"/>
                  </a:cubicBezTo>
                  <a:cubicBezTo>
                    <a:pt x="1975" y="663"/>
                    <a:pt x="2038" y="636"/>
                    <a:pt x="2092" y="602"/>
                  </a:cubicBezTo>
                  <a:cubicBezTo>
                    <a:pt x="2183" y="710"/>
                    <a:pt x="2251" y="829"/>
                    <a:pt x="2293" y="951"/>
                  </a:cubicBezTo>
                  <a:cubicBezTo>
                    <a:pt x="2297" y="962"/>
                    <a:pt x="2300" y="974"/>
                    <a:pt x="2304" y="985"/>
                  </a:cubicBezTo>
                  <a:cubicBezTo>
                    <a:pt x="2234" y="1040"/>
                    <a:pt x="2140" y="1086"/>
                    <a:pt x="2038" y="1120"/>
                  </a:cubicBezTo>
                  <a:close/>
                  <a:moveTo>
                    <a:pt x="2246" y="379"/>
                  </a:moveTo>
                  <a:cubicBezTo>
                    <a:pt x="2261" y="398"/>
                    <a:pt x="2273" y="418"/>
                    <a:pt x="2284" y="440"/>
                  </a:cubicBezTo>
                  <a:cubicBezTo>
                    <a:pt x="2271" y="428"/>
                    <a:pt x="2258" y="416"/>
                    <a:pt x="2244" y="405"/>
                  </a:cubicBezTo>
                  <a:cubicBezTo>
                    <a:pt x="2245" y="397"/>
                    <a:pt x="2246" y="388"/>
                    <a:pt x="2246" y="379"/>
                  </a:cubicBezTo>
                  <a:close/>
                  <a:moveTo>
                    <a:pt x="2219" y="477"/>
                  </a:moveTo>
                  <a:cubicBezTo>
                    <a:pt x="2221" y="473"/>
                    <a:pt x="2223" y="469"/>
                    <a:pt x="2225" y="465"/>
                  </a:cubicBezTo>
                  <a:cubicBezTo>
                    <a:pt x="2264" y="499"/>
                    <a:pt x="2299" y="537"/>
                    <a:pt x="2330" y="576"/>
                  </a:cubicBezTo>
                  <a:cubicBezTo>
                    <a:pt x="2357" y="611"/>
                    <a:pt x="2380" y="648"/>
                    <a:pt x="2399" y="686"/>
                  </a:cubicBezTo>
                  <a:cubicBezTo>
                    <a:pt x="2412" y="713"/>
                    <a:pt x="2423" y="741"/>
                    <a:pt x="2433" y="769"/>
                  </a:cubicBezTo>
                  <a:cubicBezTo>
                    <a:pt x="2433" y="773"/>
                    <a:pt x="2453" y="840"/>
                    <a:pt x="2352" y="942"/>
                  </a:cubicBezTo>
                  <a:cubicBezTo>
                    <a:pt x="2342" y="914"/>
                    <a:pt x="2332" y="886"/>
                    <a:pt x="2320" y="858"/>
                  </a:cubicBezTo>
                  <a:cubicBezTo>
                    <a:pt x="2276" y="757"/>
                    <a:pt x="2216" y="658"/>
                    <a:pt x="2140" y="567"/>
                  </a:cubicBezTo>
                  <a:cubicBezTo>
                    <a:pt x="2173" y="541"/>
                    <a:pt x="2201" y="510"/>
                    <a:pt x="2219" y="477"/>
                  </a:cubicBezTo>
                  <a:close/>
                  <a:moveTo>
                    <a:pt x="2022" y="219"/>
                  </a:moveTo>
                  <a:cubicBezTo>
                    <a:pt x="2069" y="234"/>
                    <a:pt x="2111" y="255"/>
                    <a:pt x="2149" y="283"/>
                  </a:cubicBezTo>
                  <a:cubicBezTo>
                    <a:pt x="2163" y="307"/>
                    <a:pt x="2172" y="331"/>
                    <a:pt x="2175" y="353"/>
                  </a:cubicBezTo>
                  <a:cubicBezTo>
                    <a:pt x="2133" y="325"/>
                    <a:pt x="2088" y="300"/>
                    <a:pt x="2041" y="278"/>
                  </a:cubicBezTo>
                  <a:cubicBezTo>
                    <a:pt x="2018" y="267"/>
                    <a:pt x="1995" y="258"/>
                    <a:pt x="1971" y="249"/>
                  </a:cubicBezTo>
                  <a:cubicBezTo>
                    <a:pt x="1909" y="225"/>
                    <a:pt x="1844" y="208"/>
                    <a:pt x="1776" y="196"/>
                  </a:cubicBezTo>
                  <a:cubicBezTo>
                    <a:pt x="1799" y="193"/>
                    <a:pt x="1822" y="192"/>
                    <a:pt x="1844" y="192"/>
                  </a:cubicBezTo>
                  <a:cubicBezTo>
                    <a:pt x="1881" y="192"/>
                    <a:pt x="1916" y="195"/>
                    <a:pt x="1950" y="201"/>
                  </a:cubicBezTo>
                  <a:cubicBezTo>
                    <a:pt x="1975" y="206"/>
                    <a:pt x="1999" y="211"/>
                    <a:pt x="2022" y="219"/>
                  </a:cubicBezTo>
                  <a:close/>
                  <a:moveTo>
                    <a:pt x="1859" y="116"/>
                  </a:moveTo>
                  <a:cubicBezTo>
                    <a:pt x="1872" y="120"/>
                    <a:pt x="1885" y="127"/>
                    <a:pt x="1897" y="136"/>
                  </a:cubicBezTo>
                  <a:cubicBezTo>
                    <a:pt x="1879" y="134"/>
                    <a:pt x="1862" y="134"/>
                    <a:pt x="1844" y="134"/>
                  </a:cubicBezTo>
                  <a:cubicBezTo>
                    <a:pt x="1798" y="134"/>
                    <a:pt x="1750" y="138"/>
                    <a:pt x="1703" y="147"/>
                  </a:cubicBezTo>
                  <a:cubicBezTo>
                    <a:pt x="1744" y="122"/>
                    <a:pt x="1782" y="109"/>
                    <a:pt x="1818" y="109"/>
                  </a:cubicBezTo>
                  <a:cubicBezTo>
                    <a:pt x="1832" y="109"/>
                    <a:pt x="1846" y="111"/>
                    <a:pt x="1859" y="116"/>
                  </a:cubicBezTo>
                  <a:close/>
                  <a:moveTo>
                    <a:pt x="1610" y="59"/>
                  </a:moveTo>
                  <a:cubicBezTo>
                    <a:pt x="1648" y="61"/>
                    <a:pt x="1686" y="65"/>
                    <a:pt x="1722" y="71"/>
                  </a:cubicBezTo>
                  <a:cubicBezTo>
                    <a:pt x="1685" y="87"/>
                    <a:pt x="1648" y="111"/>
                    <a:pt x="1610" y="142"/>
                  </a:cubicBezTo>
                  <a:lnTo>
                    <a:pt x="1610" y="59"/>
                  </a:lnTo>
                  <a:close/>
                  <a:moveTo>
                    <a:pt x="1171" y="951"/>
                  </a:moveTo>
                  <a:cubicBezTo>
                    <a:pt x="1155" y="1009"/>
                    <a:pt x="1143" y="1066"/>
                    <a:pt x="1133" y="1121"/>
                  </a:cubicBezTo>
                  <a:cubicBezTo>
                    <a:pt x="1030" y="1086"/>
                    <a:pt x="937" y="1040"/>
                    <a:pt x="867" y="985"/>
                  </a:cubicBezTo>
                  <a:cubicBezTo>
                    <a:pt x="870" y="974"/>
                    <a:pt x="873" y="963"/>
                    <a:pt x="877" y="951"/>
                  </a:cubicBezTo>
                  <a:cubicBezTo>
                    <a:pt x="919" y="830"/>
                    <a:pt x="987" y="710"/>
                    <a:pt x="1078" y="602"/>
                  </a:cubicBezTo>
                  <a:cubicBezTo>
                    <a:pt x="1132" y="636"/>
                    <a:pt x="1195" y="663"/>
                    <a:pt x="1261" y="684"/>
                  </a:cubicBezTo>
                  <a:cubicBezTo>
                    <a:pt x="1243" y="729"/>
                    <a:pt x="1225" y="776"/>
                    <a:pt x="1209" y="825"/>
                  </a:cubicBezTo>
                  <a:cubicBezTo>
                    <a:pt x="1208" y="830"/>
                    <a:pt x="1206" y="835"/>
                    <a:pt x="1204" y="840"/>
                  </a:cubicBezTo>
                  <a:cubicBezTo>
                    <a:pt x="1192" y="878"/>
                    <a:pt x="1181" y="915"/>
                    <a:pt x="1171" y="951"/>
                  </a:cubicBezTo>
                  <a:close/>
                  <a:moveTo>
                    <a:pt x="1166" y="426"/>
                  </a:moveTo>
                  <a:cubicBezTo>
                    <a:pt x="1148" y="442"/>
                    <a:pt x="1131" y="459"/>
                    <a:pt x="1114" y="476"/>
                  </a:cubicBezTo>
                  <a:cubicBezTo>
                    <a:pt x="1111" y="479"/>
                    <a:pt x="1108" y="481"/>
                    <a:pt x="1105" y="484"/>
                  </a:cubicBezTo>
                  <a:cubicBezTo>
                    <a:pt x="1095" y="494"/>
                    <a:pt x="1086" y="505"/>
                    <a:pt x="1076" y="515"/>
                  </a:cubicBezTo>
                  <a:cubicBezTo>
                    <a:pt x="1049" y="493"/>
                    <a:pt x="1026" y="468"/>
                    <a:pt x="1012" y="443"/>
                  </a:cubicBezTo>
                  <a:cubicBezTo>
                    <a:pt x="1008" y="435"/>
                    <a:pt x="1005" y="428"/>
                    <a:pt x="1002" y="420"/>
                  </a:cubicBezTo>
                  <a:cubicBezTo>
                    <a:pt x="1037" y="394"/>
                    <a:pt x="1075" y="371"/>
                    <a:pt x="1115" y="350"/>
                  </a:cubicBezTo>
                  <a:cubicBezTo>
                    <a:pt x="1136" y="339"/>
                    <a:pt x="1158" y="329"/>
                    <a:pt x="1180" y="320"/>
                  </a:cubicBezTo>
                  <a:cubicBezTo>
                    <a:pt x="1253" y="288"/>
                    <a:pt x="1332" y="265"/>
                    <a:pt x="1416" y="251"/>
                  </a:cubicBezTo>
                  <a:cubicBezTo>
                    <a:pt x="1328" y="298"/>
                    <a:pt x="1244" y="356"/>
                    <a:pt x="1166" y="426"/>
                  </a:cubicBezTo>
                  <a:close/>
                  <a:moveTo>
                    <a:pt x="1487" y="281"/>
                  </a:moveTo>
                  <a:cubicBezTo>
                    <a:pt x="1415" y="373"/>
                    <a:pt x="1348" y="488"/>
                    <a:pt x="1289" y="620"/>
                  </a:cubicBezTo>
                  <a:cubicBezTo>
                    <a:pt x="1228" y="601"/>
                    <a:pt x="1172" y="577"/>
                    <a:pt x="1125" y="549"/>
                  </a:cubicBezTo>
                  <a:cubicBezTo>
                    <a:pt x="1135" y="538"/>
                    <a:pt x="1145" y="527"/>
                    <a:pt x="1155" y="517"/>
                  </a:cubicBezTo>
                  <a:cubicBezTo>
                    <a:pt x="1158" y="514"/>
                    <a:pt x="1161" y="511"/>
                    <a:pt x="1164" y="508"/>
                  </a:cubicBezTo>
                  <a:cubicBezTo>
                    <a:pt x="1262" y="413"/>
                    <a:pt x="1372" y="335"/>
                    <a:pt x="1487" y="281"/>
                  </a:cubicBezTo>
                  <a:close/>
                  <a:moveTo>
                    <a:pt x="1555" y="1197"/>
                  </a:moveTo>
                  <a:cubicBezTo>
                    <a:pt x="1439" y="1195"/>
                    <a:pt x="1313" y="1175"/>
                    <a:pt x="1189" y="1139"/>
                  </a:cubicBezTo>
                  <a:cubicBezTo>
                    <a:pt x="1194" y="1114"/>
                    <a:pt x="1199" y="1088"/>
                    <a:pt x="1204" y="1063"/>
                  </a:cubicBezTo>
                  <a:cubicBezTo>
                    <a:pt x="1212" y="1026"/>
                    <a:pt x="1222" y="989"/>
                    <a:pt x="1232" y="951"/>
                  </a:cubicBezTo>
                  <a:cubicBezTo>
                    <a:pt x="1242" y="916"/>
                    <a:pt x="1253" y="879"/>
                    <a:pt x="1265" y="843"/>
                  </a:cubicBezTo>
                  <a:cubicBezTo>
                    <a:pt x="1281" y="794"/>
                    <a:pt x="1299" y="747"/>
                    <a:pt x="1318" y="700"/>
                  </a:cubicBezTo>
                  <a:cubicBezTo>
                    <a:pt x="1404" y="723"/>
                    <a:pt x="1484" y="734"/>
                    <a:pt x="1555" y="736"/>
                  </a:cubicBezTo>
                  <a:lnTo>
                    <a:pt x="1555" y="1197"/>
                  </a:lnTo>
                  <a:close/>
                  <a:moveTo>
                    <a:pt x="1555" y="666"/>
                  </a:moveTo>
                  <a:cubicBezTo>
                    <a:pt x="1486" y="664"/>
                    <a:pt x="1418" y="654"/>
                    <a:pt x="1346" y="636"/>
                  </a:cubicBezTo>
                  <a:cubicBezTo>
                    <a:pt x="1402" y="512"/>
                    <a:pt x="1468" y="400"/>
                    <a:pt x="1538" y="311"/>
                  </a:cubicBezTo>
                  <a:cubicBezTo>
                    <a:pt x="1545" y="302"/>
                    <a:pt x="1547" y="292"/>
                    <a:pt x="1555" y="284"/>
                  </a:cubicBezTo>
                  <a:lnTo>
                    <a:pt x="1555" y="666"/>
                  </a:lnTo>
                  <a:close/>
                  <a:moveTo>
                    <a:pt x="1560" y="59"/>
                  </a:moveTo>
                  <a:cubicBezTo>
                    <a:pt x="1560" y="142"/>
                    <a:pt x="1560" y="142"/>
                    <a:pt x="1560" y="142"/>
                  </a:cubicBezTo>
                  <a:cubicBezTo>
                    <a:pt x="1523" y="111"/>
                    <a:pt x="1485" y="87"/>
                    <a:pt x="1448" y="71"/>
                  </a:cubicBezTo>
                  <a:cubicBezTo>
                    <a:pt x="1485" y="65"/>
                    <a:pt x="1522" y="61"/>
                    <a:pt x="1560" y="59"/>
                  </a:cubicBezTo>
                  <a:close/>
                  <a:moveTo>
                    <a:pt x="1311" y="116"/>
                  </a:moveTo>
                  <a:cubicBezTo>
                    <a:pt x="1324" y="111"/>
                    <a:pt x="1338" y="109"/>
                    <a:pt x="1353" y="109"/>
                  </a:cubicBezTo>
                  <a:cubicBezTo>
                    <a:pt x="1388" y="109"/>
                    <a:pt x="1427" y="122"/>
                    <a:pt x="1468" y="147"/>
                  </a:cubicBezTo>
                  <a:cubicBezTo>
                    <a:pt x="1420" y="138"/>
                    <a:pt x="1373" y="134"/>
                    <a:pt x="1326" y="134"/>
                  </a:cubicBezTo>
                  <a:cubicBezTo>
                    <a:pt x="1309" y="134"/>
                    <a:pt x="1291" y="134"/>
                    <a:pt x="1274" y="136"/>
                  </a:cubicBezTo>
                  <a:cubicBezTo>
                    <a:pt x="1286" y="127"/>
                    <a:pt x="1298" y="120"/>
                    <a:pt x="1311" y="116"/>
                  </a:cubicBezTo>
                  <a:close/>
                  <a:moveTo>
                    <a:pt x="1020" y="283"/>
                  </a:moveTo>
                  <a:cubicBezTo>
                    <a:pt x="1059" y="256"/>
                    <a:pt x="1101" y="234"/>
                    <a:pt x="1148" y="219"/>
                  </a:cubicBezTo>
                  <a:cubicBezTo>
                    <a:pt x="1172" y="211"/>
                    <a:pt x="1196" y="206"/>
                    <a:pt x="1221" y="201"/>
                  </a:cubicBezTo>
                  <a:cubicBezTo>
                    <a:pt x="1254" y="195"/>
                    <a:pt x="1290" y="192"/>
                    <a:pt x="1326" y="192"/>
                  </a:cubicBezTo>
                  <a:cubicBezTo>
                    <a:pt x="1349" y="192"/>
                    <a:pt x="1371" y="193"/>
                    <a:pt x="1394" y="196"/>
                  </a:cubicBezTo>
                  <a:cubicBezTo>
                    <a:pt x="1326" y="208"/>
                    <a:pt x="1261" y="225"/>
                    <a:pt x="1200" y="249"/>
                  </a:cubicBezTo>
                  <a:cubicBezTo>
                    <a:pt x="1176" y="258"/>
                    <a:pt x="1152" y="267"/>
                    <a:pt x="1130" y="278"/>
                  </a:cubicBezTo>
                  <a:cubicBezTo>
                    <a:pt x="1082" y="300"/>
                    <a:pt x="1037" y="326"/>
                    <a:pt x="995" y="354"/>
                  </a:cubicBezTo>
                  <a:cubicBezTo>
                    <a:pt x="998" y="331"/>
                    <a:pt x="1006" y="308"/>
                    <a:pt x="1020" y="283"/>
                  </a:cubicBezTo>
                  <a:close/>
                  <a:moveTo>
                    <a:pt x="923" y="379"/>
                  </a:moveTo>
                  <a:cubicBezTo>
                    <a:pt x="924" y="388"/>
                    <a:pt x="925" y="397"/>
                    <a:pt x="926" y="406"/>
                  </a:cubicBezTo>
                  <a:cubicBezTo>
                    <a:pt x="912" y="417"/>
                    <a:pt x="899" y="428"/>
                    <a:pt x="886" y="440"/>
                  </a:cubicBezTo>
                  <a:cubicBezTo>
                    <a:pt x="897" y="419"/>
                    <a:pt x="909" y="399"/>
                    <a:pt x="923" y="379"/>
                  </a:cubicBezTo>
                  <a:close/>
                  <a:moveTo>
                    <a:pt x="742" y="759"/>
                  </a:moveTo>
                  <a:cubicBezTo>
                    <a:pt x="751" y="731"/>
                    <a:pt x="758" y="713"/>
                    <a:pt x="772" y="686"/>
                  </a:cubicBezTo>
                  <a:cubicBezTo>
                    <a:pt x="791" y="648"/>
                    <a:pt x="814" y="611"/>
                    <a:pt x="840" y="576"/>
                  </a:cubicBezTo>
                  <a:cubicBezTo>
                    <a:pt x="871" y="537"/>
                    <a:pt x="906" y="500"/>
                    <a:pt x="945" y="466"/>
                  </a:cubicBezTo>
                  <a:cubicBezTo>
                    <a:pt x="947" y="469"/>
                    <a:pt x="949" y="473"/>
                    <a:pt x="951" y="477"/>
                  </a:cubicBezTo>
                  <a:cubicBezTo>
                    <a:pt x="969" y="510"/>
                    <a:pt x="997" y="541"/>
                    <a:pt x="1030" y="568"/>
                  </a:cubicBezTo>
                  <a:cubicBezTo>
                    <a:pt x="955" y="659"/>
                    <a:pt x="894" y="757"/>
                    <a:pt x="851" y="858"/>
                  </a:cubicBezTo>
                  <a:cubicBezTo>
                    <a:pt x="839" y="886"/>
                    <a:pt x="828" y="914"/>
                    <a:pt x="819" y="942"/>
                  </a:cubicBezTo>
                  <a:cubicBezTo>
                    <a:pt x="772" y="894"/>
                    <a:pt x="743" y="839"/>
                    <a:pt x="741" y="780"/>
                  </a:cubicBezTo>
                  <a:cubicBezTo>
                    <a:pt x="741" y="780"/>
                    <a:pt x="741" y="763"/>
                    <a:pt x="742" y="759"/>
                  </a:cubicBezTo>
                  <a:close/>
                  <a:moveTo>
                    <a:pt x="447" y="993"/>
                  </a:moveTo>
                  <a:cubicBezTo>
                    <a:pt x="411" y="993"/>
                    <a:pt x="409" y="1049"/>
                    <a:pt x="409" y="1074"/>
                  </a:cubicBezTo>
                  <a:cubicBezTo>
                    <a:pt x="409" y="1153"/>
                    <a:pt x="437" y="1157"/>
                    <a:pt x="447" y="1157"/>
                  </a:cubicBezTo>
                  <a:cubicBezTo>
                    <a:pt x="458" y="1157"/>
                    <a:pt x="486" y="1153"/>
                    <a:pt x="486" y="1074"/>
                  </a:cubicBezTo>
                  <a:cubicBezTo>
                    <a:pt x="486" y="1049"/>
                    <a:pt x="483" y="993"/>
                    <a:pt x="447" y="993"/>
                  </a:cubicBezTo>
                  <a:close/>
                  <a:moveTo>
                    <a:pt x="2737" y="993"/>
                  </a:moveTo>
                  <a:cubicBezTo>
                    <a:pt x="2701" y="993"/>
                    <a:pt x="2698" y="1049"/>
                    <a:pt x="2698" y="1074"/>
                  </a:cubicBezTo>
                  <a:cubicBezTo>
                    <a:pt x="2698" y="1153"/>
                    <a:pt x="2726" y="1157"/>
                    <a:pt x="2737" y="1157"/>
                  </a:cubicBezTo>
                  <a:cubicBezTo>
                    <a:pt x="2747" y="1157"/>
                    <a:pt x="2776" y="1153"/>
                    <a:pt x="2776" y="1074"/>
                  </a:cubicBezTo>
                  <a:cubicBezTo>
                    <a:pt x="2776" y="1049"/>
                    <a:pt x="2773" y="993"/>
                    <a:pt x="2737" y="993"/>
                  </a:cubicBezTo>
                  <a:close/>
                  <a:moveTo>
                    <a:pt x="1746" y="1536"/>
                  </a:moveTo>
                  <a:cubicBezTo>
                    <a:pt x="1733" y="1465"/>
                    <a:pt x="1677" y="1481"/>
                    <a:pt x="1660" y="1501"/>
                  </a:cubicBezTo>
                  <a:cubicBezTo>
                    <a:pt x="1653" y="1509"/>
                    <a:pt x="1648" y="1524"/>
                    <a:pt x="1644" y="1541"/>
                  </a:cubicBezTo>
                  <a:cubicBezTo>
                    <a:pt x="1634" y="1593"/>
                    <a:pt x="1642" y="1668"/>
                    <a:pt x="1695" y="1667"/>
                  </a:cubicBezTo>
                  <a:cubicBezTo>
                    <a:pt x="1741" y="1664"/>
                    <a:pt x="1753" y="1606"/>
                    <a:pt x="1748" y="1552"/>
                  </a:cubicBezTo>
                  <a:cubicBezTo>
                    <a:pt x="1748" y="1546"/>
                    <a:pt x="1747" y="1541"/>
                    <a:pt x="1746" y="1536"/>
                  </a:cubicBezTo>
                  <a:close/>
                  <a:moveTo>
                    <a:pt x="3451" y="1075"/>
                  </a:moveTo>
                  <a:cubicBezTo>
                    <a:pt x="3118" y="753"/>
                    <a:pt x="3118" y="753"/>
                    <a:pt x="3118" y="753"/>
                  </a:cubicBezTo>
                  <a:cubicBezTo>
                    <a:pt x="3118" y="886"/>
                    <a:pt x="3118" y="886"/>
                    <a:pt x="3118" y="886"/>
                  </a:cubicBezTo>
                  <a:cubicBezTo>
                    <a:pt x="2577" y="886"/>
                    <a:pt x="2577" y="886"/>
                    <a:pt x="2577" y="886"/>
                  </a:cubicBezTo>
                  <a:cubicBezTo>
                    <a:pt x="2572" y="900"/>
                    <a:pt x="2567" y="913"/>
                    <a:pt x="2560" y="927"/>
                  </a:cubicBezTo>
                  <a:cubicBezTo>
                    <a:pt x="2483" y="1094"/>
                    <a:pt x="2292" y="1240"/>
                    <a:pt x="2015" y="1319"/>
                  </a:cubicBezTo>
                  <a:cubicBezTo>
                    <a:pt x="1876" y="1360"/>
                    <a:pt x="1728" y="1379"/>
                    <a:pt x="1584" y="1379"/>
                  </a:cubicBezTo>
                  <a:cubicBezTo>
                    <a:pt x="1203" y="1379"/>
                    <a:pt x="839" y="1247"/>
                    <a:pt x="667" y="1023"/>
                  </a:cubicBezTo>
                  <a:cubicBezTo>
                    <a:pt x="650" y="1001"/>
                    <a:pt x="635" y="979"/>
                    <a:pt x="623" y="957"/>
                  </a:cubicBezTo>
                  <a:cubicBezTo>
                    <a:pt x="610" y="933"/>
                    <a:pt x="600" y="910"/>
                    <a:pt x="592" y="886"/>
                  </a:cubicBezTo>
                  <a:cubicBezTo>
                    <a:pt x="0" y="886"/>
                    <a:pt x="0" y="886"/>
                    <a:pt x="0" y="886"/>
                  </a:cubicBezTo>
                  <a:cubicBezTo>
                    <a:pt x="0" y="1265"/>
                    <a:pt x="0" y="1265"/>
                    <a:pt x="0" y="1265"/>
                  </a:cubicBezTo>
                  <a:cubicBezTo>
                    <a:pt x="581" y="1265"/>
                    <a:pt x="581" y="1265"/>
                    <a:pt x="581" y="1265"/>
                  </a:cubicBezTo>
                  <a:cubicBezTo>
                    <a:pt x="585" y="1281"/>
                    <a:pt x="590" y="1298"/>
                    <a:pt x="596" y="1315"/>
                  </a:cubicBezTo>
                  <a:cubicBezTo>
                    <a:pt x="612" y="1358"/>
                    <a:pt x="635" y="1401"/>
                    <a:pt x="668" y="1443"/>
                  </a:cubicBezTo>
                  <a:cubicBezTo>
                    <a:pt x="679" y="1459"/>
                    <a:pt x="692" y="1474"/>
                    <a:pt x="706" y="1488"/>
                  </a:cubicBezTo>
                  <a:cubicBezTo>
                    <a:pt x="744" y="1530"/>
                    <a:pt x="790" y="1568"/>
                    <a:pt x="841" y="1601"/>
                  </a:cubicBezTo>
                  <a:cubicBezTo>
                    <a:pt x="917" y="1651"/>
                    <a:pt x="1005" y="1693"/>
                    <a:pt x="1101" y="1724"/>
                  </a:cubicBezTo>
                  <a:cubicBezTo>
                    <a:pt x="1121" y="1731"/>
                    <a:pt x="1142" y="1737"/>
                    <a:pt x="1163" y="1743"/>
                  </a:cubicBezTo>
                  <a:cubicBezTo>
                    <a:pt x="1286" y="1778"/>
                    <a:pt x="1420" y="1797"/>
                    <a:pt x="1557" y="1799"/>
                  </a:cubicBezTo>
                  <a:cubicBezTo>
                    <a:pt x="1566" y="1799"/>
                    <a:pt x="1575" y="1800"/>
                    <a:pt x="1585" y="1800"/>
                  </a:cubicBezTo>
                  <a:cubicBezTo>
                    <a:pt x="1596" y="1800"/>
                    <a:pt x="1608" y="1799"/>
                    <a:pt x="1620" y="1799"/>
                  </a:cubicBezTo>
                  <a:cubicBezTo>
                    <a:pt x="1752" y="1796"/>
                    <a:pt x="1886" y="1777"/>
                    <a:pt x="2014" y="1741"/>
                  </a:cubicBezTo>
                  <a:cubicBezTo>
                    <a:pt x="2015" y="1741"/>
                    <a:pt x="2016" y="1740"/>
                    <a:pt x="2016" y="1740"/>
                  </a:cubicBezTo>
                  <a:cubicBezTo>
                    <a:pt x="2037" y="1734"/>
                    <a:pt x="2057" y="1728"/>
                    <a:pt x="2076" y="1721"/>
                  </a:cubicBezTo>
                  <a:cubicBezTo>
                    <a:pt x="2177" y="1687"/>
                    <a:pt x="2265" y="1644"/>
                    <a:pt x="2338" y="1594"/>
                  </a:cubicBezTo>
                  <a:cubicBezTo>
                    <a:pt x="2392" y="1558"/>
                    <a:pt x="2438" y="1518"/>
                    <a:pt x="2476" y="1476"/>
                  </a:cubicBezTo>
                  <a:cubicBezTo>
                    <a:pt x="2521" y="1425"/>
                    <a:pt x="2554" y="1371"/>
                    <a:pt x="2575" y="1316"/>
                  </a:cubicBezTo>
                  <a:cubicBezTo>
                    <a:pt x="2581" y="1299"/>
                    <a:pt x="2586" y="1282"/>
                    <a:pt x="2590" y="1265"/>
                  </a:cubicBezTo>
                  <a:cubicBezTo>
                    <a:pt x="3118" y="1265"/>
                    <a:pt x="3118" y="1265"/>
                    <a:pt x="3118" y="1265"/>
                  </a:cubicBezTo>
                  <a:cubicBezTo>
                    <a:pt x="3118" y="1397"/>
                    <a:pt x="3118" y="1397"/>
                    <a:pt x="3118" y="1397"/>
                  </a:cubicBezTo>
                  <a:lnTo>
                    <a:pt x="3451" y="1075"/>
                  </a:lnTo>
                  <a:close/>
                  <a:moveTo>
                    <a:pt x="296" y="1195"/>
                  </a:moveTo>
                  <a:cubicBezTo>
                    <a:pt x="123" y="1195"/>
                    <a:pt x="123" y="1195"/>
                    <a:pt x="123" y="1195"/>
                  </a:cubicBezTo>
                  <a:cubicBezTo>
                    <a:pt x="123" y="1154"/>
                    <a:pt x="123" y="1154"/>
                    <a:pt x="123" y="1154"/>
                  </a:cubicBezTo>
                  <a:cubicBezTo>
                    <a:pt x="188" y="1154"/>
                    <a:pt x="188" y="1154"/>
                    <a:pt x="188" y="1154"/>
                  </a:cubicBezTo>
                  <a:cubicBezTo>
                    <a:pt x="188" y="1005"/>
                    <a:pt x="188" y="1005"/>
                    <a:pt x="188" y="1005"/>
                  </a:cubicBezTo>
                  <a:cubicBezTo>
                    <a:pt x="135" y="1028"/>
                    <a:pt x="135" y="1028"/>
                    <a:pt x="135" y="1028"/>
                  </a:cubicBezTo>
                  <a:cubicBezTo>
                    <a:pt x="118" y="991"/>
                    <a:pt x="118" y="991"/>
                    <a:pt x="118" y="991"/>
                  </a:cubicBezTo>
                  <a:cubicBezTo>
                    <a:pt x="201" y="956"/>
                    <a:pt x="201" y="956"/>
                    <a:pt x="201" y="956"/>
                  </a:cubicBezTo>
                  <a:cubicBezTo>
                    <a:pt x="231" y="956"/>
                    <a:pt x="231" y="956"/>
                    <a:pt x="231" y="956"/>
                  </a:cubicBezTo>
                  <a:cubicBezTo>
                    <a:pt x="231" y="1154"/>
                    <a:pt x="231" y="1154"/>
                    <a:pt x="231" y="1154"/>
                  </a:cubicBezTo>
                  <a:cubicBezTo>
                    <a:pt x="296" y="1154"/>
                    <a:pt x="296" y="1154"/>
                    <a:pt x="296" y="1154"/>
                  </a:cubicBezTo>
                  <a:lnTo>
                    <a:pt x="296" y="1195"/>
                  </a:lnTo>
                  <a:close/>
                  <a:moveTo>
                    <a:pt x="447" y="1197"/>
                  </a:moveTo>
                  <a:cubicBezTo>
                    <a:pt x="377" y="1197"/>
                    <a:pt x="365" y="1127"/>
                    <a:pt x="365" y="1074"/>
                  </a:cubicBezTo>
                  <a:cubicBezTo>
                    <a:pt x="365" y="1022"/>
                    <a:pt x="378" y="953"/>
                    <a:pt x="447" y="953"/>
                  </a:cubicBezTo>
                  <a:cubicBezTo>
                    <a:pt x="517" y="953"/>
                    <a:pt x="530" y="1022"/>
                    <a:pt x="530" y="1074"/>
                  </a:cubicBezTo>
                  <a:cubicBezTo>
                    <a:pt x="530" y="1127"/>
                    <a:pt x="517" y="1197"/>
                    <a:pt x="447" y="1197"/>
                  </a:cubicBezTo>
                  <a:close/>
                  <a:moveTo>
                    <a:pt x="693" y="1351"/>
                  </a:moveTo>
                  <a:cubicBezTo>
                    <a:pt x="678" y="1332"/>
                    <a:pt x="666" y="1313"/>
                    <a:pt x="655" y="1294"/>
                  </a:cubicBezTo>
                  <a:cubicBezTo>
                    <a:pt x="645" y="1278"/>
                    <a:pt x="637" y="1261"/>
                    <a:pt x="630" y="1245"/>
                  </a:cubicBezTo>
                  <a:cubicBezTo>
                    <a:pt x="630" y="1201"/>
                    <a:pt x="630" y="1201"/>
                    <a:pt x="630" y="1201"/>
                  </a:cubicBezTo>
                  <a:cubicBezTo>
                    <a:pt x="635" y="1213"/>
                    <a:pt x="641" y="1225"/>
                    <a:pt x="648" y="1237"/>
                  </a:cubicBezTo>
                  <a:cubicBezTo>
                    <a:pt x="651" y="1243"/>
                    <a:pt x="654" y="1249"/>
                    <a:pt x="658" y="1255"/>
                  </a:cubicBezTo>
                  <a:cubicBezTo>
                    <a:pt x="658" y="1177"/>
                    <a:pt x="658" y="1177"/>
                    <a:pt x="658" y="1177"/>
                  </a:cubicBezTo>
                  <a:cubicBezTo>
                    <a:pt x="658" y="1090"/>
                    <a:pt x="658" y="1090"/>
                    <a:pt x="658" y="1090"/>
                  </a:cubicBezTo>
                  <a:cubicBezTo>
                    <a:pt x="654" y="1087"/>
                    <a:pt x="650" y="1084"/>
                    <a:pt x="646" y="1080"/>
                  </a:cubicBezTo>
                  <a:cubicBezTo>
                    <a:pt x="646" y="1080"/>
                    <a:pt x="646" y="1080"/>
                    <a:pt x="646" y="1080"/>
                  </a:cubicBezTo>
                  <a:cubicBezTo>
                    <a:pt x="642" y="1077"/>
                    <a:pt x="638" y="1073"/>
                    <a:pt x="634" y="1070"/>
                  </a:cubicBezTo>
                  <a:cubicBezTo>
                    <a:pt x="630" y="1032"/>
                    <a:pt x="630" y="1032"/>
                    <a:pt x="630" y="1032"/>
                  </a:cubicBezTo>
                  <a:cubicBezTo>
                    <a:pt x="628" y="1016"/>
                    <a:pt x="628" y="1016"/>
                    <a:pt x="628" y="1016"/>
                  </a:cubicBezTo>
                  <a:cubicBezTo>
                    <a:pt x="638" y="1025"/>
                    <a:pt x="653" y="1037"/>
                    <a:pt x="664" y="1046"/>
                  </a:cubicBezTo>
                  <a:cubicBezTo>
                    <a:pt x="670" y="1054"/>
                    <a:pt x="675" y="1062"/>
                    <a:pt x="681" y="1070"/>
                  </a:cubicBezTo>
                  <a:cubicBezTo>
                    <a:pt x="681" y="1113"/>
                    <a:pt x="681" y="1113"/>
                    <a:pt x="681" y="1113"/>
                  </a:cubicBezTo>
                  <a:cubicBezTo>
                    <a:pt x="681" y="1205"/>
                    <a:pt x="681" y="1205"/>
                    <a:pt x="681" y="1205"/>
                  </a:cubicBezTo>
                  <a:cubicBezTo>
                    <a:pt x="681" y="1291"/>
                    <a:pt x="681" y="1291"/>
                    <a:pt x="681" y="1291"/>
                  </a:cubicBezTo>
                  <a:cubicBezTo>
                    <a:pt x="685" y="1296"/>
                    <a:pt x="689" y="1301"/>
                    <a:pt x="693" y="1306"/>
                  </a:cubicBezTo>
                  <a:cubicBezTo>
                    <a:pt x="703" y="1319"/>
                    <a:pt x="713" y="1331"/>
                    <a:pt x="724" y="1343"/>
                  </a:cubicBezTo>
                  <a:cubicBezTo>
                    <a:pt x="724" y="1388"/>
                    <a:pt x="724" y="1388"/>
                    <a:pt x="724" y="1388"/>
                  </a:cubicBezTo>
                  <a:cubicBezTo>
                    <a:pt x="713" y="1376"/>
                    <a:pt x="703" y="1364"/>
                    <a:pt x="693" y="1351"/>
                  </a:cubicBezTo>
                  <a:close/>
                  <a:moveTo>
                    <a:pt x="816" y="1473"/>
                  </a:moveTo>
                  <a:cubicBezTo>
                    <a:pt x="800" y="1460"/>
                    <a:pt x="784" y="1447"/>
                    <a:pt x="769" y="1433"/>
                  </a:cubicBezTo>
                  <a:cubicBezTo>
                    <a:pt x="768" y="1388"/>
                    <a:pt x="768" y="1388"/>
                    <a:pt x="768" y="1388"/>
                  </a:cubicBezTo>
                  <a:cubicBezTo>
                    <a:pt x="783" y="1402"/>
                    <a:pt x="799" y="1415"/>
                    <a:pt x="815" y="1427"/>
                  </a:cubicBezTo>
                  <a:cubicBezTo>
                    <a:pt x="818" y="1430"/>
                    <a:pt x="821" y="1432"/>
                    <a:pt x="824" y="1434"/>
                  </a:cubicBezTo>
                  <a:cubicBezTo>
                    <a:pt x="823" y="1333"/>
                    <a:pt x="823" y="1333"/>
                    <a:pt x="823" y="1333"/>
                  </a:cubicBezTo>
                  <a:cubicBezTo>
                    <a:pt x="823" y="1322"/>
                    <a:pt x="823" y="1322"/>
                    <a:pt x="823" y="1322"/>
                  </a:cubicBezTo>
                  <a:cubicBezTo>
                    <a:pt x="823" y="1268"/>
                    <a:pt x="823" y="1268"/>
                    <a:pt x="823" y="1268"/>
                  </a:cubicBezTo>
                  <a:cubicBezTo>
                    <a:pt x="810" y="1265"/>
                    <a:pt x="792" y="1260"/>
                    <a:pt x="778" y="1257"/>
                  </a:cubicBezTo>
                  <a:cubicBezTo>
                    <a:pt x="776" y="1248"/>
                    <a:pt x="776" y="1248"/>
                    <a:pt x="776" y="1248"/>
                  </a:cubicBezTo>
                  <a:cubicBezTo>
                    <a:pt x="768" y="1218"/>
                    <a:pt x="768" y="1218"/>
                    <a:pt x="768" y="1218"/>
                  </a:cubicBezTo>
                  <a:cubicBezTo>
                    <a:pt x="767" y="1212"/>
                    <a:pt x="767" y="1212"/>
                    <a:pt x="767" y="1212"/>
                  </a:cubicBezTo>
                  <a:cubicBezTo>
                    <a:pt x="764" y="1204"/>
                    <a:pt x="764" y="1204"/>
                    <a:pt x="764" y="1204"/>
                  </a:cubicBezTo>
                  <a:cubicBezTo>
                    <a:pt x="785" y="1210"/>
                    <a:pt x="814" y="1217"/>
                    <a:pt x="835" y="1222"/>
                  </a:cubicBezTo>
                  <a:cubicBezTo>
                    <a:pt x="844" y="1229"/>
                    <a:pt x="853" y="1235"/>
                    <a:pt x="862" y="1241"/>
                  </a:cubicBezTo>
                  <a:cubicBezTo>
                    <a:pt x="862" y="1291"/>
                    <a:pt x="862" y="1291"/>
                    <a:pt x="862" y="1291"/>
                  </a:cubicBezTo>
                  <a:cubicBezTo>
                    <a:pt x="863" y="1360"/>
                    <a:pt x="863" y="1360"/>
                    <a:pt x="863" y="1360"/>
                  </a:cubicBezTo>
                  <a:cubicBezTo>
                    <a:pt x="863" y="1462"/>
                    <a:pt x="863" y="1462"/>
                    <a:pt x="863" y="1462"/>
                  </a:cubicBezTo>
                  <a:cubicBezTo>
                    <a:pt x="883" y="1475"/>
                    <a:pt x="905" y="1489"/>
                    <a:pt x="927" y="1501"/>
                  </a:cubicBezTo>
                  <a:cubicBezTo>
                    <a:pt x="927" y="1546"/>
                    <a:pt x="927" y="1546"/>
                    <a:pt x="927" y="1546"/>
                  </a:cubicBezTo>
                  <a:cubicBezTo>
                    <a:pt x="888" y="1523"/>
                    <a:pt x="850" y="1499"/>
                    <a:pt x="816" y="1473"/>
                  </a:cubicBezTo>
                  <a:close/>
                  <a:moveTo>
                    <a:pt x="1172" y="1585"/>
                  </a:moveTo>
                  <a:cubicBezTo>
                    <a:pt x="1168" y="1596"/>
                    <a:pt x="1163" y="1604"/>
                    <a:pt x="1157" y="1611"/>
                  </a:cubicBezTo>
                  <a:cubicBezTo>
                    <a:pt x="1141" y="1628"/>
                    <a:pt x="1119" y="1632"/>
                    <a:pt x="1096" y="1627"/>
                  </a:cubicBezTo>
                  <a:cubicBezTo>
                    <a:pt x="1063" y="1619"/>
                    <a:pt x="1028" y="1592"/>
                    <a:pt x="1010" y="1557"/>
                  </a:cubicBezTo>
                  <a:cubicBezTo>
                    <a:pt x="1006" y="1548"/>
                    <a:pt x="987" y="1483"/>
                    <a:pt x="988" y="1427"/>
                  </a:cubicBezTo>
                  <a:cubicBezTo>
                    <a:pt x="989" y="1406"/>
                    <a:pt x="992" y="1385"/>
                    <a:pt x="1001" y="1371"/>
                  </a:cubicBezTo>
                  <a:cubicBezTo>
                    <a:pt x="1014" y="1348"/>
                    <a:pt x="1039" y="1338"/>
                    <a:pt x="1082" y="1351"/>
                  </a:cubicBezTo>
                  <a:cubicBezTo>
                    <a:pt x="1127" y="1368"/>
                    <a:pt x="1152" y="1398"/>
                    <a:pt x="1166" y="1431"/>
                  </a:cubicBezTo>
                  <a:cubicBezTo>
                    <a:pt x="1167" y="1434"/>
                    <a:pt x="1168" y="1437"/>
                    <a:pt x="1169" y="1439"/>
                  </a:cubicBezTo>
                  <a:cubicBezTo>
                    <a:pt x="1176" y="1458"/>
                    <a:pt x="1179" y="1476"/>
                    <a:pt x="1181" y="1494"/>
                  </a:cubicBezTo>
                  <a:cubicBezTo>
                    <a:pt x="1184" y="1543"/>
                    <a:pt x="1173" y="1584"/>
                    <a:pt x="1172" y="1585"/>
                  </a:cubicBezTo>
                  <a:close/>
                  <a:moveTo>
                    <a:pt x="1270" y="1671"/>
                  </a:moveTo>
                  <a:cubicBezTo>
                    <a:pt x="1270" y="1627"/>
                    <a:pt x="1270" y="1627"/>
                    <a:pt x="1270" y="1627"/>
                  </a:cubicBezTo>
                  <a:cubicBezTo>
                    <a:pt x="1298" y="1633"/>
                    <a:pt x="1327" y="1638"/>
                    <a:pt x="1356" y="1643"/>
                  </a:cubicBezTo>
                  <a:cubicBezTo>
                    <a:pt x="1356" y="1528"/>
                    <a:pt x="1356" y="1528"/>
                    <a:pt x="1356" y="1528"/>
                  </a:cubicBezTo>
                  <a:cubicBezTo>
                    <a:pt x="1355" y="1477"/>
                    <a:pt x="1355" y="1477"/>
                    <a:pt x="1355" y="1477"/>
                  </a:cubicBezTo>
                  <a:cubicBezTo>
                    <a:pt x="1335" y="1481"/>
                    <a:pt x="1307" y="1486"/>
                    <a:pt x="1286" y="1489"/>
                  </a:cubicBezTo>
                  <a:cubicBezTo>
                    <a:pt x="1270" y="1456"/>
                    <a:pt x="1270" y="1456"/>
                    <a:pt x="1270" y="1456"/>
                  </a:cubicBezTo>
                  <a:cubicBezTo>
                    <a:pt x="1264" y="1444"/>
                    <a:pt x="1264" y="1444"/>
                    <a:pt x="1264" y="1444"/>
                  </a:cubicBezTo>
                  <a:cubicBezTo>
                    <a:pt x="1297" y="1439"/>
                    <a:pt x="1340" y="1431"/>
                    <a:pt x="1373" y="1425"/>
                  </a:cubicBezTo>
                  <a:cubicBezTo>
                    <a:pt x="1386" y="1427"/>
                    <a:pt x="1399" y="1429"/>
                    <a:pt x="1412" y="1430"/>
                  </a:cubicBezTo>
                  <a:cubicBezTo>
                    <a:pt x="1413" y="1477"/>
                    <a:pt x="1413" y="1477"/>
                    <a:pt x="1413" y="1477"/>
                  </a:cubicBezTo>
                  <a:cubicBezTo>
                    <a:pt x="1413" y="1534"/>
                    <a:pt x="1413" y="1534"/>
                    <a:pt x="1413" y="1534"/>
                  </a:cubicBezTo>
                  <a:cubicBezTo>
                    <a:pt x="1413" y="1651"/>
                    <a:pt x="1413" y="1651"/>
                    <a:pt x="1413" y="1651"/>
                  </a:cubicBezTo>
                  <a:cubicBezTo>
                    <a:pt x="1442" y="1654"/>
                    <a:pt x="1472" y="1657"/>
                    <a:pt x="1501" y="1659"/>
                  </a:cubicBezTo>
                  <a:cubicBezTo>
                    <a:pt x="1501" y="1703"/>
                    <a:pt x="1501" y="1703"/>
                    <a:pt x="1501" y="1703"/>
                  </a:cubicBezTo>
                  <a:cubicBezTo>
                    <a:pt x="1422" y="1698"/>
                    <a:pt x="1345" y="1687"/>
                    <a:pt x="1270" y="1671"/>
                  </a:cubicBezTo>
                  <a:close/>
                  <a:moveTo>
                    <a:pt x="1625" y="1693"/>
                  </a:moveTo>
                  <a:cubicBezTo>
                    <a:pt x="1623" y="1692"/>
                    <a:pt x="1622" y="1691"/>
                    <a:pt x="1620" y="1689"/>
                  </a:cubicBezTo>
                  <a:cubicBezTo>
                    <a:pt x="1580" y="1654"/>
                    <a:pt x="1577" y="1586"/>
                    <a:pt x="1583" y="1542"/>
                  </a:cubicBezTo>
                  <a:cubicBezTo>
                    <a:pt x="1584" y="1534"/>
                    <a:pt x="1586" y="1526"/>
                    <a:pt x="1587" y="1519"/>
                  </a:cubicBezTo>
                  <a:cubicBezTo>
                    <a:pt x="1591" y="1506"/>
                    <a:pt x="1596" y="1495"/>
                    <a:pt x="1602" y="1485"/>
                  </a:cubicBezTo>
                  <a:cubicBezTo>
                    <a:pt x="1628" y="1446"/>
                    <a:pt x="1672" y="1442"/>
                    <a:pt x="1695" y="1440"/>
                  </a:cubicBezTo>
                  <a:cubicBezTo>
                    <a:pt x="1737" y="1438"/>
                    <a:pt x="1768" y="1449"/>
                    <a:pt x="1786" y="1475"/>
                  </a:cubicBezTo>
                  <a:cubicBezTo>
                    <a:pt x="1797" y="1489"/>
                    <a:pt x="1804" y="1507"/>
                    <a:pt x="1807" y="1530"/>
                  </a:cubicBezTo>
                  <a:cubicBezTo>
                    <a:pt x="1807" y="1530"/>
                    <a:pt x="1808" y="1530"/>
                    <a:pt x="1808" y="1531"/>
                  </a:cubicBezTo>
                  <a:cubicBezTo>
                    <a:pt x="1834" y="1705"/>
                    <a:pt x="1690" y="1741"/>
                    <a:pt x="1625" y="1693"/>
                  </a:cubicBezTo>
                  <a:close/>
                  <a:moveTo>
                    <a:pt x="2080" y="1636"/>
                  </a:moveTo>
                  <a:cubicBezTo>
                    <a:pt x="2068" y="1640"/>
                    <a:pt x="2055" y="1644"/>
                    <a:pt x="2042" y="1648"/>
                  </a:cubicBezTo>
                  <a:cubicBezTo>
                    <a:pt x="2034" y="1650"/>
                    <a:pt x="2027" y="1652"/>
                    <a:pt x="2020" y="1654"/>
                  </a:cubicBezTo>
                  <a:cubicBezTo>
                    <a:pt x="1982" y="1664"/>
                    <a:pt x="1945" y="1673"/>
                    <a:pt x="1907" y="1680"/>
                  </a:cubicBezTo>
                  <a:cubicBezTo>
                    <a:pt x="1907" y="1635"/>
                    <a:pt x="1907" y="1635"/>
                    <a:pt x="1907" y="1635"/>
                  </a:cubicBezTo>
                  <a:cubicBezTo>
                    <a:pt x="1936" y="1629"/>
                    <a:pt x="1966" y="1623"/>
                    <a:pt x="1996" y="1616"/>
                  </a:cubicBezTo>
                  <a:cubicBezTo>
                    <a:pt x="1995" y="1495"/>
                    <a:pt x="1995" y="1495"/>
                    <a:pt x="1995" y="1495"/>
                  </a:cubicBezTo>
                  <a:cubicBezTo>
                    <a:pt x="1995" y="1450"/>
                    <a:pt x="1995" y="1450"/>
                    <a:pt x="1995" y="1450"/>
                  </a:cubicBezTo>
                  <a:cubicBezTo>
                    <a:pt x="1974" y="1463"/>
                    <a:pt x="1945" y="1479"/>
                    <a:pt x="1923" y="1491"/>
                  </a:cubicBezTo>
                  <a:cubicBezTo>
                    <a:pt x="1901" y="1457"/>
                    <a:pt x="1901" y="1457"/>
                    <a:pt x="1901" y="1457"/>
                  </a:cubicBezTo>
                  <a:cubicBezTo>
                    <a:pt x="1900" y="1455"/>
                    <a:pt x="1900" y="1455"/>
                    <a:pt x="1900" y="1455"/>
                  </a:cubicBezTo>
                  <a:cubicBezTo>
                    <a:pt x="1934" y="1436"/>
                    <a:pt x="1979" y="1410"/>
                    <a:pt x="2013" y="1391"/>
                  </a:cubicBezTo>
                  <a:cubicBezTo>
                    <a:pt x="2022" y="1388"/>
                    <a:pt x="2032" y="1386"/>
                    <a:pt x="2041" y="1383"/>
                  </a:cubicBezTo>
                  <a:cubicBezTo>
                    <a:pt x="2045" y="1382"/>
                    <a:pt x="2049" y="1381"/>
                    <a:pt x="2053" y="1380"/>
                  </a:cubicBezTo>
                  <a:cubicBezTo>
                    <a:pt x="2053" y="1419"/>
                    <a:pt x="2053" y="1419"/>
                    <a:pt x="2053" y="1419"/>
                  </a:cubicBezTo>
                  <a:cubicBezTo>
                    <a:pt x="2053" y="1478"/>
                    <a:pt x="2053" y="1478"/>
                    <a:pt x="2053" y="1478"/>
                  </a:cubicBezTo>
                  <a:cubicBezTo>
                    <a:pt x="2053" y="1600"/>
                    <a:pt x="2053" y="1600"/>
                    <a:pt x="2053" y="1600"/>
                  </a:cubicBezTo>
                  <a:cubicBezTo>
                    <a:pt x="2062" y="1597"/>
                    <a:pt x="2071" y="1594"/>
                    <a:pt x="2080" y="1591"/>
                  </a:cubicBezTo>
                  <a:cubicBezTo>
                    <a:pt x="2099" y="1585"/>
                    <a:pt x="2118" y="1579"/>
                    <a:pt x="2137" y="1572"/>
                  </a:cubicBezTo>
                  <a:cubicBezTo>
                    <a:pt x="2137" y="1617"/>
                    <a:pt x="2137" y="1617"/>
                    <a:pt x="2137" y="1617"/>
                  </a:cubicBezTo>
                  <a:cubicBezTo>
                    <a:pt x="2118" y="1623"/>
                    <a:pt x="2100" y="1630"/>
                    <a:pt x="2080" y="1636"/>
                  </a:cubicBezTo>
                  <a:close/>
                  <a:moveTo>
                    <a:pt x="2357" y="1506"/>
                  </a:moveTo>
                  <a:cubicBezTo>
                    <a:pt x="2313" y="1536"/>
                    <a:pt x="2263" y="1563"/>
                    <a:pt x="2208" y="1588"/>
                  </a:cubicBezTo>
                  <a:cubicBezTo>
                    <a:pt x="2208" y="1543"/>
                    <a:pt x="2208" y="1543"/>
                    <a:pt x="2208" y="1543"/>
                  </a:cubicBezTo>
                  <a:cubicBezTo>
                    <a:pt x="2233" y="1532"/>
                    <a:pt x="2257" y="1520"/>
                    <a:pt x="2280" y="1508"/>
                  </a:cubicBezTo>
                  <a:cubicBezTo>
                    <a:pt x="2280" y="1380"/>
                    <a:pt x="2280" y="1380"/>
                    <a:pt x="2280" y="1380"/>
                  </a:cubicBezTo>
                  <a:cubicBezTo>
                    <a:pt x="2280" y="1342"/>
                    <a:pt x="2280" y="1342"/>
                    <a:pt x="2280" y="1342"/>
                  </a:cubicBezTo>
                  <a:cubicBezTo>
                    <a:pt x="2263" y="1359"/>
                    <a:pt x="2239" y="1380"/>
                    <a:pt x="2222" y="1396"/>
                  </a:cubicBezTo>
                  <a:cubicBezTo>
                    <a:pt x="2202" y="1364"/>
                    <a:pt x="2202" y="1364"/>
                    <a:pt x="2202" y="1364"/>
                  </a:cubicBezTo>
                  <a:cubicBezTo>
                    <a:pt x="2208" y="1359"/>
                    <a:pt x="2214" y="1354"/>
                    <a:pt x="2220" y="1349"/>
                  </a:cubicBezTo>
                  <a:cubicBezTo>
                    <a:pt x="2244" y="1327"/>
                    <a:pt x="2272" y="1301"/>
                    <a:pt x="2294" y="1280"/>
                  </a:cubicBezTo>
                  <a:cubicBezTo>
                    <a:pt x="2304" y="1274"/>
                    <a:pt x="2314" y="1268"/>
                    <a:pt x="2324" y="1262"/>
                  </a:cubicBezTo>
                  <a:cubicBezTo>
                    <a:pt x="2324" y="1284"/>
                    <a:pt x="2324" y="1284"/>
                    <a:pt x="2324" y="1284"/>
                  </a:cubicBezTo>
                  <a:cubicBezTo>
                    <a:pt x="2324" y="1353"/>
                    <a:pt x="2324" y="1353"/>
                    <a:pt x="2324" y="1353"/>
                  </a:cubicBezTo>
                  <a:cubicBezTo>
                    <a:pt x="2324" y="1483"/>
                    <a:pt x="2324" y="1483"/>
                    <a:pt x="2324" y="1483"/>
                  </a:cubicBezTo>
                  <a:cubicBezTo>
                    <a:pt x="2337" y="1475"/>
                    <a:pt x="2349" y="1467"/>
                    <a:pt x="2361" y="1459"/>
                  </a:cubicBezTo>
                  <a:cubicBezTo>
                    <a:pt x="2369" y="1453"/>
                    <a:pt x="2378" y="1448"/>
                    <a:pt x="2386" y="1442"/>
                  </a:cubicBezTo>
                  <a:cubicBezTo>
                    <a:pt x="2386" y="1486"/>
                    <a:pt x="2386" y="1486"/>
                    <a:pt x="2386" y="1486"/>
                  </a:cubicBezTo>
                  <a:cubicBezTo>
                    <a:pt x="2376" y="1493"/>
                    <a:pt x="2367" y="1500"/>
                    <a:pt x="2357" y="1506"/>
                  </a:cubicBezTo>
                  <a:close/>
                  <a:moveTo>
                    <a:pt x="2534" y="1312"/>
                  </a:moveTo>
                  <a:cubicBezTo>
                    <a:pt x="2527" y="1345"/>
                    <a:pt x="2516" y="1369"/>
                    <a:pt x="2503" y="1386"/>
                  </a:cubicBezTo>
                  <a:cubicBezTo>
                    <a:pt x="2490" y="1405"/>
                    <a:pt x="2476" y="1414"/>
                    <a:pt x="2465" y="1413"/>
                  </a:cubicBezTo>
                  <a:cubicBezTo>
                    <a:pt x="2456" y="1413"/>
                    <a:pt x="2447" y="1403"/>
                    <a:pt x="2441" y="1386"/>
                  </a:cubicBezTo>
                  <a:cubicBezTo>
                    <a:pt x="2432" y="1358"/>
                    <a:pt x="2429" y="1314"/>
                    <a:pt x="2436" y="1266"/>
                  </a:cubicBezTo>
                  <a:cubicBezTo>
                    <a:pt x="2441" y="1228"/>
                    <a:pt x="2453" y="1189"/>
                    <a:pt x="2473" y="1155"/>
                  </a:cubicBezTo>
                  <a:cubicBezTo>
                    <a:pt x="2480" y="1144"/>
                    <a:pt x="2487" y="1134"/>
                    <a:pt x="2495" y="1124"/>
                  </a:cubicBezTo>
                  <a:cubicBezTo>
                    <a:pt x="2512" y="1107"/>
                    <a:pt x="2523" y="1102"/>
                    <a:pt x="2531" y="1109"/>
                  </a:cubicBezTo>
                  <a:cubicBezTo>
                    <a:pt x="2531" y="1110"/>
                    <a:pt x="2532" y="1111"/>
                    <a:pt x="2532" y="1111"/>
                  </a:cubicBezTo>
                  <a:cubicBezTo>
                    <a:pt x="2532" y="1111"/>
                    <a:pt x="2532" y="1111"/>
                    <a:pt x="2532" y="1111"/>
                  </a:cubicBezTo>
                  <a:cubicBezTo>
                    <a:pt x="2549" y="1135"/>
                    <a:pt x="2549" y="1246"/>
                    <a:pt x="2534" y="1312"/>
                  </a:cubicBezTo>
                  <a:close/>
                  <a:moveTo>
                    <a:pt x="2737" y="1197"/>
                  </a:moveTo>
                  <a:cubicBezTo>
                    <a:pt x="2667" y="1197"/>
                    <a:pt x="2654" y="1127"/>
                    <a:pt x="2654" y="1074"/>
                  </a:cubicBezTo>
                  <a:cubicBezTo>
                    <a:pt x="2654" y="1022"/>
                    <a:pt x="2668" y="953"/>
                    <a:pt x="2737" y="953"/>
                  </a:cubicBezTo>
                  <a:cubicBezTo>
                    <a:pt x="2806" y="953"/>
                    <a:pt x="2819" y="1022"/>
                    <a:pt x="2819" y="1074"/>
                  </a:cubicBezTo>
                  <a:cubicBezTo>
                    <a:pt x="2819" y="1127"/>
                    <a:pt x="2807" y="1197"/>
                    <a:pt x="2737" y="1197"/>
                  </a:cubicBezTo>
                  <a:close/>
                  <a:moveTo>
                    <a:pt x="3062" y="1195"/>
                  </a:moveTo>
                  <a:cubicBezTo>
                    <a:pt x="2889" y="1195"/>
                    <a:pt x="2889" y="1195"/>
                    <a:pt x="2889" y="1195"/>
                  </a:cubicBezTo>
                  <a:cubicBezTo>
                    <a:pt x="2889" y="1154"/>
                    <a:pt x="2889" y="1154"/>
                    <a:pt x="2889" y="1154"/>
                  </a:cubicBezTo>
                  <a:cubicBezTo>
                    <a:pt x="2954" y="1154"/>
                    <a:pt x="2954" y="1154"/>
                    <a:pt x="2954" y="1154"/>
                  </a:cubicBezTo>
                  <a:cubicBezTo>
                    <a:pt x="2954" y="1005"/>
                    <a:pt x="2954" y="1005"/>
                    <a:pt x="2954" y="1005"/>
                  </a:cubicBezTo>
                  <a:cubicBezTo>
                    <a:pt x="2902" y="1028"/>
                    <a:pt x="2902" y="1028"/>
                    <a:pt x="2902" y="1028"/>
                  </a:cubicBezTo>
                  <a:cubicBezTo>
                    <a:pt x="2885" y="991"/>
                    <a:pt x="2885" y="991"/>
                    <a:pt x="2885" y="991"/>
                  </a:cubicBezTo>
                  <a:cubicBezTo>
                    <a:pt x="2967" y="956"/>
                    <a:pt x="2967" y="956"/>
                    <a:pt x="2967" y="956"/>
                  </a:cubicBezTo>
                  <a:cubicBezTo>
                    <a:pt x="2997" y="956"/>
                    <a:pt x="2997" y="956"/>
                    <a:pt x="2997" y="956"/>
                  </a:cubicBezTo>
                  <a:cubicBezTo>
                    <a:pt x="2997" y="1154"/>
                    <a:pt x="2997" y="1154"/>
                    <a:pt x="2997" y="1154"/>
                  </a:cubicBezTo>
                  <a:cubicBezTo>
                    <a:pt x="3062" y="1154"/>
                    <a:pt x="3062" y="1154"/>
                    <a:pt x="3062" y="1154"/>
                  </a:cubicBezTo>
                  <a:lnTo>
                    <a:pt x="3062" y="1195"/>
                  </a:lnTo>
                  <a:close/>
                  <a:moveTo>
                    <a:pt x="1111" y="1423"/>
                  </a:moveTo>
                  <a:cubicBezTo>
                    <a:pt x="1108" y="1419"/>
                    <a:pt x="1106" y="1415"/>
                    <a:pt x="1103" y="1412"/>
                  </a:cubicBezTo>
                  <a:cubicBezTo>
                    <a:pt x="1092" y="1397"/>
                    <a:pt x="1078" y="1390"/>
                    <a:pt x="1062" y="1395"/>
                  </a:cubicBezTo>
                  <a:cubicBezTo>
                    <a:pt x="1061" y="1395"/>
                    <a:pt x="1060" y="1395"/>
                    <a:pt x="1059" y="1396"/>
                  </a:cubicBezTo>
                  <a:cubicBezTo>
                    <a:pt x="1045" y="1402"/>
                    <a:pt x="1039" y="1425"/>
                    <a:pt x="1038" y="1448"/>
                  </a:cubicBezTo>
                  <a:cubicBezTo>
                    <a:pt x="1036" y="1472"/>
                    <a:pt x="1038" y="1496"/>
                    <a:pt x="1038" y="1498"/>
                  </a:cubicBezTo>
                  <a:cubicBezTo>
                    <a:pt x="1046" y="1564"/>
                    <a:pt x="1073" y="1575"/>
                    <a:pt x="1082" y="1578"/>
                  </a:cubicBezTo>
                  <a:cubicBezTo>
                    <a:pt x="1087" y="1580"/>
                    <a:pt x="1092" y="1581"/>
                    <a:pt x="1097" y="1580"/>
                  </a:cubicBezTo>
                  <a:cubicBezTo>
                    <a:pt x="1105" y="1579"/>
                    <a:pt x="1112" y="1575"/>
                    <a:pt x="1117" y="1566"/>
                  </a:cubicBezTo>
                  <a:cubicBezTo>
                    <a:pt x="1129" y="1544"/>
                    <a:pt x="1132" y="1511"/>
                    <a:pt x="1128" y="1480"/>
                  </a:cubicBezTo>
                  <a:cubicBezTo>
                    <a:pt x="1125" y="1459"/>
                    <a:pt x="1119" y="1439"/>
                    <a:pt x="1111" y="1423"/>
                  </a:cubicBezTo>
                  <a:close/>
                  <a:moveTo>
                    <a:pt x="2509" y="1164"/>
                  </a:moveTo>
                  <a:cubicBezTo>
                    <a:pt x="2502" y="1159"/>
                    <a:pt x="2480" y="1174"/>
                    <a:pt x="2472" y="1231"/>
                  </a:cubicBezTo>
                  <a:cubicBezTo>
                    <a:pt x="2469" y="1250"/>
                    <a:pt x="2467" y="1273"/>
                    <a:pt x="2468" y="1302"/>
                  </a:cubicBezTo>
                  <a:cubicBezTo>
                    <a:pt x="2469" y="1330"/>
                    <a:pt x="2474" y="1373"/>
                    <a:pt x="2495" y="1351"/>
                  </a:cubicBezTo>
                  <a:cubicBezTo>
                    <a:pt x="2521" y="1323"/>
                    <a:pt x="2525" y="1221"/>
                    <a:pt x="2516" y="1180"/>
                  </a:cubicBezTo>
                  <a:cubicBezTo>
                    <a:pt x="2514" y="1171"/>
                    <a:pt x="2512" y="1165"/>
                    <a:pt x="2509" y="1164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spc="-5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4" name="Group 90"/>
          <p:cNvGrpSpPr/>
          <p:nvPr/>
        </p:nvGrpSpPr>
        <p:grpSpPr>
          <a:xfrm>
            <a:off x="6639089" y="1734302"/>
            <a:ext cx="577234" cy="512667"/>
            <a:chOff x="8698531" y="2391463"/>
            <a:chExt cx="828966" cy="736049"/>
          </a:xfrm>
          <a:solidFill>
            <a:srgbClr val="FFC000"/>
          </a:solidFill>
        </p:grpSpPr>
        <p:sp>
          <p:nvSpPr>
            <p:cNvPr id="65" name="Freeform 237"/>
            <p:cNvSpPr>
              <a:spLocks noChangeAspect="1"/>
            </p:cNvSpPr>
            <p:nvPr/>
          </p:nvSpPr>
          <p:spPr bwMode="auto">
            <a:xfrm>
              <a:off x="8933547" y="2599629"/>
              <a:ext cx="358934" cy="319717"/>
            </a:xfrm>
            <a:custGeom>
              <a:avLst/>
              <a:gdLst>
                <a:gd name="T0" fmla="*/ 95 w 95"/>
                <a:gd name="T1" fmla="*/ 85 h 85"/>
                <a:gd name="T2" fmla="*/ 0 w 95"/>
                <a:gd name="T3" fmla="*/ 85 h 85"/>
                <a:gd name="T4" fmla="*/ 0 w 95"/>
                <a:gd name="T5" fmla="*/ 76 h 85"/>
                <a:gd name="T6" fmla="*/ 5 w 95"/>
                <a:gd name="T7" fmla="*/ 67 h 85"/>
                <a:gd name="T8" fmla="*/ 36 w 95"/>
                <a:gd name="T9" fmla="*/ 54 h 85"/>
                <a:gd name="T10" fmla="*/ 38 w 95"/>
                <a:gd name="T11" fmla="*/ 51 h 85"/>
                <a:gd name="T12" fmla="*/ 36 w 95"/>
                <a:gd name="T13" fmla="*/ 47 h 85"/>
                <a:gd name="T14" fmla="*/ 48 w 95"/>
                <a:gd name="T15" fmla="*/ 0 h 85"/>
                <a:gd name="T16" fmla="*/ 59 w 95"/>
                <a:gd name="T17" fmla="*/ 47 h 85"/>
                <a:gd name="T18" fmla="*/ 57 w 95"/>
                <a:gd name="T19" fmla="*/ 51 h 85"/>
                <a:gd name="T20" fmla="*/ 59 w 95"/>
                <a:gd name="T21" fmla="*/ 54 h 85"/>
                <a:gd name="T22" fmla="*/ 91 w 95"/>
                <a:gd name="T23" fmla="*/ 67 h 85"/>
                <a:gd name="T24" fmla="*/ 95 w 95"/>
                <a:gd name="T25" fmla="*/ 76 h 85"/>
                <a:gd name="T26" fmla="*/ 95 w 95"/>
                <a:gd name="T2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85">
                  <a:moveTo>
                    <a:pt x="95" y="85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0" y="82"/>
                    <a:pt x="0" y="79"/>
                    <a:pt x="0" y="76"/>
                  </a:cubicBezTo>
                  <a:cubicBezTo>
                    <a:pt x="0" y="72"/>
                    <a:pt x="1" y="70"/>
                    <a:pt x="5" y="67"/>
                  </a:cubicBezTo>
                  <a:cubicBezTo>
                    <a:pt x="12" y="61"/>
                    <a:pt x="24" y="57"/>
                    <a:pt x="36" y="54"/>
                  </a:cubicBezTo>
                  <a:cubicBezTo>
                    <a:pt x="38" y="53"/>
                    <a:pt x="38" y="53"/>
                    <a:pt x="38" y="51"/>
                  </a:cubicBezTo>
                  <a:cubicBezTo>
                    <a:pt x="38" y="49"/>
                    <a:pt x="38" y="49"/>
                    <a:pt x="36" y="47"/>
                  </a:cubicBezTo>
                  <a:cubicBezTo>
                    <a:pt x="23" y="36"/>
                    <a:pt x="24" y="2"/>
                    <a:pt x="48" y="0"/>
                  </a:cubicBezTo>
                  <a:cubicBezTo>
                    <a:pt x="71" y="2"/>
                    <a:pt x="72" y="36"/>
                    <a:pt x="59" y="47"/>
                  </a:cubicBezTo>
                  <a:cubicBezTo>
                    <a:pt x="57" y="49"/>
                    <a:pt x="57" y="49"/>
                    <a:pt x="57" y="51"/>
                  </a:cubicBezTo>
                  <a:cubicBezTo>
                    <a:pt x="57" y="53"/>
                    <a:pt x="57" y="53"/>
                    <a:pt x="59" y="54"/>
                  </a:cubicBezTo>
                  <a:cubicBezTo>
                    <a:pt x="71" y="57"/>
                    <a:pt x="83" y="61"/>
                    <a:pt x="91" y="67"/>
                  </a:cubicBezTo>
                  <a:cubicBezTo>
                    <a:pt x="94" y="70"/>
                    <a:pt x="95" y="72"/>
                    <a:pt x="95" y="76"/>
                  </a:cubicBezTo>
                  <a:cubicBezTo>
                    <a:pt x="95" y="79"/>
                    <a:pt x="95" y="82"/>
                    <a:pt x="95" y="85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b="1" spc="-5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6" name="Group 92"/>
            <p:cNvGrpSpPr/>
            <p:nvPr/>
          </p:nvGrpSpPr>
          <p:grpSpPr>
            <a:xfrm>
              <a:off x="8698531" y="2391463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67" name="Group 93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73" name="Freeform 99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4" name="Freeform 100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68" name="Group 94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71" name="Freeform 97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2" name="Freeform 98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9" name="Freeform 95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b="1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0" name="Freeform 96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b="1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75" name="Group 101"/>
          <p:cNvGrpSpPr/>
          <p:nvPr/>
        </p:nvGrpSpPr>
        <p:grpSpPr>
          <a:xfrm>
            <a:off x="6639089" y="2607884"/>
            <a:ext cx="577234" cy="512667"/>
            <a:chOff x="8698531" y="3979675"/>
            <a:chExt cx="828966" cy="736049"/>
          </a:xfrm>
          <a:solidFill>
            <a:srgbClr val="00B0F0"/>
          </a:solidFill>
        </p:grpSpPr>
        <p:sp>
          <p:nvSpPr>
            <p:cNvPr id="76" name="Freeform 100"/>
            <p:cNvSpPr>
              <a:spLocks noEditPoints="1"/>
            </p:cNvSpPr>
            <p:nvPr/>
          </p:nvSpPr>
          <p:spPr bwMode="black">
            <a:xfrm>
              <a:off x="8957393" y="4225167"/>
              <a:ext cx="371203" cy="245065"/>
            </a:xfrm>
            <a:custGeom>
              <a:avLst/>
              <a:gdLst>
                <a:gd name="T0" fmla="*/ 103 w 103"/>
                <a:gd name="T1" fmla="*/ 33 h 68"/>
                <a:gd name="T2" fmla="*/ 56 w 103"/>
                <a:gd name="T3" fmla="*/ 68 h 68"/>
                <a:gd name="T4" fmla="*/ 56 w 103"/>
                <a:gd name="T5" fmla="*/ 0 h 68"/>
                <a:gd name="T6" fmla="*/ 103 w 103"/>
                <a:gd name="T7" fmla="*/ 33 h 68"/>
                <a:gd name="T8" fmla="*/ 0 w 103"/>
                <a:gd name="T9" fmla="*/ 0 h 68"/>
                <a:gd name="T10" fmla="*/ 0 w 103"/>
                <a:gd name="T11" fmla="*/ 68 h 68"/>
                <a:gd name="T12" fmla="*/ 47 w 103"/>
                <a:gd name="T13" fmla="*/ 33 h 68"/>
                <a:gd name="T14" fmla="*/ 0 w 103"/>
                <a:gd name="T1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3" h="68">
                  <a:moveTo>
                    <a:pt x="103" y="33"/>
                  </a:moveTo>
                  <a:lnTo>
                    <a:pt x="56" y="68"/>
                  </a:lnTo>
                  <a:lnTo>
                    <a:pt x="56" y="0"/>
                  </a:lnTo>
                  <a:lnTo>
                    <a:pt x="103" y="33"/>
                  </a:lnTo>
                  <a:close/>
                  <a:moveTo>
                    <a:pt x="0" y="0"/>
                  </a:moveTo>
                  <a:lnTo>
                    <a:pt x="0" y="68"/>
                  </a:lnTo>
                  <a:lnTo>
                    <a:pt x="47" y="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b="1" spc="-5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77" name="Group 103"/>
            <p:cNvGrpSpPr/>
            <p:nvPr/>
          </p:nvGrpSpPr>
          <p:grpSpPr>
            <a:xfrm>
              <a:off x="8698531" y="3979675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78" name="Group 104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84" name="Freeform 110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5" name="Freeform 111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79" name="Group 105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82" name="Freeform 108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3" name="Freeform 109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80" name="Freeform 106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b="1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1" name="Freeform 107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b="1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86" name="Right Brace 112"/>
          <p:cNvSpPr/>
          <p:nvPr/>
        </p:nvSpPr>
        <p:spPr>
          <a:xfrm rot="10800000">
            <a:off x="3968750" y="1389063"/>
            <a:ext cx="390525" cy="2057400"/>
          </a:xfrm>
          <a:prstGeom prst="rightBrace">
            <a:avLst>
              <a:gd name="adj1" fmla="val 47292"/>
              <a:gd name="adj2" fmla="val 50110"/>
            </a:avLst>
          </a:prstGeom>
          <a:ln w="12700">
            <a:solidFill>
              <a:schemeClr val="tx1">
                <a:lumMod val="50000"/>
                <a:lumOff val="5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3195" tIns="46599" rIns="93195" bIns="46599" anchor="ctr"/>
          <a:lstStyle/>
          <a:p>
            <a:pPr algn="ctr" defTabSz="932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505050"/>
              </a:solidFill>
            </a:endParaRPr>
          </a:p>
        </p:txBody>
      </p:sp>
      <p:grpSp>
        <p:nvGrpSpPr>
          <p:cNvPr id="87" name="Group 113"/>
          <p:cNvGrpSpPr/>
          <p:nvPr/>
        </p:nvGrpSpPr>
        <p:grpSpPr>
          <a:xfrm>
            <a:off x="4482836" y="1734302"/>
            <a:ext cx="577234" cy="512667"/>
            <a:chOff x="2393096" y="3314046"/>
            <a:chExt cx="828750" cy="736049"/>
          </a:xfrm>
          <a:solidFill>
            <a:srgbClr val="C00000"/>
          </a:solidFill>
        </p:grpSpPr>
        <p:sp>
          <p:nvSpPr>
            <p:cNvPr id="88" name="Donut 1"/>
            <p:cNvSpPr/>
            <p:nvPr/>
          </p:nvSpPr>
          <p:spPr bwMode="auto">
            <a:xfrm>
              <a:off x="2627474" y="3511580"/>
              <a:ext cx="359995" cy="358073"/>
            </a:xfrm>
            <a:custGeom>
              <a:avLst/>
              <a:gdLst/>
              <a:ahLst/>
              <a:cxnLst/>
              <a:rect l="l" t="t" r="r" b="b"/>
              <a:pathLst>
                <a:path w="359995" h="358073">
                  <a:moveTo>
                    <a:pt x="1123" y="199707"/>
                  </a:moveTo>
                  <a:lnTo>
                    <a:pt x="124671" y="200830"/>
                  </a:lnTo>
                  <a:lnTo>
                    <a:pt x="166228" y="236771"/>
                  </a:lnTo>
                  <a:cubicBezTo>
                    <a:pt x="147787" y="236941"/>
                    <a:pt x="129346" y="237110"/>
                    <a:pt x="110905" y="237279"/>
                  </a:cubicBezTo>
                  <a:cubicBezTo>
                    <a:pt x="126331" y="262471"/>
                    <a:pt x="154567" y="277062"/>
                    <a:pt x="186212" y="277062"/>
                  </a:cubicBezTo>
                  <a:cubicBezTo>
                    <a:pt x="225799" y="277062"/>
                    <a:pt x="260053" y="254227"/>
                    <a:pt x="276157" y="220830"/>
                  </a:cubicBezTo>
                  <a:lnTo>
                    <a:pt x="356653" y="220830"/>
                  </a:lnTo>
                  <a:cubicBezTo>
                    <a:pt x="337124" y="296696"/>
                    <a:pt x="268203" y="352658"/>
                    <a:pt x="186212" y="352658"/>
                  </a:cubicBezTo>
                  <a:cubicBezTo>
                    <a:pt x="127185" y="352658"/>
                    <a:pt x="74933" y="323655"/>
                    <a:pt x="43803" y="278531"/>
                  </a:cubicBezTo>
                  <a:lnTo>
                    <a:pt x="43803" y="289560"/>
                  </a:lnTo>
                  <a:lnTo>
                    <a:pt x="38188" y="358073"/>
                  </a:lnTo>
                  <a:lnTo>
                    <a:pt x="0" y="326625"/>
                  </a:lnTo>
                  <a:close/>
                  <a:moveTo>
                    <a:pt x="186212" y="0"/>
                  </a:moveTo>
                  <a:cubicBezTo>
                    <a:pt x="241995" y="0"/>
                    <a:pt x="291729" y="25904"/>
                    <a:pt x="321951" y="67970"/>
                  </a:cubicBezTo>
                  <a:cubicBezTo>
                    <a:pt x="322151" y="46267"/>
                    <a:pt x="322350" y="24565"/>
                    <a:pt x="322549" y="2862"/>
                  </a:cubicBezTo>
                  <a:lnTo>
                    <a:pt x="358490" y="44419"/>
                  </a:lnTo>
                  <a:lnTo>
                    <a:pt x="359413" y="145933"/>
                  </a:lnTo>
                  <a:cubicBezTo>
                    <a:pt x="359808" y="146450"/>
                    <a:pt x="359903" y="147019"/>
                    <a:pt x="359995" y="147588"/>
                  </a:cubicBezTo>
                  <a:lnTo>
                    <a:pt x="359428" y="147588"/>
                  </a:lnTo>
                  <a:lnTo>
                    <a:pt x="359613" y="167968"/>
                  </a:lnTo>
                  <a:lnTo>
                    <a:pt x="232696" y="169091"/>
                  </a:lnTo>
                  <a:lnTo>
                    <a:pt x="201247" y="130903"/>
                  </a:lnTo>
                  <a:lnTo>
                    <a:pt x="269760" y="125288"/>
                  </a:lnTo>
                  <a:lnTo>
                    <a:pt x="271731" y="125288"/>
                  </a:lnTo>
                  <a:cubicBezTo>
                    <a:pt x="255176" y="95313"/>
                    <a:pt x="222996" y="75596"/>
                    <a:pt x="186212" y="75596"/>
                  </a:cubicBezTo>
                  <a:cubicBezTo>
                    <a:pt x="140615" y="75596"/>
                    <a:pt x="102095" y="105890"/>
                    <a:pt x="90145" y="147588"/>
                  </a:cubicBezTo>
                  <a:lnTo>
                    <a:pt x="12428" y="147588"/>
                  </a:lnTo>
                  <a:cubicBezTo>
                    <a:pt x="25957" y="63857"/>
                    <a:pt x="98627" y="0"/>
                    <a:pt x="18621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89" name="Group 115"/>
            <p:cNvGrpSpPr/>
            <p:nvPr/>
          </p:nvGrpSpPr>
          <p:grpSpPr>
            <a:xfrm>
              <a:off x="2393096" y="3314046"/>
              <a:ext cx="828750" cy="736049"/>
              <a:chOff x="5625794" y="1599766"/>
              <a:chExt cx="4594902" cy="4080930"/>
            </a:xfrm>
            <a:grpFill/>
          </p:grpSpPr>
          <p:grpSp>
            <p:nvGrpSpPr>
              <p:cNvPr id="90" name="Group 116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96" name="Freeform 122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7" name="Freeform 123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91" name="Group 117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94" name="Freeform 120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5" name="Freeform 121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92" name="Freeform 118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3" name="Freeform 119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72" name="TextBox 10"/>
          <p:cNvSpPr txBox="1">
            <a:spLocks noChangeArrowheads="1"/>
          </p:cNvSpPr>
          <p:nvPr/>
        </p:nvSpPr>
        <p:spPr bwMode="auto">
          <a:xfrm>
            <a:off x="5129213" y="1574800"/>
            <a:ext cx="110807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" name="TextBox 10"/>
          <p:cNvSpPr txBox="1">
            <a:spLocks noChangeArrowheads="1"/>
          </p:cNvSpPr>
          <p:nvPr/>
        </p:nvSpPr>
        <p:spPr bwMode="auto">
          <a:xfrm>
            <a:off x="5129213" y="2449513"/>
            <a:ext cx="110807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5" name="TextBox 10"/>
          <p:cNvSpPr txBox="1">
            <a:spLocks noChangeArrowheads="1"/>
          </p:cNvSpPr>
          <p:nvPr/>
        </p:nvSpPr>
        <p:spPr bwMode="auto">
          <a:xfrm>
            <a:off x="7300913" y="1574800"/>
            <a:ext cx="110807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6" name="TextBox 10"/>
          <p:cNvSpPr txBox="1">
            <a:spLocks noChangeArrowheads="1"/>
          </p:cNvSpPr>
          <p:nvPr/>
        </p:nvSpPr>
        <p:spPr bwMode="auto">
          <a:xfrm>
            <a:off x="7300913" y="2449513"/>
            <a:ext cx="110807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3" name="组合 192"/>
          <p:cNvGrpSpPr/>
          <p:nvPr/>
        </p:nvGrpSpPr>
        <p:grpSpPr bwMode="auto">
          <a:xfrm>
            <a:off x="1320800" y="1593850"/>
            <a:ext cx="2162175" cy="1506538"/>
            <a:chOff x="1269576" y="1575458"/>
            <a:chExt cx="2163221" cy="1505555"/>
          </a:xfrm>
        </p:grpSpPr>
        <p:grpSp>
          <p:nvGrpSpPr>
            <p:cNvPr id="37919" name="组合 176"/>
            <p:cNvGrpSpPr/>
            <p:nvPr/>
          </p:nvGrpSpPr>
          <p:grpSpPr bwMode="auto">
            <a:xfrm>
              <a:off x="1269576" y="1575458"/>
              <a:ext cx="2163221" cy="1505555"/>
              <a:chOff x="1269576" y="1719474"/>
              <a:chExt cx="2163221" cy="1505555"/>
            </a:xfrm>
          </p:grpSpPr>
          <p:sp>
            <p:nvSpPr>
              <p:cNvPr id="27" name="Oval 2"/>
              <p:cNvSpPr/>
              <p:nvPr/>
            </p:nvSpPr>
            <p:spPr bwMode="auto">
              <a:xfrm>
                <a:off x="1269576" y="1719474"/>
                <a:ext cx="2163221" cy="1497622"/>
              </a:xfrm>
              <a:custGeom>
                <a:avLst/>
                <a:gdLst/>
                <a:ahLst/>
                <a:cxnLst/>
                <a:rect l="l" t="t" r="r" b="b"/>
                <a:pathLst>
                  <a:path w="2488679" h="1722978">
                    <a:moveTo>
                      <a:pt x="1568924" y="0"/>
                    </a:moveTo>
                    <a:cubicBezTo>
                      <a:pt x="1889013" y="0"/>
                      <a:pt x="2148497" y="259484"/>
                      <a:pt x="2148497" y="579573"/>
                    </a:cubicBezTo>
                    <a:cubicBezTo>
                      <a:pt x="2148497" y="628390"/>
                      <a:pt x="2142461" y="675798"/>
                      <a:pt x="2129199" y="720614"/>
                    </a:cubicBezTo>
                    <a:cubicBezTo>
                      <a:pt x="2337950" y="784181"/>
                      <a:pt x="2488679" y="978799"/>
                      <a:pt x="2488679" y="1208622"/>
                    </a:cubicBezTo>
                    <a:cubicBezTo>
                      <a:pt x="2488679" y="1492693"/>
                      <a:pt x="2258394" y="1722978"/>
                      <a:pt x="1974323" y="1722978"/>
                    </a:cubicBezTo>
                    <a:lnTo>
                      <a:pt x="1974313" y="1722977"/>
                    </a:lnTo>
                    <a:lnTo>
                      <a:pt x="563842" y="1722977"/>
                    </a:lnTo>
                    <a:cubicBezTo>
                      <a:pt x="563839" y="1722978"/>
                      <a:pt x="563836" y="1722978"/>
                      <a:pt x="563832" y="1722978"/>
                    </a:cubicBezTo>
                    <a:cubicBezTo>
                      <a:pt x="252436" y="1722978"/>
                      <a:pt x="0" y="1470542"/>
                      <a:pt x="0" y="1159146"/>
                    </a:cubicBezTo>
                    <a:cubicBezTo>
                      <a:pt x="0" y="944117"/>
                      <a:pt x="120370" y="757203"/>
                      <a:pt x="298654" y="664433"/>
                    </a:cubicBezTo>
                    <a:cubicBezTo>
                      <a:pt x="297817" y="661589"/>
                      <a:pt x="297788" y="658721"/>
                      <a:pt x="297788" y="655847"/>
                    </a:cubicBezTo>
                    <a:cubicBezTo>
                      <a:pt x="297788" y="426683"/>
                      <a:pt x="483562" y="240909"/>
                      <a:pt x="712726" y="240909"/>
                    </a:cubicBezTo>
                    <a:cubicBezTo>
                      <a:pt x="838046" y="240909"/>
                      <a:pt x="950390" y="296465"/>
                      <a:pt x="1025124" y="385461"/>
                    </a:cubicBezTo>
                    <a:cubicBezTo>
                      <a:pt x="1102977" y="160464"/>
                      <a:pt x="1317212" y="0"/>
                      <a:pt x="1568924" y="0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39"/>
              <p:cNvSpPr/>
              <p:nvPr/>
            </p:nvSpPr>
            <p:spPr bwMode="auto">
              <a:xfrm>
                <a:off x="2335304" y="2468285"/>
                <a:ext cx="42883" cy="7567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0275" eaLnBrk="1" hangingPunct="1">
                  <a:defRPr/>
                </a:pPr>
                <a:endParaRPr lang="en-US" altLang="zh-CN">
                  <a:solidFill>
                    <a:schemeClr val="tx1"/>
                  </a:solidFill>
                  <a:cs typeface="Segoe UI" panose="020B0502040204020203" pitchFamily="34" charset="0"/>
                </a:endParaRPr>
              </a:p>
            </p:txBody>
          </p:sp>
          <p:sp useBgFill="1">
            <p:nvSpPr>
              <p:cNvPr id="39" name="Freeform 40"/>
              <p:cNvSpPr/>
              <p:nvPr/>
            </p:nvSpPr>
            <p:spPr bwMode="auto">
              <a:xfrm>
                <a:off x="2341657" y="2338195"/>
                <a:ext cx="846546" cy="163406"/>
              </a:xfrm>
              <a:custGeom>
                <a:avLst/>
                <a:gdLst>
                  <a:gd name="connsiteX0" fmla="*/ 0 w 1159668"/>
                  <a:gd name="connsiteY0" fmla="*/ 150019 h 150019"/>
                  <a:gd name="connsiteX1" fmla="*/ 1123950 w 1159668"/>
                  <a:gd name="connsiteY1" fmla="*/ 0 h 150019"/>
                  <a:gd name="connsiteX2" fmla="*/ 1159668 w 1159668"/>
                  <a:gd name="connsiteY2" fmla="*/ 11906 h 150019"/>
                  <a:gd name="connsiteX3" fmla="*/ 0 w 1159668"/>
                  <a:gd name="connsiteY3" fmla="*/ 150019 h 150019"/>
                  <a:gd name="connsiteX0-1" fmla="*/ 0 w 1159668"/>
                  <a:gd name="connsiteY0-2" fmla="*/ 150019 h 150019"/>
                  <a:gd name="connsiteX1-3" fmla="*/ 1123950 w 1159668"/>
                  <a:gd name="connsiteY1-4" fmla="*/ 0 h 150019"/>
                  <a:gd name="connsiteX2-5" fmla="*/ 1159668 w 1159668"/>
                  <a:gd name="connsiteY2-6" fmla="*/ 11906 h 150019"/>
                  <a:gd name="connsiteX3-7" fmla="*/ 245268 w 1159668"/>
                  <a:gd name="connsiteY3-8" fmla="*/ 114300 h 150019"/>
                  <a:gd name="connsiteX4" fmla="*/ 0 w 1159668"/>
                  <a:gd name="connsiteY4" fmla="*/ 150019 h 150019"/>
                  <a:gd name="connsiteX0-9" fmla="*/ 0 w 1159668"/>
                  <a:gd name="connsiteY0-10" fmla="*/ 150019 h 169069"/>
                  <a:gd name="connsiteX1-11" fmla="*/ 1123950 w 1159668"/>
                  <a:gd name="connsiteY1-12" fmla="*/ 0 h 169069"/>
                  <a:gd name="connsiteX2-13" fmla="*/ 1159668 w 1159668"/>
                  <a:gd name="connsiteY2-14" fmla="*/ 11906 h 169069"/>
                  <a:gd name="connsiteX3-15" fmla="*/ 16668 w 1159668"/>
                  <a:gd name="connsiteY3-16" fmla="*/ 169069 h 169069"/>
                  <a:gd name="connsiteX4-17" fmla="*/ 0 w 1159668"/>
                  <a:gd name="connsiteY4-18" fmla="*/ 150019 h 169069"/>
                  <a:gd name="connsiteX0-19" fmla="*/ 0 w 1159668"/>
                  <a:gd name="connsiteY0-20" fmla="*/ 150019 h 169069"/>
                  <a:gd name="connsiteX1-21" fmla="*/ 26193 w 1159668"/>
                  <a:gd name="connsiteY1-22" fmla="*/ 135731 h 169069"/>
                  <a:gd name="connsiteX2-23" fmla="*/ 1123950 w 1159668"/>
                  <a:gd name="connsiteY2-24" fmla="*/ 0 h 169069"/>
                  <a:gd name="connsiteX3-25" fmla="*/ 1159668 w 1159668"/>
                  <a:gd name="connsiteY3-26" fmla="*/ 11906 h 169069"/>
                  <a:gd name="connsiteX4-27" fmla="*/ 16668 w 1159668"/>
                  <a:gd name="connsiteY4-28" fmla="*/ 169069 h 169069"/>
                  <a:gd name="connsiteX5" fmla="*/ 0 w 1159668"/>
                  <a:gd name="connsiteY5" fmla="*/ 150019 h 169069"/>
                  <a:gd name="connsiteX0-29" fmla="*/ 0 w 1171575"/>
                  <a:gd name="connsiteY0-30" fmla="*/ 150019 h 169069"/>
                  <a:gd name="connsiteX1-31" fmla="*/ 26193 w 1171575"/>
                  <a:gd name="connsiteY1-32" fmla="*/ 135731 h 169069"/>
                  <a:gd name="connsiteX2-33" fmla="*/ 1123950 w 1171575"/>
                  <a:gd name="connsiteY2-34" fmla="*/ 0 h 169069"/>
                  <a:gd name="connsiteX3-35" fmla="*/ 1171575 w 1171575"/>
                  <a:gd name="connsiteY3-36" fmla="*/ 14287 h 169069"/>
                  <a:gd name="connsiteX4-37" fmla="*/ 16668 w 1171575"/>
                  <a:gd name="connsiteY4-38" fmla="*/ 169069 h 169069"/>
                  <a:gd name="connsiteX5-39" fmla="*/ 0 w 1171575"/>
                  <a:gd name="connsiteY5-40" fmla="*/ 150019 h 169069"/>
                  <a:gd name="connsiteX0-41" fmla="*/ 0 w 1171575"/>
                  <a:gd name="connsiteY0-42" fmla="*/ 150019 h 169069"/>
                  <a:gd name="connsiteX1-43" fmla="*/ 19049 w 1171575"/>
                  <a:gd name="connsiteY1-44" fmla="*/ 128587 h 169069"/>
                  <a:gd name="connsiteX2-45" fmla="*/ 1123950 w 1171575"/>
                  <a:gd name="connsiteY2-46" fmla="*/ 0 h 169069"/>
                  <a:gd name="connsiteX3-47" fmla="*/ 1171575 w 1171575"/>
                  <a:gd name="connsiteY3-48" fmla="*/ 14287 h 169069"/>
                  <a:gd name="connsiteX4-49" fmla="*/ 16668 w 1171575"/>
                  <a:gd name="connsiteY4-50" fmla="*/ 169069 h 169069"/>
                  <a:gd name="connsiteX5-51" fmla="*/ 0 w 1171575"/>
                  <a:gd name="connsiteY5-52" fmla="*/ 150019 h 169069"/>
                  <a:gd name="connsiteX0-53" fmla="*/ 0 w 1190625"/>
                  <a:gd name="connsiteY0-54" fmla="*/ 150019 h 169069"/>
                  <a:gd name="connsiteX1-55" fmla="*/ 19049 w 1190625"/>
                  <a:gd name="connsiteY1-56" fmla="*/ 128587 h 169069"/>
                  <a:gd name="connsiteX2-57" fmla="*/ 1123950 w 1190625"/>
                  <a:gd name="connsiteY2-58" fmla="*/ 0 h 169069"/>
                  <a:gd name="connsiteX3-59" fmla="*/ 1190625 w 1190625"/>
                  <a:gd name="connsiteY3-60" fmla="*/ 16668 h 169069"/>
                  <a:gd name="connsiteX4-61" fmla="*/ 16668 w 1190625"/>
                  <a:gd name="connsiteY4-62" fmla="*/ 169069 h 169069"/>
                  <a:gd name="connsiteX5-63" fmla="*/ 0 w 1190625"/>
                  <a:gd name="connsiteY5-64" fmla="*/ 150019 h 169069"/>
                  <a:gd name="connsiteX0-65" fmla="*/ 0 w 1190625"/>
                  <a:gd name="connsiteY0-66" fmla="*/ 150019 h 169069"/>
                  <a:gd name="connsiteX1-67" fmla="*/ 7142 w 1190625"/>
                  <a:gd name="connsiteY1-68" fmla="*/ 138112 h 169069"/>
                  <a:gd name="connsiteX2-69" fmla="*/ 1123950 w 1190625"/>
                  <a:gd name="connsiteY2-70" fmla="*/ 0 h 169069"/>
                  <a:gd name="connsiteX3-71" fmla="*/ 1190625 w 1190625"/>
                  <a:gd name="connsiteY3-72" fmla="*/ 16668 h 169069"/>
                  <a:gd name="connsiteX4-73" fmla="*/ 16668 w 1190625"/>
                  <a:gd name="connsiteY4-74" fmla="*/ 169069 h 169069"/>
                  <a:gd name="connsiteX5-75" fmla="*/ 0 w 1190625"/>
                  <a:gd name="connsiteY5-76" fmla="*/ 150019 h 169069"/>
                  <a:gd name="connsiteX0-77" fmla="*/ 0 w 1190625"/>
                  <a:gd name="connsiteY0-78" fmla="*/ 150019 h 161925"/>
                  <a:gd name="connsiteX1-79" fmla="*/ 7142 w 1190625"/>
                  <a:gd name="connsiteY1-80" fmla="*/ 138112 h 161925"/>
                  <a:gd name="connsiteX2-81" fmla="*/ 1123950 w 1190625"/>
                  <a:gd name="connsiteY2-82" fmla="*/ 0 h 161925"/>
                  <a:gd name="connsiteX3-83" fmla="*/ 1190625 w 1190625"/>
                  <a:gd name="connsiteY3-84" fmla="*/ 16668 h 161925"/>
                  <a:gd name="connsiteX4-85" fmla="*/ 21430 w 1190625"/>
                  <a:gd name="connsiteY4-86" fmla="*/ 161925 h 161925"/>
                  <a:gd name="connsiteX5-87" fmla="*/ 0 w 1190625"/>
                  <a:gd name="connsiteY5-88" fmla="*/ 150019 h 161925"/>
                  <a:gd name="connsiteX0-89" fmla="*/ 0 w 1202531"/>
                  <a:gd name="connsiteY0-90" fmla="*/ 150019 h 161925"/>
                  <a:gd name="connsiteX1-91" fmla="*/ 7142 w 1202531"/>
                  <a:gd name="connsiteY1-92" fmla="*/ 138112 h 161925"/>
                  <a:gd name="connsiteX2-93" fmla="*/ 1123950 w 1202531"/>
                  <a:gd name="connsiteY2-94" fmla="*/ 0 h 161925"/>
                  <a:gd name="connsiteX3-95" fmla="*/ 1202531 w 1202531"/>
                  <a:gd name="connsiteY3-96" fmla="*/ 26193 h 161925"/>
                  <a:gd name="connsiteX4-97" fmla="*/ 21430 w 1202531"/>
                  <a:gd name="connsiteY4-98" fmla="*/ 161925 h 161925"/>
                  <a:gd name="connsiteX5-99" fmla="*/ 0 w 1202531"/>
                  <a:gd name="connsiteY5-100" fmla="*/ 150019 h 161925"/>
                  <a:gd name="connsiteX0-101" fmla="*/ 0 w 1202531"/>
                  <a:gd name="connsiteY0-102" fmla="*/ 150019 h 173831"/>
                  <a:gd name="connsiteX1-103" fmla="*/ 7142 w 1202531"/>
                  <a:gd name="connsiteY1-104" fmla="*/ 138112 h 173831"/>
                  <a:gd name="connsiteX2-105" fmla="*/ 1123950 w 1202531"/>
                  <a:gd name="connsiteY2-106" fmla="*/ 0 h 173831"/>
                  <a:gd name="connsiteX3-107" fmla="*/ 1202531 w 1202531"/>
                  <a:gd name="connsiteY3-108" fmla="*/ 26193 h 173831"/>
                  <a:gd name="connsiteX4-109" fmla="*/ 19048 w 1202531"/>
                  <a:gd name="connsiteY4-110" fmla="*/ 173831 h 173831"/>
                  <a:gd name="connsiteX5-111" fmla="*/ 0 w 1202531"/>
                  <a:gd name="connsiteY5-112" fmla="*/ 150019 h 173831"/>
                  <a:gd name="connsiteX0-113" fmla="*/ 0 w 1202531"/>
                  <a:gd name="connsiteY0-114" fmla="*/ 150019 h 188118"/>
                  <a:gd name="connsiteX1-115" fmla="*/ 7142 w 1202531"/>
                  <a:gd name="connsiteY1-116" fmla="*/ 138112 h 188118"/>
                  <a:gd name="connsiteX2-117" fmla="*/ 1123950 w 1202531"/>
                  <a:gd name="connsiteY2-118" fmla="*/ 0 h 188118"/>
                  <a:gd name="connsiteX3-119" fmla="*/ 1202531 w 1202531"/>
                  <a:gd name="connsiteY3-120" fmla="*/ 26193 h 188118"/>
                  <a:gd name="connsiteX4-121" fmla="*/ 16666 w 1202531"/>
                  <a:gd name="connsiteY4-122" fmla="*/ 188118 h 188118"/>
                  <a:gd name="connsiteX5-123" fmla="*/ 0 w 1202531"/>
                  <a:gd name="connsiteY5-124" fmla="*/ 150019 h 188118"/>
                  <a:gd name="connsiteX0-125" fmla="*/ 0 w 1214437"/>
                  <a:gd name="connsiteY0-126" fmla="*/ 150019 h 188118"/>
                  <a:gd name="connsiteX1-127" fmla="*/ 7142 w 1214437"/>
                  <a:gd name="connsiteY1-128" fmla="*/ 138112 h 188118"/>
                  <a:gd name="connsiteX2-129" fmla="*/ 1123950 w 1214437"/>
                  <a:gd name="connsiteY2-130" fmla="*/ 0 h 188118"/>
                  <a:gd name="connsiteX3-131" fmla="*/ 1214437 w 1214437"/>
                  <a:gd name="connsiteY3-132" fmla="*/ 28574 h 188118"/>
                  <a:gd name="connsiteX4-133" fmla="*/ 16666 w 1214437"/>
                  <a:gd name="connsiteY4-134" fmla="*/ 188118 h 188118"/>
                  <a:gd name="connsiteX5-135" fmla="*/ 0 w 1214437"/>
                  <a:gd name="connsiteY5-136" fmla="*/ 150019 h 188118"/>
                  <a:gd name="connsiteX0-137" fmla="*/ 0 w 1214437"/>
                  <a:gd name="connsiteY0-138" fmla="*/ 150019 h 233361"/>
                  <a:gd name="connsiteX1-139" fmla="*/ 7142 w 1214437"/>
                  <a:gd name="connsiteY1-140" fmla="*/ 138112 h 233361"/>
                  <a:gd name="connsiteX2-141" fmla="*/ 1123950 w 1214437"/>
                  <a:gd name="connsiteY2-142" fmla="*/ 0 h 233361"/>
                  <a:gd name="connsiteX3-143" fmla="*/ 1214437 w 1214437"/>
                  <a:gd name="connsiteY3-144" fmla="*/ 28574 h 233361"/>
                  <a:gd name="connsiteX4-145" fmla="*/ 11903 w 1214437"/>
                  <a:gd name="connsiteY4-146" fmla="*/ 233361 h 233361"/>
                  <a:gd name="connsiteX5-147" fmla="*/ 0 w 1214437"/>
                  <a:gd name="connsiteY5-148" fmla="*/ 150019 h 233361"/>
                  <a:gd name="connsiteX0-149" fmla="*/ 0 w 1214437"/>
                  <a:gd name="connsiteY0-150" fmla="*/ 183357 h 233361"/>
                  <a:gd name="connsiteX1-151" fmla="*/ 7142 w 1214437"/>
                  <a:gd name="connsiteY1-152" fmla="*/ 138112 h 233361"/>
                  <a:gd name="connsiteX2-153" fmla="*/ 1123950 w 1214437"/>
                  <a:gd name="connsiteY2-154" fmla="*/ 0 h 233361"/>
                  <a:gd name="connsiteX3-155" fmla="*/ 1214437 w 1214437"/>
                  <a:gd name="connsiteY3-156" fmla="*/ 28574 h 233361"/>
                  <a:gd name="connsiteX4-157" fmla="*/ 11903 w 1214437"/>
                  <a:gd name="connsiteY4-158" fmla="*/ 233361 h 233361"/>
                  <a:gd name="connsiteX5-159" fmla="*/ 0 w 1214437"/>
                  <a:gd name="connsiteY5-160" fmla="*/ 183357 h 233361"/>
                  <a:gd name="connsiteX0-161" fmla="*/ 0 w 1214437"/>
                  <a:gd name="connsiteY0-162" fmla="*/ 183357 h 233361"/>
                  <a:gd name="connsiteX1-163" fmla="*/ 2380 w 1214437"/>
                  <a:gd name="connsiteY1-164" fmla="*/ 188118 h 233361"/>
                  <a:gd name="connsiteX2-165" fmla="*/ 1123950 w 1214437"/>
                  <a:gd name="connsiteY2-166" fmla="*/ 0 h 233361"/>
                  <a:gd name="connsiteX3-167" fmla="*/ 1214437 w 1214437"/>
                  <a:gd name="connsiteY3-168" fmla="*/ 28574 h 233361"/>
                  <a:gd name="connsiteX4-169" fmla="*/ 11903 w 1214437"/>
                  <a:gd name="connsiteY4-170" fmla="*/ 233361 h 233361"/>
                  <a:gd name="connsiteX5-171" fmla="*/ 0 w 1214437"/>
                  <a:gd name="connsiteY5-172" fmla="*/ 183357 h 233361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17" y="connsiteY4-18"/>
                  </a:cxn>
                  <a:cxn ang="0">
                    <a:pos x="connsiteX5-39" y="connsiteY5-40"/>
                  </a:cxn>
                </a:cxnLst>
                <a:rect l="l" t="t" r="r" b="b"/>
                <a:pathLst>
                  <a:path w="1214437" h="233361">
                    <a:moveTo>
                      <a:pt x="0" y="183357"/>
                    </a:moveTo>
                    <a:cubicBezTo>
                      <a:pt x="2381" y="180976"/>
                      <a:pt x="-1" y="190499"/>
                      <a:pt x="2380" y="188118"/>
                    </a:cubicBezTo>
                    <a:lnTo>
                      <a:pt x="1123950" y="0"/>
                    </a:lnTo>
                    <a:lnTo>
                      <a:pt x="1214437" y="28574"/>
                    </a:lnTo>
                    <a:lnTo>
                      <a:pt x="11903" y="233361"/>
                    </a:lnTo>
                    <a:lnTo>
                      <a:pt x="0" y="183357"/>
                    </a:lnTo>
                    <a:close/>
                  </a:path>
                </a:pathLst>
              </a:custGeom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 useBgFill="1">
            <p:nvSpPr>
              <p:cNvPr id="40" name="Freeform 41"/>
              <p:cNvSpPr/>
              <p:nvPr/>
            </p:nvSpPr>
            <p:spPr bwMode="auto">
              <a:xfrm flipH="1">
                <a:off x="1471287" y="2296947"/>
                <a:ext cx="889430" cy="209413"/>
              </a:xfrm>
              <a:custGeom>
                <a:avLst/>
                <a:gdLst>
                  <a:gd name="connsiteX0" fmla="*/ 0 w 1159668"/>
                  <a:gd name="connsiteY0" fmla="*/ 150019 h 150019"/>
                  <a:gd name="connsiteX1" fmla="*/ 1123950 w 1159668"/>
                  <a:gd name="connsiteY1" fmla="*/ 0 h 150019"/>
                  <a:gd name="connsiteX2" fmla="*/ 1159668 w 1159668"/>
                  <a:gd name="connsiteY2" fmla="*/ 11906 h 150019"/>
                  <a:gd name="connsiteX3" fmla="*/ 0 w 1159668"/>
                  <a:gd name="connsiteY3" fmla="*/ 150019 h 150019"/>
                  <a:gd name="connsiteX0-1" fmla="*/ 0 w 1159668"/>
                  <a:gd name="connsiteY0-2" fmla="*/ 150019 h 150019"/>
                  <a:gd name="connsiteX1-3" fmla="*/ 1123950 w 1159668"/>
                  <a:gd name="connsiteY1-4" fmla="*/ 0 h 150019"/>
                  <a:gd name="connsiteX2-5" fmla="*/ 1159668 w 1159668"/>
                  <a:gd name="connsiteY2-6" fmla="*/ 11906 h 150019"/>
                  <a:gd name="connsiteX3-7" fmla="*/ 245268 w 1159668"/>
                  <a:gd name="connsiteY3-8" fmla="*/ 114300 h 150019"/>
                  <a:gd name="connsiteX4" fmla="*/ 0 w 1159668"/>
                  <a:gd name="connsiteY4" fmla="*/ 150019 h 150019"/>
                  <a:gd name="connsiteX0-9" fmla="*/ 0 w 1159668"/>
                  <a:gd name="connsiteY0-10" fmla="*/ 150019 h 169069"/>
                  <a:gd name="connsiteX1-11" fmla="*/ 1123950 w 1159668"/>
                  <a:gd name="connsiteY1-12" fmla="*/ 0 h 169069"/>
                  <a:gd name="connsiteX2-13" fmla="*/ 1159668 w 1159668"/>
                  <a:gd name="connsiteY2-14" fmla="*/ 11906 h 169069"/>
                  <a:gd name="connsiteX3-15" fmla="*/ 16668 w 1159668"/>
                  <a:gd name="connsiteY3-16" fmla="*/ 169069 h 169069"/>
                  <a:gd name="connsiteX4-17" fmla="*/ 0 w 1159668"/>
                  <a:gd name="connsiteY4-18" fmla="*/ 150019 h 169069"/>
                  <a:gd name="connsiteX0-19" fmla="*/ 0 w 1159668"/>
                  <a:gd name="connsiteY0-20" fmla="*/ 150019 h 169069"/>
                  <a:gd name="connsiteX1-21" fmla="*/ 26193 w 1159668"/>
                  <a:gd name="connsiteY1-22" fmla="*/ 135731 h 169069"/>
                  <a:gd name="connsiteX2-23" fmla="*/ 1123950 w 1159668"/>
                  <a:gd name="connsiteY2-24" fmla="*/ 0 h 169069"/>
                  <a:gd name="connsiteX3-25" fmla="*/ 1159668 w 1159668"/>
                  <a:gd name="connsiteY3-26" fmla="*/ 11906 h 169069"/>
                  <a:gd name="connsiteX4-27" fmla="*/ 16668 w 1159668"/>
                  <a:gd name="connsiteY4-28" fmla="*/ 169069 h 169069"/>
                  <a:gd name="connsiteX5" fmla="*/ 0 w 1159668"/>
                  <a:gd name="connsiteY5" fmla="*/ 150019 h 169069"/>
                  <a:gd name="connsiteX0-29" fmla="*/ 0 w 1171575"/>
                  <a:gd name="connsiteY0-30" fmla="*/ 150019 h 169069"/>
                  <a:gd name="connsiteX1-31" fmla="*/ 26193 w 1171575"/>
                  <a:gd name="connsiteY1-32" fmla="*/ 135731 h 169069"/>
                  <a:gd name="connsiteX2-33" fmla="*/ 1123950 w 1171575"/>
                  <a:gd name="connsiteY2-34" fmla="*/ 0 h 169069"/>
                  <a:gd name="connsiteX3-35" fmla="*/ 1171575 w 1171575"/>
                  <a:gd name="connsiteY3-36" fmla="*/ 14287 h 169069"/>
                  <a:gd name="connsiteX4-37" fmla="*/ 16668 w 1171575"/>
                  <a:gd name="connsiteY4-38" fmla="*/ 169069 h 169069"/>
                  <a:gd name="connsiteX5-39" fmla="*/ 0 w 1171575"/>
                  <a:gd name="connsiteY5-40" fmla="*/ 150019 h 169069"/>
                  <a:gd name="connsiteX0-41" fmla="*/ 0 w 1171575"/>
                  <a:gd name="connsiteY0-42" fmla="*/ 150019 h 169069"/>
                  <a:gd name="connsiteX1-43" fmla="*/ 19049 w 1171575"/>
                  <a:gd name="connsiteY1-44" fmla="*/ 128587 h 169069"/>
                  <a:gd name="connsiteX2-45" fmla="*/ 1123950 w 1171575"/>
                  <a:gd name="connsiteY2-46" fmla="*/ 0 h 169069"/>
                  <a:gd name="connsiteX3-47" fmla="*/ 1171575 w 1171575"/>
                  <a:gd name="connsiteY3-48" fmla="*/ 14287 h 169069"/>
                  <a:gd name="connsiteX4-49" fmla="*/ 16668 w 1171575"/>
                  <a:gd name="connsiteY4-50" fmla="*/ 169069 h 169069"/>
                  <a:gd name="connsiteX5-51" fmla="*/ 0 w 1171575"/>
                  <a:gd name="connsiteY5-52" fmla="*/ 150019 h 169069"/>
                  <a:gd name="connsiteX0-53" fmla="*/ 0 w 1190625"/>
                  <a:gd name="connsiteY0-54" fmla="*/ 150019 h 169069"/>
                  <a:gd name="connsiteX1-55" fmla="*/ 19049 w 1190625"/>
                  <a:gd name="connsiteY1-56" fmla="*/ 128587 h 169069"/>
                  <a:gd name="connsiteX2-57" fmla="*/ 1123950 w 1190625"/>
                  <a:gd name="connsiteY2-58" fmla="*/ 0 h 169069"/>
                  <a:gd name="connsiteX3-59" fmla="*/ 1190625 w 1190625"/>
                  <a:gd name="connsiteY3-60" fmla="*/ 16668 h 169069"/>
                  <a:gd name="connsiteX4-61" fmla="*/ 16668 w 1190625"/>
                  <a:gd name="connsiteY4-62" fmla="*/ 169069 h 169069"/>
                  <a:gd name="connsiteX5-63" fmla="*/ 0 w 1190625"/>
                  <a:gd name="connsiteY5-64" fmla="*/ 150019 h 169069"/>
                  <a:gd name="connsiteX0-65" fmla="*/ 0 w 1190625"/>
                  <a:gd name="connsiteY0-66" fmla="*/ 150019 h 169069"/>
                  <a:gd name="connsiteX1-67" fmla="*/ 7142 w 1190625"/>
                  <a:gd name="connsiteY1-68" fmla="*/ 138112 h 169069"/>
                  <a:gd name="connsiteX2-69" fmla="*/ 1123950 w 1190625"/>
                  <a:gd name="connsiteY2-70" fmla="*/ 0 h 169069"/>
                  <a:gd name="connsiteX3-71" fmla="*/ 1190625 w 1190625"/>
                  <a:gd name="connsiteY3-72" fmla="*/ 16668 h 169069"/>
                  <a:gd name="connsiteX4-73" fmla="*/ 16668 w 1190625"/>
                  <a:gd name="connsiteY4-74" fmla="*/ 169069 h 169069"/>
                  <a:gd name="connsiteX5-75" fmla="*/ 0 w 1190625"/>
                  <a:gd name="connsiteY5-76" fmla="*/ 150019 h 169069"/>
                  <a:gd name="connsiteX0-77" fmla="*/ 0 w 1190625"/>
                  <a:gd name="connsiteY0-78" fmla="*/ 150019 h 161925"/>
                  <a:gd name="connsiteX1-79" fmla="*/ 7142 w 1190625"/>
                  <a:gd name="connsiteY1-80" fmla="*/ 138112 h 161925"/>
                  <a:gd name="connsiteX2-81" fmla="*/ 1123950 w 1190625"/>
                  <a:gd name="connsiteY2-82" fmla="*/ 0 h 161925"/>
                  <a:gd name="connsiteX3-83" fmla="*/ 1190625 w 1190625"/>
                  <a:gd name="connsiteY3-84" fmla="*/ 16668 h 161925"/>
                  <a:gd name="connsiteX4-85" fmla="*/ 21430 w 1190625"/>
                  <a:gd name="connsiteY4-86" fmla="*/ 161925 h 161925"/>
                  <a:gd name="connsiteX5-87" fmla="*/ 0 w 1190625"/>
                  <a:gd name="connsiteY5-88" fmla="*/ 150019 h 161925"/>
                  <a:gd name="connsiteX0-89" fmla="*/ 88107 w 1278732"/>
                  <a:gd name="connsiteY0-90" fmla="*/ 150019 h 226219"/>
                  <a:gd name="connsiteX1-91" fmla="*/ 95249 w 1278732"/>
                  <a:gd name="connsiteY1-92" fmla="*/ 138112 h 226219"/>
                  <a:gd name="connsiteX2-93" fmla="*/ 1212057 w 1278732"/>
                  <a:gd name="connsiteY2-94" fmla="*/ 0 h 226219"/>
                  <a:gd name="connsiteX3-95" fmla="*/ 1278732 w 1278732"/>
                  <a:gd name="connsiteY3-96" fmla="*/ 16668 h 226219"/>
                  <a:gd name="connsiteX4-97" fmla="*/ 0 w 1278732"/>
                  <a:gd name="connsiteY4-98" fmla="*/ 226219 h 226219"/>
                  <a:gd name="connsiteX5-99" fmla="*/ 88107 w 1278732"/>
                  <a:gd name="connsiteY5-100" fmla="*/ 150019 h 226219"/>
                  <a:gd name="connsiteX0-101" fmla="*/ 14289 w 1278732"/>
                  <a:gd name="connsiteY0-102" fmla="*/ 197644 h 226219"/>
                  <a:gd name="connsiteX1-103" fmla="*/ 95249 w 1278732"/>
                  <a:gd name="connsiteY1-104" fmla="*/ 138112 h 226219"/>
                  <a:gd name="connsiteX2-105" fmla="*/ 1212057 w 1278732"/>
                  <a:gd name="connsiteY2-106" fmla="*/ 0 h 226219"/>
                  <a:gd name="connsiteX3-107" fmla="*/ 1278732 w 1278732"/>
                  <a:gd name="connsiteY3-108" fmla="*/ 16668 h 226219"/>
                  <a:gd name="connsiteX4-109" fmla="*/ 0 w 1278732"/>
                  <a:gd name="connsiteY4-110" fmla="*/ 226219 h 226219"/>
                  <a:gd name="connsiteX5-111" fmla="*/ 14289 w 1278732"/>
                  <a:gd name="connsiteY5-112" fmla="*/ 197644 h 226219"/>
                  <a:gd name="connsiteX0-113" fmla="*/ 14289 w 1278732"/>
                  <a:gd name="connsiteY0-114" fmla="*/ 197644 h 226219"/>
                  <a:gd name="connsiteX1-115" fmla="*/ 1212057 w 1278732"/>
                  <a:gd name="connsiteY1-116" fmla="*/ 0 h 226219"/>
                  <a:gd name="connsiteX2-117" fmla="*/ 1278732 w 1278732"/>
                  <a:gd name="connsiteY2-118" fmla="*/ 16668 h 226219"/>
                  <a:gd name="connsiteX3-119" fmla="*/ 0 w 1278732"/>
                  <a:gd name="connsiteY3-120" fmla="*/ 226219 h 226219"/>
                  <a:gd name="connsiteX4-121" fmla="*/ 14289 w 1278732"/>
                  <a:gd name="connsiteY4-122" fmla="*/ 197644 h 226219"/>
                  <a:gd name="connsiteX0-123" fmla="*/ 14289 w 1278732"/>
                  <a:gd name="connsiteY0-124" fmla="*/ 197644 h 233363"/>
                  <a:gd name="connsiteX1-125" fmla="*/ 1212057 w 1278732"/>
                  <a:gd name="connsiteY1-126" fmla="*/ 0 h 233363"/>
                  <a:gd name="connsiteX2-127" fmla="*/ 1278732 w 1278732"/>
                  <a:gd name="connsiteY2-128" fmla="*/ 16668 h 233363"/>
                  <a:gd name="connsiteX3-129" fmla="*/ 13567 w 1278732"/>
                  <a:gd name="connsiteY3-130" fmla="*/ 233363 h 233363"/>
                  <a:gd name="connsiteX4-131" fmla="*/ 0 w 1278732"/>
                  <a:gd name="connsiteY4-132" fmla="*/ 226219 h 233363"/>
                  <a:gd name="connsiteX5-133" fmla="*/ 14289 w 1278732"/>
                  <a:gd name="connsiteY5-134" fmla="*/ 197644 h 233363"/>
                  <a:gd name="connsiteX0-135" fmla="*/ 14289 w 1288404"/>
                  <a:gd name="connsiteY0-136" fmla="*/ 197644 h 233363"/>
                  <a:gd name="connsiteX1-137" fmla="*/ 1212057 w 1288404"/>
                  <a:gd name="connsiteY1-138" fmla="*/ 0 h 233363"/>
                  <a:gd name="connsiteX2-139" fmla="*/ 1288404 w 1288404"/>
                  <a:gd name="connsiteY2-140" fmla="*/ 23812 h 233363"/>
                  <a:gd name="connsiteX3-141" fmla="*/ 13567 w 1288404"/>
                  <a:gd name="connsiteY3-142" fmla="*/ 233363 h 233363"/>
                  <a:gd name="connsiteX4-143" fmla="*/ 0 w 1288404"/>
                  <a:gd name="connsiteY4-144" fmla="*/ 226219 h 233363"/>
                  <a:gd name="connsiteX5-145" fmla="*/ 14289 w 1288404"/>
                  <a:gd name="connsiteY5-146" fmla="*/ 197644 h 233363"/>
                  <a:gd name="connsiteX0-147" fmla="*/ 14289 w 1288404"/>
                  <a:gd name="connsiteY0-148" fmla="*/ 197644 h 247650"/>
                  <a:gd name="connsiteX1-149" fmla="*/ 1212057 w 1288404"/>
                  <a:gd name="connsiteY1-150" fmla="*/ 0 h 247650"/>
                  <a:gd name="connsiteX2-151" fmla="*/ 1288404 w 1288404"/>
                  <a:gd name="connsiteY2-152" fmla="*/ 23812 h 247650"/>
                  <a:gd name="connsiteX3-153" fmla="*/ 11149 w 1288404"/>
                  <a:gd name="connsiteY3-154" fmla="*/ 247650 h 247650"/>
                  <a:gd name="connsiteX4-155" fmla="*/ 0 w 1288404"/>
                  <a:gd name="connsiteY4-156" fmla="*/ 226219 h 247650"/>
                  <a:gd name="connsiteX5-157" fmla="*/ 14289 w 1288404"/>
                  <a:gd name="connsiteY5-158" fmla="*/ 197644 h 247650"/>
                  <a:gd name="connsiteX0-159" fmla="*/ 14289 w 1295658"/>
                  <a:gd name="connsiteY0-160" fmla="*/ 197644 h 247650"/>
                  <a:gd name="connsiteX1-161" fmla="*/ 1212057 w 1295658"/>
                  <a:gd name="connsiteY1-162" fmla="*/ 0 h 247650"/>
                  <a:gd name="connsiteX2-163" fmla="*/ 1295658 w 1295658"/>
                  <a:gd name="connsiteY2-164" fmla="*/ 28575 h 247650"/>
                  <a:gd name="connsiteX3-165" fmla="*/ 11149 w 1295658"/>
                  <a:gd name="connsiteY3-166" fmla="*/ 247650 h 247650"/>
                  <a:gd name="connsiteX4-167" fmla="*/ 0 w 1295658"/>
                  <a:gd name="connsiteY4-168" fmla="*/ 226219 h 247650"/>
                  <a:gd name="connsiteX5-169" fmla="*/ 14289 w 1295658"/>
                  <a:gd name="connsiteY5-170" fmla="*/ 197644 h 247650"/>
                  <a:gd name="connsiteX0-171" fmla="*/ 14289 w 1295658"/>
                  <a:gd name="connsiteY0-172" fmla="*/ 197644 h 300037"/>
                  <a:gd name="connsiteX1-173" fmla="*/ 1212057 w 1295658"/>
                  <a:gd name="connsiteY1-174" fmla="*/ 0 h 300037"/>
                  <a:gd name="connsiteX2-175" fmla="*/ 1295658 w 1295658"/>
                  <a:gd name="connsiteY2-176" fmla="*/ 28575 h 300037"/>
                  <a:gd name="connsiteX3-177" fmla="*/ 28074 w 1295658"/>
                  <a:gd name="connsiteY3-178" fmla="*/ 300037 h 300037"/>
                  <a:gd name="connsiteX4-179" fmla="*/ 11149 w 1295658"/>
                  <a:gd name="connsiteY4-180" fmla="*/ 247650 h 300037"/>
                  <a:gd name="connsiteX5-181" fmla="*/ 0 w 1295658"/>
                  <a:gd name="connsiteY5-182" fmla="*/ 226219 h 300037"/>
                  <a:gd name="connsiteX6" fmla="*/ 14289 w 1295658"/>
                  <a:gd name="connsiteY6" fmla="*/ 197644 h 300037"/>
                  <a:gd name="connsiteX0-183" fmla="*/ 11871 w 1295658"/>
                  <a:gd name="connsiteY0-184" fmla="*/ 252413 h 300037"/>
                  <a:gd name="connsiteX1-185" fmla="*/ 1212057 w 1295658"/>
                  <a:gd name="connsiteY1-186" fmla="*/ 0 h 300037"/>
                  <a:gd name="connsiteX2-187" fmla="*/ 1295658 w 1295658"/>
                  <a:gd name="connsiteY2-188" fmla="*/ 28575 h 300037"/>
                  <a:gd name="connsiteX3-189" fmla="*/ 28074 w 1295658"/>
                  <a:gd name="connsiteY3-190" fmla="*/ 300037 h 300037"/>
                  <a:gd name="connsiteX4-191" fmla="*/ 11149 w 1295658"/>
                  <a:gd name="connsiteY4-192" fmla="*/ 247650 h 300037"/>
                  <a:gd name="connsiteX5-193" fmla="*/ 0 w 1295658"/>
                  <a:gd name="connsiteY5-194" fmla="*/ 226219 h 300037"/>
                  <a:gd name="connsiteX6-195" fmla="*/ 11871 w 1295658"/>
                  <a:gd name="connsiteY6-196" fmla="*/ 252413 h 30003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17" y="connsiteY4-18"/>
                  </a:cxn>
                  <a:cxn ang="0">
                    <a:pos x="connsiteX5-39" y="connsiteY5-40"/>
                  </a:cxn>
                  <a:cxn ang="0">
                    <a:pos x="connsiteX6-195" y="connsiteY6-196"/>
                  </a:cxn>
                </a:cxnLst>
                <a:rect l="l" t="t" r="r" b="b"/>
                <a:pathLst>
                  <a:path w="1295658" h="300037">
                    <a:moveTo>
                      <a:pt x="11871" y="252413"/>
                    </a:moveTo>
                    <a:cubicBezTo>
                      <a:pt x="213880" y="214710"/>
                      <a:pt x="1001317" y="30163"/>
                      <a:pt x="1212057" y="0"/>
                    </a:cubicBezTo>
                    <a:lnTo>
                      <a:pt x="1295658" y="28575"/>
                    </a:lnTo>
                    <a:cubicBezTo>
                      <a:pt x="871518" y="100012"/>
                      <a:pt x="452214" y="228600"/>
                      <a:pt x="28074" y="300037"/>
                    </a:cubicBezTo>
                    <a:lnTo>
                      <a:pt x="11149" y="247650"/>
                    </a:lnTo>
                    <a:lnTo>
                      <a:pt x="0" y="226219"/>
                    </a:lnTo>
                    <a:lnTo>
                      <a:pt x="11871" y="252413"/>
                    </a:lnTo>
                    <a:close/>
                  </a:path>
                </a:pathLst>
              </a:custGeom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7920" name="矩形 177"/>
            <p:cNvSpPr>
              <a:spLocks noChangeArrowheads="1"/>
            </p:cNvSpPr>
            <p:nvPr/>
          </p:nvSpPr>
          <p:spPr bwMode="auto">
            <a:xfrm>
              <a:off x="2324986" y="1709975"/>
              <a:ext cx="604653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8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</a:t>
              </a:r>
              <a:endParaRPr lang="en-US" altLang="zh-CN" sz="2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921" name="矩形 178"/>
            <p:cNvSpPr>
              <a:spLocks noChangeArrowheads="1"/>
            </p:cNvSpPr>
            <p:nvPr/>
          </p:nvSpPr>
          <p:spPr bwMode="auto">
            <a:xfrm>
              <a:off x="2536712" y="2346201"/>
              <a:ext cx="604653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8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</a:t>
              </a:r>
              <a:endParaRPr lang="en-US" altLang="zh-CN" sz="2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922" name="矩形 179"/>
            <p:cNvSpPr>
              <a:spLocks noChangeArrowheads="1"/>
            </p:cNvSpPr>
            <p:nvPr/>
          </p:nvSpPr>
          <p:spPr bwMode="auto">
            <a:xfrm>
              <a:off x="1382315" y="2346201"/>
              <a:ext cx="604653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8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</a:t>
              </a:r>
              <a:endParaRPr lang="en-US" altLang="zh-CN" sz="2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2" name="组合 191"/>
          <p:cNvGrpSpPr/>
          <p:nvPr/>
        </p:nvGrpSpPr>
        <p:grpSpPr bwMode="auto">
          <a:xfrm>
            <a:off x="3308350" y="3729038"/>
            <a:ext cx="5106988" cy="958850"/>
            <a:chOff x="3250757" y="3757146"/>
            <a:chExt cx="5107945" cy="959210"/>
          </a:xfrm>
        </p:grpSpPr>
        <p:sp>
          <p:nvSpPr>
            <p:cNvPr id="181" name="矩形 1"/>
            <p:cNvSpPr>
              <a:spLocks noChangeArrowheads="1"/>
            </p:cNvSpPr>
            <p:nvPr/>
          </p:nvSpPr>
          <p:spPr bwMode="auto">
            <a:xfrm>
              <a:off x="3250757" y="4070000"/>
              <a:ext cx="5107945" cy="646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2" name="直接连接符 181"/>
            <p:cNvCxnSpPr/>
            <p:nvPr/>
          </p:nvCxnSpPr>
          <p:spPr>
            <a:xfrm>
              <a:off x="3461935" y="4081118"/>
              <a:ext cx="4782446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912" name="组合 182"/>
            <p:cNvGrpSpPr/>
            <p:nvPr/>
          </p:nvGrpSpPr>
          <p:grpSpPr bwMode="auto">
            <a:xfrm>
              <a:off x="3362915" y="3757146"/>
              <a:ext cx="2076537" cy="322262"/>
              <a:chOff x="957895" y="1031498"/>
              <a:chExt cx="2076537" cy="322262"/>
            </a:xfrm>
          </p:grpSpPr>
          <p:sp>
            <p:nvSpPr>
              <p:cNvPr id="184" name="TextBox 265"/>
              <p:cNvSpPr txBox="1"/>
              <p:nvPr/>
            </p:nvSpPr>
            <p:spPr bwMode="auto">
              <a:xfrm>
                <a:off x="1156945" y="1031498"/>
                <a:ext cx="1100344" cy="32238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7914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7915" name="组合 185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188" name="流程图: 决策 166"/>
                <p:cNvSpPr/>
                <p:nvPr/>
              </p:nvSpPr>
              <p:spPr>
                <a:xfrm>
                  <a:off x="958471" y="1125195"/>
                  <a:ext cx="136551" cy="182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189" name="流程图: 决策 166"/>
                <p:cNvSpPr/>
                <p:nvPr/>
              </p:nvSpPr>
              <p:spPr>
                <a:xfrm>
                  <a:off x="1107724" y="1126784"/>
                  <a:ext cx="90504" cy="1794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187" name="直接连接符 186"/>
              <p:cNvCxnSpPr/>
              <p:nvPr/>
            </p:nvCxnSpPr>
            <p:spPr>
              <a:xfrm>
                <a:off x="2263641" y="1137900"/>
                <a:ext cx="0" cy="14451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2412 1.91103E-6 L -2.91805E-6 1.91103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7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2413 1.91103E-6 L 7.50574E-7 1.91103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72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3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2412 1.91103E-6 L -2.15216E-6 1.91103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6" presetClass="emph" presetSubtype="0" ac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2412 1.91103E-6 L -3.32653E-6 1.91103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75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3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2413 -2.38765E-6 L 4.13582E-6 -2.38765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6" presetClass="emph" presetSubtype="0" accel="100000" autoRev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9" dur="500" fill="hold"/>
                                        <p:tgtEl>
                                          <p:spTgt spid="53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3" presetClass="path" presetSubtype="0" decel="10000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-0.02413 6.49115E-7 L 2.98953E-6 6.49115E-7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6" presetClass="emph" presetSubtype="0" accel="100000" autoRev="1" fill="hold" grpId="2" nodeType="withEffect">
                                  <p:stCondLst>
                                    <p:cond delay="550"/>
                                  </p:stCondLst>
                                  <p:childTnLst>
                                    <p:animScale>
                                      <p:cBhvr>
                                        <p:cTn id="46" dur="500" fill="hold"/>
                                        <p:tgtEl>
                                          <p:spTgt spid="174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3" presetClass="pat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0.02412 -2.38765E-6 L -2.15216E-6 -2.38765E-6 " pathEditMode="relative" rAng="0" ptsTypes="AA">
                                      <p:cBhvr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" presetClass="emph" presetSubtype="0" accel="100000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53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5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3" presetClass="path" presetSubtype="0" decel="100000" fill="hold" grpId="1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0.02412 6.49115E-7 L -7.50574E-7 6.49115E-7 " pathEditMode="relative" rAng="0" ptsTypes="AA">
                                      <p:cBhvr>
                                        <p:cTn id="58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6" presetClass="emph" presetSubtype="0" accel="100000" autoRev="1" fill="hold" grpId="2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60" dur="500" fill="hold"/>
                                        <p:tgtEl>
                                          <p:spTgt spid="176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2" dur="1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1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6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 tmFilter="0, 0; .2, .5; .8, .5; 1, 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2" dur="250" autoRev="1" fill="hold"/>
                                        <p:tgtEl>
                                          <p:spTgt spid="19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  <p:bldP spid="172" grpId="0"/>
      <p:bldP spid="172" grpId="1"/>
      <p:bldP spid="172" grpId="2"/>
      <p:bldP spid="174" grpId="0"/>
      <p:bldP spid="174" grpId="1"/>
      <p:bldP spid="174" grpId="2"/>
      <p:bldP spid="175" grpId="0"/>
      <p:bldP spid="175" grpId="1"/>
      <p:bldP spid="175" grpId="2"/>
      <p:bldP spid="176" grpId="0"/>
      <p:bldP spid="176" grpId="1"/>
      <p:bldP spid="176" grpId="2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3" name="组合 140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142" name="任意多边形 141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305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E46C0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E46C0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44" name="组合 143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45" name="任意多边形 144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303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45" name="组合 146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48" name="任意多边形 147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301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46" name="组合 149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1" name="任意多边形 150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299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47" name="组合 152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54" name="任意多边形 153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297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248" name="组合 302"/>
          <p:cNvGrpSpPr/>
          <p:nvPr/>
        </p:nvGrpSpPr>
        <p:grpSpPr bwMode="auto">
          <a:xfrm>
            <a:off x="2436813" y="1579563"/>
            <a:ext cx="449262" cy="395287"/>
            <a:chOff x="2627784" y="987574"/>
            <a:chExt cx="408310" cy="396044"/>
          </a:xfrm>
        </p:grpSpPr>
        <p:sp>
          <p:nvSpPr>
            <p:cNvPr id="304" name="圆角矩形 11"/>
            <p:cNvSpPr/>
            <p:nvPr/>
          </p:nvSpPr>
          <p:spPr>
            <a:xfrm>
              <a:off x="2627784" y="98757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0295" name="Freeform 31"/>
            <p:cNvSpPr>
              <a:spLocks noEditPoints="1"/>
            </p:cNvSpPr>
            <p:nvPr/>
          </p:nvSpPr>
          <p:spPr bwMode="auto">
            <a:xfrm>
              <a:off x="2744275" y="1108189"/>
              <a:ext cx="175328" cy="154814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0249" name="组合 305"/>
          <p:cNvGrpSpPr/>
          <p:nvPr/>
        </p:nvGrpSpPr>
        <p:grpSpPr bwMode="auto">
          <a:xfrm>
            <a:off x="2936875" y="1579563"/>
            <a:ext cx="3698875" cy="395287"/>
            <a:chOff x="3081814" y="987574"/>
            <a:chExt cx="3362395" cy="396044"/>
          </a:xfrm>
        </p:grpSpPr>
        <p:sp>
          <p:nvSpPr>
            <p:cNvPr id="307" name="圆角矩形 11"/>
            <p:cNvSpPr/>
            <p:nvPr/>
          </p:nvSpPr>
          <p:spPr>
            <a:xfrm>
              <a:off x="3081814" y="98757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8" name="矩形 307"/>
            <p:cNvSpPr/>
            <p:nvPr/>
          </p:nvSpPr>
          <p:spPr>
            <a:xfrm>
              <a:off x="3132323" y="1001888"/>
              <a:ext cx="3239732" cy="359462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0288" name="TextBox 10"/>
            <p:cNvSpPr txBox="1">
              <a:spLocks noChangeArrowheads="1"/>
            </p:cNvSpPr>
            <p:nvPr/>
          </p:nvSpPr>
          <p:spPr bwMode="auto">
            <a:xfrm>
              <a:off x="3383895" y="99754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89" name="矩形 91"/>
            <p:cNvSpPr>
              <a:spLocks noChangeArrowheads="1"/>
            </p:cNvSpPr>
            <p:nvPr/>
          </p:nvSpPr>
          <p:spPr bwMode="auto">
            <a:xfrm>
              <a:off x="4854826" y="1075799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290" name="组合 8"/>
            <p:cNvGrpSpPr/>
            <p:nvPr/>
          </p:nvGrpSpPr>
          <p:grpSpPr bwMode="auto">
            <a:xfrm>
              <a:off x="6134630" y="1072343"/>
              <a:ext cx="209039" cy="209039"/>
              <a:chOff x="2719746" y="1662559"/>
              <a:chExt cx="190035" cy="190035"/>
            </a:xfrm>
          </p:grpSpPr>
          <p:sp>
            <p:nvSpPr>
              <p:cNvPr id="313" name="椭圆 312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314" name="燕尾形 313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12" name="直接连接符 311"/>
            <p:cNvCxnSpPr/>
            <p:nvPr/>
          </p:nvCxnSpPr>
          <p:spPr>
            <a:xfrm>
              <a:off x="4702402" y="1113226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0" name="组合 314"/>
          <p:cNvGrpSpPr/>
          <p:nvPr/>
        </p:nvGrpSpPr>
        <p:grpSpPr bwMode="auto">
          <a:xfrm>
            <a:off x="2936875" y="2103438"/>
            <a:ext cx="3698875" cy="395287"/>
            <a:chOff x="3081814" y="1491630"/>
            <a:chExt cx="3362395" cy="396044"/>
          </a:xfrm>
        </p:grpSpPr>
        <p:sp>
          <p:nvSpPr>
            <p:cNvPr id="316" name="圆角矩形 11"/>
            <p:cNvSpPr/>
            <p:nvPr/>
          </p:nvSpPr>
          <p:spPr>
            <a:xfrm>
              <a:off x="3081814" y="1491630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17" name="矩形 316"/>
            <p:cNvSpPr/>
            <p:nvPr/>
          </p:nvSpPr>
          <p:spPr>
            <a:xfrm>
              <a:off x="3132323" y="1505944"/>
              <a:ext cx="3239732" cy="3594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0280" name="TextBox 10"/>
            <p:cNvSpPr txBox="1">
              <a:spLocks noChangeArrowheads="1"/>
            </p:cNvSpPr>
            <p:nvPr/>
          </p:nvSpPr>
          <p:spPr bwMode="auto">
            <a:xfrm>
              <a:off x="3383895" y="1511126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81" name="矩形 91"/>
            <p:cNvSpPr>
              <a:spLocks noChangeArrowheads="1"/>
            </p:cNvSpPr>
            <p:nvPr/>
          </p:nvSpPr>
          <p:spPr bwMode="auto">
            <a:xfrm>
              <a:off x="4854826" y="1579855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282" name="组合 70"/>
            <p:cNvGrpSpPr/>
            <p:nvPr/>
          </p:nvGrpSpPr>
          <p:grpSpPr bwMode="auto">
            <a:xfrm>
              <a:off x="6134630" y="1576399"/>
              <a:ext cx="209039" cy="209039"/>
              <a:chOff x="2719746" y="1662559"/>
              <a:chExt cx="190035" cy="190035"/>
            </a:xfrm>
          </p:grpSpPr>
          <p:sp>
            <p:nvSpPr>
              <p:cNvPr id="322" name="椭圆 321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323" name="燕尾形 322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21" name="直接连接符 320"/>
            <p:cNvCxnSpPr/>
            <p:nvPr/>
          </p:nvCxnSpPr>
          <p:spPr>
            <a:xfrm>
              <a:off x="4702402" y="1617282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1" name="组合 323"/>
          <p:cNvGrpSpPr/>
          <p:nvPr/>
        </p:nvGrpSpPr>
        <p:grpSpPr bwMode="auto">
          <a:xfrm>
            <a:off x="2436813" y="2103438"/>
            <a:ext cx="449262" cy="395287"/>
            <a:chOff x="2627784" y="1491630"/>
            <a:chExt cx="408310" cy="396044"/>
          </a:xfrm>
        </p:grpSpPr>
        <p:sp>
          <p:nvSpPr>
            <p:cNvPr id="325" name="圆角矩形 11"/>
            <p:cNvSpPr/>
            <p:nvPr/>
          </p:nvSpPr>
          <p:spPr>
            <a:xfrm>
              <a:off x="2627784" y="1491630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26" name="组合 325"/>
            <p:cNvGrpSpPr/>
            <p:nvPr/>
          </p:nvGrpSpPr>
          <p:grpSpPr>
            <a:xfrm>
              <a:off x="2734196" y="1603181"/>
              <a:ext cx="195486" cy="172943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327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28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0252" name="组合 328"/>
          <p:cNvGrpSpPr/>
          <p:nvPr/>
        </p:nvGrpSpPr>
        <p:grpSpPr bwMode="auto">
          <a:xfrm>
            <a:off x="2936875" y="2625725"/>
            <a:ext cx="3698875" cy="396875"/>
            <a:chOff x="3081814" y="1952698"/>
            <a:chExt cx="3362395" cy="396044"/>
          </a:xfrm>
        </p:grpSpPr>
        <p:sp>
          <p:nvSpPr>
            <p:cNvPr id="330" name="圆角矩形 11"/>
            <p:cNvSpPr/>
            <p:nvPr/>
          </p:nvSpPr>
          <p:spPr>
            <a:xfrm>
              <a:off x="3081814" y="1952698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31" name="矩形 330"/>
            <p:cNvSpPr/>
            <p:nvPr/>
          </p:nvSpPr>
          <p:spPr>
            <a:xfrm>
              <a:off x="3132323" y="1966956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0270" name="TextBox 10"/>
            <p:cNvSpPr txBox="1">
              <a:spLocks noChangeArrowheads="1"/>
            </p:cNvSpPr>
            <p:nvPr/>
          </p:nvSpPr>
          <p:spPr bwMode="auto">
            <a:xfrm>
              <a:off x="3383895" y="1981719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71" name="矩形 91"/>
            <p:cNvSpPr>
              <a:spLocks noChangeArrowheads="1"/>
            </p:cNvSpPr>
            <p:nvPr/>
          </p:nvSpPr>
          <p:spPr bwMode="auto">
            <a:xfrm>
              <a:off x="4854826" y="2040923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272" name="组合 81"/>
            <p:cNvGrpSpPr/>
            <p:nvPr/>
          </p:nvGrpSpPr>
          <p:grpSpPr bwMode="auto">
            <a:xfrm>
              <a:off x="6134630" y="2037467"/>
              <a:ext cx="209039" cy="209039"/>
              <a:chOff x="2719746" y="1662559"/>
              <a:chExt cx="190035" cy="190035"/>
            </a:xfrm>
          </p:grpSpPr>
          <p:sp>
            <p:nvSpPr>
              <p:cNvPr id="336" name="椭圆 335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337" name="燕尾形 336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35" name="直接连接符 334"/>
            <p:cNvCxnSpPr/>
            <p:nvPr/>
          </p:nvCxnSpPr>
          <p:spPr>
            <a:xfrm>
              <a:off x="4702402" y="2077848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3" name="组合 337"/>
          <p:cNvGrpSpPr/>
          <p:nvPr/>
        </p:nvGrpSpPr>
        <p:grpSpPr bwMode="auto">
          <a:xfrm>
            <a:off x="2436813" y="2625725"/>
            <a:ext cx="449262" cy="396875"/>
            <a:chOff x="2627784" y="1952698"/>
            <a:chExt cx="408310" cy="396044"/>
          </a:xfrm>
        </p:grpSpPr>
        <p:sp>
          <p:nvSpPr>
            <p:cNvPr id="339" name="圆角矩形 11"/>
            <p:cNvSpPr/>
            <p:nvPr/>
          </p:nvSpPr>
          <p:spPr>
            <a:xfrm>
              <a:off x="2627784" y="1952698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40" name="组合 339"/>
            <p:cNvGrpSpPr/>
            <p:nvPr/>
          </p:nvGrpSpPr>
          <p:grpSpPr>
            <a:xfrm>
              <a:off x="2728390" y="2073313"/>
              <a:ext cx="207098" cy="154814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341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42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43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44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45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46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47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48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49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0254" name="组合 349"/>
          <p:cNvGrpSpPr/>
          <p:nvPr/>
        </p:nvGrpSpPr>
        <p:grpSpPr bwMode="auto">
          <a:xfrm>
            <a:off x="2936875" y="3149600"/>
            <a:ext cx="3698875" cy="396875"/>
            <a:chOff x="3081814" y="2456754"/>
            <a:chExt cx="3362395" cy="396044"/>
          </a:xfrm>
        </p:grpSpPr>
        <p:sp>
          <p:nvSpPr>
            <p:cNvPr id="351" name="圆角矩形 11"/>
            <p:cNvSpPr/>
            <p:nvPr/>
          </p:nvSpPr>
          <p:spPr>
            <a:xfrm>
              <a:off x="3081814" y="245675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2" name="矩形 351"/>
            <p:cNvSpPr/>
            <p:nvPr/>
          </p:nvSpPr>
          <p:spPr>
            <a:xfrm>
              <a:off x="3132323" y="2471012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0260" name="TextBox 10"/>
            <p:cNvSpPr txBox="1">
              <a:spLocks noChangeArrowheads="1"/>
            </p:cNvSpPr>
            <p:nvPr/>
          </p:nvSpPr>
          <p:spPr bwMode="auto">
            <a:xfrm>
              <a:off x="3383895" y="248577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61" name="矩形 91"/>
            <p:cNvSpPr>
              <a:spLocks noChangeArrowheads="1"/>
            </p:cNvSpPr>
            <p:nvPr/>
          </p:nvSpPr>
          <p:spPr bwMode="auto">
            <a:xfrm>
              <a:off x="4854826" y="2544979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262" name="组合 90"/>
            <p:cNvGrpSpPr/>
            <p:nvPr/>
          </p:nvGrpSpPr>
          <p:grpSpPr bwMode="auto">
            <a:xfrm>
              <a:off x="6134630" y="2541523"/>
              <a:ext cx="209039" cy="209039"/>
              <a:chOff x="2719746" y="1662559"/>
              <a:chExt cx="190035" cy="190035"/>
            </a:xfrm>
          </p:grpSpPr>
          <p:sp>
            <p:nvSpPr>
              <p:cNvPr id="357" name="椭圆 356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358" name="燕尾形 357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56" name="直接连接符 355"/>
            <p:cNvCxnSpPr/>
            <p:nvPr/>
          </p:nvCxnSpPr>
          <p:spPr>
            <a:xfrm>
              <a:off x="4702402" y="2581904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5" name="组合 358"/>
          <p:cNvGrpSpPr/>
          <p:nvPr/>
        </p:nvGrpSpPr>
        <p:grpSpPr bwMode="auto">
          <a:xfrm>
            <a:off x="2436813" y="3149600"/>
            <a:ext cx="449262" cy="396875"/>
            <a:chOff x="2627784" y="2456754"/>
            <a:chExt cx="408310" cy="396044"/>
          </a:xfrm>
        </p:grpSpPr>
        <p:sp>
          <p:nvSpPr>
            <p:cNvPr id="360" name="圆角矩形 11"/>
            <p:cNvSpPr/>
            <p:nvPr/>
          </p:nvSpPr>
          <p:spPr>
            <a:xfrm>
              <a:off x="2627784" y="245675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61" name="组合 360"/>
            <p:cNvGrpSpPr/>
            <p:nvPr/>
          </p:nvGrpSpPr>
          <p:grpSpPr>
            <a:xfrm>
              <a:off x="2732885" y="2568901"/>
              <a:ext cx="198109" cy="171751"/>
              <a:chOff x="4973638" y="2713038"/>
              <a:chExt cx="239712" cy="228601"/>
            </a:xfrm>
            <a:solidFill>
              <a:schemeClr val="bg1"/>
            </a:solidFill>
          </p:grpSpPr>
          <p:sp>
            <p:nvSpPr>
              <p:cNvPr id="362" name="Freeform 26"/>
              <p:cNvSpPr/>
              <p:nvPr/>
            </p:nvSpPr>
            <p:spPr bwMode="auto">
              <a:xfrm>
                <a:off x="4973638" y="2713038"/>
                <a:ext cx="142875" cy="228600"/>
              </a:xfrm>
              <a:custGeom>
                <a:avLst/>
                <a:gdLst>
                  <a:gd name="T0" fmla="*/ 31 w 38"/>
                  <a:gd name="T1" fmla="*/ 55 h 61"/>
                  <a:gd name="T2" fmla="*/ 31 w 38"/>
                  <a:gd name="T3" fmla="*/ 55 h 61"/>
                  <a:gd name="T4" fmla="*/ 30 w 38"/>
                  <a:gd name="T5" fmla="*/ 54 h 61"/>
                  <a:gd name="T6" fmla="*/ 30 w 38"/>
                  <a:gd name="T7" fmla="*/ 50 h 61"/>
                  <a:gd name="T8" fmla="*/ 38 w 38"/>
                  <a:gd name="T9" fmla="*/ 33 h 61"/>
                  <a:gd name="T10" fmla="*/ 28 w 38"/>
                  <a:gd name="T11" fmla="*/ 24 h 61"/>
                  <a:gd name="T12" fmla="*/ 25 w 38"/>
                  <a:gd name="T13" fmla="*/ 22 h 61"/>
                  <a:gd name="T14" fmla="*/ 27 w 38"/>
                  <a:gd name="T15" fmla="*/ 21 h 61"/>
                  <a:gd name="T16" fmla="*/ 33 w 38"/>
                  <a:gd name="T17" fmla="*/ 11 h 61"/>
                  <a:gd name="T18" fmla="*/ 21 w 38"/>
                  <a:gd name="T19" fmla="*/ 0 h 61"/>
                  <a:gd name="T20" fmla="*/ 8 w 38"/>
                  <a:gd name="T21" fmla="*/ 11 h 61"/>
                  <a:gd name="T22" fmla="*/ 14 w 38"/>
                  <a:gd name="T23" fmla="*/ 21 h 61"/>
                  <a:gd name="T24" fmla="*/ 17 w 38"/>
                  <a:gd name="T25" fmla="*/ 22 h 61"/>
                  <a:gd name="T26" fmla="*/ 14 w 38"/>
                  <a:gd name="T27" fmla="*/ 24 h 61"/>
                  <a:gd name="T28" fmla="*/ 0 w 38"/>
                  <a:gd name="T29" fmla="*/ 46 h 61"/>
                  <a:gd name="T30" fmla="*/ 0 w 38"/>
                  <a:gd name="T31" fmla="*/ 51 h 61"/>
                  <a:gd name="T32" fmla="*/ 21 w 38"/>
                  <a:gd name="T33" fmla="*/ 61 h 61"/>
                  <a:gd name="T34" fmla="*/ 33 w 38"/>
                  <a:gd name="T35" fmla="*/ 58 h 61"/>
                  <a:gd name="T36" fmla="*/ 31 w 38"/>
                  <a:gd name="T37" fmla="*/ 5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61">
                    <a:moveTo>
                      <a:pt x="31" y="55"/>
                    </a:moveTo>
                    <a:cubicBezTo>
                      <a:pt x="31" y="55"/>
                      <a:pt x="31" y="55"/>
                      <a:pt x="31" y="55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3"/>
                      <a:pt x="30" y="52"/>
                      <a:pt x="30" y="50"/>
                    </a:cubicBezTo>
                    <a:cubicBezTo>
                      <a:pt x="30" y="43"/>
                      <a:pt x="33" y="37"/>
                      <a:pt x="38" y="33"/>
                    </a:cubicBezTo>
                    <a:cubicBezTo>
                      <a:pt x="36" y="29"/>
                      <a:pt x="32" y="25"/>
                      <a:pt x="28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31" y="19"/>
                      <a:pt x="33" y="15"/>
                      <a:pt x="33" y="11"/>
                    </a:cubicBezTo>
                    <a:cubicBezTo>
                      <a:pt x="33" y="5"/>
                      <a:pt x="28" y="0"/>
                      <a:pt x="21" y="0"/>
                    </a:cubicBezTo>
                    <a:cubicBezTo>
                      <a:pt x="14" y="0"/>
                      <a:pt x="8" y="5"/>
                      <a:pt x="8" y="11"/>
                    </a:cubicBezTo>
                    <a:cubicBezTo>
                      <a:pt x="8" y="15"/>
                      <a:pt x="10" y="19"/>
                      <a:pt x="14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6" y="27"/>
                      <a:pt x="0" y="36"/>
                      <a:pt x="0" y="46"/>
                    </a:cubicBezTo>
                    <a:cubicBezTo>
                      <a:pt x="0" y="48"/>
                      <a:pt x="0" y="49"/>
                      <a:pt x="0" y="51"/>
                    </a:cubicBezTo>
                    <a:cubicBezTo>
                      <a:pt x="5" y="57"/>
                      <a:pt x="12" y="61"/>
                      <a:pt x="21" y="61"/>
                    </a:cubicBezTo>
                    <a:cubicBezTo>
                      <a:pt x="25" y="61"/>
                      <a:pt x="29" y="60"/>
                      <a:pt x="33" y="58"/>
                    </a:cubicBezTo>
                    <a:cubicBezTo>
                      <a:pt x="32" y="57"/>
                      <a:pt x="31" y="56"/>
                      <a:pt x="3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63" name="Freeform 27"/>
              <p:cNvSpPr/>
              <p:nvPr/>
            </p:nvSpPr>
            <p:spPr bwMode="auto">
              <a:xfrm>
                <a:off x="5097463" y="2768601"/>
                <a:ext cx="115887" cy="173038"/>
              </a:xfrm>
              <a:custGeom>
                <a:avLst/>
                <a:gdLst>
                  <a:gd name="T0" fmla="*/ 21 w 31"/>
                  <a:gd name="T1" fmla="*/ 18 h 46"/>
                  <a:gd name="T2" fmla="*/ 18 w 31"/>
                  <a:gd name="T3" fmla="*/ 17 h 46"/>
                  <a:gd name="T4" fmla="*/ 21 w 31"/>
                  <a:gd name="T5" fmla="*/ 15 h 46"/>
                  <a:gd name="T6" fmla="*/ 25 w 31"/>
                  <a:gd name="T7" fmla="*/ 9 h 46"/>
                  <a:gd name="T8" fmla="*/ 16 w 31"/>
                  <a:gd name="T9" fmla="*/ 0 h 46"/>
                  <a:gd name="T10" fmla="*/ 7 w 31"/>
                  <a:gd name="T11" fmla="*/ 9 h 46"/>
                  <a:gd name="T12" fmla="*/ 11 w 31"/>
                  <a:gd name="T13" fmla="*/ 15 h 46"/>
                  <a:gd name="T14" fmla="*/ 14 w 31"/>
                  <a:gd name="T15" fmla="*/ 17 h 46"/>
                  <a:gd name="T16" fmla="*/ 11 w 31"/>
                  <a:gd name="T17" fmla="*/ 18 h 46"/>
                  <a:gd name="T18" fmla="*/ 9 w 31"/>
                  <a:gd name="T19" fmla="*/ 19 h 46"/>
                  <a:gd name="T20" fmla="*/ 8 w 31"/>
                  <a:gd name="T21" fmla="*/ 20 h 46"/>
                  <a:gd name="T22" fmla="*/ 7 w 31"/>
                  <a:gd name="T23" fmla="*/ 21 h 46"/>
                  <a:gd name="T24" fmla="*/ 0 w 31"/>
                  <a:gd name="T25" fmla="*/ 35 h 46"/>
                  <a:gd name="T26" fmla="*/ 1 w 31"/>
                  <a:gd name="T27" fmla="*/ 38 h 46"/>
                  <a:gd name="T28" fmla="*/ 3 w 31"/>
                  <a:gd name="T29" fmla="*/ 41 h 46"/>
                  <a:gd name="T30" fmla="*/ 4 w 31"/>
                  <a:gd name="T31" fmla="*/ 42 h 46"/>
                  <a:gd name="T32" fmla="*/ 6 w 31"/>
                  <a:gd name="T33" fmla="*/ 43 h 46"/>
                  <a:gd name="T34" fmla="*/ 16 w 31"/>
                  <a:gd name="T35" fmla="*/ 46 h 46"/>
                  <a:gd name="T36" fmla="*/ 31 w 31"/>
                  <a:gd name="T37" fmla="*/ 38 h 46"/>
                  <a:gd name="T38" fmla="*/ 31 w 31"/>
                  <a:gd name="T39" fmla="*/ 35 h 46"/>
                  <a:gd name="T40" fmla="*/ 21 w 31"/>
                  <a:gd name="T41" fmla="*/ 1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46">
                    <a:moveTo>
                      <a:pt x="21" y="18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3" y="14"/>
                      <a:pt x="25" y="11"/>
                      <a:pt x="25" y="9"/>
                    </a:cubicBezTo>
                    <a:cubicBezTo>
                      <a:pt x="25" y="4"/>
                      <a:pt x="21" y="0"/>
                      <a:pt x="16" y="0"/>
                    </a:cubicBezTo>
                    <a:cubicBezTo>
                      <a:pt x="11" y="0"/>
                      <a:pt x="7" y="4"/>
                      <a:pt x="7" y="9"/>
                    </a:cubicBezTo>
                    <a:cubicBezTo>
                      <a:pt x="7" y="11"/>
                      <a:pt x="8" y="14"/>
                      <a:pt x="11" y="15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0" y="19"/>
                      <a:pt x="10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8" y="20"/>
                      <a:pt x="7" y="21"/>
                      <a:pt x="7" y="21"/>
                    </a:cubicBezTo>
                    <a:cubicBezTo>
                      <a:pt x="3" y="24"/>
                      <a:pt x="0" y="29"/>
                      <a:pt x="0" y="35"/>
                    </a:cubicBezTo>
                    <a:cubicBezTo>
                      <a:pt x="0" y="36"/>
                      <a:pt x="1" y="37"/>
                      <a:pt x="1" y="38"/>
                    </a:cubicBezTo>
                    <a:cubicBezTo>
                      <a:pt x="1" y="39"/>
                      <a:pt x="2" y="40"/>
                      <a:pt x="3" y="41"/>
                    </a:cubicBezTo>
                    <a:cubicBezTo>
                      <a:pt x="3" y="41"/>
                      <a:pt x="4" y="42"/>
                      <a:pt x="4" y="42"/>
                    </a:cubicBezTo>
                    <a:cubicBezTo>
                      <a:pt x="5" y="42"/>
                      <a:pt x="5" y="43"/>
                      <a:pt x="6" y="43"/>
                    </a:cubicBezTo>
                    <a:cubicBezTo>
                      <a:pt x="9" y="45"/>
                      <a:pt x="12" y="46"/>
                      <a:pt x="16" y="46"/>
                    </a:cubicBezTo>
                    <a:cubicBezTo>
                      <a:pt x="22" y="46"/>
                      <a:pt x="27" y="43"/>
                      <a:pt x="31" y="38"/>
                    </a:cubicBezTo>
                    <a:cubicBezTo>
                      <a:pt x="31" y="37"/>
                      <a:pt x="31" y="36"/>
                      <a:pt x="31" y="35"/>
                    </a:cubicBezTo>
                    <a:cubicBezTo>
                      <a:pt x="31" y="27"/>
                      <a:pt x="27" y="21"/>
                      <a:pt x="2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Picture 376" descr="E:\迅雷下载\shutterstock_103328714.jpg"/>
          <p:cNvPicPr>
            <a:picLocks noChangeAspect="1" noChangeArrowheads="1"/>
          </p:cNvPicPr>
          <p:nvPr/>
        </p:nvPicPr>
        <p:blipFill rotWithShape="1">
          <a:blip r:embed="rId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31"/>
          <a:stretch>
            <a:fillRect/>
          </a:stretch>
        </p:blipFill>
        <p:spPr bwMode="auto">
          <a:xfrm>
            <a:off x="7909" y="0"/>
            <a:ext cx="9145069" cy="5173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任意多边形 99"/>
          <p:cNvSpPr/>
          <p:nvPr/>
        </p:nvSpPr>
        <p:spPr>
          <a:xfrm>
            <a:off x="607932" y="4692096"/>
            <a:ext cx="8521554" cy="417082"/>
          </a:xfrm>
          <a:custGeom>
            <a:avLst/>
            <a:gdLst>
              <a:gd name="connsiteX0" fmla="*/ 0 w 7132320"/>
              <a:gd name="connsiteY0" fmla="*/ 0 h 777240"/>
              <a:gd name="connsiteX1" fmla="*/ 7132320 w 7132320"/>
              <a:gd name="connsiteY1" fmla="*/ 205740 h 777240"/>
              <a:gd name="connsiteX2" fmla="*/ 7109460 w 7132320"/>
              <a:gd name="connsiteY2" fmla="*/ 731520 h 777240"/>
              <a:gd name="connsiteX3" fmla="*/ 114300 w 7132320"/>
              <a:gd name="connsiteY3" fmla="*/ 777240 h 777240"/>
              <a:gd name="connsiteX4" fmla="*/ 0 w 7132320"/>
              <a:gd name="connsiteY4" fmla="*/ 0 h 777240"/>
              <a:gd name="connsiteX0-1" fmla="*/ 0 w 7132320"/>
              <a:gd name="connsiteY0-2" fmla="*/ 0 h 852139"/>
              <a:gd name="connsiteX1-3" fmla="*/ 7132320 w 7132320"/>
              <a:gd name="connsiteY1-4" fmla="*/ 205740 h 852139"/>
              <a:gd name="connsiteX2-5" fmla="*/ 7130799 w 7132320"/>
              <a:gd name="connsiteY2-6" fmla="*/ 852139 h 852139"/>
              <a:gd name="connsiteX3-7" fmla="*/ 114300 w 7132320"/>
              <a:gd name="connsiteY3-8" fmla="*/ 777240 h 852139"/>
              <a:gd name="connsiteX4-9" fmla="*/ 0 w 7132320"/>
              <a:gd name="connsiteY4-10" fmla="*/ 0 h 852139"/>
              <a:gd name="connsiteX0-11" fmla="*/ 0 w 7152138"/>
              <a:gd name="connsiteY0-12" fmla="*/ 0 h 1066574"/>
              <a:gd name="connsiteX1-13" fmla="*/ 7132320 w 7152138"/>
              <a:gd name="connsiteY1-14" fmla="*/ 205740 h 1066574"/>
              <a:gd name="connsiteX2-15" fmla="*/ 7152138 w 7152138"/>
              <a:gd name="connsiteY2-16" fmla="*/ 1066574 h 1066574"/>
              <a:gd name="connsiteX3-17" fmla="*/ 114300 w 7152138"/>
              <a:gd name="connsiteY3-18" fmla="*/ 777240 h 1066574"/>
              <a:gd name="connsiteX4-19" fmla="*/ 0 w 7152138"/>
              <a:gd name="connsiteY4-20" fmla="*/ 0 h 1066574"/>
              <a:gd name="connsiteX0-21" fmla="*/ 0 w 7160771"/>
              <a:gd name="connsiteY0-22" fmla="*/ 0 h 1066574"/>
              <a:gd name="connsiteX1-23" fmla="*/ 7160771 w 7160771"/>
              <a:gd name="connsiteY1-24" fmla="*/ 581000 h 1066574"/>
              <a:gd name="connsiteX2-25" fmla="*/ 7152138 w 7160771"/>
              <a:gd name="connsiteY2-26" fmla="*/ 1066574 h 1066574"/>
              <a:gd name="connsiteX3-27" fmla="*/ 114300 w 7160771"/>
              <a:gd name="connsiteY3-28" fmla="*/ 777240 h 1066574"/>
              <a:gd name="connsiteX4-29" fmla="*/ 0 w 7160771"/>
              <a:gd name="connsiteY4-30" fmla="*/ 0 h 1066574"/>
              <a:gd name="connsiteX0-31" fmla="*/ 0 w 7096757"/>
              <a:gd name="connsiteY0-32" fmla="*/ 0 h 1629465"/>
              <a:gd name="connsiteX1-33" fmla="*/ 7096757 w 7096757"/>
              <a:gd name="connsiteY1-34" fmla="*/ 1143891 h 1629465"/>
              <a:gd name="connsiteX2-35" fmla="*/ 7088124 w 7096757"/>
              <a:gd name="connsiteY2-36" fmla="*/ 1629465 h 1629465"/>
              <a:gd name="connsiteX3-37" fmla="*/ 50286 w 7096757"/>
              <a:gd name="connsiteY3-38" fmla="*/ 1340131 h 1629465"/>
              <a:gd name="connsiteX4-39" fmla="*/ 0 w 7096757"/>
              <a:gd name="connsiteY4-40" fmla="*/ 0 h 1629465"/>
              <a:gd name="connsiteX0-41" fmla="*/ 0 w 7096757"/>
              <a:gd name="connsiteY0-42" fmla="*/ 0 h 1629465"/>
              <a:gd name="connsiteX1-43" fmla="*/ 7096757 w 7096757"/>
              <a:gd name="connsiteY1-44" fmla="*/ 1143891 h 1629465"/>
              <a:gd name="connsiteX2-45" fmla="*/ 7088124 w 7096757"/>
              <a:gd name="connsiteY2-46" fmla="*/ 1629465 h 1629465"/>
              <a:gd name="connsiteX3-47" fmla="*/ 55287 w 7096757"/>
              <a:gd name="connsiteY3-48" fmla="*/ 1358738 h 1629465"/>
              <a:gd name="connsiteX4-49" fmla="*/ 0 w 7096757"/>
              <a:gd name="connsiteY4-50" fmla="*/ 0 h 162946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7096757" h="1629465">
                <a:moveTo>
                  <a:pt x="0" y="0"/>
                </a:moveTo>
                <a:lnTo>
                  <a:pt x="7096757" y="1143891"/>
                </a:lnTo>
                <a:lnTo>
                  <a:pt x="7088124" y="1629465"/>
                </a:lnTo>
                <a:lnTo>
                  <a:pt x="55287" y="135873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920000"/>
              </a:gs>
              <a:gs pos="24000">
                <a:srgbClr val="4C0000"/>
              </a:gs>
              <a:gs pos="100000">
                <a:srgbClr val="786F44">
                  <a:alpha val="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1" name="任意多边形 100"/>
          <p:cNvSpPr/>
          <p:nvPr/>
        </p:nvSpPr>
        <p:spPr>
          <a:xfrm>
            <a:off x="420688" y="3792538"/>
            <a:ext cx="2095500" cy="439737"/>
          </a:xfrm>
          <a:custGeom>
            <a:avLst/>
            <a:gdLst>
              <a:gd name="connsiteX0" fmla="*/ 388800 w 1872000"/>
              <a:gd name="connsiteY0" fmla="*/ 0 h 626400"/>
              <a:gd name="connsiteX1" fmla="*/ 1872000 w 1872000"/>
              <a:gd name="connsiteY1" fmla="*/ 100800 h 626400"/>
              <a:gd name="connsiteX2" fmla="*/ 396000 w 1872000"/>
              <a:gd name="connsiteY2" fmla="*/ 626400 h 626400"/>
              <a:gd name="connsiteX3" fmla="*/ 0 w 1872000"/>
              <a:gd name="connsiteY3" fmla="*/ 424800 h 626400"/>
              <a:gd name="connsiteX4" fmla="*/ 144000 w 1872000"/>
              <a:gd name="connsiteY4" fmla="*/ 7200 h 626400"/>
              <a:gd name="connsiteX5" fmla="*/ 388800 w 1872000"/>
              <a:gd name="connsiteY5" fmla="*/ 0 h 626400"/>
              <a:gd name="connsiteX0-1" fmla="*/ 388800 w 1872000"/>
              <a:gd name="connsiteY0-2" fmla="*/ 0 h 547200"/>
              <a:gd name="connsiteX1-3" fmla="*/ 1872000 w 1872000"/>
              <a:gd name="connsiteY1-4" fmla="*/ 100800 h 547200"/>
              <a:gd name="connsiteX2-5" fmla="*/ 547200 w 1872000"/>
              <a:gd name="connsiteY2-6" fmla="*/ 547200 h 547200"/>
              <a:gd name="connsiteX3-7" fmla="*/ 0 w 1872000"/>
              <a:gd name="connsiteY3-8" fmla="*/ 424800 h 547200"/>
              <a:gd name="connsiteX4-9" fmla="*/ 144000 w 1872000"/>
              <a:gd name="connsiteY4-10" fmla="*/ 7200 h 547200"/>
              <a:gd name="connsiteX5-11" fmla="*/ 388800 w 1872000"/>
              <a:gd name="connsiteY5-12" fmla="*/ 0 h 547200"/>
              <a:gd name="connsiteX0-13" fmla="*/ 388800 w 1872000"/>
              <a:gd name="connsiteY0-14" fmla="*/ 0 h 547902"/>
              <a:gd name="connsiteX1-15" fmla="*/ 1872000 w 1872000"/>
              <a:gd name="connsiteY1-16" fmla="*/ 100800 h 547902"/>
              <a:gd name="connsiteX2-17" fmla="*/ 547200 w 1872000"/>
              <a:gd name="connsiteY2-18" fmla="*/ 547200 h 547902"/>
              <a:gd name="connsiteX3-19" fmla="*/ 0 w 1872000"/>
              <a:gd name="connsiteY3-20" fmla="*/ 424800 h 547902"/>
              <a:gd name="connsiteX4-21" fmla="*/ 144000 w 1872000"/>
              <a:gd name="connsiteY4-22" fmla="*/ 7200 h 547902"/>
              <a:gd name="connsiteX5-23" fmla="*/ 388800 w 1872000"/>
              <a:gd name="connsiteY5-24" fmla="*/ 0 h 547902"/>
              <a:gd name="connsiteX0-25" fmla="*/ 388800 w 1872000"/>
              <a:gd name="connsiteY0-26" fmla="*/ 0 h 547200"/>
              <a:gd name="connsiteX1-27" fmla="*/ 1872000 w 1872000"/>
              <a:gd name="connsiteY1-28" fmla="*/ 100800 h 547200"/>
              <a:gd name="connsiteX2-29" fmla="*/ 547200 w 1872000"/>
              <a:gd name="connsiteY2-30" fmla="*/ 547200 h 547200"/>
              <a:gd name="connsiteX3-31" fmla="*/ 0 w 1872000"/>
              <a:gd name="connsiteY3-32" fmla="*/ 424800 h 547200"/>
              <a:gd name="connsiteX4-33" fmla="*/ 144000 w 1872000"/>
              <a:gd name="connsiteY4-34" fmla="*/ 7200 h 547200"/>
              <a:gd name="connsiteX5-35" fmla="*/ 388800 w 1872000"/>
              <a:gd name="connsiteY5-36" fmla="*/ 0 h 547200"/>
              <a:gd name="connsiteX0-37" fmla="*/ 388800 w 1872000"/>
              <a:gd name="connsiteY0-38" fmla="*/ 0 h 547200"/>
              <a:gd name="connsiteX1-39" fmla="*/ 1872000 w 1872000"/>
              <a:gd name="connsiteY1-40" fmla="*/ 100800 h 547200"/>
              <a:gd name="connsiteX2-41" fmla="*/ 547200 w 1872000"/>
              <a:gd name="connsiteY2-42" fmla="*/ 547200 h 547200"/>
              <a:gd name="connsiteX3-43" fmla="*/ 0 w 1872000"/>
              <a:gd name="connsiteY3-44" fmla="*/ 424800 h 547200"/>
              <a:gd name="connsiteX4-45" fmla="*/ 144000 w 1872000"/>
              <a:gd name="connsiteY4-46" fmla="*/ 7200 h 547200"/>
              <a:gd name="connsiteX5-47" fmla="*/ 388800 w 1872000"/>
              <a:gd name="connsiteY5-48" fmla="*/ 0 h 547200"/>
              <a:gd name="connsiteX0-49" fmla="*/ 522150 w 2005350"/>
              <a:gd name="connsiteY0-50" fmla="*/ 0 h 547200"/>
              <a:gd name="connsiteX1-51" fmla="*/ 2005350 w 2005350"/>
              <a:gd name="connsiteY1-52" fmla="*/ 100800 h 547200"/>
              <a:gd name="connsiteX2-53" fmla="*/ 680550 w 2005350"/>
              <a:gd name="connsiteY2-54" fmla="*/ 547200 h 547200"/>
              <a:gd name="connsiteX3-55" fmla="*/ 0 w 2005350"/>
              <a:gd name="connsiteY3-56" fmla="*/ 367650 h 547200"/>
              <a:gd name="connsiteX4-57" fmla="*/ 277350 w 2005350"/>
              <a:gd name="connsiteY4-58" fmla="*/ 7200 h 547200"/>
              <a:gd name="connsiteX5-59" fmla="*/ 522150 w 2005350"/>
              <a:gd name="connsiteY5-60" fmla="*/ 0 h 547200"/>
              <a:gd name="connsiteX0-61" fmla="*/ 603112 w 2086312"/>
              <a:gd name="connsiteY0-62" fmla="*/ 0 h 547200"/>
              <a:gd name="connsiteX1-63" fmla="*/ 2086312 w 2086312"/>
              <a:gd name="connsiteY1-64" fmla="*/ 100800 h 547200"/>
              <a:gd name="connsiteX2-65" fmla="*/ 761512 w 2086312"/>
              <a:gd name="connsiteY2-66" fmla="*/ 547200 h 547200"/>
              <a:gd name="connsiteX3-67" fmla="*/ 0 w 2086312"/>
              <a:gd name="connsiteY3-68" fmla="*/ 258113 h 547200"/>
              <a:gd name="connsiteX4-69" fmla="*/ 358312 w 2086312"/>
              <a:gd name="connsiteY4-70" fmla="*/ 7200 h 547200"/>
              <a:gd name="connsiteX5-71" fmla="*/ 603112 w 2086312"/>
              <a:gd name="connsiteY5-72" fmla="*/ 0 h 547200"/>
              <a:gd name="connsiteX0-73" fmla="*/ 603112 w 2086312"/>
              <a:gd name="connsiteY0-74" fmla="*/ 0 h 547200"/>
              <a:gd name="connsiteX1-75" fmla="*/ 2086312 w 2086312"/>
              <a:gd name="connsiteY1-76" fmla="*/ 100800 h 547200"/>
              <a:gd name="connsiteX2-77" fmla="*/ 761512 w 2086312"/>
              <a:gd name="connsiteY2-78" fmla="*/ 547200 h 547200"/>
              <a:gd name="connsiteX3-79" fmla="*/ 0 w 2086312"/>
              <a:gd name="connsiteY3-80" fmla="*/ 258113 h 547200"/>
              <a:gd name="connsiteX4-81" fmla="*/ 358312 w 2086312"/>
              <a:gd name="connsiteY4-82" fmla="*/ 7200 h 547200"/>
              <a:gd name="connsiteX5-83" fmla="*/ 603112 w 2086312"/>
              <a:gd name="connsiteY5-84" fmla="*/ 0 h 5472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086312" h="547200">
                <a:moveTo>
                  <a:pt x="603112" y="0"/>
                </a:moveTo>
                <a:lnTo>
                  <a:pt x="2086312" y="100800"/>
                </a:lnTo>
                <a:lnTo>
                  <a:pt x="761512" y="547200"/>
                </a:lnTo>
                <a:cubicBezTo>
                  <a:pt x="168712" y="470400"/>
                  <a:pt x="106087" y="401588"/>
                  <a:pt x="0" y="258113"/>
                </a:cubicBezTo>
                <a:lnTo>
                  <a:pt x="358312" y="7200"/>
                </a:lnTo>
                <a:lnTo>
                  <a:pt x="603112" y="0"/>
                </a:lnTo>
                <a:close/>
              </a:path>
            </a:pathLst>
          </a:custGeom>
          <a:solidFill>
            <a:srgbClr val="7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2" name="Freeform 203"/>
          <p:cNvSpPr/>
          <p:nvPr/>
        </p:nvSpPr>
        <p:spPr bwMode="auto">
          <a:xfrm>
            <a:off x="939800" y="3713163"/>
            <a:ext cx="2314575" cy="215900"/>
          </a:xfrm>
          <a:custGeom>
            <a:avLst/>
            <a:gdLst>
              <a:gd name="T0" fmla="*/ 15 w 614"/>
              <a:gd name="T1" fmla="*/ 13 h 72"/>
              <a:gd name="T2" fmla="*/ 399 w 614"/>
              <a:gd name="T3" fmla="*/ 24 h 72"/>
              <a:gd name="T4" fmla="*/ 614 w 614"/>
              <a:gd name="T5" fmla="*/ 0 h 72"/>
              <a:gd name="T6" fmla="*/ 606 w 614"/>
              <a:gd name="T7" fmla="*/ 19 h 72"/>
              <a:gd name="T8" fmla="*/ 0 w 614"/>
              <a:gd name="T9" fmla="*/ 20 h 72"/>
              <a:gd name="T10" fmla="*/ 15 w 614"/>
              <a:gd name="T11" fmla="*/ 13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4" h="72">
                <a:moveTo>
                  <a:pt x="15" y="13"/>
                </a:moveTo>
                <a:cubicBezTo>
                  <a:pt x="81" y="31"/>
                  <a:pt x="272" y="35"/>
                  <a:pt x="399" y="24"/>
                </a:cubicBezTo>
                <a:cubicBezTo>
                  <a:pt x="471" y="18"/>
                  <a:pt x="543" y="9"/>
                  <a:pt x="614" y="0"/>
                </a:cubicBezTo>
                <a:cubicBezTo>
                  <a:pt x="606" y="19"/>
                  <a:pt x="606" y="19"/>
                  <a:pt x="606" y="19"/>
                </a:cubicBezTo>
                <a:cubicBezTo>
                  <a:pt x="410" y="72"/>
                  <a:pt x="75" y="71"/>
                  <a:pt x="0" y="20"/>
                </a:cubicBezTo>
                <a:cubicBezTo>
                  <a:pt x="5" y="18"/>
                  <a:pt x="10" y="16"/>
                  <a:pt x="15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03" name="Freeform 206"/>
          <p:cNvSpPr/>
          <p:nvPr/>
        </p:nvSpPr>
        <p:spPr bwMode="auto">
          <a:xfrm>
            <a:off x="331788" y="4129088"/>
            <a:ext cx="3260725" cy="906462"/>
          </a:xfrm>
          <a:custGeom>
            <a:avLst/>
            <a:gdLst>
              <a:gd name="T0" fmla="*/ 2147483646 w 866"/>
              <a:gd name="T1" fmla="*/ 2147483646 h 301"/>
              <a:gd name="T2" fmla="*/ 2147483646 w 866"/>
              <a:gd name="T3" fmla="*/ 2147483646 h 301"/>
              <a:gd name="T4" fmla="*/ 2147483646 w 866"/>
              <a:gd name="T5" fmla="*/ 2147483646 h 301"/>
              <a:gd name="T6" fmla="*/ 2147483646 w 866"/>
              <a:gd name="T7" fmla="*/ 2147483646 h 301"/>
              <a:gd name="T8" fmla="*/ 2147483646 w 866"/>
              <a:gd name="T9" fmla="*/ 2147483646 h 301"/>
              <a:gd name="T10" fmla="*/ 2147483646 w 866"/>
              <a:gd name="T11" fmla="*/ 0 h 301"/>
              <a:gd name="T12" fmla="*/ 2147483646 w 866"/>
              <a:gd name="T13" fmla="*/ 2147483646 h 3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66" h="301">
                <a:moveTo>
                  <a:pt x="866" y="6"/>
                </a:moveTo>
                <a:cubicBezTo>
                  <a:pt x="840" y="25"/>
                  <a:pt x="799" y="57"/>
                  <a:pt x="787" y="63"/>
                </a:cubicBezTo>
                <a:cubicBezTo>
                  <a:pt x="576" y="168"/>
                  <a:pt x="79" y="278"/>
                  <a:pt x="88" y="301"/>
                </a:cubicBezTo>
                <a:cubicBezTo>
                  <a:pt x="62" y="294"/>
                  <a:pt x="2" y="278"/>
                  <a:pt x="2" y="274"/>
                </a:cubicBezTo>
                <a:cubicBezTo>
                  <a:pt x="0" y="257"/>
                  <a:pt x="308" y="165"/>
                  <a:pt x="461" y="121"/>
                </a:cubicBezTo>
                <a:cubicBezTo>
                  <a:pt x="592" y="84"/>
                  <a:pt x="722" y="40"/>
                  <a:pt x="852" y="0"/>
                </a:cubicBezTo>
                <a:cubicBezTo>
                  <a:pt x="857" y="2"/>
                  <a:pt x="861" y="4"/>
                  <a:pt x="866" y="6"/>
                </a:cubicBezTo>
                <a:close/>
              </a:path>
            </a:pathLst>
          </a:custGeom>
          <a:solidFill>
            <a:srgbClr val="92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04" name="Freeform 208"/>
          <p:cNvSpPr/>
          <p:nvPr/>
        </p:nvSpPr>
        <p:spPr bwMode="auto">
          <a:xfrm>
            <a:off x="38100" y="1912938"/>
            <a:ext cx="6775450" cy="2251075"/>
          </a:xfrm>
          <a:custGeom>
            <a:avLst/>
            <a:gdLst>
              <a:gd name="T0" fmla="*/ 2147483646 w 1799"/>
              <a:gd name="T1" fmla="*/ 2147483646 h 748"/>
              <a:gd name="T2" fmla="*/ 2147483646 w 1799"/>
              <a:gd name="T3" fmla="*/ 2147483646 h 748"/>
              <a:gd name="T4" fmla="*/ 2147483646 w 1799"/>
              <a:gd name="T5" fmla="*/ 0 h 748"/>
              <a:gd name="T6" fmla="*/ 2147483646 w 1799"/>
              <a:gd name="T7" fmla="*/ 0 h 748"/>
              <a:gd name="T8" fmla="*/ 2147483646 w 1799"/>
              <a:gd name="T9" fmla="*/ 2147483646 h 748"/>
              <a:gd name="T10" fmla="*/ 2147483646 w 1799"/>
              <a:gd name="T11" fmla="*/ 2147483646 h 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799" h="748">
                <a:moveTo>
                  <a:pt x="180" y="748"/>
                </a:moveTo>
                <a:cubicBezTo>
                  <a:pt x="140" y="708"/>
                  <a:pt x="244" y="596"/>
                  <a:pt x="504" y="564"/>
                </a:cubicBezTo>
                <a:cubicBezTo>
                  <a:pt x="1023" y="480"/>
                  <a:pt x="1739" y="476"/>
                  <a:pt x="1799" y="0"/>
                </a:cubicBezTo>
                <a:cubicBezTo>
                  <a:pt x="1791" y="0"/>
                  <a:pt x="1795" y="0"/>
                  <a:pt x="1783" y="0"/>
                </a:cubicBezTo>
                <a:cubicBezTo>
                  <a:pt x="1719" y="376"/>
                  <a:pt x="1315" y="412"/>
                  <a:pt x="456" y="520"/>
                </a:cubicBezTo>
                <a:cubicBezTo>
                  <a:pt x="120" y="568"/>
                  <a:pt x="0" y="704"/>
                  <a:pt x="180" y="748"/>
                </a:cubicBezTo>
                <a:close/>
              </a:path>
            </a:pathLst>
          </a:custGeom>
          <a:solidFill>
            <a:srgbClr val="92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05" name="TextBox 104"/>
          <p:cNvSpPr txBox="1">
            <a:spLocks noChangeArrowheads="1"/>
          </p:cNvSpPr>
          <p:nvPr/>
        </p:nvSpPr>
        <p:spPr bwMode="auto">
          <a:xfrm>
            <a:off x="6256338" y="762000"/>
            <a:ext cx="10001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400">
                <a:solidFill>
                  <a:srgbClr val="96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  <a:endParaRPr lang="zh-CN" altLang="en-US" sz="2400">
              <a:solidFill>
                <a:srgbClr val="96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7" name="Picture 3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61175" y="3754438"/>
            <a:ext cx="1185863" cy="135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9" name="组合 108"/>
          <p:cNvGrpSpPr/>
          <p:nvPr/>
        </p:nvGrpSpPr>
        <p:grpSpPr bwMode="auto">
          <a:xfrm>
            <a:off x="398463" y="1130300"/>
            <a:ext cx="6596062" cy="2841625"/>
            <a:chOff x="398118" y="1130361"/>
            <a:chExt cx="6596591" cy="2841338"/>
          </a:xfrm>
        </p:grpSpPr>
        <p:sp>
          <p:nvSpPr>
            <p:cNvPr id="110" name="Freeform 209"/>
            <p:cNvSpPr/>
            <p:nvPr/>
          </p:nvSpPr>
          <p:spPr bwMode="auto">
            <a:xfrm>
              <a:off x="398118" y="1130361"/>
              <a:ext cx="6596591" cy="2841338"/>
            </a:xfrm>
            <a:custGeom>
              <a:avLst/>
              <a:gdLst>
                <a:gd name="T0" fmla="*/ 0 w 1751"/>
                <a:gd name="T1" fmla="*/ 944 h 944"/>
                <a:gd name="T2" fmla="*/ 1687 w 1751"/>
                <a:gd name="T3" fmla="*/ 260 h 944"/>
                <a:gd name="T4" fmla="*/ 1751 w 1751"/>
                <a:gd name="T5" fmla="*/ 264 h 944"/>
                <a:gd name="T6" fmla="*/ 1523 w 1751"/>
                <a:gd name="T7" fmla="*/ 0 h 944"/>
                <a:gd name="T8" fmla="*/ 1315 w 1751"/>
                <a:gd name="T9" fmla="*/ 216 h 944"/>
                <a:gd name="T10" fmla="*/ 1383 w 1751"/>
                <a:gd name="T11" fmla="*/ 224 h 944"/>
                <a:gd name="T12" fmla="*/ 64 w 1751"/>
                <a:gd name="T13" fmla="*/ 760 h 944"/>
                <a:gd name="T14" fmla="*/ 0 w 1751"/>
                <a:gd name="T15" fmla="*/ 944 h 944"/>
                <a:gd name="connsiteX0" fmla="*/ 0 w 10000"/>
                <a:gd name="connsiteY0" fmla="*/ 10000 h 10000"/>
                <a:gd name="connsiteX1" fmla="*/ 9634 w 10000"/>
                <a:gd name="connsiteY1" fmla="*/ 2754 h 10000"/>
                <a:gd name="connsiteX2" fmla="*/ 10000 w 10000"/>
                <a:gd name="connsiteY2" fmla="*/ 2797 h 10000"/>
                <a:gd name="connsiteX3" fmla="*/ 8698 w 10000"/>
                <a:gd name="connsiteY3" fmla="*/ 0 h 10000"/>
                <a:gd name="connsiteX4" fmla="*/ 7510 w 10000"/>
                <a:gd name="connsiteY4" fmla="*/ 2288 h 10000"/>
                <a:gd name="connsiteX5" fmla="*/ 7898 w 10000"/>
                <a:gd name="connsiteY5" fmla="*/ 2373 h 10000"/>
                <a:gd name="connsiteX6" fmla="*/ 366 w 10000"/>
                <a:gd name="connsiteY6" fmla="*/ 8051 h 10000"/>
                <a:gd name="connsiteX7" fmla="*/ 0 w 10000"/>
                <a:gd name="connsiteY7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617" y="6653"/>
                    <a:pt x="9155" y="9703"/>
                    <a:pt x="9634" y="2754"/>
                  </a:cubicBezTo>
                  <a:cubicBezTo>
                    <a:pt x="9772" y="2754"/>
                    <a:pt x="9863" y="2797"/>
                    <a:pt x="10000" y="2797"/>
                  </a:cubicBezTo>
                  <a:lnTo>
                    <a:pt x="8698" y="0"/>
                  </a:lnTo>
                  <a:lnTo>
                    <a:pt x="7510" y="2288"/>
                  </a:lnTo>
                  <a:lnTo>
                    <a:pt x="7898" y="2373"/>
                  </a:lnTo>
                  <a:cubicBezTo>
                    <a:pt x="8635" y="7795"/>
                    <a:pt x="1439" y="4831"/>
                    <a:pt x="366" y="8051"/>
                  </a:cubicBezTo>
                  <a:cubicBezTo>
                    <a:pt x="228" y="8771"/>
                    <a:pt x="23" y="9576"/>
                    <a:pt x="0" y="1000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111" name="组合 110"/>
            <p:cNvGrpSpPr/>
            <p:nvPr/>
          </p:nvGrpSpPr>
          <p:grpSpPr>
            <a:xfrm>
              <a:off x="545488" y="1712671"/>
              <a:ext cx="5585783" cy="1961361"/>
              <a:chOff x="560002" y="1731721"/>
              <a:chExt cx="5585783" cy="1961361"/>
            </a:xfrm>
            <a:gradFill>
              <a:gsLst>
                <a:gs pos="0">
                  <a:schemeClr val="bg1">
                    <a:alpha val="41000"/>
                  </a:schemeClr>
                </a:gs>
                <a:gs pos="100000">
                  <a:schemeClr val="bg1">
                    <a:alpha val="39000"/>
                  </a:schemeClr>
                </a:gs>
              </a:gsLst>
              <a:lin ang="0" scaled="1"/>
            </a:gradFill>
          </p:grpSpPr>
          <p:sp>
            <p:nvSpPr>
              <p:cNvPr id="112" name="任意多边形 111"/>
              <p:cNvSpPr/>
              <p:nvPr/>
            </p:nvSpPr>
            <p:spPr>
              <a:xfrm>
                <a:off x="560002" y="3296104"/>
                <a:ext cx="1146998" cy="396978"/>
              </a:xfrm>
              <a:custGeom>
                <a:avLst/>
                <a:gdLst>
                  <a:gd name="connsiteX0" fmla="*/ 1146998 w 5550979"/>
                  <a:gd name="connsiteY0" fmla="*/ 1514343 h 1951019"/>
                  <a:gd name="connsiteX1" fmla="*/ 1137636 w 5550979"/>
                  <a:gd name="connsiteY1" fmla="*/ 1563435 h 1951019"/>
                  <a:gd name="connsiteX2" fmla="*/ 990129 w 5550979"/>
                  <a:gd name="connsiteY2" fmla="*/ 1581970 h 1951019"/>
                  <a:gd name="connsiteX3" fmla="*/ 0 w 5550979"/>
                  <a:gd name="connsiteY3" fmla="*/ 1951019 h 1951019"/>
                  <a:gd name="connsiteX4" fmla="*/ 10729 w 5550979"/>
                  <a:gd name="connsiteY4" fmla="*/ 1905406 h 1951019"/>
                  <a:gd name="connsiteX5" fmla="*/ 1146998 w 5550979"/>
                  <a:gd name="connsiteY5" fmla="*/ 1514343 h 1951019"/>
                  <a:gd name="connsiteX6" fmla="*/ 2814666 w 5550979"/>
                  <a:gd name="connsiteY6" fmla="*/ 1370787 h 1951019"/>
                  <a:gd name="connsiteX7" fmla="*/ 2808008 w 5550979"/>
                  <a:gd name="connsiteY7" fmla="*/ 1418875 h 1951019"/>
                  <a:gd name="connsiteX8" fmla="*/ 1432776 w 5550979"/>
                  <a:gd name="connsiteY8" fmla="*/ 1533953 h 1951019"/>
                  <a:gd name="connsiteX9" fmla="*/ 1442411 w 5550979"/>
                  <a:gd name="connsiteY9" fmla="*/ 1483432 h 1951019"/>
                  <a:gd name="connsiteX10" fmla="*/ 2814666 w 5550979"/>
                  <a:gd name="connsiteY10" fmla="*/ 1370787 h 1951019"/>
                  <a:gd name="connsiteX11" fmla="*/ 4811635 w 5550979"/>
                  <a:gd name="connsiteY11" fmla="*/ 1035765 h 1951019"/>
                  <a:gd name="connsiteX12" fmla="*/ 4829298 w 5550979"/>
                  <a:gd name="connsiteY12" fmla="*/ 1073432 h 1951019"/>
                  <a:gd name="connsiteX13" fmla="*/ 4710439 w 5550979"/>
                  <a:gd name="connsiteY13" fmla="*/ 1117628 h 1951019"/>
                  <a:gd name="connsiteX14" fmla="*/ 3173047 w 5550979"/>
                  <a:gd name="connsiteY14" fmla="*/ 1384494 h 1951019"/>
                  <a:gd name="connsiteX15" fmla="*/ 3179658 w 5550979"/>
                  <a:gd name="connsiteY15" fmla="*/ 1336744 h 1951019"/>
                  <a:gd name="connsiteX16" fmla="*/ 4676307 w 5550979"/>
                  <a:gd name="connsiteY16" fmla="*/ 1087465 h 1951019"/>
                  <a:gd name="connsiteX17" fmla="*/ 4811635 w 5550979"/>
                  <a:gd name="connsiteY17" fmla="*/ 1035765 h 1951019"/>
                  <a:gd name="connsiteX18" fmla="*/ 5548579 w 5550979"/>
                  <a:gd name="connsiteY18" fmla="*/ 0 h 1951019"/>
                  <a:gd name="connsiteX19" fmla="*/ 4991247 w 5550979"/>
                  <a:gd name="connsiteY19" fmla="*/ 998509 h 1951019"/>
                  <a:gd name="connsiteX20" fmla="*/ 4972529 w 5550979"/>
                  <a:gd name="connsiteY20" fmla="*/ 958592 h 1951019"/>
                  <a:gd name="connsiteX21" fmla="*/ 5548579 w 5550979"/>
                  <a:gd name="connsiteY21" fmla="*/ 0 h 1951019"/>
                  <a:gd name="connsiteX0-1" fmla="*/ 1146998 w 4991247"/>
                  <a:gd name="connsiteY0-2" fmla="*/ 555751 h 992427"/>
                  <a:gd name="connsiteX1-3" fmla="*/ 1137636 w 4991247"/>
                  <a:gd name="connsiteY1-4" fmla="*/ 604843 h 992427"/>
                  <a:gd name="connsiteX2-5" fmla="*/ 990129 w 4991247"/>
                  <a:gd name="connsiteY2-6" fmla="*/ 623378 h 992427"/>
                  <a:gd name="connsiteX3-7" fmla="*/ 0 w 4991247"/>
                  <a:gd name="connsiteY3-8" fmla="*/ 992427 h 992427"/>
                  <a:gd name="connsiteX4-9" fmla="*/ 10729 w 4991247"/>
                  <a:gd name="connsiteY4-10" fmla="*/ 946814 h 992427"/>
                  <a:gd name="connsiteX5-11" fmla="*/ 1146998 w 4991247"/>
                  <a:gd name="connsiteY5-12" fmla="*/ 555751 h 992427"/>
                  <a:gd name="connsiteX6-13" fmla="*/ 2814666 w 4991247"/>
                  <a:gd name="connsiteY6-14" fmla="*/ 412195 h 992427"/>
                  <a:gd name="connsiteX7-15" fmla="*/ 2808008 w 4991247"/>
                  <a:gd name="connsiteY7-16" fmla="*/ 460283 h 992427"/>
                  <a:gd name="connsiteX8-17" fmla="*/ 1432776 w 4991247"/>
                  <a:gd name="connsiteY8-18" fmla="*/ 575361 h 992427"/>
                  <a:gd name="connsiteX9-19" fmla="*/ 1442411 w 4991247"/>
                  <a:gd name="connsiteY9-20" fmla="*/ 524840 h 992427"/>
                  <a:gd name="connsiteX10-21" fmla="*/ 2814666 w 4991247"/>
                  <a:gd name="connsiteY10-22" fmla="*/ 412195 h 992427"/>
                  <a:gd name="connsiteX11-23" fmla="*/ 4811635 w 4991247"/>
                  <a:gd name="connsiteY11-24" fmla="*/ 77173 h 992427"/>
                  <a:gd name="connsiteX12-25" fmla="*/ 4829298 w 4991247"/>
                  <a:gd name="connsiteY12-26" fmla="*/ 114840 h 992427"/>
                  <a:gd name="connsiteX13-27" fmla="*/ 4710439 w 4991247"/>
                  <a:gd name="connsiteY13-28" fmla="*/ 159036 h 992427"/>
                  <a:gd name="connsiteX14-29" fmla="*/ 3173047 w 4991247"/>
                  <a:gd name="connsiteY14-30" fmla="*/ 425902 h 992427"/>
                  <a:gd name="connsiteX15-31" fmla="*/ 3179658 w 4991247"/>
                  <a:gd name="connsiteY15-32" fmla="*/ 378152 h 992427"/>
                  <a:gd name="connsiteX16-33" fmla="*/ 4676307 w 4991247"/>
                  <a:gd name="connsiteY16-34" fmla="*/ 128873 h 992427"/>
                  <a:gd name="connsiteX17-35" fmla="*/ 4811635 w 4991247"/>
                  <a:gd name="connsiteY17-36" fmla="*/ 77173 h 992427"/>
                  <a:gd name="connsiteX18-37" fmla="*/ 4972529 w 4991247"/>
                  <a:gd name="connsiteY18-38" fmla="*/ 0 h 992427"/>
                  <a:gd name="connsiteX19-39" fmla="*/ 4991247 w 4991247"/>
                  <a:gd name="connsiteY19-40" fmla="*/ 39917 h 992427"/>
                  <a:gd name="connsiteX20-41" fmla="*/ 4972529 w 4991247"/>
                  <a:gd name="connsiteY20-42" fmla="*/ 0 h 992427"/>
                  <a:gd name="connsiteX0-43" fmla="*/ 1146998 w 4829298"/>
                  <a:gd name="connsiteY0-44" fmla="*/ 478578 h 915254"/>
                  <a:gd name="connsiteX1-45" fmla="*/ 1137636 w 4829298"/>
                  <a:gd name="connsiteY1-46" fmla="*/ 527670 h 915254"/>
                  <a:gd name="connsiteX2-47" fmla="*/ 990129 w 4829298"/>
                  <a:gd name="connsiteY2-48" fmla="*/ 546205 h 915254"/>
                  <a:gd name="connsiteX3-49" fmla="*/ 0 w 4829298"/>
                  <a:gd name="connsiteY3-50" fmla="*/ 915254 h 915254"/>
                  <a:gd name="connsiteX4-51" fmla="*/ 10729 w 4829298"/>
                  <a:gd name="connsiteY4-52" fmla="*/ 869641 h 915254"/>
                  <a:gd name="connsiteX5-53" fmla="*/ 1146998 w 4829298"/>
                  <a:gd name="connsiteY5-54" fmla="*/ 478578 h 915254"/>
                  <a:gd name="connsiteX6-55" fmla="*/ 2814666 w 4829298"/>
                  <a:gd name="connsiteY6-56" fmla="*/ 335022 h 915254"/>
                  <a:gd name="connsiteX7-57" fmla="*/ 2808008 w 4829298"/>
                  <a:gd name="connsiteY7-58" fmla="*/ 383110 h 915254"/>
                  <a:gd name="connsiteX8-59" fmla="*/ 1432776 w 4829298"/>
                  <a:gd name="connsiteY8-60" fmla="*/ 498188 h 915254"/>
                  <a:gd name="connsiteX9-61" fmla="*/ 1442411 w 4829298"/>
                  <a:gd name="connsiteY9-62" fmla="*/ 447667 h 915254"/>
                  <a:gd name="connsiteX10-63" fmla="*/ 2814666 w 4829298"/>
                  <a:gd name="connsiteY10-64" fmla="*/ 335022 h 915254"/>
                  <a:gd name="connsiteX11-65" fmla="*/ 4811635 w 4829298"/>
                  <a:gd name="connsiteY11-66" fmla="*/ 0 h 915254"/>
                  <a:gd name="connsiteX12-67" fmla="*/ 4829298 w 4829298"/>
                  <a:gd name="connsiteY12-68" fmla="*/ 37667 h 915254"/>
                  <a:gd name="connsiteX13-69" fmla="*/ 4710439 w 4829298"/>
                  <a:gd name="connsiteY13-70" fmla="*/ 81863 h 915254"/>
                  <a:gd name="connsiteX14-71" fmla="*/ 3173047 w 4829298"/>
                  <a:gd name="connsiteY14-72" fmla="*/ 348729 h 915254"/>
                  <a:gd name="connsiteX15-73" fmla="*/ 3179658 w 4829298"/>
                  <a:gd name="connsiteY15-74" fmla="*/ 300979 h 915254"/>
                  <a:gd name="connsiteX16-75" fmla="*/ 4676307 w 4829298"/>
                  <a:gd name="connsiteY16-76" fmla="*/ 51700 h 915254"/>
                  <a:gd name="connsiteX17-77" fmla="*/ 4811635 w 4829298"/>
                  <a:gd name="connsiteY17-78" fmla="*/ 0 h 915254"/>
                  <a:gd name="connsiteX0-79" fmla="*/ 1146998 w 4854002"/>
                  <a:gd name="connsiteY0-80" fmla="*/ 452447 h 889123"/>
                  <a:gd name="connsiteX1-81" fmla="*/ 1137636 w 4854002"/>
                  <a:gd name="connsiteY1-82" fmla="*/ 501539 h 889123"/>
                  <a:gd name="connsiteX2-83" fmla="*/ 990129 w 4854002"/>
                  <a:gd name="connsiteY2-84" fmla="*/ 520074 h 889123"/>
                  <a:gd name="connsiteX3-85" fmla="*/ 0 w 4854002"/>
                  <a:gd name="connsiteY3-86" fmla="*/ 889123 h 889123"/>
                  <a:gd name="connsiteX4-87" fmla="*/ 10729 w 4854002"/>
                  <a:gd name="connsiteY4-88" fmla="*/ 843510 h 889123"/>
                  <a:gd name="connsiteX5-89" fmla="*/ 1146998 w 4854002"/>
                  <a:gd name="connsiteY5-90" fmla="*/ 452447 h 889123"/>
                  <a:gd name="connsiteX6-91" fmla="*/ 2814666 w 4854002"/>
                  <a:gd name="connsiteY6-92" fmla="*/ 308891 h 889123"/>
                  <a:gd name="connsiteX7-93" fmla="*/ 2808008 w 4854002"/>
                  <a:gd name="connsiteY7-94" fmla="*/ 356979 h 889123"/>
                  <a:gd name="connsiteX8-95" fmla="*/ 1432776 w 4854002"/>
                  <a:gd name="connsiteY8-96" fmla="*/ 472057 h 889123"/>
                  <a:gd name="connsiteX9-97" fmla="*/ 1442411 w 4854002"/>
                  <a:gd name="connsiteY9-98" fmla="*/ 421536 h 889123"/>
                  <a:gd name="connsiteX10-99" fmla="*/ 2814666 w 4854002"/>
                  <a:gd name="connsiteY10-100" fmla="*/ 308891 h 889123"/>
                  <a:gd name="connsiteX11-101" fmla="*/ 4676307 w 4854002"/>
                  <a:gd name="connsiteY11-102" fmla="*/ 25569 h 889123"/>
                  <a:gd name="connsiteX12-103" fmla="*/ 4829298 w 4854002"/>
                  <a:gd name="connsiteY12-104" fmla="*/ 11536 h 889123"/>
                  <a:gd name="connsiteX13-105" fmla="*/ 4710439 w 4854002"/>
                  <a:gd name="connsiteY13-106" fmla="*/ 55732 h 889123"/>
                  <a:gd name="connsiteX14-107" fmla="*/ 3173047 w 4854002"/>
                  <a:gd name="connsiteY14-108" fmla="*/ 322598 h 889123"/>
                  <a:gd name="connsiteX15-109" fmla="*/ 3179658 w 4854002"/>
                  <a:gd name="connsiteY15-110" fmla="*/ 274848 h 889123"/>
                  <a:gd name="connsiteX16-111" fmla="*/ 4676307 w 4854002"/>
                  <a:gd name="connsiteY16-112" fmla="*/ 25569 h 889123"/>
                  <a:gd name="connsiteX0-113" fmla="*/ 1146998 w 4883750"/>
                  <a:gd name="connsiteY0-114" fmla="*/ 446445 h 883121"/>
                  <a:gd name="connsiteX1-115" fmla="*/ 1137636 w 4883750"/>
                  <a:gd name="connsiteY1-116" fmla="*/ 495537 h 883121"/>
                  <a:gd name="connsiteX2-117" fmla="*/ 990129 w 4883750"/>
                  <a:gd name="connsiteY2-118" fmla="*/ 514072 h 883121"/>
                  <a:gd name="connsiteX3-119" fmla="*/ 0 w 4883750"/>
                  <a:gd name="connsiteY3-120" fmla="*/ 883121 h 883121"/>
                  <a:gd name="connsiteX4-121" fmla="*/ 10729 w 4883750"/>
                  <a:gd name="connsiteY4-122" fmla="*/ 837508 h 883121"/>
                  <a:gd name="connsiteX5-123" fmla="*/ 1146998 w 4883750"/>
                  <a:gd name="connsiteY5-124" fmla="*/ 446445 h 883121"/>
                  <a:gd name="connsiteX6-125" fmla="*/ 2814666 w 4883750"/>
                  <a:gd name="connsiteY6-126" fmla="*/ 302889 h 883121"/>
                  <a:gd name="connsiteX7-127" fmla="*/ 2808008 w 4883750"/>
                  <a:gd name="connsiteY7-128" fmla="*/ 350977 h 883121"/>
                  <a:gd name="connsiteX8-129" fmla="*/ 1432776 w 4883750"/>
                  <a:gd name="connsiteY8-130" fmla="*/ 466055 h 883121"/>
                  <a:gd name="connsiteX9-131" fmla="*/ 1442411 w 4883750"/>
                  <a:gd name="connsiteY9-132" fmla="*/ 415534 h 883121"/>
                  <a:gd name="connsiteX10-133" fmla="*/ 2814666 w 4883750"/>
                  <a:gd name="connsiteY10-134" fmla="*/ 302889 h 883121"/>
                  <a:gd name="connsiteX11-135" fmla="*/ 4676307 w 4883750"/>
                  <a:gd name="connsiteY11-136" fmla="*/ 19567 h 883121"/>
                  <a:gd name="connsiteX12-137" fmla="*/ 4710439 w 4883750"/>
                  <a:gd name="connsiteY12-138" fmla="*/ 49730 h 883121"/>
                  <a:gd name="connsiteX13-139" fmla="*/ 3173047 w 4883750"/>
                  <a:gd name="connsiteY13-140" fmla="*/ 316596 h 883121"/>
                  <a:gd name="connsiteX14-141" fmla="*/ 3179658 w 4883750"/>
                  <a:gd name="connsiteY14-142" fmla="*/ 268846 h 883121"/>
                  <a:gd name="connsiteX15-143" fmla="*/ 4676307 w 4883750"/>
                  <a:gd name="connsiteY15-144" fmla="*/ 19567 h 883121"/>
                  <a:gd name="connsiteX0-145" fmla="*/ 1146998 w 4710439"/>
                  <a:gd name="connsiteY0-146" fmla="*/ 396968 h 833644"/>
                  <a:gd name="connsiteX1-147" fmla="*/ 1137636 w 4710439"/>
                  <a:gd name="connsiteY1-148" fmla="*/ 446060 h 833644"/>
                  <a:gd name="connsiteX2-149" fmla="*/ 990129 w 4710439"/>
                  <a:gd name="connsiteY2-150" fmla="*/ 464595 h 833644"/>
                  <a:gd name="connsiteX3-151" fmla="*/ 0 w 4710439"/>
                  <a:gd name="connsiteY3-152" fmla="*/ 833644 h 833644"/>
                  <a:gd name="connsiteX4-153" fmla="*/ 10729 w 4710439"/>
                  <a:gd name="connsiteY4-154" fmla="*/ 788031 h 833644"/>
                  <a:gd name="connsiteX5-155" fmla="*/ 1146998 w 4710439"/>
                  <a:gd name="connsiteY5-156" fmla="*/ 396968 h 833644"/>
                  <a:gd name="connsiteX6-157" fmla="*/ 2814666 w 4710439"/>
                  <a:gd name="connsiteY6-158" fmla="*/ 253412 h 833644"/>
                  <a:gd name="connsiteX7-159" fmla="*/ 2808008 w 4710439"/>
                  <a:gd name="connsiteY7-160" fmla="*/ 301500 h 833644"/>
                  <a:gd name="connsiteX8-161" fmla="*/ 1432776 w 4710439"/>
                  <a:gd name="connsiteY8-162" fmla="*/ 416578 h 833644"/>
                  <a:gd name="connsiteX9-163" fmla="*/ 1442411 w 4710439"/>
                  <a:gd name="connsiteY9-164" fmla="*/ 366057 h 833644"/>
                  <a:gd name="connsiteX10-165" fmla="*/ 2814666 w 4710439"/>
                  <a:gd name="connsiteY10-166" fmla="*/ 253412 h 833644"/>
                  <a:gd name="connsiteX11-167" fmla="*/ 3179658 w 4710439"/>
                  <a:gd name="connsiteY11-168" fmla="*/ 219369 h 833644"/>
                  <a:gd name="connsiteX12-169" fmla="*/ 4710439 w 4710439"/>
                  <a:gd name="connsiteY12-170" fmla="*/ 253 h 833644"/>
                  <a:gd name="connsiteX13-171" fmla="*/ 3173047 w 4710439"/>
                  <a:gd name="connsiteY13-172" fmla="*/ 267119 h 833644"/>
                  <a:gd name="connsiteX14-173" fmla="*/ 3179658 w 4710439"/>
                  <a:gd name="connsiteY14-174" fmla="*/ 219369 h 833644"/>
                  <a:gd name="connsiteX0-175" fmla="*/ 1146998 w 3179658"/>
                  <a:gd name="connsiteY0-176" fmla="*/ 177599 h 614275"/>
                  <a:gd name="connsiteX1-177" fmla="*/ 1137636 w 3179658"/>
                  <a:gd name="connsiteY1-178" fmla="*/ 226691 h 614275"/>
                  <a:gd name="connsiteX2-179" fmla="*/ 990129 w 3179658"/>
                  <a:gd name="connsiteY2-180" fmla="*/ 245226 h 614275"/>
                  <a:gd name="connsiteX3-181" fmla="*/ 0 w 3179658"/>
                  <a:gd name="connsiteY3-182" fmla="*/ 614275 h 614275"/>
                  <a:gd name="connsiteX4-183" fmla="*/ 10729 w 3179658"/>
                  <a:gd name="connsiteY4-184" fmla="*/ 568662 h 614275"/>
                  <a:gd name="connsiteX5-185" fmla="*/ 1146998 w 3179658"/>
                  <a:gd name="connsiteY5-186" fmla="*/ 177599 h 614275"/>
                  <a:gd name="connsiteX6-187" fmla="*/ 2814666 w 3179658"/>
                  <a:gd name="connsiteY6-188" fmla="*/ 34043 h 614275"/>
                  <a:gd name="connsiteX7-189" fmla="*/ 2808008 w 3179658"/>
                  <a:gd name="connsiteY7-190" fmla="*/ 82131 h 614275"/>
                  <a:gd name="connsiteX8-191" fmla="*/ 1432776 w 3179658"/>
                  <a:gd name="connsiteY8-192" fmla="*/ 197209 h 614275"/>
                  <a:gd name="connsiteX9-193" fmla="*/ 1442411 w 3179658"/>
                  <a:gd name="connsiteY9-194" fmla="*/ 146688 h 614275"/>
                  <a:gd name="connsiteX10-195" fmla="*/ 2814666 w 3179658"/>
                  <a:gd name="connsiteY10-196" fmla="*/ 34043 h 614275"/>
                  <a:gd name="connsiteX11-197" fmla="*/ 3179658 w 3179658"/>
                  <a:gd name="connsiteY11-198" fmla="*/ 0 h 614275"/>
                  <a:gd name="connsiteX12-199" fmla="*/ 3173047 w 3179658"/>
                  <a:gd name="connsiteY12-200" fmla="*/ 47750 h 614275"/>
                  <a:gd name="connsiteX13-201" fmla="*/ 3179658 w 3179658"/>
                  <a:gd name="connsiteY13-202" fmla="*/ 0 h 614275"/>
                  <a:gd name="connsiteX0-203" fmla="*/ 1146998 w 2814666"/>
                  <a:gd name="connsiteY0-204" fmla="*/ 143556 h 580232"/>
                  <a:gd name="connsiteX1-205" fmla="*/ 1137636 w 2814666"/>
                  <a:gd name="connsiteY1-206" fmla="*/ 192648 h 580232"/>
                  <a:gd name="connsiteX2-207" fmla="*/ 990129 w 2814666"/>
                  <a:gd name="connsiteY2-208" fmla="*/ 211183 h 580232"/>
                  <a:gd name="connsiteX3-209" fmla="*/ 0 w 2814666"/>
                  <a:gd name="connsiteY3-210" fmla="*/ 580232 h 580232"/>
                  <a:gd name="connsiteX4-211" fmla="*/ 10729 w 2814666"/>
                  <a:gd name="connsiteY4-212" fmla="*/ 534619 h 580232"/>
                  <a:gd name="connsiteX5-213" fmla="*/ 1146998 w 2814666"/>
                  <a:gd name="connsiteY5-214" fmla="*/ 143556 h 580232"/>
                  <a:gd name="connsiteX6-215" fmla="*/ 2814666 w 2814666"/>
                  <a:gd name="connsiteY6-216" fmla="*/ 0 h 580232"/>
                  <a:gd name="connsiteX7-217" fmla="*/ 2808008 w 2814666"/>
                  <a:gd name="connsiteY7-218" fmla="*/ 48088 h 580232"/>
                  <a:gd name="connsiteX8-219" fmla="*/ 1432776 w 2814666"/>
                  <a:gd name="connsiteY8-220" fmla="*/ 163166 h 580232"/>
                  <a:gd name="connsiteX9-221" fmla="*/ 1442411 w 2814666"/>
                  <a:gd name="connsiteY9-222" fmla="*/ 112645 h 580232"/>
                  <a:gd name="connsiteX10-223" fmla="*/ 2814666 w 2814666"/>
                  <a:gd name="connsiteY10-224" fmla="*/ 0 h 580232"/>
                  <a:gd name="connsiteX0-225" fmla="*/ 1146998 w 2808008"/>
                  <a:gd name="connsiteY0-226" fmla="*/ 95468 h 532144"/>
                  <a:gd name="connsiteX1-227" fmla="*/ 1137636 w 2808008"/>
                  <a:gd name="connsiteY1-228" fmla="*/ 144560 h 532144"/>
                  <a:gd name="connsiteX2-229" fmla="*/ 990129 w 2808008"/>
                  <a:gd name="connsiteY2-230" fmla="*/ 163095 h 532144"/>
                  <a:gd name="connsiteX3-231" fmla="*/ 0 w 2808008"/>
                  <a:gd name="connsiteY3-232" fmla="*/ 532144 h 532144"/>
                  <a:gd name="connsiteX4-233" fmla="*/ 10729 w 2808008"/>
                  <a:gd name="connsiteY4-234" fmla="*/ 486531 h 532144"/>
                  <a:gd name="connsiteX5-235" fmla="*/ 1146998 w 2808008"/>
                  <a:gd name="connsiteY5-236" fmla="*/ 95468 h 532144"/>
                  <a:gd name="connsiteX6-237" fmla="*/ 1442411 w 2808008"/>
                  <a:gd name="connsiteY6-238" fmla="*/ 64557 h 532144"/>
                  <a:gd name="connsiteX7-239" fmla="*/ 2808008 w 2808008"/>
                  <a:gd name="connsiteY7-240" fmla="*/ 0 h 532144"/>
                  <a:gd name="connsiteX8-241" fmla="*/ 1432776 w 2808008"/>
                  <a:gd name="connsiteY8-242" fmla="*/ 115078 h 532144"/>
                  <a:gd name="connsiteX9-243" fmla="*/ 1442411 w 2808008"/>
                  <a:gd name="connsiteY9-244" fmla="*/ 64557 h 532144"/>
                  <a:gd name="connsiteX0-245" fmla="*/ 1146998 w 1442411"/>
                  <a:gd name="connsiteY0-246" fmla="*/ 30911 h 467587"/>
                  <a:gd name="connsiteX1-247" fmla="*/ 1137636 w 1442411"/>
                  <a:gd name="connsiteY1-248" fmla="*/ 80003 h 467587"/>
                  <a:gd name="connsiteX2-249" fmla="*/ 990129 w 1442411"/>
                  <a:gd name="connsiteY2-250" fmla="*/ 98538 h 467587"/>
                  <a:gd name="connsiteX3-251" fmla="*/ 0 w 1442411"/>
                  <a:gd name="connsiteY3-252" fmla="*/ 467587 h 467587"/>
                  <a:gd name="connsiteX4-253" fmla="*/ 10729 w 1442411"/>
                  <a:gd name="connsiteY4-254" fmla="*/ 421974 h 467587"/>
                  <a:gd name="connsiteX5-255" fmla="*/ 1146998 w 1442411"/>
                  <a:gd name="connsiteY5-256" fmla="*/ 30911 h 467587"/>
                  <a:gd name="connsiteX6-257" fmla="*/ 1442411 w 1442411"/>
                  <a:gd name="connsiteY6-258" fmla="*/ 0 h 467587"/>
                  <a:gd name="connsiteX7-259" fmla="*/ 1432776 w 1442411"/>
                  <a:gd name="connsiteY7-260" fmla="*/ 50521 h 467587"/>
                  <a:gd name="connsiteX8-261" fmla="*/ 1442411 w 1442411"/>
                  <a:gd name="connsiteY8-262" fmla="*/ 0 h 467587"/>
                  <a:gd name="connsiteX0-263" fmla="*/ 1146998 w 1146998"/>
                  <a:gd name="connsiteY0-264" fmla="*/ 0 h 436676"/>
                  <a:gd name="connsiteX1-265" fmla="*/ 1137636 w 1146998"/>
                  <a:gd name="connsiteY1-266" fmla="*/ 49092 h 436676"/>
                  <a:gd name="connsiteX2-267" fmla="*/ 990129 w 1146998"/>
                  <a:gd name="connsiteY2-268" fmla="*/ 67627 h 436676"/>
                  <a:gd name="connsiteX3-269" fmla="*/ 0 w 1146998"/>
                  <a:gd name="connsiteY3-270" fmla="*/ 436676 h 436676"/>
                  <a:gd name="connsiteX4-271" fmla="*/ 10729 w 1146998"/>
                  <a:gd name="connsiteY4-272" fmla="*/ 391063 h 436676"/>
                  <a:gd name="connsiteX5-273" fmla="*/ 1146998 w 1146998"/>
                  <a:gd name="connsiteY5-274" fmla="*/ 0 h 4366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</a:cxnLst>
                <a:rect l="l" t="t" r="r" b="b"/>
                <a:pathLst>
                  <a:path w="1146998" h="436676">
                    <a:moveTo>
                      <a:pt x="1146998" y="0"/>
                    </a:moveTo>
                    <a:lnTo>
                      <a:pt x="1137636" y="49092"/>
                    </a:lnTo>
                    <a:cubicBezTo>
                      <a:pt x="1084121" y="55133"/>
                      <a:pt x="1034773" y="61316"/>
                      <a:pt x="990129" y="67627"/>
                    </a:cubicBezTo>
                    <a:cubicBezTo>
                      <a:pt x="468586" y="130553"/>
                      <a:pt x="91002" y="357246"/>
                      <a:pt x="0" y="436676"/>
                    </a:cubicBezTo>
                    <a:cubicBezTo>
                      <a:pt x="402" y="418297"/>
                      <a:pt x="10327" y="409442"/>
                      <a:pt x="10729" y="391063"/>
                    </a:cubicBezTo>
                    <a:cubicBezTo>
                      <a:pt x="86171" y="318791"/>
                      <a:pt x="304860" y="108715"/>
                      <a:pt x="114699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13" name="任意多边形 112"/>
              <p:cNvSpPr/>
              <p:nvPr/>
            </p:nvSpPr>
            <p:spPr>
              <a:xfrm>
                <a:off x="2117615" y="3144637"/>
                <a:ext cx="1381890" cy="163166"/>
              </a:xfrm>
              <a:custGeom>
                <a:avLst/>
                <a:gdLst>
                  <a:gd name="connsiteX0" fmla="*/ 1146998 w 5550979"/>
                  <a:gd name="connsiteY0" fmla="*/ 1514343 h 1951019"/>
                  <a:gd name="connsiteX1" fmla="*/ 1137636 w 5550979"/>
                  <a:gd name="connsiteY1" fmla="*/ 1563435 h 1951019"/>
                  <a:gd name="connsiteX2" fmla="*/ 990129 w 5550979"/>
                  <a:gd name="connsiteY2" fmla="*/ 1581970 h 1951019"/>
                  <a:gd name="connsiteX3" fmla="*/ 0 w 5550979"/>
                  <a:gd name="connsiteY3" fmla="*/ 1951019 h 1951019"/>
                  <a:gd name="connsiteX4" fmla="*/ 10729 w 5550979"/>
                  <a:gd name="connsiteY4" fmla="*/ 1905406 h 1951019"/>
                  <a:gd name="connsiteX5" fmla="*/ 1146998 w 5550979"/>
                  <a:gd name="connsiteY5" fmla="*/ 1514343 h 1951019"/>
                  <a:gd name="connsiteX6" fmla="*/ 2814666 w 5550979"/>
                  <a:gd name="connsiteY6" fmla="*/ 1370787 h 1951019"/>
                  <a:gd name="connsiteX7" fmla="*/ 2808008 w 5550979"/>
                  <a:gd name="connsiteY7" fmla="*/ 1418875 h 1951019"/>
                  <a:gd name="connsiteX8" fmla="*/ 1432776 w 5550979"/>
                  <a:gd name="connsiteY8" fmla="*/ 1533953 h 1951019"/>
                  <a:gd name="connsiteX9" fmla="*/ 1442411 w 5550979"/>
                  <a:gd name="connsiteY9" fmla="*/ 1483432 h 1951019"/>
                  <a:gd name="connsiteX10" fmla="*/ 2814666 w 5550979"/>
                  <a:gd name="connsiteY10" fmla="*/ 1370787 h 1951019"/>
                  <a:gd name="connsiteX11" fmla="*/ 4811635 w 5550979"/>
                  <a:gd name="connsiteY11" fmla="*/ 1035765 h 1951019"/>
                  <a:gd name="connsiteX12" fmla="*/ 4829298 w 5550979"/>
                  <a:gd name="connsiteY12" fmla="*/ 1073432 h 1951019"/>
                  <a:gd name="connsiteX13" fmla="*/ 4710439 w 5550979"/>
                  <a:gd name="connsiteY13" fmla="*/ 1117628 h 1951019"/>
                  <a:gd name="connsiteX14" fmla="*/ 3173047 w 5550979"/>
                  <a:gd name="connsiteY14" fmla="*/ 1384494 h 1951019"/>
                  <a:gd name="connsiteX15" fmla="*/ 3179658 w 5550979"/>
                  <a:gd name="connsiteY15" fmla="*/ 1336744 h 1951019"/>
                  <a:gd name="connsiteX16" fmla="*/ 4676307 w 5550979"/>
                  <a:gd name="connsiteY16" fmla="*/ 1087465 h 1951019"/>
                  <a:gd name="connsiteX17" fmla="*/ 4811635 w 5550979"/>
                  <a:gd name="connsiteY17" fmla="*/ 1035765 h 1951019"/>
                  <a:gd name="connsiteX18" fmla="*/ 5548579 w 5550979"/>
                  <a:gd name="connsiteY18" fmla="*/ 0 h 1951019"/>
                  <a:gd name="connsiteX19" fmla="*/ 4991247 w 5550979"/>
                  <a:gd name="connsiteY19" fmla="*/ 998509 h 1951019"/>
                  <a:gd name="connsiteX20" fmla="*/ 4972529 w 5550979"/>
                  <a:gd name="connsiteY20" fmla="*/ 958592 h 1951019"/>
                  <a:gd name="connsiteX21" fmla="*/ 5548579 w 5550979"/>
                  <a:gd name="connsiteY21" fmla="*/ 0 h 1951019"/>
                  <a:gd name="connsiteX0-1" fmla="*/ 1146998 w 4991247"/>
                  <a:gd name="connsiteY0-2" fmla="*/ 555751 h 992427"/>
                  <a:gd name="connsiteX1-3" fmla="*/ 1137636 w 4991247"/>
                  <a:gd name="connsiteY1-4" fmla="*/ 604843 h 992427"/>
                  <a:gd name="connsiteX2-5" fmla="*/ 990129 w 4991247"/>
                  <a:gd name="connsiteY2-6" fmla="*/ 623378 h 992427"/>
                  <a:gd name="connsiteX3-7" fmla="*/ 0 w 4991247"/>
                  <a:gd name="connsiteY3-8" fmla="*/ 992427 h 992427"/>
                  <a:gd name="connsiteX4-9" fmla="*/ 10729 w 4991247"/>
                  <a:gd name="connsiteY4-10" fmla="*/ 946814 h 992427"/>
                  <a:gd name="connsiteX5-11" fmla="*/ 1146998 w 4991247"/>
                  <a:gd name="connsiteY5-12" fmla="*/ 555751 h 992427"/>
                  <a:gd name="connsiteX6-13" fmla="*/ 2814666 w 4991247"/>
                  <a:gd name="connsiteY6-14" fmla="*/ 412195 h 992427"/>
                  <a:gd name="connsiteX7-15" fmla="*/ 2808008 w 4991247"/>
                  <a:gd name="connsiteY7-16" fmla="*/ 460283 h 992427"/>
                  <a:gd name="connsiteX8-17" fmla="*/ 1432776 w 4991247"/>
                  <a:gd name="connsiteY8-18" fmla="*/ 575361 h 992427"/>
                  <a:gd name="connsiteX9-19" fmla="*/ 1442411 w 4991247"/>
                  <a:gd name="connsiteY9-20" fmla="*/ 524840 h 992427"/>
                  <a:gd name="connsiteX10-21" fmla="*/ 2814666 w 4991247"/>
                  <a:gd name="connsiteY10-22" fmla="*/ 412195 h 992427"/>
                  <a:gd name="connsiteX11-23" fmla="*/ 4811635 w 4991247"/>
                  <a:gd name="connsiteY11-24" fmla="*/ 77173 h 992427"/>
                  <a:gd name="connsiteX12-25" fmla="*/ 4829298 w 4991247"/>
                  <a:gd name="connsiteY12-26" fmla="*/ 114840 h 992427"/>
                  <a:gd name="connsiteX13-27" fmla="*/ 4710439 w 4991247"/>
                  <a:gd name="connsiteY13-28" fmla="*/ 159036 h 992427"/>
                  <a:gd name="connsiteX14-29" fmla="*/ 3173047 w 4991247"/>
                  <a:gd name="connsiteY14-30" fmla="*/ 425902 h 992427"/>
                  <a:gd name="connsiteX15-31" fmla="*/ 3179658 w 4991247"/>
                  <a:gd name="connsiteY15-32" fmla="*/ 378152 h 992427"/>
                  <a:gd name="connsiteX16-33" fmla="*/ 4676307 w 4991247"/>
                  <a:gd name="connsiteY16-34" fmla="*/ 128873 h 992427"/>
                  <a:gd name="connsiteX17-35" fmla="*/ 4811635 w 4991247"/>
                  <a:gd name="connsiteY17-36" fmla="*/ 77173 h 992427"/>
                  <a:gd name="connsiteX18-37" fmla="*/ 4972529 w 4991247"/>
                  <a:gd name="connsiteY18-38" fmla="*/ 0 h 992427"/>
                  <a:gd name="connsiteX19-39" fmla="*/ 4991247 w 4991247"/>
                  <a:gd name="connsiteY19-40" fmla="*/ 39917 h 992427"/>
                  <a:gd name="connsiteX20-41" fmla="*/ 4972529 w 4991247"/>
                  <a:gd name="connsiteY20-42" fmla="*/ 0 h 992427"/>
                  <a:gd name="connsiteX0-43" fmla="*/ 1146998 w 4829298"/>
                  <a:gd name="connsiteY0-44" fmla="*/ 478578 h 915254"/>
                  <a:gd name="connsiteX1-45" fmla="*/ 1137636 w 4829298"/>
                  <a:gd name="connsiteY1-46" fmla="*/ 527670 h 915254"/>
                  <a:gd name="connsiteX2-47" fmla="*/ 990129 w 4829298"/>
                  <a:gd name="connsiteY2-48" fmla="*/ 546205 h 915254"/>
                  <a:gd name="connsiteX3-49" fmla="*/ 0 w 4829298"/>
                  <a:gd name="connsiteY3-50" fmla="*/ 915254 h 915254"/>
                  <a:gd name="connsiteX4-51" fmla="*/ 10729 w 4829298"/>
                  <a:gd name="connsiteY4-52" fmla="*/ 869641 h 915254"/>
                  <a:gd name="connsiteX5-53" fmla="*/ 1146998 w 4829298"/>
                  <a:gd name="connsiteY5-54" fmla="*/ 478578 h 915254"/>
                  <a:gd name="connsiteX6-55" fmla="*/ 2814666 w 4829298"/>
                  <a:gd name="connsiteY6-56" fmla="*/ 335022 h 915254"/>
                  <a:gd name="connsiteX7-57" fmla="*/ 2808008 w 4829298"/>
                  <a:gd name="connsiteY7-58" fmla="*/ 383110 h 915254"/>
                  <a:gd name="connsiteX8-59" fmla="*/ 1432776 w 4829298"/>
                  <a:gd name="connsiteY8-60" fmla="*/ 498188 h 915254"/>
                  <a:gd name="connsiteX9-61" fmla="*/ 1442411 w 4829298"/>
                  <a:gd name="connsiteY9-62" fmla="*/ 447667 h 915254"/>
                  <a:gd name="connsiteX10-63" fmla="*/ 2814666 w 4829298"/>
                  <a:gd name="connsiteY10-64" fmla="*/ 335022 h 915254"/>
                  <a:gd name="connsiteX11-65" fmla="*/ 4811635 w 4829298"/>
                  <a:gd name="connsiteY11-66" fmla="*/ 0 h 915254"/>
                  <a:gd name="connsiteX12-67" fmla="*/ 4829298 w 4829298"/>
                  <a:gd name="connsiteY12-68" fmla="*/ 37667 h 915254"/>
                  <a:gd name="connsiteX13-69" fmla="*/ 4710439 w 4829298"/>
                  <a:gd name="connsiteY13-70" fmla="*/ 81863 h 915254"/>
                  <a:gd name="connsiteX14-71" fmla="*/ 3173047 w 4829298"/>
                  <a:gd name="connsiteY14-72" fmla="*/ 348729 h 915254"/>
                  <a:gd name="connsiteX15-73" fmla="*/ 3179658 w 4829298"/>
                  <a:gd name="connsiteY15-74" fmla="*/ 300979 h 915254"/>
                  <a:gd name="connsiteX16-75" fmla="*/ 4676307 w 4829298"/>
                  <a:gd name="connsiteY16-76" fmla="*/ 51700 h 915254"/>
                  <a:gd name="connsiteX17-77" fmla="*/ 4811635 w 4829298"/>
                  <a:gd name="connsiteY17-78" fmla="*/ 0 h 915254"/>
                  <a:gd name="connsiteX0-79" fmla="*/ 1146998 w 4854002"/>
                  <a:gd name="connsiteY0-80" fmla="*/ 452447 h 889123"/>
                  <a:gd name="connsiteX1-81" fmla="*/ 1137636 w 4854002"/>
                  <a:gd name="connsiteY1-82" fmla="*/ 501539 h 889123"/>
                  <a:gd name="connsiteX2-83" fmla="*/ 990129 w 4854002"/>
                  <a:gd name="connsiteY2-84" fmla="*/ 520074 h 889123"/>
                  <a:gd name="connsiteX3-85" fmla="*/ 0 w 4854002"/>
                  <a:gd name="connsiteY3-86" fmla="*/ 889123 h 889123"/>
                  <a:gd name="connsiteX4-87" fmla="*/ 10729 w 4854002"/>
                  <a:gd name="connsiteY4-88" fmla="*/ 843510 h 889123"/>
                  <a:gd name="connsiteX5-89" fmla="*/ 1146998 w 4854002"/>
                  <a:gd name="connsiteY5-90" fmla="*/ 452447 h 889123"/>
                  <a:gd name="connsiteX6-91" fmla="*/ 2814666 w 4854002"/>
                  <a:gd name="connsiteY6-92" fmla="*/ 308891 h 889123"/>
                  <a:gd name="connsiteX7-93" fmla="*/ 2808008 w 4854002"/>
                  <a:gd name="connsiteY7-94" fmla="*/ 356979 h 889123"/>
                  <a:gd name="connsiteX8-95" fmla="*/ 1432776 w 4854002"/>
                  <a:gd name="connsiteY8-96" fmla="*/ 472057 h 889123"/>
                  <a:gd name="connsiteX9-97" fmla="*/ 1442411 w 4854002"/>
                  <a:gd name="connsiteY9-98" fmla="*/ 421536 h 889123"/>
                  <a:gd name="connsiteX10-99" fmla="*/ 2814666 w 4854002"/>
                  <a:gd name="connsiteY10-100" fmla="*/ 308891 h 889123"/>
                  <a:gd name="connsiteX11-101" fmla="*/ 4676307 w 4854002"/>
                  <a:gd name="connsiteY11-102" fmla="*/ 25569 h 889123"/>
                  <a:gd name="connsiteX12-103" fmla="*/ 4829298 w 4854002"/>
                  <a:gd name="connsiteY12-104" fmla="*/ 11536 h 889123"/>
                  <a:gd name="connsiteX13-105" fmla="*/ 4710439 w 4854002"/>
                  <a:gd name="connsiteY13-106" fmla="*/ 55732 h 889123"/>
                  <a:gd name="connsiteX14-107" fmla="*/ 3173047 w 4854002"/>
                  <a:gd name="connsiteY14-108" fmla="*/ 322598 h 889123"/>
                  <a:gd name="connsiteX15-109" fmla="*/ 3179658 w 4854002"/>
                  <a:gd name="connsiteY15-110" fmla="*/ 274848 h 889123"/>
                  <a:gd name="connsiteX16-111" fmla="*/ 4676307 w 4854002"/>
                  <a:gd name="connsiteY16-112" fmla="*/ 25569 h 889123"/>
                  <a:gd name="connsiteX0-113" fmla="*/ 1146998 w 4883750"/>
                  <a:gd name="connsiteY0-114" fmla="*/ 446445 h 883121"/>
                  <a:gd name="connsiteX1-115" fmla="*/ 1137636 w 4883750"/>
                  <a:gd name="connsiteY1-116" fmla="*/ 495537 h 883121"/>
                  <a:gd name="connsiteX2-117" fmla="*/ 990129 w 4883750"/>
                  <a:gd name="connsiteY2-118" fmla="*/ 514072 h 883121"/>
                  <a:gd name="connsiteX3-119" fmla="*/ 0 w 4883750"/>
                  <a:gd name="connsiteY3-120" fmla="*/ 883121 h 883121"/>
                  <a:gd name="connsiteX4-121" fmla="*/ 10729 w 4883750"/>
                  <a:gd name="connsiteY4-122" fmla="*/ 837508 h 883121"/>
                  <a:gd name="connsiteX5-123" fmla="*/ 1146998 w 4883750"/>
                  <a:gd name="connsiteY5-124" fmla="*/ 446445 h 883121"/>
                  <a:gd name="connsiteX6-125" fmla="*/ 2814666 w 4883750"/>
                  <a:gd name="connsiteY6-126" fmla="*/ 302889 h 883121"/>
                  <a:gd name="connsiteX7-127" fmla="*/ 2808008 w 4883750"/>
                  <a:gd name="connsiteY7-128" fmla="*/ 350977 h 883121"/>
                  <a:gd name="connsiteX8-129" fmla="*/ 1432776 w 4883750"/>
                  <a:gd name="connsiteY8-130" fmla="*/ 466055 h 883121"/>
                  <a:gd name="connsiteX9-131" fmla="*/ 1442411 w 4883750"/>
                  <a:gd name="connsiteY9-132" fmla="*/ 415534 h 883121"/>
                  <a:gd name="connsiteX10-133" fmla="*/ 2814666 w 4883750"/>
                  <a:gd name="connsiteY10-134" fmla="*/ 302889 h 883121"/>
                  <a:gd name="connsiteX11-135" fmla="*/ 4676307 w 4883750"/>
                  <a:gd name="connsiteY11-136" fmla="*/ 19567 h 883121"/>
                  <a:gd name="connsiteX12-137" fmla="*/ 4710439 w 4883750"/>
                  <a:gd name="connsiteY12-138" fmla="*/ 49730 h 883121"/>
                  <a:gd name="connsiteX13-139" fmla="*/ 3173047 w 4883750"/>
                  <a:gd name="connsiteY13-140" fmla="*/ 316596 h 883121"/>
                  <a:gd name="connsiteX14-141" fmla="*/ 3179658 w 4883750"/>
                  <a:gd name="connsiteY14-142" fmla="*/ 268846 h 883121"/>
                  <a:gd name="connsiteX15-143" fmla="*/ 4676307 w 4883750"/>
                  <a:gd name="connsiteY15-144" fmla="*/ 19567 h 883121"/>
                  <a:gd name="connsiteX0-145" fmla="*/ 1146998 w 4710439"/>
                  <a:gd name="connsiteY0-146" fmla="*/ 396968 h 833644"/>
                  <a:gd name="connsiteX1-147" fmla="*/ 1137636 w 4710439"/>
                  <a:gd name="connsiteY1-148" fmla="*/ 446060 h 833644"/>
                  <a:gd name="connsiteX2-149" fmla="*/ 990129 w 4710439"/>
                  <a:gd name="connsiteY2-150" fmla="*/ 464595 h 833644"/>
                  <a:gd name="connsiteX3-151" fmla="*/ 0 w 4710439"/>
                  <a:gd name="connsiteY3-152" fmla="*/ 833644 h 833644"/>
                  <a:gd name="connsiteX4-153" fmla="*/ 10729 w 4710439"/>
                  <a:gd name="connsiteY4-154" fmla="*/ 788031 h 833644"/>
                  <a:gd name="connsiteX5-155" fmla="*/ 1146998 w 4710439"/>
                  <a:gd name="connsiteY5-156" fmla="*/ 396968 h 833644"/>
                  <a:gd name="connsiteX6-157" fmla="*/ 2814666 w 4710439"/>
                  <a:gd name="connsiteY6-158" fmla="*/ 253412 h 833644"/>
                  <a:gd name="connsiteX7-159" fmla="*/ 2808008 w 4710439"/>
                  <a:gd name="connsiteY7-160" fmla="*/ 301500 h 833644"/>
                  <a:gd name="connsiteX8-161" fmla="*/ 1432776 w 4710439"/>
                  <a:gd name="connsiteY8-162" fmla="*/ 416578 h 833644"/>
                  <a:gd name="connsiteX9-163" fmla="*/ 1442411 w 4710439"/>
                  <a:gd name="connsiteY9-164" fmla="*/ 366057 h 833644"/>
                  <a:gd name="connsiteX10-165" fmla="*/ 2814666 w 4710439"/>
                  <a:gd name="connsiteY10-166" fmla="*/ 253412 h 833644"/>
                  <a:gd name="connsiteX11-167" fmla="*/ 3179658 w 4710439"/>
                  <a:gd name="connsiteY11-168" fmla="*/ 219369 h 833644"/>
                  <a:gd name="connsiteX12-169" fmla="*/ 4710439 w 4710439"/>
                  <a:gd name="connsiteY12-170" fmla="*/ 253 h 833644"/>
                  <a:gd name="connsiteX13-171" fmla="*/ 3173047 w 4710439"/>
                  <a:gd name="connsiteY13-172" fmla="*/ 267119 h 833644"/>
                  <a:gd name="connsiteX14-173" fmla="*/ 3179658 w 4710439"/>
                  <a:gd name="connsiteY14-174" fmla="*/ 219369 h 833644"/>
                  <a:gd name="connsiteX0-175" fmla="*/ 1146998 w 3179658"/>
                  <a:gd name="connsiteY0-176" fmla="*/ 177599 h 614275"/>
                  <a:gd name="connsiteX1-177" fmla="*/ 1137636 w 3179658"/>
                  <a:gd name="connsiteY1-178" fmla="*/ 226691 h 614275"/>
                  <a:gd name="connsiteX2-179" fmla="*/ 990129 w 3179658"/>
                  <a:gd name="connsiteY2-180" fmla="*/ 245226 h 614275"/>
                  <a:gd name="connsiteX3-181" fmla="*/ 0 w 3179658"/>
                  <a:gd name="connsiteY3-182" fmla="*/ 614275 h 614275"/>
                  <a:gd name="connsiteX4-183" fmla="*/ 10729 w 3179658"/>
                  <a:gd name="connsiteY4-184" fmla="*/ 568662 h 614275"/>
                  <a:gd name="connsiteX5-185" fmla="*/ 1146998 w 3179658"/>
                  <a:gd name="connsiteY5-186" fmla="*/ 177599 h 614275"/>
                  <a:gd name="connsiteX6-187" fmla="*/ 2814666 w 3179658"/>
                  <a:gd name="connsiteY6-188" fmla="*/ 34043 h 614275"/>
                  <a:gd name="connsiteX7-189" fmla="*/ 2808008 w 3179658"/>
                  <a:gd name="connsiteY7-190" fmla="*/ 82131 h 614275"/>
                  <a:gd name="connsiteX8-191" fmla="*/ 1432776 w 3179658"/>
                  <a:gd name="connsiteY8-192" fmla="*/ 197209 h 614275"/>
                  <a:gd name="connsiteX9-193" fmla="*/ 1442411 w 3179658"/>
                  <a:gd name="connsiteY9-194" fmla="*/ 146688 h 614275"/>
                  <a:gd name="connsiteX10-195" fmla="*/ 2814666 w 3179658"/>
                  <a:gd name="connsiteY10-196" fmla="*/ 34043 h 614275"/>
                  <a:gd name="connsiteX11-197" fmla="*/ 3179658 w 3179658"/>
                  <a:gd name="connsiteY11-198" fmla="*/ 0 h 614275"/>
                  <a:gd name="connsiteX12-199" fmla="*/ 3173047 w 3179658"/>
                  <a:gd name="connsiteY12-200" fmla="*/ 47750 h 614275"/>
                  <a:gd name="connsiteX13-201" fmla="*/ 3179658 w 3179658"/>
                  <a:gd name="connsiteY13-202" fmla="*/ 0 h 614275"/>
                  <a:gd name="connsiteX0-203" fmla="*/ 1146998 w 2814666"/>
                  <a:gd name="connsiteY0-204" fmla="*/ 143556 h 580232"/>
                  <a:gd name="connsiteX1-205" fmla="*/ 1137636 w 2814666"/>
                  <a:gd name="connsiteY1-206" fmla="*/ 192648 h 580232"/>
                  <a:gd name="connsiteX2-207" fmla="*/ 990129 w 2814666"/>
                  <a:gd name="connsiteY2-208" fmla="*/ 211183 h 580232"/>
                  <a:gd name="connsiteX3-209" fmla="*/ 0 w 2814666"/>
                  <a:gd name="connsiteY3-210" fmla="*/ 580232 h 580232"/>
                  <a:gd name="connsiteX4-211" fmla="*/ 10729 w 2814666"/>
                  <a:gd name="connsiteY4-212" fmla="*/ 534619 h 580232"/>
                  <a:gd name="connsiteX5-213" fmla="*/ 1146998 w 2814666"/>
                  <a:gd name="connsiteY5-214" fmla="*/ 143556 h 580232"/>
                  <a:gd name="connsiteX6-215" fmla="*/ 2814666 w 2814666"/>
                  <a:gd name="connsiteY6-216" fmla="*/ 0 h 580232"/>
                  <a:gd name="connsiteX7-217" fmla="*/ 2808008 w 2814666"/>
                  <a:gd name="connsiteY7-218" fmla="*/ 48088 h 580232"/>
                  <a:gd name="connsiteX8-219" fmla="*/ 1432776 w 2814666"/>
                  <a:gd name="connsiteY8-220" fmla="*/ 163166 h 580232"/>
                  <a:gd name="connsiteX9-221" fmla="*/ 1442411 w 2814666"/>
                  <a:gd name="connsiteY9-222" fmla="*/ 112645 h 580232"/>
                  <a:gd name="connsiteX10-223" fmla="*/ 2814666 w 2814666"/>
                  <a:gd name="connsiteY10-224" fmla="*/ 0 h 580232"/>
                  <a:gd name="connsiteX0-225" fmla="*/ 1136883 w 2804551"/>
                  <a:gd name="connsiteY0-226" fmla="*/ 143556 h 534952"/>
                  <a:gd name="connsiteX1-227" fmla="*/ 1127521 w 2804551"/>
                  <a:gd name="connsiteY1-228" fmla="*/ 192648 h 534952"/>
                  <a:gd name="connsiteX2-229" fmla="*/ 980014 w 2804551"/>
                  <a:gd name="connsiteY2-230" fmla="*/ 211183 h 534952"/>
                  <a:gd name="connsiteX3-231" fmla="*/ 614 w 2804551"/>
                  <a:gd name="connsiteY3-232" fmla="*/ 534619 h 534952"/>
                  <a:gd name="connsiteX4-233" fmla="*/ 1136883 w 2804551"/>
                  <a:gd name="connsiteY4-234" fmla="*/ 143556 h 534952"/>
                  <a:gd name="connsiteX5-235" fmla="*/ 2804551 w 2804551"/>
                  <a:gd name="connsiteY5-236" fmla="*/ 0 h 534952"/>
                  <a:gd name="connsiteX6-237" fmla="*/ 2797893 w 2804551"/>
                  <a:gd name="connsiteY6-238" fmla="*/ 48088 h 534952"/>
                  <a:gd name="connsiteX7-239" fmla="*/ 1422661 w 2804551"/>
                  <a:gd name="connsiteY7-240" fmla="*/ 163166 h 534952"/>
                  <a:gd name="connsiteX8-241" fmla="*/ 1432296 w 2804551"/>
                  <a:gd name="connsiteY8-242" fmla="*/ 112645 h 534952"/>
                  <a:gd name="connsiteX9-243" fmla="*/ 2804551 w 2804551"/>
                  <a:gd name="connsiteY9-244" fmla="*/ 0 h 534952"/>
                  <a:gd name="connsiteX0-245" fmla="*/ 156888 w 1824556"/>
                  <a:gd name="connsiteY0-246" fmla="*/ 143556 h 213072"/>
                  <a:gd name="connsiteX1-247" fmla="*/ 147526 w 1824556"/>
                  <a:gd name="connsiteY1-248" fmla="*/ 192648 h 213072"/>
                  <a:gd name="connsiteX2-249" fmla="*/ 19 w 1824556"/>
                  <a:gd name="connsiteY2-250" fmla="*/ 211183 h 213072"/>
                  <a:gd name="connsiteX3-251" fmla="*/ 156888 w 1824556"/>
                  <a:gd name="connsiteY3-252" fmla="*/ 143556 h 213072"/>
                  <a:gd name="connsiteX4-253" fmla="*/ 1824556 w 1824556"/>
                  <a:gd name="connsiteY4-254" fmla="*/ 0 h 213072"/>
                  <a:gd name="connsiteX5-255" fmla="*/ 1817898 w 1824556"/>
                  <a:gd name="connsiteY5-256" fmla="*/ 48088 h 213072"/>
                  <a:gd name="connsiteX6-257" fmla="*/ 442666 w 1824556"/>
                  <a:gd name="connsiteY6-258" fmla="*/ 163166 h 213072"/>
                  <a:gd name="connsiteX7-259" fmla="*/ 452301 w 1824556"/>
                  <a:gd name="connsiteY7-260" fmla="*/ 112645 h 213072"/>
                  <a:gd name="connsiteX8-261" fmla="*/ 1824556 w 1824556"/>
                  <a:gd name="connsiteY8-262" fmla="*/ 0 h 213072"/>
                  <a:gd name="connsiteX0-263" fmla="*/ 9362 w 1677030"/>
                  <a:gd name="connsiteY0-264" fmla="*/ 143556 h 192648"/>
                  <a:gd name="connsiteX1-265" fmla="*/ 0 w 1677030"/>
                  <a:gd name="connsiteY1-266" fmla="*/ 192648 h 192648"/>
                  <a:gd name="connsiteX2-267" fmla="*/ 9362 w 1677030"/>
                  <a:gd name="connsiteY2-268" fmla="*/ 143556 h 192648"/>
                  <a:gd name="connsiteX3-269" fmla="*/ 1677030 w 1677030"/>
                  <a:gd name="connsiteY3-270" fmla="*/ 0 h 192648"/>
                  <a:gd name="connsiteX4-271" fmla="*/ 1670372 w 1677030"/>
                  <a:gd name="connsiteY4-272" fmla="*/ 48088 h 192648"/>
                  <a:gd name="connsiteX5-273" fmla="*/ 295140 w 1677030"/>
                  <a:gd name="connsiteY5-274" fmla="*/ 163166 h 192648"/>
                  <a:gd name="connsiteX6-275" fmla="*/ 304775 w 1677030"/>
                  <a:gd name="connsiteY6-276" fmla="*/ 112645 h 192648"/>
                  <a:gd name="connsiteX7-277" fmla="*/ 1677030 w 1677030"/>
                  <a:gd name="connsiteY7-278" fmla="*/ 0 h 192648"/>
                  <a:gd name="connsiteX0-279" fmla="*/ 1381890 w 1381890"/>
                  <a:gd name="connsiteY0-280" fmla="*/ 0 h 163166"/>
                  <a:gd name="connsiteX1-281" fmla="*/ 1375232 w 1381890"/>
                  <a:gd name="connsiteY1-282" fmla="*/ 48088 h 163166"/>
                  <a:gd name="connsiteX2-283" fmla="*/ 0 w 1381890"/>
                  <a:gd name="connsiteY2-284" fmla="*/ 163166 h 163166"/>
                  <a:gd name="connsiteX3-285" fmla="*/ 9635 w 1381890"/>
                  <a:gd name="connsiteY3-286" fmla="*/ 112645 h 163166"/>
                  <a:gd name="connsiteX4-287" fmla="*/ 1381890 w 1381890"/>
                  <a:gd name="connsiteY4-288" fmla="*/ 0 h 16316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381890" h="163166">
                    <a:moveTo>
                      <a:pt x="1381890" y="0"/>
                    </a:moveTo>
                    <a:lnTo>
                      <a:pt x="1375232" y="48088"/>
                    </a:lnTo>
                    <a:lnTo>
                      <a:pt x="0" y="163166"/>
                    </a:lnTo>
                    <a:lnTo>
                      <a:pt x="9635" y="112645"/>
                    </a:lnTo>
                    <a:lnTo>
                      <a:pt x="138189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14" name="任意多边形 113"/>
              <p:cNvSpPr/>
              <p:nvPr/>
            </p:nvSpPr>
            <p:spPr>
              <a:xfrm rot="21425118">
                <a:off x="3857887" y="2818298"/>
                <a:ext cx="1656251" cy="288205"/>
              </a:xfrm>
              <a:custGeom>
                <a:avLst/>
                <a:gdLst>
                  <a:gd name="connsiteX0" fmla="*/ 1146998 w 5592038"/>
                  <a:gd name="connsiteY0" fmla="*/ 1514343 h 1951019"/>
                  <a:gd name="connsiteX1" fmla="*/ 1137636 w 5592038"/>
                  <a:gd name="connsiteY1" fmla="*/ 1563435 h 1951019"/>
                  <a:gd name="connsiteX2" fmla="*/ 990129 w 5592038"/>
                  <a:gd name="connsiteY2" fmla="*/ 1581970 h 1951019"/>
                  <a:gd name="connsiteX3" fmla="*/ 0 w 5592038"/>
                  <a:gd name="connsiteY3" fmla="*/ 1951019 h 1951019"/>
                  <a:gd name="connsiteX4" fmla="*/ 1146998 w 5592038"/>
                  <a:gd name="connsiteY4" fmla="*/ 1514343 h 1951019"/>
                  <a:gd name="connsiteX5" fmla="*/ 2814666 w 5592038"/>
                  <a:gd name="connsiteY5" fmla="*/ 1370787 h 1951019"/>
                  <a:gd name="connsiteX6" fmla="*/ 2808008 w 5592038"/>
                  <a:gd name="connsiteY6" fmla="*/ 1418875 h 1951019"/>
                  <a:gd name="connsiteX7" fmla="*/ 1432776 w 5592038"/>
                  <a:gd name="connsiteY7" fmla="*/ 1533953 h 1951019"/>
                  <a:gd name="connsiteX8" fmla="*/ 1442411 w 5592038"/>
                  <a:gd name="connsiteY8" fmla="*/ 1483432 h 1951019"/>
                  <a:gd name="connsiteX9" fmla="*/ 2814666 w 5592038"/>
                  <a:gd name="connsiteY9" fmla="*/ 1370787 h 1951019"/>
                  <a:gd name="connsiteX10" fmla="*/ 4811635 w 5592038"/>
                  <a:gd name="connsiteY10" fmla="*/ 1035765 h 1951019"/>
                  <a:gd name="connsiteX11" fmla="*/ 4829298 w 5592038"/>
                  <a:gd name="connsiteY11" fmla="*/ 1073432 h 1951019"/>
                  <a:gd name="connsiteX12" fmla="*/ 4710439 w 5592038"/>
                  <a:gd name="connsiteY12" fmla="*/ 1117628 h 1951019"/>
                  <a:gd name="connsiteX13" fmla="*/ 3173047 w 5592038"/>
                  <a:gd name="connsiteY13" fmla="*/ 1384494 h 1951019"/>
                  <a:gd name="connsiteX14" fmla="*/ 3179658 w 5592038"/>
                  <a:gd name="connsiteY14" fmla="*/ 1336744 h 1951019"/>
                  <a:gd name="connsiteX15" fmla="*/ 4676307 w 5592038"/>
                  <a:gd name="connsiteY15" fmla="*/ 1087465 h 1951019"/>
                  <a:gd name="connsiteX16" fmla="*/ 4811635 w 5592038"/>
                  <a:gd name="connsiteY16" fmla="*/ 1035765 h 1951019"/>
                  <a:gd name="connsiteX17" fmla="*/ 5548579 w 5592038"/>
                  <a:gd name="connsiteY17" fmla="*/ 0 h 1951019"/>
                  <a:gd name="connsiteX18" fmla="*/ 5586741 w 5592038"/>
                  <a:gd name="connsiteY18" fmla="*/ 820 h 1951019"/>
                  <a:gd name="connsiteX19" fmla="*/ 4991247 w 5592038"/>
                  <a:gd name="connsiteY19" fmla="*/ 998509 h 1951019"/>
                  <a:gd name="connsiteX20" fmla="*/ 4972529 w 5592038"/>
                  <a:gd name="connsiteY20" fmla="*/ 958592 h 1951019"/>
                  <a:gd name="connsiteX21" fmla="*/ 5548579 w 5592038"/>
                  <a:gd name="connsiteY21" fmla="*/ 0 h 1951019"/>
                  <a:gd name="connsiteX0-1" fmla="*/ 1146999 w 5592039"/>
                  <a:gd name="connsiteY0-2" fmla="*/ 1514343 h 1951171"/>
                  <a:gd name="connsiteX1-3" fmla="*/ 1137637 w 5592039"/>
                  <a:gd name="connsiteY1-4" fmla="*/ 1563435 h 1951171"/>
                  <a:gd name="connsiteX2-5" fmla="*/ 1 w 5592039"/>
                  <a:gd name="connsiteY2-6" fmla="*/ 1951019 h 1951171"/>
                  <a:gd name="connsiteX3-7" fmla="*/ 1146999 w 5592039"/>
                  <a:gd name="connsiteY3-8" fmla="*/ 1514343 h 1951171"/>
                  <a:gd name="connsiteX4-9" fmla="*/ 2814667 w 5592039"/>
                  <a:gd name="connsiteY4-10" fmla="*/ 1370787 h 1951171"/>
                  <a:gd name="connsiteX5-11" fmla="*/ 2808009 w 5592039"/>
                  <a:gd name="connsiteY5-12" fmla="*/ 1418875 h 1951171"/>
                  <a:gd name="connsiteX6-13" fmla="*/ 1432777 w 5592039"/>
                  <a:gd name="connsiteY6-14" fmla="*/ 1533953 h 1951171"/>
                  <a:gd name="connsiteX7-15" fmla="*/ 1442412 w 5592039"/>
                  <a:gd name="connsiteY7-16" fmla="*/ 1483432 h 1951171"/>
                  <a:gd name="connsiteX8-17" fmla="*/ 2814667 w 5592039"/>
                  <a:gd name="connsiteY8-18" fmla="*/ 1370787 h 1951171"/>
                  <a:gd name="connsiteX9-19" fmla="*/ 4811636 w 5592039"/>
                  <a:gd name="connsiteY9-20" fmla="*/ 1035765 h 1951171"/>
                  <a:gd name="connsiteX10-21" fmla="*/ 4829299 w 5592039"/>
                  <a:gd name="connsiteY10-22" fmla="*/ 1073432 h 1951171"/>
                  <a:gd name="connsiteX11-23" fmla="*/ 4710440 w 5592039"/>
                  <a:gd name="connsiteY11-24" fmla="*/ 1117628 h 1951171"/>
                  <a:gd name="connsiteX12-25" fmla="*/ 3173048 w 5592039"/>
                  <a:gd name="connsiteY12-26" fmla="*/ 1384494 h 1951171"/>
                  <a:gd name="connsiteX13-27" fmla="*/ 3179659 w 5592039"/>
                  <a:gd name="connsiteY13-28" fmla="*/ 1336744 h 1951171"/>
                  <a:gd name="connsiteX14-29" fmla="*/ 4676308 w 5592039"/>
                  <a:gd name="connsiteY14-30" fmla="*/ 1087465 h 1951171"/>
                  <a:gd name="connsiteX15-31" fmla="*/ 4811636 w 5592039"/>
                  <a:gd name="connsiteY15-32" fmla="*/ 1035765 h 1951171"/>
                  <a:gd name="connsiteX16-33" fmla="*/ 5548580 w 5592039"/>
                  <a:gd name="connsiteY16-34" fmla="*/ 0 h 1951171"/>
                  <a:gd name="connsiteX17-35" fmla="*/ 5586742 w 5592039"/>
                  <a:gd name="connsiteY17-36" fmla="*/ 820 h 1951171"/>
                  <a:gd name="connsiteX18-37" fmla="*/ 4991248 w 5592039"/>
                  <a:gd name="connsiteY18-38" fmla="*/ 998509 h 1951171"/>
                  <a:gd name="connsiteX19-39" fmla="*/ 4972530 w 5592039"/>
                  <a:gd name="connsiteY19-40" fmla="*/ 958592 h 1951171"/>
                  <a:gd name="connsiteX20-41" fmla="*/ 5548580 w 5592039"/>
                  <a:gd name="connsiteY20-42" fmla="*/ 0 h 1951171"/>
                  <a:gd name="connsiteX0-43" fmla="*/ 1273861 w 5718901"/>
                  <a:gd name="connsiteY0-44" fmla="*/ 1514343 h 1998995"/>
                  <a:gd name="connsiteX1-45" fmla="*/ 1264499 w 5718901"/>
                  <a:gd name="connsiteY1-46" fmla="*/ 1563435 h 1998995"/>
                  <a:gd name="connsiteX2-47" fmla="*/ 126863 w 5718901"/>
                  <a:gd name="connsiteY2-48" fmla="*/ 1951019 h 1998995"/>
                  <a:gd name="connsiteX3-49" fmla="*/ 156399 w 5718901"/>
                  <a:gd name="connsiteY3-50" fmla="*/ 1944713 h 1998995"/>
                  <a:gd name="connsiteX4-51" fmla="*/ 1273861 w 5718901"/>
                  <a:gd name="connsiteY4-52" fmla="*/ 1514343 h 1998995"/>
                  <a:gd name="connsiteX5-53" fmla="*/ 2941529 w 5718901"/>
                  <a:gd name="connsiteY5-54" fmla="*/ 1370787 h 1998995"/>
                  <a:gd name="connsiteX6-55" fmla="*/ 2934871 w 5718901"/>
                  <a:gd name="connsiteY6-56" fmla="*/ 1418875 h 1998995"/>
                  <a:gd name="connsiteX7-57" fmla="*/ 1559639 w 5718901"/>
                  <a:gd name="connsiteY7-58" fmla="*/ 1533953 h 1998995"/>
                  <a:gd name="connsiteX8-59" fmla="*/ 1569274 w 5718901"/>
                  <a:gd name="connsiteY8-60" fmla="*/ 1483432 h 1998995"/>
                  <a:gd name="connsiteX9-61" fmla="*/ 2941529 w 5718901"/>
                  <a:gd name="connsiteY9-62" fmla="*/ 1370787 h 1998995"/>
                  <a:gd name="connsiteX10-63" fmla="*/ 4938498 w 5718901"/>
                  <a:gd name="connsiteY10-64" fmla="*/ 1035765 h 1998995"/>
                  <a:gd name="connsiteX11-65" fmla="*/ 4956161 w 5718901"/>
                  <a:gd name="connsiteY11-66" fmla="*/ 1073432 h 1998995"/>
                  <a:gd name="connsiteX12-67" fmla="*/ 4837302 w 5718901"/>
                  <a:gd name="connsiteY12-68" fmla="*/ 1117628 h 1998995"/>
                  <a:gd name="connsiteX13-69" fmla="*/ 3299910 w 5718901"/>
                  <a:gd name="connsiteY13-70" fmla="*/ 1384494 h 1998995"/>
                  <a:gd name="connsiteX14-71" fmla="*/ 3306521 w 5718901"/>
                  <a:gd name="connsiteY14-72" fmla="*/ 1336744 h 1998995"/>
                  <a:gd name="connsiteX15-73" fmla="*/ 4803170 w 5718901"/>
                  <a:gd name="connsiteY15-74" fmla="*/ 1087465 h 1998995"/>
                  <a:gd name="connsiteX16-75" fmla="*/ 4938498 w 5718901"/>
                  <a:gd name="connsiteY16-76" fmla="*/ 1035765 h 1998995"/>
                  <a:gd name="connsiteX17-77" fmla="*/ 5675442 w 5718901"/>
                  <a:gd name="connsiteY17-78" fmla="*/ 0 h 1998995"/>
                  <a:gd name="connsiteX18-79" fmla="*/ 5713604 w 5718901"/>
                  <a:gd name="connsiteY18-80" fmla="*/ 820 h 1998995"/>
                  <a:gd name="connsiteX19-81" fmla="*/ 5118110 w 5718901"/>
                  <a:gd name="connsiteY19-82" fmla="*/ 998509 h 1998995"/>
                  <a:gd name="connsiteX20-83" fmla="*/ 5099392 w 5718901"/>
                  <a:gd name="connsiteY20-84" fmla="*/ 958592 h 1998995"/>
                  <a:gd name="connsiteX21-85" fmla="*/ 5675442 w 5718901"/>
                  <a:gd name="connsiteY21-86" fmla="*/ 0 h 1998995"/>
                  <a:gd name="connsiteX0-87" fmla="*/ 1117464 w 5562504"/>
                  <a:gd name="connsiteY0-88" fmla="*/ 1514343 h 1944868"/>
                  <a:gd name="connsiteX1-89" fmla="*/ 1108102 w 5562504"/>
                  <a:gd name="connsiteY1-90" fmla="*/ 1563435 h 1944868"/>
                  <a:gd name="connsiteX2-91" fmla="*/ 2 w 5562504"/>
                  <a:gd name="connsiteY2-92" fmla="*/ 1944713 h 1944868"/>
                  <a:gd name="connsiteX3-93" fmla="*/ 1117464 w 5562504"/>
                  <a:gd name="connsiteY3-94" fmla="*/ 1514343 h 1944868"/>
                  <a:gd name="connsiteX4-95" fmla="*/ 2785132 w 5562504"/>
                  <a:gd name="connsiteY4-96" fmla="*/ 1370787 h 1944868"/>
                  <a:gd name="connsiteX5-97" fmla="*/ 2778474 w 5562504"/>
                  <a:gd name="connsiteY5-98" fmla="*/ 1418875 h 1944868"/>
                  <a:gd name="connsiteX6-99" fmla="*/ 1403242 w 5562504"/>
                  <a:gd name="connsiteY6-100" fmla="*/ 1533953 h 1944868"/>
                  <a:gd name="connsiteX7-101" fmla="*/ 1412877 w 5562504"/>
                  <a:gd name="connsiteY7-102" fmla="*/ 1483432 h 1944868"/>
                  <a:gd name="connsiteX8-103" fmla="*/ 2785132 w 5562504"/>
                  <a:gd name="connsiteY8-104" fmla="*/ 1370787 h 1944868"/>
                  <a:gd name="connsiteX9-105" fmla="*/ 4782101 w 5562504"/>
                  <a:gd name="connsiteY9-106" fmla="*/ 1035765 h 1944868"/>
                  <a:gd name="connsiteX10-107" fmla="*/ 4799764 w 5562504"/>
                  <a:gd name="connsiteY10-108" fmla="*/ 1073432 h 1944868"/>
                  <a:gd name="connsiteX11-109" fmla="*/ 4680905 w 5562504"/>
                  <a:gd name="connsiteY11-110" fmla="*/ 1117628 h 1944868"/>
                  <a:gd name="connsiteX12-111" fmla="*/ 3143513 w 5562504"/>
                  <a:gd name="connsiteY12-112" fmla="*/ 1384494 h 1944868"/>
                  <a:gd name="connsiteX13-113" fmla="*/ 3150124 w 5562504"/>
                  <a:gd name="connsiteY13-114" fmla="*/ 1336744 h 1944868"/>
                  <a:gd name="connsiteX14-115" fmla="*/ 4646773 w 5562504"/>
                  <a:gd name="connsiteY14-116" fmla="*/ 1087465 h 1944868"/>
                  <a:gd name="connsiteX15-117" fmla="*/ 4782101 w 5562504"/>
                  <a:gd name="connsiteY15-118" fmla="*/ 1035765 h 1944868"/>
                  <a:gd name="connsiteX16-119" fmla="*/ 5519045 w 5562504"/>
                  <a:gd name="connsiteY16-120" fmla="*/ 0 h 1944868"/>
                  <a:gd name="connsiteX17-121" fmla="*/ 5557207 w 5562504"/>
                  <a:gd name="connsiteY17-122" fmla="*/ 820 h 1944868"/>
                  <a:gd name="connsiteX18-123" fmla="*/ 4961713 w 5562504"/>
                  <a:gd name="connsiteY18-124" fmla="*/ 998509 h 1944868"/>
                  <a:gd name="connsiteX19-125" fmla="*/ 4942995 w 5562504"/>
                  <a:gd name="connsiteY19-126" fmla="*/ 958592 h 1944868"/>
                  <a:gd name="connsiteX20-127" fmla="*/ 5519045 w 5562504"/>
                  <a:gd name="connsiteY20-128" fmla="*/ 0 h 1944868"/>
                  <a:gd name="connsiteX0-129" fmla="*/ 9362 w 4454402"/>
                  <a:gd name="connsiteY0-130" fmla="*/ 1514343 h 1563435"/>
                  <a:gd name="connsiteX1-131" fmla="*/ 0 w 4454402"/>
                  <a:gd name="connsiteY1-132" fmla="*/ 1563435 h 1563435"/>
                  <a:gd name="connsiteX2-133" fmla="*/ 9362 w 4454402"/>
                  <a:gd name="connsiteY2-134" fmla="*/ 1514343 h 1563435"/>
                  <a:gd name="connsiteX3-135" fmla="*/ 1677030 w 4454402"/>
                  <a:gd name="connsiteY3-136" fmla="*/ 1370787 h 1563435"/>
                  <a:gd name="connsiteX4-137" fmla="*/ 1670372 w 4454402"/>
                  <a:gd name="connsiteY4-138" fmla="*/ 1418875 h 1563435"/>
                  <a:gd name="connsiteX5-139" fmla="*/ 295140 w 4454402"/>
                  <a:gd name="connsiteY5-140" fmla="*/ 1533953 h 1563435"/>
                  <a:gd name="connsiteX6-141" fmla="*/ 304775 w 4454402"/>
                  <a:gd name="connsiteY6-142" fmla="*/ 1483432 h 1563435"/>
                  <a:gd name="connsiteX7-143" fmla="*/ 1677030 w 4454402"/>
                  <a:gd name="connsiteY7-144" fmla="*/ 1370787 h 1563435"/>
                  <a:gd name="connsiteX8-145" fmla="*/ 3673999 w 4454402"/>
                  <a:gd name="connsiteY8-146" fmla="*/ 1035765 h 1563435"/>
                  <a:gd name="connsiteX9-147" fmla="*/ 3691662 w 4454402"/>
                  <a:gd name="connsiteY9-148" fmla="*/ 1073432 h 1563435"/>
                  <a:gd name="connsiteX10-149" fmla="*/ 3572803 w 4454402"/>
                  <a:gd name="connsiteY10-150" fmla="*/ 1117628 h 1563435"/>
                  <a:gd name="connsiteX11-151" fmla="*/ 2035411 w 4454402"/>
                  <a:gd name="connsiteY11-152" fmla="*/ 1384494 h 1563435"/>
                  <a:gd name="connsiteX12-153" fmla="*/ 2042022 w 4454402"/>
                  <a:gd name="connsiteY12-154" fmla="*/ 1336744 h 1563435"/>
                  <a:gd name="connsiteX13-155" fmla="*/ 3538671 w 4454402"/>
                  <a:gd name="connsiteY13-156" fmla="*/ 1087465 h 1563435"/>
                  <a:gd name="connsiteX14-157" fmla="*/ 3673999 w 4454402"/>
                  <a:gd name="connsiteY14-158" fmla="*/ 1035765 h 1563435"/>
                  <a:gd name="connsiteX15-159" fmla="*/ 4410943 w 4454402"/>
                  <a:gd name="connsiteY15-160" fmla="*/ 0 h 1563435"/>
                  <a:gd name="connsiteX16-161" fmla="*/ 4449105 w 4454402"/>
                  <a:gd name="connsiteY16-162" fmla="*/ 820 h 1563435"/>
                  <a:gd name="connsiteX17-163" fmla="*/ 3853611 w 4454402"/>
                  <a:gd name="connsiteY17-164" fmla="*/ 998509 h 1563435"/>
                  <a:gd name="connsiteX18-165" fmla="*/ 3834893 w 4454402"/>
                  <a:gd name="connsiteY18-166" fmla="*/ 958592 h 1563435"/>
                  <a:gd name="connsiteX19-167" fmla="*/ 4410943 w 4454402"/>
                  <a:gd name="connsiteY19-168" fmla="*/ 0 h 1563435"/>
                  <a:gd name="connsiteX0-169" fmla="*/ 1381890 w 4159262"/>
                  <a:gd name="connsiteY0-170" fmla="*/ 1370787 h 1533953"/>
                  <a:gd name="connsiteX1-171" fmla="*/ 1375232 w 4159262"/>
                  <a:gd name="connsiteY1-172" fmla="*/ 1418875 h 1533953"/>
                  <a:gd name="connsiteX2-173" fmla="*/ 0 w 4159262"/>
                  <a:gd name="connsiteY2-174" fmla="*/ 1533953 h 1533953"/>
                  <a:gd name="connsiteX3-175" fmla="*/ 9635 w 4159262"/>
                  <a:gd name="connsiteY3-176" fmla="*/ 1483432 h 1533953"/>
                  <a:gd name="connsiteX4-177" fmla="*/ 1381890 w 4159262"/>
                  <a:gd name="connsiteY4-178" fmla="*/ 1370787 h 1533953"/>
                  <a:gd name="connsiteX5-179" fmla="*/ 3378859 w 4159262"/>
                  <a:gd name="connsiteY5-180" fmla="*/ 1035765 h 1533953"/>
                  <a:gd name="connsiteX6-181" fmla="*/ 3396522 w 4159262"/>
                  <a:gd name="connsiteY6-182" fmla="*/ 1073432 h 1533953"/>
                  <a:gd name="connsiteX7-183" fmla="*/ 3277663 w 4159262"/>
                  <a:gd name="connsiteY7-184" fmla="*/ 1117628 h 1533953"/>
                  <a:gd name="connsiteX8-185" fmla="*/ 1740271 w 4159262"/>
                  <a:gd name="connsiteY8-186" fmla="*/ 1384494 h 1533953"/>
                  <a:gd name="connsiteX9-187" fmla="*/ 1746882 w 4159262"/>
                  <a:gd name="connsiteY9-188" fmla="*/ 1336744 h 1533953"/>
                  <a:gd name="connsiteX10-189" fmla="*/ 3243531 w 4159262"/>
                  <a:gd name="connsiteY10-190" fmla="*/ 1087465 h 1533953"/>
                  <a:gd name="connsiteX11-191" fmla="*/ 3378859 w 4159262"/>
                  <a:gd name="connsiteY11-192" fmla="*/ 1035765 h 1533953"/>
                  <a:gd name="connsiteX12-193" fmla="*/ 4115803 w 4159262"/>
                  <a:gd name="connsiteY12-194" fmla="*/ 0 h 1533953"/>
                  <a:gd name="connsiteX13-195" fmla="*/ 4153965 w 4159262"/>
                  <a:gd name="connsiteY13-196" fmla="*/ 820 h 1533953"/>
                  <a:gd name="connsiteX14-197" fmla="*/ 3558471 w 4159262"/>
                  <a:gd name="connsiteY14-198" fmla="*/ 998509 h 1533953"/>
                  <a:gd name="connsiteX15-199" fmla="*/ 3539753 w 4159262"/>
                  <a:gd name="connsiteY15-200" fmla="*/ 958592 h 1533953"/>
                  <a:gd name="connsiteX16-201" fmla="*/ 4115803 w 4159262"/>
                  <a:gd name="connsiteY16-202" fmla="*/ 0 h 1533953"/>
                  <a:gd name="connsiteX0-203" fmla="*/ 1381890 w 4159262"/>
                  <a:gd name="connsiteY0-204" fmla="*/ 1370787 h 1533953"/>
                  <a:gd name="connsiteX1-205" fmla="*/ 1375232 w 4159262"/>
                  <a:gd name="connsiteY1-206" fmla="*/ 1418875 h 1533953"/>
                  <a:gd name="connsiteX2-207" fmla="*/ 0 w 4159262"/>
                  <a:gd name="connsiteY2-208" fmla="*/ 1533953 h 1533953"/>
                  <a:gd name="connsiteX3-209" fmla="*/ 1381890 w 4159262"/>
                  <a:gd name="connsiteY3-210" fmla="*/ 1370787 h 1533953"/>
                  <a:gd name="connsiteX4-211" fmla="*/ 3378859 w 4159262"/>
                  <a:gd name="connsiteY4-212" fmla="*/ 1035765 h 1533953"/>
                  <a:gd name="connsiteX5-213" fmla="*/ 3396522 w 4159262"/>
                  <a:gd name="connsiteY5-214" fmla="*/ 1073432 h 1533953"/>
                  <a:gd name="connsiteX6-215" fmla="*/ 3277663 w 4159262"/>
                  <a:gd name="connsiteY6-216" fmla="*/ 1117628 h 1533953"/>
                  <a:gd name="connsiteX7-217" fmla="*/ 1740271 w 4159262"/>
                  <a:gd name="connsiteY7-218" fmla="*/ 1384494 h 1533953"/>
                  <a:gd name="connsiteX8-219" fmla="*/ 1746882 w 4159262"/>
                  <a:gd name="connsiteY8-220" fmla="*/ 1336744 h 1533953"/>
                  <a:gd name="connsiteX9-221" fmla="*/ 3243531 w 4159262"/>
                  <a:gd name="connsiteY9-222" fmla="*/ 1087465 h 1533953"/>
                  <a:gd name="connsiteX10-223" fmla="*/ 3378859 w 4159262"/>
                  <a:gd name="connsiteY10-224" fmla="*/ 1035765 h 1533953"/>
                  <a:gd name="connsiteX11-225" fmla="*/ 4115803 w 4159262"/>
                  <a:gd name="connsiteY11-226" fmla="*/ 0 h 1533953"/>
                  <a:gd name="connsiteX12-227" fmla="*/ 4153965 w 4159262"/>
                  <a:gd name="connsiteY12-228" fmla="*/ 820 h 1533953"/>
                  <a:gd name="connsiteX13-229" fmla="*/ 3558471 w 4159262"/>
                  <a:gd name="connsiteY13-230" fmla="*/ 998509 h 1533953"/>
                  <a:gd name="connsiteX14-231" fmla="*/ 3539753 w 4159262"/>
                  <a:gd name="connsiteY14-232" fmla="*/ 958592 h 1533953"/>
                  <a:gd name="connsiteX15-233" fmla="*/ 4115803 w 4159262"/>
                  <a:gd name="connsiteY15-234" fmla="*/ 0 h 1533953"/>
                  <a:gd name="connsiteX0-235" fmla="*/ 6658 w 2784030"/>
                  <a:gd name="connsiteY0-236" fmla="*/ 1370787 h 1418875"/>
                  <a:gd name="connsiteX1-237" fmla="*/ 0 w 2784030"/>
                  <a:gd name="connsiteY1-238" fmla="*/ 1418875 h 1418875"/>
                  <a:gd name="connsiteX2-239" fmla="*/ 6658 w 2784030"/>
                  <a:gd name="connsiteY2-240" fmla="*/ 1370787 h 1418875"/>
                  <a:gd name="connsiteX3-241" fmla="*/ 2003627 w 2784030"/>
                  <a:gd name="connsiteY3-242" fmla="*/ 1035765 h 1418875"/>
                  <a:gd name="connsiteX4-243" fmla="*/ 2021290 w 2784030"/>
                  <a:gd name="connsiteY4-244" fmla="*/ 1073432 h 1418875"/>
                  <a:gd name="connsiteX5-245" fmla="*/ 1902431 w 2784030"/>
                  <a:gd name="connsiteY5-246" fmla="*/ 1117628 h 1418875"/>
                  <a:gd name="connsiteX6-247" fmla="*/ 365039 w 2784030"/>
                  <a:gd name="connsiteY6-248" fmla="*/ 1384494 h 1418875"/>
                  <a:gd name="connsiteX7-249" fmla="*/ 371650 w 2784030"/>
                  <a:gd name="connsiteY7-250" fmla="*/ 1336744 h 1418875"/>
                  <a:gd name="connsiteX8-251" fmla="*/ 1868299 w 2784030"/>
                  <a:gd name="connsiteY8-252" fmla="*/ 1087465 h 1418875"/>
                  <a:gd name="connsiteX9-253" fmla="*/ 2003627 w 2784030"/>
                  <a:gd name="connsiteY9-254" fmla="*/ 1035765 h 1418875"/>
                  <a:gd name="connsiteX10-255" fmla="*/ 2740571 w 2784030"/>
                  <a:gd name="connsiteY10-256" fmla="*/ 0 h 1418875"/>
                  <a:gd name="connsiteX11-257" fmla="*/ 2778733 w 2784030"/>
                  <a:gd name="connsiteY11-258" fmla="*/ 820 h 1418875"/>
                  <a:gd name="connsiteX12-259" fmla="*/ 2183239 w 2784030"/>
                  <a:gd name="connsiteY12-260" fmla="*/ 998509 h 1418875"/>
                  <a:gd name="connsiteX13-261" fmla="*/ 2164521 w 2784030"/>
                  <a:gd name="connsiteY13-262" fmla="*/ 958592 h 1418875"/>
                  <a:gd name="connsiteX14-263" fmla="*/ 2740571 w 2784030"/>
                  <a:gd name="connsiteY14-264" fmla="*/ 0 h 1418875"/>
                  <a:gd name="connsiteX0-265" fmla="*/ 1638588 w 2418991"/>
                  <a:gd name="connsiteY0-266" fmla="*/ 1035765 h 1384494"/>
                  <a:gd name="connsiteX1-267" fmla="*/ 1656251 w 2418991"/>
                  <a:gd name="connsiteY1-268" fmla="*/ 1073432 h 1384494"/>
                  <a:gd name="connsiteX2-269" fmla="*/ 1537392 w 2418991"/>
                  <a:gd name="connsiteY2-270" fmla="*/ 1117628 h 1384494"/>
                  <a:gd name="connsiteX3-271" fmla="*/ 0 w 2418991"/>
                  <a:gd name="connsiteY3-272" fmla="*/ 1384494 h 1384494"/>
                  <a:gd name="connsiteX4-273" fmla="*/ 6611 w 2418991"/>
                  <a:gd name="connsiteY4-274" fmla="*/ 1336744 h 1384494"/>
                  <a:gd name="connsiteX5-275" fmla="*/ 1503260 w 2418991"/>
                  <a:gd name="connsiteY5-276" fmla="*/ 1087465 h 1384494"/>
                  <a:gd name="connsiteX6-277" fmla="*/ 1638588 w 2418991"/>
                  <a:gd name="connsiteY6-278" fmla="*/ 1035765 h 1384494"/>
                  <a:gd name="connsiteX7-279" fmla="*/ 2375532 w 2418991"/>
                  <a:gd name="connsiteY7-280" fmla="*/ 0 h 1384494"/>
                  <a:gd name="connsiteX8-281" fmla="*/ 2413694 w 2418991"/>
                  <a:gd name="connsiteY8-282" fmla="*/ 820 h 1384494"/>
                  <a:gd name="connsiteX9-283" fmla="*/ 1818200 w 2418991"/>
                  <a:gd name="connsiteY9-284" fmla="*/ 998509 h 1384494"/>
                  <a:gd name="connsiteX10-285" fmla="*/ 1799482 w 2418991"/>
                  <a:gd name="connsiteY10-286" fmla="*/ 958592 h 1384494"/>
                  <a:gd name="connsiteX11-287" fmla="*/ 2375532 w 2418991"/>
                  <a:gd name="connsiteY11-288" fmla="*/ 0 h 1384494"/>
                  <a:gd name="connsiteX0-289" fmla="*/ 1638588 w 2377932"/>
                  <a:gd name="connsiteY0-290" fmla="*/ 1035765 h 1384494"/>
                  <a:gd name="connsiteX1-291" fmla="*/ 1656251 w 2377932"/>
                  <a:gd name="connsiteY1-292" fmla="*/ 1073432 h 1384494"/>
                  <a:gd name="connsiteX2-293" fmla="*/ 1537392 w 2377932"/>
                  <a:gd name="connsiteY2-294" fmla="*/ 1117628 h 1384494"/>
                  <a:gd name="connsiteX3-295" fmla="*/ 0 w 2377932"/>
                  <a:gd name="connsiteY3-296" fmla="*/ 1384494 h 1384494"/>
                  <a:gd name="connsiteX4-297" fmla="*/ 6611 w 2377932"/>
                  <a:gd name="connsiteY4-298" fmla="*/ 1336744 h 1384494"/>
                  <a:gd name="connsiteX5-299" fmla="*/ 1503260 w 2377932"/>
                  <a:gd name="connsiteY5-300" fmla="*/ 1087465 h 1384494"/>
                  <a:gd name="connsiteX6-301" fmla="*/ 1638588 w 2377932"/>
                  <a:gd name="connsiteY6-302" fmla="*/ 1035765 h 1384494"/>
                  <a:gd name="connsiteX7-303" fmla="*/ 2375532 w 2377932"/>
                  <a:gd name="connsiteY7-304" fmla="*/ 0 h 1384494"/>
                  <a:gd name="connsiteX8-305" fmla="*/ 1818200 w 2377932"/>
                  <a:gd name="connsiteY8-306" fmla="*/ 998509 h 1384494"/>
                  <a:gd name="connsiteX9-307" fmla="*/ 1799482 w 2377932"/>
                  <a:gd name="connsiteY9-308" fmla="*/ 958592 h 1384494"/>
                  <a:gd name="connsiteX10-309" fmla="*/ 2375532 w 2377932"/>
                  <a:gd name="connsiteY10-310" fmla="*/ 0 h 1384494"/>
                  <a:gd name="connsiteX0-311" fmla="*/ 1638588 w 1818200"/>
                  <a:gd name="connsiteY0-312" fmla="*/ 77173 h 425902"/>
                  <a:gd name="connsiteX1-313" fmla="*/ 1656251 w 1818200"/>
                  <a:gd name="connsiteY1-314" fmla="*/ 114840 h 425902"/>
                  <a:gd name="connsiteX2-315" fmla="*/ 1537392 w 1818200"/>
                  <a:gd name="connsiteY2-316" fmla="*/ 159036 h 425902"/>
                  <a:gd name="connsiteX3-317" fmla="*/ 0 w 1818200"/>
                  <a:gd name="connsiteY3-318" fmla="*/ 425902 h 425902"/>
                  <a:gd name="connsiteX4-319" fmla="*/ 6611 w 1818200"/>
                  <a:gd name="connsiteY4-320" fmla="*/ 378152 h 425902"/>
                  <a:gd name="connsiteX5-321" fmla="*/ 1503260 w 1818200"/>
                  <a:gd name="connsiteY5-322" fmla="*/ 128873 h 425902"/>
                  <a:gd name="connsiteX6-323" fmla="*/ 1638588 w 1818200"/>
                  <a:gd name="connsiteY6-324" fmla="*/ 77173 h 425902"/>
                  <a:gd name="connsiteX7-325" fmla="*/ 1799482 w 1818200"/>
                  <a:gd name="connsiteY7-326" fmla="*/ 0 h 425902"/>
                  <a:gd name="connsiteX8-327" fmla="*/ 1818200 w 1818200"/>
                  <a:gd name="connsiteY8-328" fmla="*/ 39917 h 425902"/>
                  <a:gd name="connsiteX9-329" fmla="*/ 1799482 w 1818200"/>
                  <a:gd name="connsiteY9-330" fmla="*/ 0 h 425902"/>
                  <a:gd name="connsiteX0-331" fmla="*/ 1638588 w 1656251"/>
                  <a:gd name="connsiteY0-332" fmla="*/ 0 h 348729"/>
                  <a:gd name="connsiteX1-333" fmla="*/ 1656251 w 1656251"/>
                  <a:gd name="connsiteY1-334" fmla="*/ 37667 h 348729"/>
                  <a:gd name="connsiteX2-335" fmla="*/ 1537392 w 1656251"/>
                  <a:gd name="connsiteY2-336" fmla="*/ 81863 h 348729"/>
                  <a:gd name="connsiteX3-337" fmla="*/ 0 w 1656251"/>
                  <a:gd name="connsiteY3-338" fmla="*/ 348729 h 348729"/>
                  <a:gd name="connsiteX4-339" fmla="*/ 6611 w 1656251"/>
                  <a:gd name="connsiteY4-340" fmla="*/ 300979 h 348729"/>
                  <a:gd name="connsiteX5-341" fmla="*/ 1503260 w 1656251"/>
                  <a:gd name="connsiteY5-342" fmla="*/ 51700 h 348729"/>
                  <a:gd name="connsiteX6-343" fmla="*/ 1638588 w 1656251"/>
                  <a:gd name="connsiteY6-344" fmla="*/ 0 h 34872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</a:cxnLst>
                <a:rect l="l" t="t" r="r" b="b"/>
                <a:pathLst>
                  <a:path w="1656251" h="348729">
                    <a:moveTo>
                      <a:pt x="1638588" y="0"/>
                    </a:moveTo>
                    <a:lnTo>
                      <a:pt x="1656251" y="37667"/>
                    </a:lnTo>
                    <a:cubicBezTo>
                      <a:pt x="1618349" y="53206"/>
                      <a:pt x="1578715" y="67876"/>
                      <a:pt x="1537392" y="81863"/>
                    </a:cubicBezTo>
                    <a:cubicBezTo>
                      <a:pt x="1206300" y="203204"/>
                      <a:pt x="621630" y="285668"/>
                      <a:pt x="0" y="348729"/>
                    </a:cubicBezTo>
                    <a:lnTo>
                      <a:pt x="6611" y="300979"/>
                    </a:lnTo>
                    <a:cubicBezTo>
                      <a:pt x="618076" y="239595"/>
                      <a:pt x="1198045" y="160172"/>
                      <a:pt x="1503260" y="51700"/>
                    </a:cubicBezTo>
                    <a:cubicBezTo>
                      <a:pt x="1550649" y="35451"/>
                      <a:pt x="1595780" y="18311"/>
                      <a:pt x="163858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15" name="任意多边形 114"/>
              <p:cNvSpPr/>
              <p:nvPr/>
            </p:nvSpPr>
            <p:spPr>
              <a:xfrm>
                <a:off x="5633794" y="1731721"/>
                <a:ext cx="511991" cy="998509"/>
              </a:xfrm>
              <a:custGeom>
                <a:avLst/>
                <a:gdLst>
                  <a:gd name="connsiteX0" fmla="*/ 1146998 w 5592038"/>
                  <a:gd name="connsiteY0" fmla="*/ 1514343 h 1951019"/>
                  <a:gd name="connsiteX1" fmla="*/ 1137636 w 5592038"/>
                  <a:gd name="connsiteY1" fmla="*/ 1563435 h 1951019"/>
                  <a:gd name="connsiteX2" fmla="*/ 990129 w 5592038"/>
                  <a:gd name="connsiteY2" fmla="*/ 1581970 h 1951019"/>
                  <a:gd name="connsiteX3" fmla="*/ 0 w 5592038"/>
                  <a:gd name="connsiteY3" fmla="*/ 1951019 h 1951019"/>
                  <a:gd name="connsiteX4" fmla="*/ 1146998 w 5592038"/>
                  <a:gd name="connsiteY4" fmla="*/ 1514343 h 1951019"/>
                  <a:gd name="connsiteX5" fmla="*/ 2814666 w 5592038"/>
                  <a:gd name="connsiteY5" fmla="*/ 1370787 h 1951019"/>
                  <a:gd name="connsiteX6" fmla="*/ 2808008 w 5592038"/>
                  <a:gd name="connsiteY6" fmla="*/ 1418875 h 1951019"/>
                  <a:gd name="connsiteX7" fmla="*/ 1432776 w 5592038"/>
                  <a:gd name="connsiteY7" fmla="*/ 1533953 h 1951019"/>
                  <a:gd name="connsiteX8" fmla="*/ 1442411 w 5592038"/>
                  <a:gd name="connsiteY8" fmla="*/ 1483432 h 1951019"/>
                  <a:gd name="connsiteX9" fmla="*/ 2814666 w 5592038"/>
                  <a:gd name="connsiteY9" fmla="*/ 1370787 h 1951019"/>
                  <a:gd name="connsiteX10" fmla="*/ 4811635 w 5592038"/>
                  <a:gd name="connsiteY10" fmla="*/ 1035765 h 1951019"/>
                  <a:gd name="connsiteX11" fmla="*/ 4829298 w 5592038"/>
                  <a:gd name="connsiteY11" fmla="*/ 1073432 h 1951019"/>
                  <a:gd name="connsiteX12" fmla="*/ 4710439 w 5592038"/>
                  <a:gd name="connsiteY12" fmla="*/ 1117628 h 1951019"/>
                  <a:gd name="connsiteX13" fmla="*/ 3173047 w 5592038"/>
                  <a:gd name="connsiteY13" fmla="*/ 1384494 h 1951019"/>
                  <a:gd name="connsiteX14" fmla="*/ 3179658 w 5592038"/>
                  <a:gd name="connsiteY14" fmla="*/ 1336744 h 1951019"/>
                  <a:gd name="connsiteX15" fmla="*/ 4676307 w 5592038"/>
                  <a:gd name="connsiteY15" fmla="*/ 1087465 h 1951019"/>
                  <a:gd name="connsiteX16" fmla="*/ 4811635 w 5592038"/>
                  <a:gd name="connsiteY16" fmla="*/ 1035765 h 1951019"/>
                  <a:gd name="connsiteX17" fmla="*/ 5548579 w 5592038"/>
                  <a:gd name="connsiteY17" fmla="*/ 0 h 1951019"/>
                  <a:gd name="connsiteX18" fmla="*/ 5586741 w 5592038"/>
                  <a:gd name="connsiteY18" fmla="*/ 820 h 1951019"/>
                  <a:gd name="connsiteX19" fmla="*/ 4991247 w 5592038"/>
                  <a:gd name="connsiteY19" fmla="*/ 998509 h 1951019"/>
                  <a:gd name="connsiteX20" fmla="*/ 4972529 w 5592038"/>
                  <a:gd name="connsiteY20" fmla="*/ 958592 h 1951019"/>
                  <a:gd name="connsiteX21" fmla="*/ 5548579 w 5592038"/>
                  <a:gd name="connsiteY21" fmla="*/ 0 h 1951019"/>
                  <a:gd name="connsiteX0-1" fmla="*/ 156888 w 4601928"/>
                  <a:gd name="connsiteY0-2" fmla="*/ 1514343 h 1583859"/>
                  <a:gd name="connsiteX1-3" fmla="*/ 147526 w 4601928"/>
                  <a:gd name="connsiteY1-4" fmla="*/ 1563435 h 1583859"/>
                  <a:gd name="connsiteX2-5" fmla="*/ 19 w 4601928"/>
                  <a:gd name="connsiteY2-6" fmla="*/ 1581970 h 1583859"/>
                  <a:gd name="connsiteX3-7" fmla="*/ 156888 w 4601928"/>
                  <a:gd name="connsiteY3-8" fmla="*/ 1514343 h 1583859"/>
                  <a:gd name="connsiteX4-9" fmla="*/ 1824556 w 4601928"/>
                  <a:gd name="connsiteY4-10" fmla="*/ 1370787 h 1583859"/>
                  <a:gd name="connsiteX5-11" fmla="*/ 1817898 w 4601928"/>
                  <a:gd name="connsiteY5-12" fmla="*/ 1418875 h 1583859"/>
                  <a:gd name="connsiteX6-13" fmla="*/ 442666 w 4601928"/>
                  <a:gd name="connsiteY6-14" fmla="*/ 1533953 h 1583859"/>
                  <a:gd name="connsiteX7-15" fmla="*/ 452301 w 4601928"/>
                  <a:gd name="connsiteY7-16" fmla="*/ 1483432 h 1583859"/>
                  <a:gd name="connsiteX8-17" fmla="*/ 1824556 w 4601928"/>
                  <a:gd name="connsiteY8-18" fmla="*/ 1370787 h 1583859"/>
                  <a:gd name="connsiteX9-19" fmla="*/ 3821525 w 4601928"/>
                  <a:gd name="connsiteY9-20" fmla="*/ 1035765 h 1583859"/>
                  <a:gd name="connsiteX10-21" fmla="*/ 3839188 w 4601928"/>
                  <a:gd name="connsiteY10-22" fmla="*/ 1073432 h 1583859"/>
                  <a:gd name="connsiteX11-23" fmla="*/ 3720329 w 4601928"/>
                  <a:gd name="connsiteY11-24" fmla="*/ 1117628 h 1583859"/>
                  <a:gd name="connsiteX12-25" fmla="*/ 2182937 w 4601928"/>
                  <a:gd name="connsiteY12-26" fmla="*/ 1384494 h 1583859"/>
                  <a:gd name="connsiteX13-27" fmla="*/ 2189548 w 4601928"/>
                  <a:gd name="connsiteY13-28" fmla="*/ 1336744 h 1583859"/>
                  <a:gd name="connsiteX14-29" fmla="*/ 3686197 w 4601928"/>
                  <a:gd name="connsiteY14-30" fmla="*/ 1087465 h 1583859"/>
                  <a:gd name="connsiteX15-31" fmla="*/ 3821525 w 4601928"/>
                  <a:gd name="connsiteY15-32" fmla="*/ 1035765 h 1583859"/>
                  <a:gd name="connsiteX16-33" fmla="*/ 4558469 w 4601928"/>
                  <a:gd name="connsiteY16-34" fmla="*/ 0 h 1583859"/>
                  <a:gd name="connsiteX17-35" fmla="*/ 4596631 w 4601928"/>
                  <a:gd name="connsiteY17-36" fmla="*/ 820 h 1583859"/>
                  <a:gd name="connsiteX18-37" fmla="*/ 4001137 w 4601928"/>
                  <a:gd name="connsiteY18-38" fmla="*/ 998509 h 1583859"/>
                  <a:gd name="connsiteX19-39" fmla="*/ 3982419 w 4601928"/>
                  <a:gd name="connsiteY19-40" fmla="*/ 958592 h 1583859"/>
                  <a:gd name="connsiteX20-41" fmla="*/ 4558469 w 4601928"/>
                  <a:gd name="connsiteY20-42" fmla="*/ 0 h 1583859"/>
                  <a:gd name="connsiteX0-43" fmla="*/ 9362 w 4454402"/>
                  <a:gd name="connsiteY0-44" fmla="*/ 1514343 h 1563435"/>
                  <a:gd name="connsiteX1-45" fmla="*/ 0 w 4454402"/>
                  <a:gd name="connsiteY1-46" fmla="*/ 1563435 h 1563435"/>
                  <a:gd name="connsiteX2-47" fmla="*/ 9362 w 4454402"/>
                  <a:gd name="connsiteY2-48" fmla="*/ 1514343 h 1563435"/>
                  <a:gd name="connsiteX3-49" fmla="*/ 1677030 w 4454402"/>
                  <a:gd name="connsiteY3-50" fmla="*/ 1370787 h 1563435"/>
                  <a:gd name="connsiteX4-51" fmla="*/ 1670372 w 4454402"/>
                  <a:gd name="connsiteY4-52" fmla="*/ 1418875 h 1563435"/>
                  <a:gd name="connsiteX5-53" fmla="*/ 295140 w 4454402"/>
                  <a:gd name="connsiteY5-54" fmla="*/ 1533953 h 1563435"/>
                  <a:gd name="connsiteX6-55" fmla="*/ 304775 w 4454402"/>
                  <a:gd name="connsiteY6-56" fmla="*/ 1483432 h 1563435"/>
                  <a:gd name="connsiteX7-57" fmla="*/ 1677030 w 4454402"/>
                  <a:gd name="connsiteY7-58" fmla="*/ 1370787 h 1563435"/>
                  <a:gd name="connsiteX8-59" fmla="*/ 3673999 w 4454402"/>
                  <a:gd name="connsiteY8-60" fmla="*/ 1035765 h 1563435"/>
                  <a:gd name="connsiteX9-61" fmla="*/ 3691662 w 4454402"/>
                  <a:gd name="connsiteY9-62" fmla="*/ 1073432 h 1563435"/>
                  <a:gd name="connsiteX10-63" fmla="*/ 3572803 w 4454402"/>
                  <a:gd name="connsiteY10-64" fmla="*/ 1117628 h 1563435"/>
                  <a:gd name="connsiteX11-65" fmla="*/ 2035411 w 4454402"/>
                  <a:gd name="connsiteY11-66" fmla="*/ 1384494 h 1563435"/>
                  <a:gd name="connsiteX12-67" fmla="*/ 2042022 w 4454402"/>
                  <a:gd name="connsiteY12-68" fmla="*/ 1336744 h 1563435"/>
                  <a:gd name="connsiteX13-69" fmla="*/ 3538671 w 4454402"/>
                  <a:gd name="connsiteY13-70" fmla="*/ 1087465 h 1563435"/>
                  <a:gd name="connsiteX14-71" fmla="*/ 3673999 w 4454402"/>
                  <a:gd name="connsiteY14-72" fmla="*/ 1035765 h 1563435"/>
                  <a:gd name="connsiteX15-73" fmla="*/ 4410943 w 4454402"/>
                  <a:gd name="connsiteY15-74" fmla="*/ 0 h 1563435"/>
                  <a:gd name="connsiteX16-75" fmla="*/ 4449105 w 4454402"/>
                  <a:gd name="connsiteY16-76" fmla="*/ 820 h 1563435"/>
                  <a:gd name="connsiteX17-77" fmla="*/ 3853611 w 4454402"/>
                  <a:gd name="connsiteY17-78" fmla="*/ 998509 h 1563435"/>
                  <a:gd name="connsiteX18-79" fmla="*/ 3834893 w 4454402"/>
                  <a:gd name="connsiteY18-80" fmla="*/ 958592 h 1563435"/>
                  <a:gd name="connsiteX19-81" fmla="*/ 4410943 w 4454402"/>
                  <a:gd name="connsiteY19-82" fmla="*/ 0 h 1563435"/>
                  <a:gd name="connsiteX0-83" fmla="*/ 1381890 w 4159262"/>
                  <a:gd name="connsiteY0-84" fmla="*/ 1370787 h 1533953"/>
                  <a:gd name="connsiteX1-85" fmla="*/ 1375232 w 4159262"/>
                  <a:gd name="connsiteY1-86" fmla="*/ 1418875 h 1533953"/>
                  <a:gd name="connsiteX2-87" fmla="*/ 0 w 4159262"/>
                  <a:gd name="connsiteY2-88" fmla="*/ 1533953 h 1533953"/>
                  <a:gd name="connsiteX3-89" fmla="*/ 9635 w 4159262"/>
                  <a:gd name="connsiteY3-90" fmla="*/ 1483432 h 1533953"/>
                  <a:gd name="connsiteX4-91" fmla="*/ 1381890 w 4159262"/>
                  <a:gd name="connsiteY4-92" fmla="*/ 1370787 h 1533953"/>
                  <a:gd name="connsiteX5-93" fmla="*/ 3378859 w 4159262"/>
                  <a:gd name="connsiteY5-94" fmla="*/ 1035765 h 1533953"/>
                  <a:gd name="connsiteX6-95" fmla="*/ 3396522 w 4159262"/>
                  <a:gd name="connsiteY6-96" fmla="*/ 1073432 h 1533953"/>
                  <a:gd name="connsiteX7-97" fmla="*/ 3277663 w 4159262"/>
                  <a:gd name="connsiteY7-98" fmla="*/ 1117628 h 1533953"/>
                  <a:gd name="connsiteX8-99" fmla="*/ 1740271 w 4159262"/>
                  <a:gd name="connsiteY8-100" fmla="*/ 1384494 h 1533953"/>
                  <a:gd name="connsiteX9-101" fmla="*/ 1746882 w 4159262"/>
                  <a:gd name="connsiteY9-102" fmla="*/ 1336744 h 1533953"/>
                  <a:gd name="connsiteX10-103" fmla="*/ 3243531 w 4159262"/>
                  <a:gd name="connsiteY10-104" fmla="*/ 1087465 h 1533953"/>
                  <a:gd name="connsiteX11-105" fmla="*/ 3378859 w 4159262"/>
                  <a:gd name="connsiteY11-106" fmla="*/ 1035765 h 1533953"/>
                  <a:gd name="connsiteX12-107" fmla="*/ 4115803 w 4159262"/>
                  <a:gd name="connsiteY12-108" fmla="*/ 0 h 1533953"/>
                  <a:gd name="connsiteX13-109" fmla="*/ 4153965 w 4159262"/>
                  <a:gd name="connsiteY13-110" fmla="*/ 820 h 1533953"/>
                  <a:gd name="connsiteX14-111" fmla="*/ 3558471 w 4159262"/>
                  <a:gd name="connsiteY14-112" fmla="*/ 998509 h 1533953"/>
                  <a:gd name="connsiteX15-113" fmla="*/ 3539753 w 4159262"/>
                  <a:gd name="connsiteY15-114" fmla="*/ 958592 h 1533953"/>
                  <a:gd name="connsiteX16-115" fmla="*/ 4115803 w 4159262"/>
                  <a:gd name="connsiteY16-116" fmla="*/ 0 h 1533953"/>
                  <a:gd name="connsiteX0-117" fmla="*/ 1381890 w 4159262"/>
                  <a:gd name="connsiteY0-118" fmla="*/ 1370787 h 1533953"/>
                  <a:gd name="connsiteX1-119" fmla="*/ 1375232 w 4159262"/>
                  <a:gd name="connsiteY1-120" fmla="*/ 1418875 h 1533953"/>
                  <a:gd name="connsiteX2-121" fmla="*/ 0 w 4159262"/>
                  <a:gd name="connsiteY2-122" fmla="*/ 1533953 h 1533953"/>
                  <a:gd name="connsiteX3-123" fmla="*/ 1381890 w 4159262"/>
                  <a:gd name="connsiteY3-124" fmla="*/ 1370787 h 1533953"/>
                  <a:gd name="connsiteX4-125" fmla="*/ 3378859 w 4159262"/>
                  <a:gd name="connsiteY4-126" fmla="*/ 1035765 h 1533953"/>
                  <a:gd name="connsiteX5-127" fmla="*/ 3396522 w 4159262"/>
                  <a:gd name="connsiteY5-128" fmla="*/ 1073432 h 1533953"/>
                  <a:gd name="connsiteX6-129" fmla="*/ 3277663 w 4159262"/>
                  <a:gd name="connsiteY6-130" fmla="*/ 1117628 h 1533953"/>
                  <a:gd name="connsiteX7-131" fmla="*/ 1740271 w 4159262"/>
                  <a:gd name="connsiteY7-132" fmla="*/ 1384494 h 1533953"/>
                  <a:gd name="connsiteX8-133" fmla="*/ 1746882 w 4159262"/>
                  <a:gd name="connsiteY8-134" fmla="*/ 1336744 h 1533953"/>
                  <a:gd name="connsiteX9-135" fmla="*/ 3243531 w 4159262"/>
                  <a:gd name="connsiteY9-136" fmla="*/ 1087465 h 1533953"/>
                  <a:gd name="connsiteX10-137" fmla="*/ 3378859 w 4159262"/>
                  <a:gd name="connsiteY10-138" fmla="*/ 1035765 h 1533953"/>
                  <a:gd name="connsiteX11-139" fmla="*/ 4115803 w 4159262"/>
                  <a:gd name="connsiteY11-140" fmla="*/ 0 h 1533953"/>
                  <a:gd name="connsiteX12-141" fmla="*/ 4153965 w 4159262"/>
                  <a:gd name="connsiteY12-142" fmla="*/ 820 h 1533953"/>
                  <a:gd name="connsiteX13-143" fmla="*/ 3558471 w 4159262"/>
                  <a:gd name="connsiteY13-144" fmla="*/ 998509 h 1533953"/>
                  <a:gd name="connsiteX14-145" fmla="*/ 3539753 w 4159262"/>
                  <a:gd name="connsiteY14-146" fmla="*/ 958592 h 1533953"/>
                  <a:gd name="connsiteX15-147" fmla="*/ 4115803 w 4159262"/>
                  <a:gd name="connsiteY15-148" fmla="*/ 0 h 1533953"/>
                  <a:gd name="connsiteX0-149" fmla="*/ 6658 w 2784030"/>
                  <a:gd name="connsiteY0-150" fmla="*/ 1370787 h 1418875"/>
                  <a:gd name="connsiteX1-151" fmla="*/ 0 w 2784030"/>
                  <a:gd name="connsiteY1-152" fmla="*/ 1418875 h 1418875"/>
                  <a:gd name="connsiteX2-153" fmla="*/ 6658 w 2784030"/>
                  <a:gd name="connsiteY2-154" fmla="*/ 1370787 h 1418875"/>
                  <a:gd name="connsiteX3-155" fmla="*/ 2003627 w 2784030"/>
                  <a:gd name="connsiteY3-156" fmla="*/ 1035765 h 1418875"/>
                  <a:gd name="connsiteX4-157" fmla="*/ 2021290 w 2784030"/>
                  <a:gd name="connsiteY4-158" fmla="*/ 1073432 h 1418875"/>
                  <a:gd name="connsiteX5-159" fmla="*/ 1902431 w 2784030"/>
                  <a:gd name="connsiteY5-160" fmla="*/ 1117628 h 1418875"/>
                  <a:gd name="connsiteX6-161" fmla="*/ 365039 w 2784030"/>
                  <a:gd name="connsiteY6-162" fmla="*/ 1384494 h 1418875"/>
                  <a:gd name="connsiteX7-163" fmla="*/ 371650 w 2784030"/>
                  <a:gd name="connsiteY7-164" fmla="*/ 1336744 h 1418875"/>
                  <a:gd name="connsiteX8-165" fmla="*/ 1868299 w 2784030"/>
                  <a:gd name="connsiteY8-166" fmla="*/ 1087465 h 1418875"/>
                  <a:gd name="connsiteX9-167" fmla="*/ 2003627 w 2784030"/>
                  <a:gd name="connsiteY9-168" fmla="*/ 1035765 h 1418875"/>
                  <a:gd name="connsiteX10-169" fmla="*/ 2740571 w 2784030"/>
                  <a:gd name="connsiteY10-170" fmla="*/ 0 h 1418875"/>
                  <a:gd name="connsiteX11-171" fmla="*/ 2778733 w 2784030"/>
                  <a:gd name="connsiteY11-172" fmla="*/ 820 h 1418875"/>
                  <a:gd name="connsiteX12-173" fmla="*/ 2183239 w 2784030"/>
                  <a:gd name="connsiteY12-174" fmla="*/ 998509 h 1418875"/>
                  <a:gd name="connsiteX13-175" fmla="*/ 2164521 w 2784030"/>
                  <a:gd name="connsiteY13-176" fmla="*/ 958592 h 1418875"/>
                  <a:gd name="connsiteX14-177" fmla="*/ 2740571 w 2784030"/>
                  <a:gd name="connsiteY14-178" fmla="*/ 0 h 1418875"/>
                  <a:gd name="connsiteX0-179" fmla="*/ 1638588 w 2418991"/>
                  <a:gd name="connsiteY0-180" fmla="*/ 1035765 h 1384494"/>
                  <a:gd name="connsiteX1-181" fmla="*/ 1656251 w 2418991"/>
                  <a:gd name="connsiteY1-182" fmla="*/ 1073432 h 1384494"/>
                  <a:gd name="connsiteX2-183" fmla="*/ 1537392 w 2418991"/>
                  <a:gd name="connsiteY2-184" fmla="*/ 1117628 h 1384494"/>
                  <a:gd name="connsiteX3-185" fmla="*/ 0 w 2418991"/>
                  <a:gd name="connsiteY3-186" fmla="*/ 1384494 h 1384494"/>
                  <a:gd name="connsiteX4-187" fmla="*/ 6611 w 2418991"/>
                  <a:gd name="connsiteY4-188" fmla="*/ 1336744 h 1384494"/>
                  <a:gd name="connsiteX5-189" fmla="*/ 1503260 w 2418991"/>
                  <a:gd name="connsiteY5-190" fmla="*/ 1087465 h 1384494"/>
                  <a:gd name="connsiteX6-191" fmla="*/ 1638588 w 2418991"/>
                  <a:gd name="connsiteY6-192" fmla="*/ 1035765 h 1384494"/>
                  <a:gd name="connsiteX7-193" fmla="*/ 2375532 w 2418991"/>
                  <a:gd name="connsiteY7-194" fmla="*/ 0 h 1384494"/>
                  <a:gd name="connsiteX8-195" fmla="*/ 2413694 w 2418991"/>
                  <a:gd name="connsiteY8-196" fmla="*/ 820 h 1384494"/>
                  <a:gd name="connsiteX9-197" fmla="*/ 1818200 w 2418991"/>
                  <a:gd name="connsiteY9-198" fmla="*/ 998509 h 1384494"/>
                  <a:gd name="connsiteX10-199" fmla="*/ 1799482 w 2418991"/>
                  <a:gd name="connsiteY10-200" fmla="*/ 958592 h 1384494"/>
                  <a:gd name="connsiteX11-201" fmla="*/ 2375532 w 2418991"/>
                  <a:gd name="connsiteY11-202" fmla="*/ 0 h 1384494"/>
                  <a:gd name="connsiteX0-203" fmla="*/ 1638588 w 2418991"/>
                  <a:gd name="connsiteY0-204" fmla="*/ 1035765 h 1384494"/>
                  <a:gd name="connsiteX1-205" fmla="*/ 1656251 w 2418991"/>
                  <a:gd name="connsiteY1-206" fmla="*/ 1073432 h 1384494"/>
                  <a:gd name="connsiteX2-207" fmla="*/ 1537392 w 2418991"/>
                  <a:gd name="connsiteY2-208" fmla="*/ 1117628 h 1384494"/>
                  <a:gd name="connsiteX3-209" fmla="*/ 0 w 2418991"/>
                  <a:gd name="connsiteY3-210" fmla="*/ 1384494 h 1384494"/>
                  <a:gd name="connsiteX4-211" fmla="*/ 1503260 w 2418991"/>
                  <a:gd name="connsiteY4-212" fmla="*/ 1087465 h 1384494"/>
                  <a:gd name="connsiteX5-213" fmla="*/ 1638588 w 2418991"/>
                  <a:gd name="connsiteY5-214" fmla="*/ 1035765 h 1384494"/>
                  <a:gd name="connsiteX6-215" fmla="*/ 2375532 w 2418991"/>
                  <a:gd name="connsiteY6-216" fmla="*/ 0 h 1384494"/>
                  <a:gd name="connsiteX7-217" fmla="*/ 2413694 w 2418991"/>
                  <a:gd name="connsiteY7-218" fmla="*/ 820 h 1384494"/>
                  <a:gd name="connsiteX8-219" fmla="*/ 1818200 w 2418991"/>
                  <a:gd name="connsiteY8-220" fmla="*/ 998509 h 1384494"/>
                  <a:gd name="connsiteX9-221" fmla="*/ 1799482 w 2418991"/>
                  <a:gd name="connsiteY9-222" fmla="*/ 958592 h 1384494"/>
                  <a:gd name="connsiteX10-223" fmla="*/ 2375532 w 2418991"/>
                  <a:gd name="connsiteY10-224" fmla="*/ 0 h 1384494"/>
                  <a:gd name="connsiteX0-225" fmla="*/ 140761 w 921164"/>
                  <a:gd name="connsiteY0-226" fmla="*/ 1035765 h 1117826"/>
                  <a:gd name="connsiteX1-227" fmla="*/ 158424 w 921164"/>
                  <a:gd name="connsiteY1-228" fmla="*/ 1073432 h 1117826"/>
                  <a:gd name="connsiteX2-229" fmla="*/ 39565 w 921164"/>
                  <a:gd name="connsiteY2-230" fmla="*/ 1117628 h 1117826"/>
                  <a:gd name="connsiteX3-231" fmla="*/ 5433 w 921164"/>
                  <a:gd name="connsiteY3-232" fmla="*/ 1087465 h 1117826"/>
                  <a:gd name="connsiteX4-233" fmla="*/ 140761 w 921164"/>
                  <a:gd name="connsiteY4-234" fmla="*/ 1035765 h 1117826"/>
                  <a:gd name="connsiteX5-235" fmla="*/ 877705 w 921164"/>
                  <a:gd name="connsiteY5-236" fmla="*/ 0 h 1117826"/>
                  <a:gd name="connsiteX6-237" fmla="*/ 915867 w 921164"/>
                  <a:gd name="connsiteY6-238" fmla="*/ 820 h 1117826"/>
                  <a:gd name="connsiteX7-239" fmla="*/ 320373 w 921164"/>
                  <a:gd name="connsiteY7-240" fmla="*/ 998509 h 1117826"/>
                  <a:gd name="connsiteX8-241" fmla="*/ 301655 w 921164"/>
                  <a:gd name="connsiteY8-242" fmla="*/ 958592 h 1117826"/>
                  <a:gd name="connsiteX9-243" fmla="*/ 877705 w 921164"/>
                  <a:gd name="connsiteY9-244" fmla="*/ 0 h 1117826"/>
                  <a:gd name="connsiteX0-245" fmla="*/ 101272 w 881675"/>
                  <a:gd name="connsiteY0-246" fmla="*/ 1035765 h 1118374"/>
                  <a:gd name="connsiteX1-247" fmla="*/ 118935 w 881675"/>
                  <a:gd name="connsiteY1-248" fmla="*/ 1073432 h 1118374"/>
                  <a:gd name="connsiteX2-249" fmla="*/ 76 w 881675"/>
                  <a:gd name="connsiteY2-250" fmla="*/ 1117628 h 1118374"/>
                  <a:gd name="connsiteX3-251" fmla="*/ 101272 w 881675"/>
                  <a:gd name="connsiteY3-252" fmla="*/ 1035765 h 1118374"/>
                  <a:gd name="connsiteX4-253" fmla="*/ 838216 w 881675"/>
                  <a:gd name="connsiteY4-254" fmla="*/ 0 h 1118374"/>
                  <a:gd name="connsiteX5-255" fmla="*/ 876378 w 881675"/>
                  <a:gd name="connsiteY5-256" fmla="*/ 820 h 1118374"/>
                  <a:gd name="connsiteX6-257" fmla="*/ 280884 w 881675"/>
                  <a:gd name="connsiteY6-258" fmla="*/ 998509 h 1118374"/>
                  <a:gd name="connsiteX7-259" fmla="*/ 262166 w 881675"/>
                  <a:gd name="connsiteY7-260" fmla="*/ 958592 h 1118374"/>
                  <a:gd name="connsiteX8-261" fmla="*/ 838216 w 881675"/>
                  <a:gd name="connsiteY8-262" fmla="*/ 0 h 1118374"/>
                  <a:gd name="connsiteX0-263" fmla="*/ 0 w 780403"/>
                  <a:gd name="connsiteY0-264" fmla="*/ 1035765 h 1073432"/>
                  <a:gd name="connsiteX1-265" fmla="*/ 17663 w 780403"/>
                  <a:gd name="connsiteY1-266" fmla="*/ 1073432 h 1073432"/>
                  <a:gd name="connsiteX2-267" fmla="*/ 0 w 780403"/>
                  <a:gd name="connsiteY2-268" fmla="*/ 1035765 h 1073432"/>
                  <a:gd name="connsiteX3-269" fmla="*/ 736944 w 780403"/>
                  <a:gd name="connsiteY3-270" fmla="*/ 0 h 1073432"/>
                  <a:gd name="connsiteX4-271" fmla="*/ 775106 w 780403"/>
                  <a:gd name="connsiteY4-272" fmla="*/ 820 h 1073432"/>
                  <a:gd name="connsiteX5-273" fmla="*/ 179612 w 780403"/>
                  <a:gd name="connsiteY5-274" fmla="*/ 998509 h 1073432"/>
                  <a:gd name="connsiteX6-275" fmla="*/ 160894 w 780403"/>
                  <a:gd name="connsiteY6-276" fmla="*/ 958592 h 1073432"/>
                  <a:gd name="connsiteX7-277" fmla="*/ 736944 w 780403"/>
                  <a:gd name="connsiteY7-278" fmla="*/ 0 h 1073432"/>
                  <a:gd name="connsiteX0-279" fmla="*/ 576050 w 619509"/>
                  <a:gd name="connsiteY0-280" fmla="*/ 0 h 998509"/>
                  <a:gd name="connsiteX1-281" fmla="*/ 614212 w 619509"/>
                  <a:gd name="connsiteY1-282" fmla="*/ 820 h 998509"/>
                  <a:gd name="connsiteX2-283" fmla="*/ 18718 w 619509"/>
                  <a:gd name="connsiteY2-284" fmla="*/ 998509 h 998509"/>
                  <a:gd name="connsiteX3-285" fmla="*/ 0 w 619509"/>
                  <a:gd name="connsiteY3-286" fmla="*/ 958592 h 998509"/>
                  <a:gd name="connsiteX4-287" fmla="*/ 576050 w 619509"/>
                  <a:gd name="connsiteY4-288" fmla="*/ 0 h 99850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619509" h="998509">
                    <a:moveTo>
                      <a:pt x="576050" y="0"/>
                    </a:moveTo>
                    <a:lnTo>
                      <a:pt x="614212" y="820"/>
                    </a:lnTo>
                    <a:cubicBezTo>
                      <a:pt x="650912" y="375129"/>
                      <a:pt x="501646" y="749052"/>
                      <a:pt x="18718" y="998509"/>
                    </a:cubicBezTo>
                    <a:lnTo>
                      <a:pt x="0" y="958592"/>
                    </a:lnTo>
                    <a:cubicBezTo>
                      <a:pt x="454171" y="714681"/>
                      <a:pt x="599510" y="358560"/>
                      <a:pt x="57605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grpSp>
        <p:nvGrpSpPr>
          <p:cNvPr id="116" name="组合 115"/>
          <p:cNvGrpSpPr/>
          <p:nvPr/>
        </p:nvGrpSpPr>
        <p:grpSpPr bwMode="auto">
          <a:xfrm>
            <a:off x="339725" y="3713163"/>
            <a:ext cx="3287713" cy="1239837"/>
            <a:chOff x="339120" y="3712931"/>
            <a:chExt cx="3287931" cy="1240297"/>
          </a:xfrm>
        </p:grpSpPr>
        <p:sp>
          <p:nvSpPr>
            <p:cNvPr id="117" name="Freeform 207"/>
            <p:cNvSpPr/>
            <p:nvPr/>
          </p:nvSpPr>
          <p:spPr bwMode="auto">
            <a:xfrm>
              <a:off x="339120" y="3712931"/>
              <a:ext cx="3287931" cy="1240297"/>
            </a:xfrm>
            <a:custGeom>
              <a:avLst/>
              <a:gdLst>
                <a:gd name="T0" fmla="*/ 66 w 873"/>
                <a:gd name="T1" fmla="*/ 235 h 412"/>
                <a:gd name="T2" fmla="*/ 0 w 873"/>
                <a:gd name="T3" fmla="*/ 412 h 412"/>
                <a:gd name="T4" fmla="*/ 472 w 873"/>
                <a:gd name="T5" fmla="*/ 270 h 412"/>
                <a:gd name="T6" fmla="*/ 872 w 873"/>
                <a:gd name="T7" fmla="*/ 134 h 412"/>
                <a:gd name="T8" fmla="*/ 774 w 873"/>
                <a:gd name="T9" fmla="*/ 0 h 412"/>
                <a:gd name="T10" fmla="*/ 66 w 873"/>
                <a:gd name="T11" fmla="*/ 235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412">
                  <a:moveTo>
                    <a:pt x="66" y="235"/>
                  </a:moveTo>
                  <a:cubicBezTo>
                    <a:pt x="44" y="294"/>
                    <a:pt x="22" y="353"/>
                    <a:pt x="0" y="412"/>
                  </a:cubicBezTo>
                  <a:cubicBezTo>
                    <a:pt x="17" y="390"/>
                    <a:pt x="314" y="316"/>
                    <a:pt x="472" y="270"/>
                  </a:cubicBezTo>
                  <a:cubicBezTo>
                    <a:pt x="607" y="230"/>
                    <a:pt x="873" y="159"/>
                    <a:pt x="872" y="134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557" y="46"/>
                    <a:pt x="90" y="171"/>
                    <a:pt x="66" y="23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/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118" name="组合 117"/>
            <p:cNvGrpSpPr/>
            <p:nvPr/>
          </p:nvGrpSpPr>
          <p:grpSpPr>
            <a:xfrm>
              <a:off x="558269" y="3979073"/>
              <a:ext cx="2806579" cy="691913"/>
              <a:chOff x="572783" y="3979073"/>
              <a:chExt cx="2806579" cy="691913"/>
            </a:xfrm>
            <a:solidFill>
              <a:schemeClr val="bg1">
                <a:alpha val="50000"/>
              </a:schemeClr>
            </a:solidFill>
          </p:grpSpPr>
          <p:sp>
            <p:nvSpPr>
              <p:cNvPr id="119" name="任意多边形 118"/>
              <p:cNvSpPr/>
              <p:nvPr/>
            </p:nvSpPr>
            <p:spPr>
              <a:xfrm>
                <a:off x="572783" y="4476936"/>
                <a:ext cx="562257" cy="194050"/>
              </a:xfrm>
              <a:custGeom>
                <a:avLst/>
                <a:gdLst>
                  <a:gd name="connsiteX0" fmla="*/ 562257 w 2806577"/>
                  <a:gd name="connsiteY0" fmla="*/ 456702 h 650752"/>
                  <a:gd name="connsiteX1" fmla="*/ 549222 w 2806577"/>
                  <a:gd name="connsiteY1" fmla="*/ 500171 h 650752"/>
                  <a:gd name="connsiteX2" fmla="*/ 0 w 2806577"/>
                  <a:gd name="connsiteY2" fmla="*/ 650752 h 650752"/>
                  <a:gd name="connsiteX3" fmla="*/ 28594 w 2806577"/>
                  <a:gd name="connsiteY3" fmla="*/ 616424 h 650752"/>
                  <a:gd name="connsiteX4" fmla="*/ 562257 w 2806577"/>
                  <a:gd name="connsiteY4" fmla="*/ 456702 h 650752"/>
                  <a:gd name="connsiteX5" fmla="*/ 1743267 w 2806577"/>
                  <a:gd name="connsiteY5" fmla="*/ 156702 h 650752"/>
                  <a:gd name="connsiteX6" fmla="*/ 1734308 w 2806577"/>
                  <a:gd name="connsiteY6" fmla="*/ 214070 h 650752"/>
                  <a:gd name="connsiteX7" fmla="*/ 696035 w 2806577"/>
                  <a:gd name="connsiteY7" fmla="*/ 461586 h 650752"/>
                  <a:gd name="connsiteX8" fmla="*/ 710100 w 2806577"/>
                  <a:gd name="connsiteY8" fmla="*/ 414678 h 650752"/>
                  <a:gd name="connsiteX9" fmla="*/ 1743267 w 2806577"/>
                  <a:gd name="connsiteY9" fmla="*/ 156702 h 650752"/>
                  <a:gd name="connsiteX10" fmla="*/ 2063008 w 2806577"/>
                  <a:gd name="connsiteY10" fmla="*/ 89648 h 650752"/>
                  <a:gd name="connsiteX11" fmla="*/ 2806575 w 2806577"/>
                  <a:gd name="connsiteY11" fmla="*/ 788 h 650752"/>
                  <a:gd name="connsiteX12" fmla="*/ 2054383 w 2806577"/>
                  <a:gd name="connsiteY12" fmla="*/ 144877 h 650752"/>
                  <a:gd name="connsiteX13" fmla="*/ 2063008 w 2806577"/>
                  <a:gd name="connsiteY13" fmla="*/ 89648 h 650752"/>
                  <a:gd name="connsiteX0-1" fmla="*/ 562257 w 2063008"/>
                  <a:gd name="connsiteY0-2" fmla="*/ 367054 h 561104"/>
                  <a:gd name="connsiteX1-3" fmla="*/ 549222 w 2063008"/>
                  <a:gd name="connsiteY1-4" fmla="*/ 410523 h 561104"/>
                  <a:gd name="connsiteX2-5" fmla="*/ 0 w 2063008"/>
                  <a:gd name="connsiteY2-6" fmla="*/ 561104 h 561104"/>
                  <a:gd name="connsiteX3-7" fmla="*/ 28594 w 2063008"/>
                  <a:gd name="connsiteY3-8" fmla="*/ 526776 h 561104"/>
                  <a:gd name="connsiteX4-9" fmla="*/ 562257 w 2063008"/>
                  <a:gd name="connsiteY4-10" fmla="*/ 367054 h 561104"/>
                  <a:gd name="connsiteX5-11" fmla="*/ 1743267 w 2063008"/>
                  <a:gd name="connsiteY5-12" fmla="*/ 67054 h 561104"/>
                  <a:gd name="connsiteX6-13" fmla="*/ 1734308 w 2063008"/>
                  <a:gd name="connsiteY6-14" fmla="*/ 124422 h 561104"/>
                  <a:gd name="connsiteX7-15" fmla="*/ 696035 w 2063008"/>
                  <a:gd name="connsiteY7-16" fmla="*/ 371938 h 561104"/>
                  <a:gd name="connsiteX8-17" fmla="*/ 710100 w 2063008"/>
                  <a:gd name="connsiteY8-18" fmla="*/ 325030 h 561104"/>
                  <a:gd name="connsiteX9-19" fmla="*/ 1743267 w 2063008"/>
                  <a:gd name="connsiteY9-20" fmla="*/ 67054 h 561104"/>
                  <a:gd name="connsiteX10-21" fmla="*/ 2063008 w 2063008"/>
                  <a:gd name="connsiteY10-22" fmla="*/ 0 h 561104"/>
                  <a:gd name="connsiteX11-23" fmla="*/ 2054383 w 2063008"/>
                  <a:gd name="connsiteY11-24" fmla="*/ 55229 h 561104"/>
                  <a:gd name="connsiteX12-25" fmla="*/ 2063008 w 2063008"/>
                  <a:gd name="connsiteY12-26" fmla="*/ 0 h 561104"/>
                  <a:gd name="connsiteX0-27" fmla="*/ 562257 w 1743267"/>
                  <a:gd name="connsiteY0-28" fmla="*/ 300000 h 494050"/>
                  <a:gd name="connsiteX1-29" fmla="*/ 549222 w 1743267"/>
                  <a:gd name="connsiteY1-30" fmla="*/ 343469 h 494050"/>
                  <a:gd name="connsiteX2-31" fmla="*/ 0 w 1743267"/>
                  <a:gd name="connsiteY2-32" fmla="*/ 494050 h 494050"/>
                  <a:gd name="connsiteX3-33" fmla="*/ 28594 w 1743267"/>
                  <a:gd name="connsiteY3-34" fmla="*/ 459722 h 494050"/>
                  <a:gd name="connsiteX4-35" fmla="*/ 562257 w 1743267"/>
                  <a:gd name="connsiteY4-36" fmla="*/ 300000 h 494050"/>
                  <a:gd name="connsiteX5-37" fmla="*/ 1743267 w 1743267"/>
                  <a:gd name="connsiteY5-38" fmla="*/ 0 h 494050"/>
                  <a:gd name="connsiteX6-39" fmla="*/ 1734308 w 1743267"/>
                  <a:gd name="connsiteY6-40" fmla="*/ 57368 h 494050"/>
                  <a:gd name="connsiteX7-41" fmla="*/ 696035 w 1743267"/>
                  <a:gd name="connsiteY7-42" fmla="*/ 304884 h 494050"/>
                  <a:gd name="connsiteX8-43" fmla="*/ 710100 w 1743267"/>
                  <a:gd name="connsiteY8-44" fmla="*/ 257976 h 494050"/>
                  <a:gd name="connsiteX9-45" fmla="*/ 1743267 w 1743267"/>
                  <a:gd name="connsiteY9-46" fmla="*/ 0 h 494050"/>
                  <a:gd name="connsiteX0-47" fmla="*/ 562257 w 1734312"/>
                  <a:gd name="connsiteY0-48" fmla="*/ 242898 h 436948"/>
                  <a:gd name="connsiteX1-49" fmla="*/ 549222 w 1734312"/>
                  <a:gd name="connsiteY1-50" fmla="*/ 286367 h 436948"/>
                  <a:gd name="connsiteX2-51" fmla="*/ 0 w 1734312"/>
                  <a:gd name="connsiteY2-52" fmla="*/ 436948 h 436948"/>
                  <a:gd name="connsiteX3-53" fmla="*/ 28594 w 1734312"/>
                  <a:gd name="connsiteY3-54" fmla="*/ 402620 h 436948"/>
                  <a:gd name="connsiteX4-55" fmla="*/ 562257 w 1734312"/>
                  <a:gd name="connsiteY4-56" fmla="*/ 242898 h 436948"/>
                  <a:gd name="connsiteX5-57" fmla="*/ 710100 w 1734312"/>
                  <a:gd name="connsiteY5-58" fmla="*/ 200874 h 436948"/>
                  <a:gd name="connsiteX6-59" fmla="*/ 1734308 w 1734312"/>
                  <a:gd name="connsiteY6-60" fmla="*/ 266 h 436948"/>
                  <a:gd name="connsiteX7-61" fmla="*/ 696035 w 1734312"/>
                  <a:gd name="connsiteY7-62" fmla="*/ 247782 h 436948"/>
                  <a:gd name="connsiteX8-63" fmla="*/ 710100 w 1734312"/>
                  <a:gd name="connsiteY8-64" fmla="*/ 200874 h 436948"/>
                  <a:gd name="connsiteX0-65" fmla="*/ 562257 w 710100"/>
                  <a:gd name="connsiteY0-66" fmla="*/ 42024 h 236074"/>
                  <a:gd name="connsiteX1-67" fmla="*/ 549222 w 710100"/>
                  <a:gd name="connsiteY1-68" fmla="*/ 85493 h 236074"/>
                  <a:gd name="connsiteX2-69" fmla="*/ 0 w 710100"/>
                  <a:gd name="connsiteY2-70" fmla="*/ 236074 h 236074"/>
                  <a:gd name="connsiteX3-71" fmla="*/ 28594 w 710100"/>
                  <a:gd name="connsiteY3-72" fmla="*/ 201746 h 236074"/>
                  <a:gd name="connsiteX4-73" fmla="*/ 562257 w 710100"/>
                  <a:gd name="connsiteY4-74" fmla="*/ 42024 h 236074"/>
                  <a:gd name="connsiteX5-75" fmla="*/ 710100 w 710100"/>
                  <a:gd name="connsiteY5-76" fmla="*/ 0 h 236074"/>
                  <a:gd name="connsiteX6-77" fmla="*/ 696035 w 710100"/>
                  <a:gd name="connsiteY6-78" fmla="*/ 46908 h 236074"/>
                  <a:gd name="connsiteX7-79" fmla="*/ 710100 w 710100"/>
                  <a:gd name="connsiteY7-80" fmla="*/ 0 h 236074"/>
                  <a:gd name="connsiteX0-81" fmla="*/ 562257 w 562257"/>
                  <a:gd name="connsiteY0-82" fmla="*/ 0 h 194050"/>
                  <a:gd name="connsiteX1-83" fmla="*/ 549222 w 562257"/>
                  <a:gd name="connsiteY1-84" fmla="*/ 43469 h 194050"/>
                  <a:gd name="connsiteX2-85" fmla="*/ 0 w 562257"/>
                  <a:gd name="connsiteY2-86" fmla="*/ 194050 h 194050"/>
                  <a:gd name="connsiteX3-87" fmla="*/ 28594 w 562257"/>
                  <a:gd name="connsiteY3-88" fmla="*/ 159722 h 194050"/>
                  <a:gd name="connsiteX4-89" fmla="*/ 562257 w 562257"/>
                  <a:gd name="connsiteY4-90" fmla="*/ 0 h 1940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562257" h="194050">
                    <a:moveTo>
                      <a:pt x="562257" y="0"/>
                    </a:moveTo>
                    <a:lnTo>
                      <a:pt x="549222" y="43469"/>
                    </a:lnTo>
                    <a:cubicBezTo>
                      <a:pt x="358085" y="92872"/>
                      <a:pt x="172951" y="143722"/>
                      <a:pt x="0" y="194050"/>
                    </a:cubicBezTo>
                    <a:lnTo>
                      <a:pt x="28594" y="159722"/>
                    </a:lnTo>
                    <a:cubicBezTo>
                      <a:pt x="201243" y="104955"/>
                      <a:pt x="379683" y="51305"/>
                      <a:pt x="56225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20" name="任意多边形 119"/>
              <p:cNvSpPr/>
              <p:nvPr/>
            </p:nvSpPr>
            <p:spPr>
              <a:xfrm>
                <a:off x="2627170" y="3979073"/>
                <a:ext cx="752192" cy="186036"/>
              </a:xfrm>
              <a:custGeom>
                <a:avLst/>
                <a:gdLst>
                  <a:gd name="connsiteX0" fmla="*/ 562257 w 2806575"/>
                  <a:gd name="connsiteY0" fmla="*/ 497861 h 691911"/>
                  <a:gd name="connsiteX1" fmla="*/ 549222 w 2806575"/>
                  <a:gd name="connsiteY1" fmla="*/ 541330 h 691911"/>
                  <a:gd name="connsiteX2" fmla="*/ 0 w 2806575"/>
                  <a:gd name="connsiteY2" fmla="*/ 691911 h 691911"/>
                  <a:gd name="connsiteX3" fmla="*/ 562257 w 2806575"/>
                  <a:gd name="connsiteY3" fmla="*/ 497861 h 691911"/>
                  <a:gd name="connsiteX4" fmla="*/ 1743267 w 2806575"/>
                  <a:gd name="connsiteY4" fmla="*/ 197861 h 691911"/>
                  <a:gd name="connsiteX5" fmla="*/ 1734308 w 2806575"/>
                  <a:gd name="connsiteY5" fmla="*/ 255229 h 691911"/>
                  <a:gd name="connsiteX6" fmla="*/ 696035 w 2806575"/>
                  <a:gd name="connsiteY6" fmla="*/ 502745 h 691911"/>
                  <a:gd name="connsiteX7" fmla="*/ 710100 w 2806575"/>
                  <a:gd name="connsiteY7" fmla="*/ 455837 h 691911"/>
                  <a:gd name="connsiteX8" fmla="*/ 1743267 w 2806575"/>
                  <a:gd name="connsiteY8" fmla="*/ 197861 h 691911"/>
                  <a:gd name="connsiteX9" fmla="*/ 2757007 w 2806575"/>
                  <a:gd name="connsiteY9" fmla="*/ 0 h 691911"/>
                  <a:gd name="connsiteX10" fmla="*/ 2806575 w 2806575"/>
                  <a:gd name="connsiteY10" fmla="*/ 41947 h 691911"/>
                  <a:gd name="connsiteX11" fmla="*/ 2054383 w 2806575"/>
                  <a:gd name="connsiteY11" fmla="*/ 186036 h 691911"/>
                  <a:gd name="connsiteX12" fmla="*/ 2063008 w 2806575"/>
                  <a:gd name="connsiteY12" fmla="*/ 130807 h 691911"/>
                  <a:gd name="connsiteX13" fmla="*/ 2757007 w 2806575"/>
                  <a:gd name="connsiteY13" fmla="*/ 0 h 691911"/>
                  <a:gd name="connsiteX0-1" fmla="*/ 13035 w 2257353"/>
                  <a:gd name="connsiteY0-2" fmla="*/ 497861 h 541330"/>
                  <a:gd name="connsiteX1-3" fmla="*/ 0 w 2257353"/>
                  <a:gd name="connsiteY1-4" fmla="*/ 541330 h 541330"/>
                  <a:gd name="connsiteX2-5" fmla="*/ 13035 w 2257353"/>
                  <a:gd name="connsiteY2-6" fmla="*/ 497861 h 541330"/>
                  <a:gd name="connsiteX3-7" fmla="*/ 1194045 w 2257353"/>
                  <a:gd name="connsiteY3-8" fmla="*/ 197861 h 541330"/>
                  <a:gd name="connsiteX4-9" fmla="*/ 1185086 w 2257353"/>
                  <a:gd name="connsiteY4-10" fmla="*/ 255229 h 541330"/>
                  <a:gd name="connsiteX5-11" fmla="*/ 146813 w 2257353"/>
                  <a:gd name="connsiteY5-12" fmla="*/ 502745 h 541330"/>
                  <a:gd name="connsiteX6-13" fmla="*/ 160878 w 2257353"/>
                  <a:gd name="connsiteY6-14" fmla="*/ 455837 h 541330"/>
                  <a:gd name="connsiteX7-15" fmla="*/ 1194045 w 2257353"/>
                  <a:gd name="connsiteY7-16" fmla="*/ 197861 h 541330"/>
                  <a:gd name="connsiteX8-17" fmla="*/ 2207785 w 2257353"/>
                  <a:gd name="connsiteY8-18" fmla="*/ 0 h 541330"/>
                  <a:gd name="connsiteX9-19" fmla="*/ 2257353 w 2257353"/>
                  <a:gd name="connsiteY9-20" fmla="*/ 41947 h 541330"/>
                  <a:gd name="connsiteX10-21" fmla="*/ 1505161 w 2257353"/>
                  <a:gd name="connsiteY10-22" fmla="*/ 186036 h 541330"/>
                  <a:gd name="connsiteX11-23" fmla="*/ 1513786 w 2257353"/>
                  <a:gd name="connsiteY11-24" fmla="*/ 130807 h 541330"/>
                  <a:gd name="connsiteX12-25" fmla="*/ 2207785 w 2257353"/>
                  <a:gd name="connsiteY12-26" fmla="*/ 0 h 541330"/>
                  <a:gd name="connsiteX0-27" fmla="*/ 1047232 w 2110540"/>
                  <a:gd name="connsiteY0-28" fmla="*/ 197861 h 502745"/>
                  <a:gd name="connsiteX1-29" fmla="*/ 1038273 w 2110540"/>
                  <a:gd name="connsiteY1-30" fmla="*/ 255229 h 502745"/>
                  <a:gd name="connsiteX2-31" fmla="*/ 0 w 2110540"/>
                  <a:gd name="connsiteY2-32" fmla="*/ 502745 h 502745"/>
                  <a:gd name="connsiteX3-33" fmla="*/ 14065 w 2110540"/>
                  <a:gd name="connsiteY3-34" fmla="*/ 455837 h 502745"/>
                  <a:gd name="connsiteX4-35" fmla="*/ 1047232 w 2110540"/>
                  <a:gd name="connsiteY4-36" fmla="*/ 197861 h 502745"/>
                  <a:gd name="connsiteX5-37" fmla="*/ 2060972 w 2110540"/>
                  <a:gd name="connsiteY5-38" fmla="*/ 0 h 502745"/>
                  <a:gd name="connsiteX6-39" fmla="*/ 2110540 w 2110540"/>
                  <a:gd name="connsiteY6-40" fmla="*/ 41947 h 502745"/>
                  <a:gd name="connsiteX7-41" fmla="*/ 1358348 w 2110540"/>
                  <a:gd name="connsiteY7-42" fmla="*/ 186036 h 502745"/>
                  <a:gd name="connsiteX8-43" fmla="*/ 1366973 w 2110540"/>
                  <a:gd name="connsiteY8-44" fmla="*/ 130807 h 502745"/>
                  <a:gd name="connsiteX9-45" fmla="*/ 2060972 w 2110540"/>
                  <a:gd name="connsiteY9-46" fmla="*/ 0 h 502745"/>
                  <a:gd name="connsiteX0-47" fmla="*/ 1047232 w 2110540"/>
                  <a:gd name="connsiteY0-48" fmla="*/ 197861 h 502745"/>
                  <a:gd name="connsiteX1-49" fmla="*/ 1038273 w 2110540"/>
                  <a:gd name="connsiteY1-50" fmla="*/ 255229 h 502745"/>
                  <a:gd name="connsiteX2-51" fmla="*/ 0 w 2110540"/>
                  <a:gd name="connsiteY2-52" fmla="*/ 502745 h 502745"/>
                  <a:gd name="connsiteX3-53" fmla="*/ 1047232 w 2110540"/>
                  <a:gd name="connsiteY3-54" fmla="*/ 197861 h 502745"/>
                  <a:gd name="connsiteX4-55" fmla="*/ 2060972 w 2110540"/>
                  <a:gd name="connsiteY4-56" fmla="*/ 0 h 502745"/>
                  <a:gd name="connsiteX5-57" fmla="*/ 2110540 w 2110540"/>
                  <a:gd name="connsiteY5-58" fmla="*/ 41947 h 502745"/>
                  <a:gd name="connsiteX6-59" fmla="*/ 1358348 w 2110540"/>
                  <a:gd name="connsiteY6-60" fmla="*/ 186036 h 502745"/>
                  <a:gd name="connsiteX7-61" fmla="*/ 1366973 w 2110540"/>
                  <a:gd name="connsiteY7-62" fmla="*/ 130807 h 502745"/>
                  <a:gd name="connsiteX8-63" fmla="*/ 2060972 w 2110540"/>
                  <a:gd name="connsiteY8-64" fmla="*/ 0 h 502745"/>
                  <a:gd name="connsiteX0-65" fmla="*/ 8959 w 1072267"/>
                  <a:gd name="connsiteY0-66" fmla="*/ 197861 h 255229"/>
                  <a:gd name="connsiteX1-67" fmla="*/ 0 w 1072267"/>
                  <a:gd name="connsiteY1-68" fmla="*/ 255229 h 255229"/>
                  <a:gd name="connsiteX2-69" fmla="*/ 8959 w 1072267"/>
                  <a:gd name="connsiteY2-70" fmla="*/ 197861 h 255229"/>
                  <a:gd name="connsiteX3-71" fmla="*/ 1022699 w 1072267"/>
                  <a:gd name="connsiteY3-72" fmla="*/ 0 h 255229"/>
                  <a:gd name="connsiteX4-73" fmla="*/ 1072267 w 1072267"/>
                  <a:gd name="connsiteY4-74" fmla="*/ 41947 h 255229"/>
                  <a:gd name="connsiteX5-75" fmla="*/ 320075 w 1072267"/>
                  <a:gd name="connsiteY5-76" fmla="*/ 186036 h 255229"/>
                  <a:gd name="connsiteX6-77" fmla="*/ 328700 w 1072267"/>
                  <a:gd name="connsiteY6-78" fmla="*/ 130807 h 255229"/>
                  <a:gd name="connsiteX7-79" fmla="*/ 1022699 w 1072267"/>
                  <a:gd name="connsiteY7-80" fmla="*/ 0 h 255229"/>
                  <a:gd name="connsiteX0-81" fmla="*/ 702624 w 752192"/>
                  <a:gd name="connsiteY0-82" fmla="*/ 0 h 186036"/>
                  <a:gd name="connsiteX1-83" fmla="*/ 752192 w 752192"/>
                  <a:gd name="connsiteY1-84" fmla="*/ 41947 h 186036"/>
                  <a:gd name="connsiteX2-85" fmla="*/ 0 w 752192"/>
                  <a:gd name="connsiteY2-86" fmla="*/ 186036 h 186036"/>
                  <a:gd name="connsiteX3-87" fmla="*/ 8625 w 752192"/>
                  <a:gd name="connsiteY3-88" fmla="*/ 130807 h 186036"/>
                  <a:gd name="connsiteX4-89" fmla="*/ 702624 w 752192"/>
                  <a:gd name="connsiteY4-90" fmla="*/ 0 h 18603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752192" h="186036">
                    <a:moveTo>
                      <a:pt x="702624" y="0"/>
                    </a:moveTo>
                    <a:lnTo>
                      <a:pt x="752192" y="41947"/>
                    </a:lnTo>
                    <a:cubicBezTo>
                      <a:pt x="547935" y="75478"/>
                      <a:pt x="288161" y="125236"/>
                      <a:pt x="0" y="186036"/>
                    </a:cubicBezTo>
                    <a:lnTo>
                      <a:pt x="8625" y="130807"/>
                    </a:lnTo>
                    <a:cubicBezTo>
                      <a:pt x="242339" y="81026"/>
                      <a:pt x="474929" y="37613"/>
                      <a:pt x="70262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21" name="任意多边形 120"/>
              <p:cNvSpPr/>
              <p:nvPr/>
            </p:nvSpPr>
            <p:spPr>
              <a:xfrm>
                <a:off x="1268820" y="4176935"/>
                <a:ext cx="1047232" cy="304884"/>
              </a:xfrm>
              <a:custGeom>
                <a:avLst/>
                <a:gdLst>
                  <a:gd name="connsiteX0" fmla="*/ 562257 w 2757007"/>
                  <a:gd name="connsiteY0" fmla="*/ 497861 h 691911"/>
                  <a:gd name="connsiteX1" fmla="*/ 549222 w 2757007"/>
                  <a:gd name="connsiteY1" fmla="*/ 541330 h 691911"/>
                  <a:gd name="connsiteX2" fmla="*/ 0 w 2757007"/>
                  <a:gd name="connsiteY2" fmla="*/ 691911 h 691911"/>
                  <a:gd name="connsiteX3" fmla="*/ 28594 w 2757007"/>
                  <a:gd name="connsiteY3" fmla="*/ 657583 h 691911"/>
                  <a:gd name="connsiteX4" fmla="*/ 562257 w 2757007"/>
                  <a:gd name="connsiteY4" fmla="*/ 497861 h 691911"/>
                  <a:gd name="connsiteX5" fmla="*/ 1743267 w 2757007"/>
                  <a:gd name="connsiteY5" fmla="*/ 197861 h 691911"/>
                  <a:gd name="connsiteX6" fmla="*/ 1734308 w 2757007"/>
                  <a:gd name="connsiteY6" fmla="*/ 255229 h 691911"/>
                  <a:gd name="connsiteX7" fmla="*/ 696035 w 2757007"/>
                  <a:gd name="connsiteY7" fmla="*/ 502745 h 691911"/>
                  <a:gd name="connsiteX8" fmla="*/ 710100 w 2757007"/>
                  <a:gd name="connsiteY8" fmla="*/ 455837 h 691911"/>
                  <a:gd name="connsiteX9" fmla="*/ 1743267 w 2757007"/>
                  <a:gd name="connsiteY9" fmla="*/ 197861 h 691911"/>
                  <a:gd name="connsiteX10" fmla="*/ 2757007 w 2757007"/>
                  <a:gd name="connsiteY10" fmla="*/ 0 h 691911"/>
                  <a:gd name="connsiteX11" fmla="*/ 2054383 w 2757007"/>
                  <a:gd name="connsiteY11" fmla="*/ 186036 h 691911"/>
                  <a:gd name="connsiteX12" fmla="*/ 2063008 w 2757007"/>
                  <a:gd name="connsiteY12" fmla="*/ 130807 h 691911"/>
                  <a:gd name="connsiteX13" fmla="*/ 2757007 w 2757007"/>
                  <a:gd name="connsiteY13" fmla="*/ 0 h 691911"/>
                  <a:gd name="connsiteX0-1" fmla="*/ 562257 w 2063008"/>
                  <a:gd name="connsiteY0-2" fmla="*/ 367054 h 561104"/>
                  <a:gd name="connsiteX1-3" fmla="*/ 549222 w 2063008"/>
                  <a:gd name="connsiteY1-4" fmla="*/ 410523 h 561104"/>
                  <a:gd name="connsiteX2-5" fmla="*/ 0 w 2063008"/>
                  <a:gd name="connsiteY2-6" fmla="*/ 561104 h 561104"/>
                  <a:gd name="connsiteX3-7" fmla="*/ 28594 w 2063008"/>
                  <a:gd name="connsiteY3-8" fmla="*/ 526776 h 561104"/>
                  <a:gd name="connsiteX4-9" fmla="*/ 562257 w 2063008"/>
                  <a:gd name="connsiteY4-10" fmla="*/ 367054 h 561104"/>
                  <a:gd name="connsiteX5-11" fmla="*/ 1743267 w 2063008"/>
                  <a:gd name="connsiteY5-12" fmla="*/ 67054 h 561104"/>
                  <a:gd name="connsiteX6-13" fmla="*/ 1734308 w 2063008"/>
                  <a:gd name="connsiteY6-14" fmla="*/ 124422 h 561104"/>
                  <a:gd name="connsiteX7-15" fmla="*/ 696035 w 2063008"/>
                  <a:gd name="connsiteY7-16" fmla="*/ 371938 h 561104"/>
                  <a:gd name="connsiteX8-17" fmla="*/ 710100 w 2063008"/>
                  <a:gd name="connsiteY8-18" fmla="*/ 325030 h 561104"/>
                  <a:gd name="connsiteX9-19" fmla="*/ 1743267 w 2063008"/>
                  <a:gd name="connsiteY9-20" fmla="*/ 67054 h 561104"/>
                  <a:gd name="connsiteX10-21" fmla="*/ 2063008 w 2063008"/>
                  <a:gd name="connsiteY10-22" fmla="*/ 0 h 561104"/>
                  <a:gd name="connsiteX11-23" fmla="*/ 2054383 w 2063008"/>
                  <a:gd name="connsiteY11-24" fmla="*/ 55229 h 561104"/>
                  <a:gd name="connsiteX12-25" fmla="*/ 2063008 w 2063008"/>
                  <a:gd name="connsiteY12-26" fmla="*/ 0 h 561104"/>
                  <a:gd name="connsiteX0-27" fmla="*/ 562257 w 1743267"/>
                  <a:gd name="connsiteY0-28" fmla="*/ 300000 h 494050"/>
                  <a:gd name="connsiteX1-29" fmla="*/ 549222 w 1743267"/>
                  <a:gd name="connsiteY1-30" fmla="*/ 343469 h 494050"/>
                  <a:gd name="connsiteX2-31" fmla="*/ 0 w 1743267"/>
                  <a:gd name="connsiteY2-32" fmla="*/ 494050 h 494050"/>
                  <a:gd name="connsiteX3-33" fmla="*/ 28594 w 1743267"/>
                  <a:gd name="connsiteY3-34" fmla="*/ 459722 h 494050"/>
                  <a:gd name="connsiteX4-35" fmla="*/ 562257 w 1743267"/>
                  <a:gd name="connsiteY4-36" fmla="*/ 300000 h 494050"/>
                  <a:gd name="connsiteX5-37" fmla="*/ 1743267 w 1743267"/>
                  <a:gd name="connsiteY5-38" fmla="*/ 0 h 494050"/>
                  <a:gd name="connsiteX6-39" fmla="*/ 1734308 w 1743267"/>
                  <a:gd name="connsiteY6-40" fmla="*/ 57368 h 494050"/>
                  <a:gd name="connsiteX7-41" fmla="*/ 696035 w 1743267"/>
                  <a:gd name="connsiteY7-42" fmla="*/ 304884 h 494050"/>
                  <a:gd name="connsiteX8-43" fmla="*/ 710100 w 1743267"/>
                  <a:gd name="connsiteY8-44" fmla="*/ 257976 h 494050"/>
                  <a:gd name="connsiteX9-45" fmla="*/ 1743267 w 1743267"/>
                  <a:gd name="connsiteY9-46" fmla="*/ 0 h 494050"/>
                  <a:gd name="connsiteX0-47" fmla="*/ 562257 w 1743267"/>
                  <a:gd name="connsiteY0-48" fmla="*/ 300000 h 494050"/>
                  <a:gd name="connsiteX1-49" fmla="*/ 549222 w 1743267"/>
                  <a:gd name="connsiteY1-50" fmla="*/ 343469 h 494050"/>
                  <a:gd name="connsiteX2-51" fmla="*/ 0 w 1743267"/>
                  <a:gd name="connsiteY2-52" fmla="*/ 494050 h 494050"/>
                  <a:gd name="connsiteX3-53" fmla="*/ 562257 w 1743267"/>
                  <a:gd name="connsiteY3-54" fmla="*/ 300000 h 494050"/>
                  <a:gd name="connsiteX4-55" fmla="*/ 1743267 w 1743267"/>
                  <a:gd name="connsiteY4-56" fmla="*/ 0 h 494050"/>
                  <a:gd name="connsiteX5-57" fmla="*/ 1734308 w 1743267"/>
                  <a:gd name="connsiteY5-58" fmla="*/ 57368 h 494050"/>
                  <a:gd name="connsiteX6-59" fmla="*/ 696035 w 1743267"/>
                  <a:gd name="connsiteY6-60" fmla="*/ 304884 h 494050"/>
                  <a:gd name="connsiteX7-61" fmla="*/ 710100 w 1743267"/>
                  <a:gd name="connsiteY7-62" fmla="*/ 257976 h 494050"/>
                  <a:gd name="connsiteX8-63" fmla="*/ 1743267 w 1743267"/>
                  <a:gd name="connsiteY8-64" fmla="*/ 0 h 494050"/>
                  <a:gd name="connsiteX0-65" fmla="*/ 13035 w 1194045"/>
                  <a:gd name="connsiteY0-66" fmla="*/ 300000 h 343469"/>
                  <a:gd name="connsiteX1-67" fmla="*/ 0 w 1194045"/>
                  <a:gd name="connsiteY1-68" fmla="*/ 343469 h 343469"/>
                  <a:gd name="connsiteX2-69" fmla="*/ 13035 w 1194045"/>
                  <a:gd name="connsiteY2-70" fmla="*/ 300000 h 343469"/>
                  <a:gd name="connsiteX3-71" fmla="*/ 1194045 w 1194045"/>
                  <a:gd name="connsiteY3-72" fmla="*/ 0 h 343469"/>
                  <a:gd name="connsiteX4-73" fmla="*/ 1185086 w 1194045"/>
                  <a:gd name="connsiteY4-74" fmla="*/ 57368 h 343469"/>
                  <a:gd name="connsiteX5-75" fmla="*/ 146813 w 1194045"/>
                  <a:gd name="connsiteY5-76" fmla="*/ 304884 h 343469"/>
                  <a:gd name="connsiteX6-77" fmla="*/ 160878 w 1194045"/>
                  <a:gd name="connsiteY6-78" fmla="*/ 257976 h 343469"/>
                  <a:gd name="connsiteX7-79" fmla="*/ 1194045 w 1194045"/>
                  <a:gd name="connsiteY7-80" fmla="*/ 0 h 343469"/>
                  <a:gd name="connsiteX0-81" fmla="*/ 1047232 w 1047232"/>
                  <a:gd name="connsiteY0-82" fmla="*/ 0 h 304884"/>
                  <a:gd name="connsiteX1-83" fmla="*/ 1038273 w 1047232"/>
                  <a:gd name="connsiteY1-84" fmla="*/ 57368 h 304884"/>
                  <a:gd name="connsiteX2-85" fmla="*/ 0 w 1047232"/>
                  <a:gd name="connsiteY2-86" fmla="*/ 304884 h 304884"/>
                  <a:gd name="connsiteX3-87" fmla="*/ 14065 w 1047232"/>
                  <a:gd name="connsiteY3-88" fmla="*/ 257976 h 304884"/>
                  <a:gd name="connsiteX4-89" fmla="*/ 1047232 w 1047232"/>
                  <a:gd name="connsiteY4-90" fmla="*/ 0 h 30488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047232" h="304884">
                    <a:moveTo>
                      <a:pt x="1047232" y="0"/>
                    </a:moveTo>
                    <a:lnTo>
                      <a:pt x="1038273" y="57368"/>
                    </a:lnTo>
                    <a:cubicBezTo>
                      <a:pt x="702769" y="131378"/>
                      <a:pt x="344711" y="216390"/>
                      <a:pt x="0" y="304884"/>
                    </a:cubicBezTo>
                    <a:lnTo>
                      <a:pt x="14065" y="257976"/>
                    </a:lnTo>
                    <a:cubicBezTo>
                      <a:pt x="350694" y="164683"/>
                      <a:pt x="698826" y="77525"/>
                      <a:pt x="10472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33" name="Freeform 210"/>
          <p:cNvSpPr/>
          <p:nvPr/>
        </p:nvSpPr>
        <p:spPr bwMode="auto">
          <a:xfrm>
            <a:off x="6135688" y="1130300"/>
            <a:ext cx="982662" cy="793750"/>
          </a:xfrm>
          <a:custGeom>
            <a:avLst/>
            <a:gdLst>
              <a:gd name="T0" fmla="*/ 0 w 617"/>
              <a:gd name="T1" fmla="*/ 0 h 623"/>
              <a:gd name="T2" fmla="*/ 94 w 617"/>
              <a:gd name="T3" fmla="*/ 28 h 623"/>
              <a:gd name="T4" fmla="*/ 617 w 617"/>
              <a:gd name="T5" fmla="*/ 597 h 623"/>
              <a:gd name="T6" fmla="*/ 539 w 617"/>
              <a:gd name="T7" fmla="*/ 623 h 623"/>
              <a:gd name="T8" fmla="*/ 0 w 617"/>
              <a:gd name="T9" fmla="*/ 0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7" h="623">
                <a:moveTo>
                  <a:pt x="0" y="0"/>
                </a:moveTo>
                <a:lnTo>
                  <a:pt x="94" y="28"/>
                </a:lnTo>
                <a:lnTo>
                  <a:pt x="617" y="597"/>
                </a:lnTo>
                <a:lnTo>
                  <a:pt x="539" y="623"/>
                </a:lnTo>
                <a:lnTo>
                  <a:pt x="0" y="0"/>
                </a:lnTo>
                <a:close/>
              </a:path>
            </a:pathLst>
          </a:custGeom>
          <a:solidFill>
            <a:srgbClr val="9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34" name="圆角矩形 133"/>
          <p:cNvSpPr/>
          <p:nvPr/>
        </p:nvSpPr>
        <p:spPr>
          <a:xfrm>
            <a:off x="6130925" y="915988"/>
            <a:ext cx="117475" cy="12858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135" name="组合 134"/>
          <p:cNvGrpSpPr/>
          <p:nvPr/>
        </p:nvGrpSpPr>
        <p:grpSpPr bwMode="auto">
          <a:xfrm>
            <a:off x="3467100" y="1216025"/>
            <a:ext cx="3048000" cy="1250950"/>
            <a:chOff x="3466345" y="1216136"/>
            <a:chExt cx="3049373" cy="1250327"/>
          </a:xfrm>
        </p:grpSpPr>
        <p:sp>
          <p:nvSpPr>
            <p:cNvPr id="136" name="任意多边形 135"/>
            <p:cNvSpPr/>
            <p:nvPr/>
          </p:nvSpPr>
          <p:spPr>
            <a:xfrm>
              <a:off x="5896314" y="1216136"/>
              <a:ext cx="619404" cy="352249"/>
            </a:xfrm>
            <a:custGeom>
              <a:avLst/>
              <a:gdLst>
                <a:gd name="connsiteX0" fmla="*/ 166687 w 666750"/>
                <a:gd name="connsiteY0" fmla="*/ 0 h 366713"/>
                <a:gd name="connsiteX1" fmla="*/ 114300 w 666750"/>
                <a:gd name="connsiteY1" fmla="*/ 4763 h 366713"/>
                <a:gd name="connsiteX2" fmla="*/ 90487 w 666750"/>
                <a:gd name="connsiteY2" fmla="*/ 28575 h 366713"/>
                <a:gd name="connsiteX3" fmla="*/ 76200 w 666750"/>
                <a:gd name="connsiteY3" fmla="*/ 42863 h 366713"/>
                <a:gd name="connsiteX4" fmla="*/ 61912 w 666750"/>
                <a:gd name="connsiteY4" fmla="*/ 71438 h 366713"/>
                <a:gd name="connsiteX5" fmla="*/ 57150 w 666750"/>
                <a:gd name="connsiteY5" fmla="*/ 85725 h 366713"/>
                <a:gd name="connsiteX6" fmla="*/ 47625 w 666750"/>
                <a:gd name="connsiteY6" fmla="*/ 100013 h 366713"/>
                <a:gd name="connsiteX7" fmla="*/ 38100 w 666750"/>
                <a:gd name="connsiteY7" fmla="*/ 128588 h 366713"/>
                <a:gd name="connsiteX8" fmla="*/ 28575 w 666750"/>
                <a:gd name="connsiteY8" fmla="*/ 157163 h 366713"/>
                <a:gd name="connsiteX9" fmla="*/ 4762 w 666750"/>
                <a:gd name="connsiteY9" fmla="*/ 228600 h 366713"/>
                <a:gd name="connsiteX10" fmla="*/ 0 w 666750"/>
                <a:gd name="connsiteY10" fmla="*/ 247650 h 366713"/>
                <a:gd name="connsiteX11" fmla="*/ 14287 w 666750"/>
                <a:gd name="connsiteY11" fmla="*/ 333375 h 366713"/>
                <a:gd name="connsiteX12" fmla="*/ 28575 w 666750"/>
                <a:gd name="connsiteY12" fmla="*/ 361950 h 366713"/>
                <a:gd name="connsiteX13" fmla="*/ 42862 w 666750"/>
                <a:gd name="connsiteY13" fmla="*/ 366713 h 366713"/>
                <a:gd name="connsiteX14" fmla="*/ 176212 w 666750"/>
                <a:gd name="connsiteY14" fmla="*/ 357188 h 366713"/>
                <a:gd name="connsiteX15" fmla="*/ 233362 w 666750"/>
                <a:gd name="connsiteY15" fmla="*/ 347663 h 366713"/>
                <a:gd name="connsiteX16" fmla="*/ 261937 w 666750"/>
                <a:gd name="connsiteY16" fmla="*/ 338138 h 366713"/>
                <a:gd name="connsiteX17" fmla="*/ 276225 w 666750"/>
                <a:gd name="connsiteY17" fmla="*/ 328613 h 366713"/>
                <a:gd name="connsiteX18" fmla="*/ 304800 w 666750"/>
                <a:gd name="connsiteY18" fmla="*/ 319088 h 366713"/>
                <a:gd name="connsiteX19" fmla="*/ 347662 w 666750"/>
                <a:gd name="connsiteY19" fmla="*/ 304800 h 366713"/>
                <a:gd name="connsiteX20" fmla="*/ 361950 w 666750"/>
                <a:gd name="connsiteY20" fmla="*/ 295275 h 366713"/>
                <a:gd name="connsiteX21" fmla="*/ 390525 w 666750"/>
                <a:gd name="connsiteY21" fmla="*/ 285750 h 366713"/>
                <a:gd name="connsiteX22" fmla="*/ 433387 w 666750"/>
                <a:gd name="connsiteY22" fmla="*/ 271463 h 366713"/>
                <a:gd name="connsiteX23" fmla="*/ 447675 w 666750"/>
                <a:gd name="connsiteY23" fmla="*/ 266700 h 366713"/>
                <a:gd name="connsiteX24" fmla="*/ 461962 w 666750"/>
                <a:gd name="connsiteY24" fmla="*/ 257175 h 366713"/>
                <a:gd name="connsiteX25" fmla="*/ 485775 w 666750"/>
                <a:gd name="connsiteY25" fmla="*/ 252413 h 366713"/>
                <a:gd name="connsiteX26" fmla="*/ 528637 w 666750"/>
                <a:gd name="connsiteY26" fmla="*/ 238125 h 366713"/>
                <a:gd name="connsiteX27" fmla="*/ 542925 w 666750"/>
                <a:gd name="connsiteY27" fmla="*/ 228600 h 366713"/>
                <a:gd name="connsiteX28" fmla="*/ 571500 w 666750"/>
                <a:gd name="connsiteY28" fmla="*/ 219075 h 366713"/>
                <a:gd name="connsiteX29" fmla="*/ 585787 w 666750"/>
                <a:gd name="connsiteY29" fmla="*/ 214313 h 366713"/>
                <a:gd name="connsiteX30" fmla="*/ 614362 w 666750"/>
                <a:gd name="connsiteY30" fmla="*/ 200025 h 366713"/>
                <a:gd name="connsiteX31" fmla="*/ 642937 w 666750"/>
                <a:gd name="connsiteY31" fmla="*/ 185738 h 366713"/>
                <a:gd name="connsiteX32" fmla="*/ 661987 w 666750"/>
                <a:gd name="connsiteY32" fmla="*/ 157163 h 366713"/>
                <a:gd name="connsiteX33" fmla="*/ 666750 w 666750"/>
                <a:gd name="connsiteY33" fmla="*/ 142875 h 36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66750" h="366713">
                  <a:moveTo>
                    <a:pt x="166687" y="0"/>
                  </a:moveTo>
                  <a:cubicBezTo>
                    <a:pt x="149225" y="1588"/>
                    <a:pt x="131445" y="1089"/>
                    <a:pt x="114300" y="4763"/>
                  </a:cubicBezTo>
                  <a:cubicBezTo>
                    <a:pt x="100127" y="7800"/>
                    <a:pt x="98310" y="19188"/>
                    <a:pt x="90487" y="28575"/>
                  </a:cubicBezTo>
                  <a:cubicBezTo>
                    <a:pt x="86175" y="33749"/>
                    <a:pt x="80962" y="38100"/>
                    <a:pt x="76200" y="42863"/>
                  </a:cubicBezTo>
                  <a:cubicBezTo>
                    <a:pt x="64226" y="78780"/>
                    <a:pt x="80380" y="34502"/>
                    <a:pt x="61912" y="71438"/>
                  </a:cubicBezTo>
                  <a:cubicBezTo>
                    <a:pt x="59667" y="75928"/>
                    <a:pt x="59395" y="81235"/>
                    <a:pt x="57150" y="85725"/>
                  </a:cubicBezTo>
                  <a:cubicBezTo>
                    <a:pt x="54590" y="90845"/>
                    <a:pt x="49950" y="94782"/>
                    <a:pt x="47625" y="100013"/>
                  </a:cubicBezTo>
                  <a:cubicBezTo>
                    <a:pt x="43547" y="109188"/>
                    <a:pt x="41275" y="119063"/>
                    <a:pt x="38100" y="128588"/>
                  </a:cubicBezTo>
                  <a:lnTo>
                    <a:pt x="28575" y="157163"/>
                  </a:lnTo>
                  <a:lnTo>
                    <a:pt x="4762" y="228600"/>
                  </a:lnTo>
                  <a:cubicBezTo>
                    <a:pt x="2692" y="234809"/>
                    <a:pt x="1587" y="241300"/>
                    <a:pt x="0" y="247650"/>
                  </a:cubicBezTo>
                  <a:cubicBezTo>
                    <a:pt x="5595" y="314803"/>
                    <a:pt x="-1283" y="286666"/>
                    <a:pt x="14287" y="333375"/>
                  </a:cubicBezTo>
                  <a:cubicBezTo>
                    <a:pt x="17424" y="342787"/>
                    <a:pt x="20182" y="355236"/>
                    <a:pt x="28575" y="361950"/>
                  </a:cubicBezTo>
                  <a:cubicBezTo>
                    <a:pt x="32495" y="365086"/>
                    <a:pt x="38100" y="365125"/>
                    <a:pt x="42862" y="366713"/>
                  </a:cubicBezTo>
                  <a:cubicBezTo>
                    <a:pt x="233328" y="358431"/>
                    <a:pt x="100430" y="369818"/>
                    <a:pt x="176212" y="357188"/>
                  </a:cubicBezTo>
                  <a:cubicBezTo>
                    <a:pt x="193723" y="354269"/>
                    <a:pt x="215733" y="352471"/>
                    <a:pt x="233362" y="347663"/>
                  </a:cubicBezTo>
                  <a:cubicBezTo>
                    <a:pt x="243048" y="345021"/>
                    <a:pt x="261937" y="338138"/>
                    <a:pt x="261937" y="338138"/>
                  </a:cubicBezTo>
                  <a:cubicBezTo>
                    <a:pt x="266700" y="334963"/>
                    <a:pt x="270994" y="330938"/>
                    <a:pt x="276225" y="328613"/>
                  </a:cubicBezTo>
                  <a:cubicBezTo>
                    <a:pt x="285400" y="324535"/>
                    <a:pt x="295275" y="322263"/>
                    <a:pt x="304800" y="319088"/>
                  </a:cubicBezTo>
                  <a:lnTo>
                    <a:pt x="347662" y="304800"/>
                  </a:lnTo>
                  <a:cubicBezTo>
                    <a:pt x="353092" y="302990"/>
                    <a:pt x="356719" y="297600"/>
                    <a:pt x="361950" y="295275"/>
                  </a:cubicBezTo>
                  <a:cubicBezTo>
                    <a:pt x="371125" y="291197"/>
                    <a:pt x="381000" y="288925"/>
                    <a:pt x="390525" y="285750"/>
                  </a:cubicBezTo>
                  <a:lnTo>
                    <a:pt x="433387" y="271463"/>
                  </a:lnTo>
                  <a:cubicBezTo>
                    <a:pt x="438150" y="269875"/>
                    <a:pt x="443498" y="269485"/>
                    <a:pt x="447675" y="266700"/>
                  </a:cubicBezTo>
                  <a:cubicBezTo>
                    <a:pt x="452437" y="263525"/>
                    <a:pt x="456603" y="259185"/>
                    <a:pt x="461962" y="257175"/>
                  </a:cubicBezTo>
                  <a:cubicBezTo>
                    <a:pt x="469541" y="254333"/>
                    <a:pt x="477965" y="254543"/>
                    <a:pt x="485775" y="252413"/>
                  </a:cubicBezTo>
                  <a:cubicBezTo>
                    <a:pt x="485801" y="252406"/>
                    <a:pt x="521481" y="240511"/>
                    <a:pt x="528637" y="238125"/>
                  </a:cubicBezTo>
                  <a:cubicBezTo>
                    <a:pt x="534067" y="236315"/>
                    <a:pt x="537694" y="230925"/>
                    <a:pt x="542925" y="228600"/>
                  </a:cubicBezTo>
                  <a:cubicBezTo>
                    <a:pt x="552100" y="224522"/>
                    <a:pt x="561975" y="222250"/>
                    <a:pt x="571500" y="219075"/>
                  </a:cubicBezTo>
                  <a:lnTo>
                    <a:pt x="585787" y="214313"/>
                  </a:lnTo>
                  <a:cubicBezTo>
                    <a:pt x="626736" y="187015"/>
                    <a:pt x="574926" y="219744"/>
                    <a:pt x="614362" y="200025"/>
                  </a:cubicBezTo>
                  <a:cubicBezTo>
                    <a:pt x="651283" y="181564"/>
                    <a:pt x="607034" y="197705"/>
                    <a:pt x="642937" y="185738"/>
                  </a:cubicBezTo>
                  <a:cubicBezTo>
                    <a:pt x="649287" y="176213"/>
                    <a:pt x="658367" y="168023"/>
                    <a:pt x="661987" y="157163"/>
                  </a:cubicBezTo>
                  <a:lnTo>
                    <a:pt x="666750" y="142875"/>
                  </a:ln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37" name="任意多边形 136"/>
            <p:cNvSpPr/>
            <p:nvPr/>
          </p:nvSpPr>
          <p:spPr>
            <a:xfrm>
              <a:off x="3466345" y="1562039"/>
              <a:ext cx="2450616" cy="904424"/>
            </a:xfrm>
            <a:custGeom>
              <a:avLst/>
              <a:gdLst>
                <a:gd name="connsiteX0" fmla="*/ 0 w 2052637"/>
                <a:gd name="connsiteY0" fmla="*/ 928687 h 928687"/>
                <a:gd name="connsiteX1" fmla="*/ 23812 w 2052637"/>
                <a:gd name="connsiteY1" fmla="*/ 919162 h 928687"/>
                <a:gd name="connsiteX2" fmla="*/ 66675 w 2052637"/>
                <a:gd name="connsiteY2" fmla="*/ 895350 h 928687"/>
                <a:gd name="connsiteX3" fmla="*/ 95250 w 2052637"/>
                <a:gd name="connsiteY3" fmla="*/ 881062 h 928687"/>
                <a:gd name="connsiteX4" fmla="*/ 123825 w 2052637"/>
                <a:gd name="connsiteY4" fmla="*/ 866775 h 928687"/>
                <a:gd name="connsiteX5" fmla="*/ 161925 w 2052637"/>
                <a:gd name="connsiteY5" fmla="*/ 842962 h 928687"/>
                <a:gd name="connsiteX6" fmla="*/ 204787 w 2052637"/>
                <a:gd name="connsiteY6" fmla="*/ 819150 h 928687"/>
                <a:gd name="connsiteX7" fmla="*/ 233362 w 2052637"/>
                <a:gd name="connsiteY7" fmla="*/ 800100 h 928687"/>
                <a:gd name="connsiteX8" fmla="*/ 247650 w 2052637"/>
                <a:gd name="connsiteY8" fmla="*/ 795337 h 928687"/>
                <a:gd name="connsiteX9" fmla="*/ 261937 w 2052637"/>
                <a:gd name="connsiteY9" fmla="*/ 785812 h 928687"/>
                <a:gd name="connsiteX10" fmla="*/ 295275 w 2052637"/>
                <a:gd name="connsiteY10" fmla="*/ 776287 h 928687"/>
                <a:gd name="connsiteX11" fmla="*/ 309562 w 2052637"/>
                <a:gd name="connsiteY11" fmla="*/ 766762 h 928687"/>
                <a:gd name="connsiteX12" fmla="*/ 338137 w 2052637"/>
                <a:gd name="connsiteY12" fmla="*/ 757237 h 928687"/>
                <a:gd name="connsiteX13" fmla="*/ 366712 w 2052637"/>
                <a:gd name="connsiteY13" fmla="*/ 747712 h 928687"/>
                <a:gd name="connsiteX14" fmla="*/ 381000 w 2052637"/>
                <a:gd name="connsiteY14" fmla="*/ 738187 h 928687"/>
                <a:gd name="connsiteX15" fmla="*/ 395287 w 2052637"/>
                <a:gd name="connsiteY15" fmla="*/ 733425 h 928687"/>
                <a:gd name="connsiteX16" fmla="*/ 438150 w 2052637"/>
                <a:gd name="connsiteY16" fmla="*/ 714375 h 928687"/>
                <a:gd name="connsiteX17" fmla="*/ 452437 w 2052637"/>
                <a:gd name="connsiteY17" fmla="*/ 709612 h 928687"/>
                <a:gd name="connsiteX18" fmla="*/ 466725 w 2052637"/>
                <a:gd name="connsiteY18" fmla="*/ 704850 h 928687"/>
                <a:gd name="connsiteX19" fmla="*/ 509587 w 2052637"/>
                <a:gd name="connsiteY19" fmla="*/ 681037 h 928687"/>
                <a:gd name="connsiteX20" fmla="*/ 519112 w 2052637"/>
                <a:gd name="connsiteY20" fmla="*/ 666750 h 928687"/>
                <a:gd name="connsiteX21" fmla="*/ 533400 w 2052637"/>
                <a:gd name="connsiteY21" fmla="*/ 661987 h 928687"/>
                <a:gd name="connsiteX22" fmla="*/ 561975 w 2052637"/>
                <a:gd name="connsiteY22" fmla="*/ 647700 h 928687"/>
                <a:gd name="connsiteX23" fmla="*/ 590550 w 2052637"/>
                <a:gd name="connsiteY23" fmla="*/ 633412 h 928687"/>
                <a:gd name="connsiteX24" fmla="*/ 604837 w 2052637"/>
                <a:gd name="connsiteY24" fmla="*/ 623887 h 928687"/>
                <a:gd name="connsiteX25" fmla="*/ 633412 w 2052637"/>
                <a:gd name="connsiteY25" fmla="*/ 614362 h 928687"/>
                <a:gd name="connsiteX26" fmla="*/ 661987 w 2052637"/>
                <a:gd name="connsiteY26" fmla="*/ 604837 h 928687"/>
                <a:gd name="connsiteX27" fmla="*/ 690562 w 2052637"/>
                <a:gd name="connsiteY27" fmla="*/ 585787 h 928687"/>
                <a:gd name="connsiteX28" fmla="*/ 704850 w 2052637"/>
                <a:gd name="connsiteY28" fmla="*/ 581025 h 928687"/>
                <a:gd name="connsiteX29" fmla="*/ 719137 w 2052637"/>
                <a:gd name="connsiteY29" fmla="*/ 571500 h 928687"/>
                <a:gd name="connsiteX30" fmla="*/ 747712 w 2052637"/>
                <a:gd name="connsiteY30" fmla="*/ 561975 h 928687"/>
                <a:gd name="connsiteX31" fmla="*/ 762000 w 2052637"/>
                <a:gd name="connsiteY31" fmla="*/ 557212 h 928687"/>
                <a:gd name="connsiteX32" fmla="*/ 776287 w 2052637"/>
                <a:gd name="connsiteY32" fmla="*/ 547687 h 928687"/>
                <a:gd name="connsiteX33" fmla="*/ 790575 w 2052637"/>
                <a:gd name="connsiteY33" fmla="*/ 542925 h 928687"/>
                <a:gd name="connsiteX34" fmla="*/ 833437 w 2052637"/>
                <a:gd name="connsiteY34" fmla="*/ 523875 h 928687"/>
                <a:gd name="connsiteX35" fmla="*/ 847725 w 2052637"/>
                <a:gd name="connsiteY35" fmla="*/ 519112 h 928687"/>
                <a:gd name="connsiteX36" fmla="*/ 862012 w 2052637"/>
                <a:gd name="connsiteY36" fmla="*/ 514350 h 928687"/>
                <a:gd name="connsiteX37" fmla="*/ 876300 w 2052637"/>
                <a:gd name="connsiteY37" fmla="*/ 504825 h 928687"/>
                <a:gd name="connsiteX38" fmla="*/ 904875 w 2052637"/>
                <a:gd name="connsiteY38" fmla="*/ 495300 h 928687"/>
                <a:gd name="connsiteX39" fmla="*/ 947737 w 2052637"/>
                <a:gd name="connsiteY39" fmla="*/ 481012 h 928687"/>
                <a:gd name="connsiteX40" fmla="*/ 962025 w 2052637"/>
                <a:gd name="connsiteY40" fmla="*/ 471487 h 928687"/>
                <a:gd name="connsiteX41" fmla="*/ 990600 w 2052637"/>
                <a:gd name="connsiteY41" fmla="*/ 461962 h 928687"/>
                <a:gd name="connsiteX42" fmla="*/ 1004887 w 2052637"/>
                <a:gd name="connsiteY42" fmla="*/ 457200 h 928687"/>
                <a:gd name="connsiteX43" fmla="*/ 1047750 w 2052637"/>
                <a:gd name="connsiteY43" fmla="*/ 438150 h 928687"/>
                <a:gd name="connsiteX44" fmla="*/ 1062037 w 2052637"/>
                <a:gd name="connsiteY44" fmla="*/ 433387 h 928687"/>
                <a:gd name="connsiteX45" fmla="*/ 1076325 w 2052637"/>
                <a:gd name="connsiteY45" fmla="*/ 428625 h 928687"/>
                <a:gd name="connsiteX46" fmla="*/ 1119187 w 2052637"/>
                <a:gd name="connsiteY46" fmla="*/ 409575 h 928687"/>
                <a:gd name="connsiteX47" fmla="*/ 1133475 w 2052637"/>
                <a:gd name="connsiteY47" fmla="*/ 404812 h 928687"/>
                <a:gd name="connsiteX48" fmla="*/ 1176337 w 2052637"/>
                <a:gd name="connsiteY48" fmla="*/ 385762 h 928687"/>
                <a:gd name="connsiteX49" fmla="*/ 1204912 w 2052637"/>
                <a:gd name="connsiteY49" fmla="*/ 376237 h 928687"/>
                <a:gd name="connsiteX50" fmla="*/ 1219200 w 2052637"/>
                <a:gd name="connsiteY50" fmla="*/ 371475 h 928687"/>
                <a:gd name="connsiteX51" fmla="*/ 1252537 w 2052637"/>
                <a:gd name="connsiteY51" fmla="*/ 357187 h 928687"/>
                <a:gd name="connsiteX52" fmla="*/ 1266825 w 2052637"/>
                <a:gd name="connsiteY52" fmla="*/ 347662 h 928687"/>
                <a:gd name="connsiteX53" fmla="*/ 1285875 w 2052637"/>
                <a:gd name="connsiteY53" fmla="*/ 342900 h 928687"/>
                <a:gd name="connsiteX54" fmla="*/ 1314450 w 2052637"/>
                <a:gd name="connsiteY54" fmla="*/ 333375 h 928687"/>
                <a:gd name="connsiteX55" fmla="*/ 1328737 w 2052637"/>
                <a:gd name="connsiteY55" fmla="*/ 323850 h 928687"/>
                <a:gd name="connsiteX56" fmla="*/ 1376362 w 2052637"/>
                <a:gd name="connsiteY56" fmla="*/ 309562 h 928687"/>
                <a:gd name="connsiteX57" fmla="*/ 1390650 w 2052637"/>
                <a:gd name="connsiteY57" fmla="*/ 304800 h 928687"/>
                <a:gd name="connsiteX58" fmla="*/ 1433512 w 2052637"/>
                <a:gd name="connsiteY58" fmla="*/ 285750 h 928687"/>
                <a:gd name="connsiteX59" fmla="*/ 1447800 w 2052637"/>
                <a:gd name="connsiteY59" fmla="*/ 280987 h 928687"/>
                <a:gd name="connsiteX60" fmla="*/ 1462087 w 2052637"/>
                <a:gd name="connsiteY60" fmla="*/ 271462 h 928687"/>
                <a:gd name="connsiteX61" fmla="*/ 1490662 w 2052637"/>
                <a:gd name="connsiteY61" fmla="*/ 261937 h 928687"/>
                <a:gd name="connsiteX62" fmla="*/ 1519237 w 2052637"/>
                <a:gd name="connsiteY62" fmla="*/ 252412 h 928687"/>
                <a:gd name="connsiteX63" fmla="*/ 1533525 w 2052637"/>
                <a:gd name="connsiteY63" fmla="*/ 242887 h 928687"/>
                <a:gd name="connsiteX64" fmla="*/ 1562100 w 2052637"/>
                <a:gd name="connsiteY64" fmla="*/ 233362 h 928687"/>
                <a:gd name="connsiteX65" fmla="*/ 1590675 w 2052637"/>
                <a:gd name="connsiteY65" fmla="*/ 223837 h 928687"/>
                <a:gd name="connsiteX66" fmla="*/ 1604962 w 2052637"/>
                <a:gd name="connsiteY66" fmla="*/ 214312 h 928687"/>
                <a:gd name="connsiteX67" fmla="*/ 1633537 w 2052637"/>
                <a:gd name="connsiteY67" fmla="*/ 204787 h 928687"/>
                <a:gd name="connsiteX68" fmla="*/ 1647825 w 2052637"/>
                <a:gd name="connsiteY68" fmla="*/ 200025 h 928687"/>
                <a:gd name="connsiteX69" fmla="*/ 1676400 w 2052637"/>
                <a:gd name="connsiteY69" fmla="*/ 185737 h 928687"/>
                <a:gd name="connsiteX70" fmla="*/ 1690687 w 2052637"/>
                <a:gd name="connsiteY70" fmla="*/ 176212 h 928687"/>
                <a:gd name="connsiteX71" fmla="*/ 1719262 w 2052637"/>
                <a:gd name="connsiteY71" fmla="*/ 166687 h 928687"/>
                <a:gd name="connsiteX72" fmla="*/ 1733550 w 2052637"/>
                <a:gd name="connsiteY72" fmla="*/ 161925 h 928687"/>
                <a:gd name="connsiteX73" fmla="*/ 1757362 w 2052637"/>
                <a:gd name="connsiteY73" fmla="*/ 142875 h 928687"/>
                <a:gd name="connsiteX74" fmla="*/ 1785937 w 2052637"/>
                <a:gd name="connsiteY74" fmla="*/ 123825 h 928687"/>
                <a:gd name="connsiteX75" fmla="*/ 1800225 w 2052637"/>
                <a:gd name="connsiteY75" fmla="*/ 119062 h 928687"/>
                <a:gd name="connsiteX76" fmla="*/ 1814512 w 2052637"/>
                <a:gd name="connsiteY76" fmla="*/ 109537 h 928687"/>
                <a:gd name="connsiteX77" fmla="*/ 1843087 w 2052637"/>
                <a:gd name="connsiteY77" fmla="*/ 100012 h 928687"/>
                <a:gd name="connsiteX78" fmla="*/ 1857375 w 2052637"/>
                <a:gd name="connsiteY78" fmla="*/ 95250 h 928687"/>
                <a:gd name="connsiteX79" fmla="*/ 1871662 w 2052637"/>
                <a:gd name="connsiteY79" fmla="*/ 85725 h 928687"/>
                <a:gd name="connsiteX80" fmla="*/ 1905000 w 2052637"/>
                <a:gd name="connsiteY80" fmla="*/ 76200 h 928687"/>
                <a:gd name="connsiteX81" fmla="*/ 1919287 w 2052637"/>
                <a:gd name="connsiteY81" fmla="*/ 66675 h 928687"/>
                <a:gd name="connsiteX82" fmla="*/ 1933575 w 2052637"/>
                <a:gd name="connsiteY82" fmla="*/ 61912 h 928687"/>
                <a:gd name="connsiteX83" fmla="*/ 1962150 w 2052637"/>
                <a:gd name="connsiteY83" fmla="*/ 42862 h 928687"/>
                <a:gd name="connsiteX84" fmla="*/ 1990725 w 2052637"/>
                <a:gd name="connsiteY84" fmla="*/ 23812 h 928687"/>
                <a:gd name="connsiteX85" fmla="*/ 2033587 w 2052637"/>
                <a:gd name="connsiteY85" fmla="*/ 9525 h 928687"/>
                <a:gd name="connsiteX86" fmla="*/ 2052637 w 2052637"/>
                <a:gd name="connsiteY86" fmla="*/ 0 h 928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052637" h="928687">
                  <a:moveTo>
                    <a:pt x="0" y="928687"/>
                  </a:moveTo>
                  <a:cubicBezTo>
                    <a:pt x="7937" y="925512"/>
                    <a:pt x="16307" y="923256"/>
                    <a:pt x="23812" y="919162"/>
                  </a:cubicBezTo>
                  <a:cubicBezTo>
                    <a:pt x="75274" y="891091"/>
                    <a:pt x="33322" y="906466"/>
                    <a:pt x="66675" y="895350"/>
                  </a:cubicBezTo>
                  <a:cubicBezTo>
                    <a:pt x="107618" y="868054"/>
                    <a:pt x="55816" y="900780"/>
                    <a:pt x="95250" y="881062"/>
                  </a:cubicBezTo>
                  <a:cubicBezTo>
                    <a:pt x="132172" y="862601"/>
                    <a:pt x="87918" y="878742"/>
                    <a:pt x="123825" y="866775"/>
                  </a:cubicBezTo>
                  <a:cubicBezTo>
                    <a:pt x="146673" y="832501"/>
                    <a:pt x="114319" y="874700"/>
                    <a:pt x="161925" y="842962"/>
                  </a:cubicBezTo>
                  <a:cubicBezTo>
                    <a:pt x="194677" y="821127"/>
                    <a:pt x="179640" y="827532"/>
                    <a:pt x="204787" y="819150"/>
                  </a:cubicBezTo>
                  <a:cubicBezTo>
                    <a:pt x="214312" y="812800"/>
                    <a:pt x="222502" y="803720"/>
                    <a:pt x="233362" y="800100"/>
                  </a:cubicBezTo>
                  <a:cubicBezTo>
                    <a:pt x="238125" y="798512"/>
                    <a:pt x="243160" y="797582"/>
                    <a:pt x="247650" y="795337"/>
                  </a:cubicBezTo>
                  <a:cubicBezTo>
                    <a:pt x="252769" y="792777"/>
                    <a:pt x="256818" y="788372"/>
                    <a:pt x="261937" y="785812"/>
                  </a:cubicBezTo>
                  <a:cubicBezTo>
                    <a:pt x="268765" y="782398"/>
                    <a:pt x="289178" y="777811"/>
                    <a:pt x="295275" y="776287"/>
                  </a:cubicBezTo>
                  <a:cubicBezTo>
                    <a:pt x="300037" y="773112"/>
                    <a:pt x="304332" y="769087"/>
                    <a:pt x="309562" y="766762"/>
                  </a:cubicBezTo>
                  <a:cubicBezTo>
                    <a:pt x="318737" y="762684"/>
                    <a:pt x="328612" y="760412"/>
                    <a:pt x="338137" y="757237"/>
                  </a:cubicBezTo>
                  <a:lnTo>
                    <a:pt x="366712" y="747712"/>
                  </a:lnTo>
                  <a:cubicBezTo>
                    <a:pt x="372142" y="745902"/>
                    <a:pt x="375880" y="740747"/>
                    <a:pt x="381000" y="738187"/>
                  </a:cubicBezTo>
                  <a:cubicBezTo>
                    <a:pt x="385490" y="735942"/>
                    <a:pt x="390525" y="735012"/>
                    <a:pt x="395287" y="733425"/>
                  </a:cubicBezTo>
                  <a:cubicBezTo>
                    <a:pt x="417930" y="718330"/>
                    <a:pt x="404143" y="725711"/>
                    <a:pt x="438150" y="714375"/>
                  </a:cubicBezTo>
                  <a:lnTo>
                    <a:pt x="452437" y="709612"/>
                  </a:lnTo>
                  <a:lnTo>
                    <a:pt x="466725" y="704850"/>
                  </a:lnTo>
                  <a:cubicBezTo>
                    <a:pt x="499477" y="683015"/>
                    <a:pt x="484440" y="689421"/>
                    <a:pt x="509587" y="681037"/>
                  </a:cubicBezTo>
                  <a:cubicBezTo>
                    <a:pt x="512762" y="676275"/>
                    <a:pt x="514643" y="670326"/>
                    <a:pt x="519112" y="666750"/>
                  </a:cubicBezTo>
                  <a:cubicBezTo>
                    <a:pt x="523032" y="663614"/>
                    <a:pt x="528910" y="664232"/>
                    <a:pt x="533400" y="661987"/>
                  </a:cubicBezTo>
                  <a:cubicBezTo>
                    <a:pt x="570322" y="643526"/>
                    <a:pt x="526068" y="659667"/>
                    <a:pt x="561975" y="647700"/>
                  </a:cubicBezTo>
                  <a:cubicBezTo>
                    <a:pt x="602918" y="620404"/>
                    <a:pt x="551116" y="653130"/>
                    <a:pt x="590550" y="633412"/>
                  </a:cubicBezTo>
                  <a:cubicBezTo>
                    <a:pt x="595669" y="630852"/>
                    <a:pt x="599607" y="626212"/>
                    <a:pt x="604837" y="623887"/>
                  </a:cubicBezTo>
                  <a:cubicBezTo>
                    <a:pt x="614012" y="619809"/>
                    <a:pt x="623887" y="617537"/>
                    <a:pt x="633412" y="614362"/>
                  </a:cubicBezTo>
                  <a:lnTo>
                    <a:pt x="661987" y="604837"/>
                  </a:lnTo>
                  <a:cubicBezTo>
                    <a:pt x="672847" y="601216"/>
                    <a:pt x="681037" y="592137"/>
                    <a:pt x="690562" y="585787"/>
                  </a:cubicBezTo>
                  <a:cubicBezTo>
                    <a:pt x="694739" y="583002"/>
                    <a:pt x="700087" y="582612"/>
                    <a:pt x="704850" y="581025"/>
                  </a:cubicBezTo>
                  <a:cubicBezTo>
                    <a:pt x="709612" y="577850"/>
                    <a:pt x="713907" y="573825"/>
                    <a:pt x="719137" y="571500"/>
                  </a:cubicBezTo>
                  <a:cubicBezTo>
                    <a:pt x="728312" y="567422"/>
                    <a:pt x="738187" y="565150"/>
                    <a:pt x="747712" y="561975"/>
                  </a:cubicBezTo>
                  <a:lnTo>
                    <a:pt x="762000" y="557212"/>
                  </a:lnTo>
                  <a:cubicBezTo>
                    <a:pt x="767430" y="555402"/>
                    <a:pt x="771168" y="550247"/>
                    <a:pt x="776287" y="547687"/>
                  </a:cubicBezTo>
                  <a:cubicBezTo>
                    <a:pt x="780777" y="545442"/>
                    <a:pt x="785812" y="544512"/>
                    <a:pt x="790575" y="542925"/>
                  </a:cubicBezTo>
                  <a:cubicBezTo>
                    <a:pt x="813216" y="527830"/>
                    <a:pt x="799431" y="535211"/>
                    <a:pt x="833437" y="523875"/>
                  </a:cubicBezTo>
                  <a:lnTo>
                    <a:pt x="847725" y="519112"/>
                  </a:lnTo>
                  <a:lnTo>
                    <a:pt x="862012" y="514350"/>
                  </a:lnTo>
                  <a:cubicBezTo>
                    <a:pt x="866775" y="511175"/>
                    <a:pt x="871069" y="507150"/>
                    <a:pt x="876300" y="504825"/>
                  </a:cubicBezTo>
                  <a:cubicBezTo>
                    <a:pt x="885475" y="500747"/>
                    <a:pt x="895350" y="498475"/>
                    <a:pt x="904875" y="495300"/>
                  </a:cubicBezTo>
                  <a:lnTo>
                    <a:pt x="947737" y="481012"/>
                  </a:lnTo>
                  <a:cubicBezTo>
                    <a:pt x="953167" y="479202"/>
                    <a:pt x="956794" y="473812"/>
                    <a:pt x="962025" y="471487"/>
                  </a:cubicBezTo>
                  <a:cubicBezTo>
                    <a:pt x="971200" y="467409"/>
                    <a:pt x="981075" y="465137"/>
                    <a:pt x="990600" y="461962"/>
                  </a:cubicBezTo>
                  <a:lnTo>
                    <a:pt x="1004887" y="457200"/>
                  </a:lnTo>
                  <a:cubicBezTo>
                    <a:pt x="1027530" y="442105"/>
                    <a:pt x="1013743" y="449486"/>
                    <a:pt x="1047750" y="438150"/>
                  </a:cubicBezTo>
                  <a:lnTo>
                    <a:pt x="1062037" y="433387"/>
                  </a:lnTo>
                  <a:lnTo>
                    <a:pt x="1076325" y="428625"/>
                  </a:lnTo>
                  <a:cubicBezTo>
                    <a:pt x="1098966" y="413530"/>
                    <a:pt x="1085181" y="420911"/>
                    <a:pt x="1119187" y="409575"/>
                  </a:cubicBezTo>
                  <a:cubicBezTo>
                    <a:pt x="1123950" y="407987"/>
                    <a:pt x="1129298" y="407597"/>
                    <a:pt x="1133475" y="404812"/>
                  </a:cubicBezTo>
                  <a:cubicBezTo>
                    <a:pt x="1156115" y="389718"/>
                    <a:pt x="1142334" y="397096"/>
                    <a:pt x="1176337" y="385762"/>
                  </a:cubicBezTo>
                  <a:lnTo>
                    <a:pt x="1204912" y="376237"/>
                  </a:lnTo>
                  <a:lnTo>
                    <a:pt x="1219200" y="371475"/>
                  </a:lnTo>
                  <a:cubicBezTo>
                    <a:pt x="1255066" y="347564"/>
                    <a:pt x="1209485" y="375638"/>
                    <a:pt x="1252537" y="357187"/>
                  </a:cubicBezTo>
                  <a:cubicBezTo>
                    <a:pt x="1257798" y="354932"/>
                    <a:pt x="1261564" y="349917"/>
                    <a:pt x="1266825" y="347662"/>
                  </a:cubicBezTo>
                  <a:cubicBezTo>
                    <a:pt x="1272841" y="345084"/>
                    <a:pt x="1279606" y="344781"/>
                    <a:pt x="1285875" y="342900"/>
                  </a:cubicBezTo>
                  <a:cubicBezTo>
                    <a:pt x="1295492" y="340015"/>
                    <a:pt x="1314450" y="333375"/>
                    <a:pt x="1314450" y="333375"/>
                  </a:cubicBezTo>
                  <a:cubicBezTo>
                    <a:pt x="1319212" y="330200"/>
                    <a:pt x="1323507" y="326175"/>
                    <a:pt x="1328737" y="323850"/>
                  </a:cubicBezTo>
                  <a:cubicBezTo>
                    <a:pt x="1349100" y="314800"/>
                    <a:pt x="1356973" y="315102"/>
                    <a:pt x="1376362" y="309562"/>
                  </a:cubicBezTo>
                  <a:cubicBezTo>
                    <a:pt x="1381189" y="308183"/>
                    <a:pt x="1385887" y="306387"/>
                    <a:pt x="1390650" y="304800"/>
                  </a:cubicBezTo>
                  <a:cubicBezTo>
                    <a:pt x="1413291" y="289705"/>
                    <a:pt x="1399506" y="297086"/>
                    <a:pt x="1433512" y="285750"/>
                  </a:cubicBezTo>
                  <a:cubicBezTo>
                    <a:pt x="1438275" y="284162"/>
                    <a:pt x="1443623" y="283772"/>
                    <a:pt x="1447800" y="280987"/>
                  </a:cubicBezTo>
                  <a:cubicBezTo>
                    <a:pt x="1452562" y="277812"/>
                    <a:pt x="1456857" y="273787"/>
                    <a:pt x="1462087" y="271462"/>
                  </a:cubicBezTo>
                  <a:cubicBezTo>
                    <a:pt x="1471262" y="267384"/>
                    <a:pt x="1481137" y="265112"/>
                    <a:pt x="1490662" y="261937"/>
                  </a:cubicBezTo>
                  <a:lnTo>
                    <a:pt x="1519237" y="252412"/>
                  </a:lnTo>
                  <a:cubicBezTo>
                    <a:pt x="1524667" y="250602"/>
                    <a:pt x="1528294" y="245212"/>
                    <a:pt x="1533525" y="242887"/>
                  </a:cubicBezTo>
                  <a:cubicBezTo>
                    <a:pt x="1542700" y="238809"/>
                    <a:pt x="1552575" y="236537"/>
                    <a:pt x="1562100" y="233362"/>
                  </a:cubicBezTo>
                  <a:cubicBezTo>
                    <a:pt x="1562104" y="233361"/>
                    <a:pt x="1590672" y="223839"/>
                    <a:pt x="1590675" y="223837"/>
                  </a:cubicBezTo>
                  <a:cubicBezTo>
                    <a:pt x="1595437" y="220662"/>
                    <a:pt x="1599732" y="216637"/>
                    <a:pt x="1604962" y="214312"/>
                  </a:cubicBezTo>
                  <a:cubicBezTo>
                    <a:pt x="1614137" y="210234"/>
                    <a:pt x="1624012" y="207962"/>
                    <a:pt x="1633537" y="204787"/>
                  </a:cubicBezTo>
                  <a:lnTo>
                    <a:pt x="1647825" y="200025"/>
                  </a:lnTo>
                  <a:cubicBezTo>
                    <a:pt x="1688768" y="172729"/>
                    <a:pt x="1636966" y="205455"/>
                    <a:pt x="1676400" y="185737"/>
                  </a:cubicBezTo>
                  <a:cubicBezTo>
                    <a:pt x="1681519" y="183177"/>
                    <a:pt x="1685457" y="178537"/>
                    <a:pt x="1690687" y="176212"/>
                  </a:cubicBezTo>
                  <a:cubicBezTo>
                    <a:pt x="1699862" y="172134"/>
                    <a:pt x="1709737" y="169862"/>
                    <a:pt x="1719262" y="166687"/>
                  </a:cubicBezTo>
                  <a:lnTo>
                    <a:pt x="1733550" y="161925"/>
                  </a:lnTo>
                  <a:cubicBezTo>
                    <a:pt x="1751150" y="135525"/>
                    <a:pt x="1733005" y="156406"/>
                    <a:pt x="1757362" y="142875"/>
                  </a:cubicBezTo>
                  <a:cubicBezTo>
                    <a:pt x="1767369" y="137316"/>
                    <a:pt x="1775077" y="127445"/>
                    <a:pt x="1785937" y="123825"/>
                  </a:cubicBezTo>
                  <a:cubicBezTo>
                    <a:pt x="1790700" y="122237"/>
                    <a:pt x="1795735" y="121307"/>
                    <a:pt x="1800225" y="119062"/>
                  </a:cubicBezTo>
                  <a:cubicBezTo>
                    <a:pt x="1805344" y="116502"/>
                    <a:pt x="1809282" y="111862"/>
                    <a:pt x="1814512" y="109537"/>
                  </a:cubicBezTo>
                  <a:cubicBezTo>
                    <a:pt x="1823687" y="105459"/>
                    <a:pt x="1833562" y="103187"/>
                    <a:pt x="1843087" y="100012"/>
                  </a:cubicBezTo>
                  <a:lnTo>
                    <a:pt x="1857375" y="95250"/>
                  </a:lnTo>
                  <a:cubicBezTo>
                    <a:pt x="1862137" y="92075"/>
                    <a:pt x="1866543" y="88285"/>
                    <a:pt x="1871662" y="85725"/>
                  </a:cubicBezTo>
                  <a:cubicBezTo>
                    <a:pt x="1878497" y="82307"/>
                    <a:pt x="1898892" y="77727"/>
                    <a:pt x="1905000" y="76200"/>
                  </a:cubicBezTo>
                  <a:cubicBezTo>
                    <a:pt x="1909762" y="73025"/>
                    <a:pt x="1914168" y="69235"/>
                    <a:pt x="1919287" y="66675"/>
                  </a:cubicBezTo>
                  <a:cubicBezTo>
                    <a:pt x="1923777" y="64430"/>
                    <a:pt x="1929186" y="64350"/>
                    <a:pt x="1933575" y="61912"/>
                  </a:cubicBezTo>
                  <a:cubicBezTo>
                    <a:pt x="1943582" y="56353"/>
                    <a:pt x="1952625" y="49212"/>
                    <a:pt x="1962150" y="42862"/>
                  </a:cubicBezTo>
                  <a:lnTo>
                    <a:pt x="1990725" y="23812"/>
                  </a:lnTo>
                  <a:cubicBezTo>
                    <a:pt x="1990728" y="23810"/>
                    <a:pt x="2026441" y="11907"/>
                    <a:pt x="2033587" y="9525"/>
                  </a:cubicBezTo>
                  <a:cubicBezTo>
                    <a:pt x="2050004" y="4053"/>
                    <a:pt x="2044325" y="8312"/>
                    <a:pt x="2052637" y="0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38" name="组合 137"/>
          <p:cNvGrpSpPr/>
          <p:nvPr/>
        </p:nvGrpSpPr>
        <p:grpSpPr bwMode="auto">
          <a:xfrm>
            <a:off x="3757613" y="1892300"/>
            <a:ext cx="849312" cy="1243013"/>
            <a:chOff x="4904156" y="1711202"/>
            <a:chExt cx="915395" cy="1340050"/>
          </a:xfrm>
        </p:grpSpPr>
        <p:sp>
          <p:nvSpPr>
            <p:cNvPr id="39000" name="Freeform 280"/>
            <p:cNvSpPr>
              <a:spLocks noEditPoints="1"/>
            </p:cNvSpPr>
            <p:nvPr/>
          </p:nvSpPr>
          <p:spPr bwMode="auto">
            <a:xfrm rot="521357">
              <a:off x="4904156" y="1897373"/>
              <a:ext cx="400416" cy="547607"/>
            </a:xfrm>
            <a:custGeom>
              <a:avLst/>
              <a:gdLst>
                <a:gd name="T0" fmla="*/ 2147483646 w 100"/>
                <a:gd name="T1" fmla="*/ 2147483646 h 131"/>
                <a:gd name="T2" fmla="*/ 2147483646 w 100"/>
                <a:gd name="T3" fmla="*/ 0 h 131"/>
                <a:gd name="T4" fmla="*/ 2147483646 w 100"/>
                <a:gd name="T5" fmla="*/ 2147483646 h 131"/>
                <a:gd name="T6" fmla="*/ 2147483646 w 100"/>
                <a:gd name="T7" fmla="*/ 2147483646 h 131"/>
                <a:gd name="T8" fmla="*/ 2147483646 w 100"/>
                <a:gd name="T9" fmla="*/ 2147483646 h 131"/>
                <a:gd name="T10" fmla="*/ 2147483646 w 100"/>
                <a:gd name="T11" fmla="*/ 2147483646 h 131"/>
                <a:gd name="T12" fmla="*/ 2147483646 w 100"/>
                <a:gd name="T13" fmla="*/ 2147483646 h 131"/>
                <a:gd name="T14" fmla="*/ 2147483646 w 100"/>
                <a:gd name="T15" fmla="*/ 2147483646 h 131"/>
                <a:gd name="T16" fmla="*/ 2147483646 w 100"/>
                <a:gd name="T17" fmla="*/ 2147483646 h 131"/>
                <a:gd name="T18" fmla="*/ 2147483646 w 100"/>
                <a:gd name="T19" fmla="*/ 2147483646 h 131"/>
                <a:gd name="T20" fmla="*/ 2147483646 w 100"/>
                <a:gd name="T21" fmla="*/ 2147483646 h 131"/>
                <a:gd name="T22" fmla="*/ 2147483646 w 100"/>
                <a:gd name="T23" fmla="*/ 2147483646 h 131"/>
                <a:gd name="T24" fmla="*/ 2147483646 w 100"/>
                <a:gd name="T25" fmla="*/ 2147483646 h 131"/>
                <a:gd name="T26" fmla="*/ 2147483646 w 100"/>
                <a:gd name="T27" fmla="*/ 2147483646 h 131"/>
                <a:gd name="T28" fmla="*/ 2147483646 w 100"/>
                <a:gd name="T29" fmla="*/ 2147483646 h 131"/>
                <a:gd name="T30" fmla="*/ 2147483646 w 100"/>
                <a:gd name="T31" fmla="*/ 2147483646 h 131"/>
                <a:gd name="T32" fmla="*/ 2147483646 w 100"/>
                <a:gd name="T33" fmla="*/ 2147483646 h 131"/>
                <a:gd name="T34" fmla="*/ 2147483646 w 100"/>
                <a:gd name="T35" fmla="*/ 2147483646 h 131"/>
                <a:gd name="T36" fmla="*/ 2147483646 w 100"/>
                <a:gd name="T37" fmla="*/ 2147483646 h 131"/>
                <a:gd name="T38" fmla="*/ 2147483646 w 100"/>
                <a:gd name="T39" fmla="*/ 2147483646 h 131"/>
                <a:gd name="T40" fmla="*/ 2147483646 w 100"/>
                <a:gd name="T41" fmla="*/ 2147483646 h 131"/>
                <a:gd name="T42" fmla="*/ 2147483646 w 100"/>
                <a:gd name="T43" fmla="*/ 2147483646 h 131"/>
                <a:gd name="T44" fmla="*/ 2147483646 w 100"/>
                <a:gd name="T45" fmla="*/ 2147483646 h 131"/>
                <a:gd name="T46" fmla="*/ 2147483646 w 100"/>
                <a:gd name="T47" fmla="*/ 2147483646 h 131"/>
                <a:gd name="T48" fmla="*/ 2147483646 w 100"/>
                <a:gd name="T49" fmla="*/ 2147483646 h 131"/>
                <a:gd name="T50" fmla="*/ 2147483646 w 100"/>
                <a:gd name="T51" fmla="*/ 2147483646 h 131"/>
                <a:gd name="T52" fmla="*/ 2147483646 w 100"/>
                <a:gd name="T53" fmla="*/ 2147483646 h 131"/>
                <a:gd name="T54" fmla="*/ 2147483646 w 100"/>
                <a:gd name="T55" fmla="*/ 2147483646 h 131"/>
                <a:gd name="T56" fmla="*/ 2147483646 w 100"/>
                <a:gd name="T57" fmla="*/ 2147483646 h 131"/>
                <a:gd name="T58" fmla="*/ 2147483646 w 100"/>
                <a:gd name="T59" fmla="*/ 2147483646 h 131"/>
                <a:gd name="T60" fmla="*/ 2147483646 w 100"/>
                <a:gd name="T61" fmla="*/ 2147483646 h 131"/>
                <a:gd name="T62" fmla="*/ 2147483646 w 100"/>
                <a:gd name="T63" fmla="*/ 2147483646 h 131"/>
                <a:gd name="T64" fmla="*/ 2147483646 w 100"/>
                <a:gd name="T65" fmla="*/ 2147483646 h 131"/>
                <a:gd name="T66" fmla="*/ 2147483646 w 100"/>
                <a:gd name="T67" fmla="*/ 2147483646 h 131"/>
                <a:gd name="T68" fmla="*/ 2147483646 w 100"/>
                <a:gd name="T69" fmla="*/ 2147483646 h 131"/>
                <a:gd name="T70" fmla="*/ 2147483646 w 100"/>
                <a:gd name="T71" fmla="*/ 2147483646 h 131"/>
                <a:gd name="T72" fmla="*/ 2147483646 w 100"/>
                <a:gd name="T73" fmla="*/ 2147483646 h 131"/>
                <a:gd name="T74" fmla="*/ 2147483646 w 100"/>
                <a:gd name="T75" fmla="*/ 2147483646 h 131"/>
                <a:gd name="T76" fmla="*/ 2147483646 w 100"/>
                <a:gd name="T77" fmla="*/ 2147483646 h 131"/>
                <a:gd name="T78" fmla="*/ 2147483646 w 100"/>
                <a:gd name="T79" fmla="*/ 2147483646 h 131"/>
                <a:gd name="T80" fmla="*/ 2147483646 w 100"/>
                <a:gd name="T81" fmla="*/ 2147483646 h 131"/>
                <a:gd name="T82" fmla="*/ 2147483646 w 100"/>
                <a:gd name="T83" fmla="*/ 2147483646 h 131"/>
                <a:gd name="T84" fmla="*/ 2147483646 w 100"/>
                <a:gd name="T85" fmla="*/ 2147483646 h 131"/>
                <a:gd name="T86" fmla="*/ 2147483646 w 100"/>
                <a:gd name="T87" fmla="*/ 2147483646 h 131"/>
                <a:gd name="T88" fmla="*/ 2147483646 w 100"/>
                <a:gd name="T89" fmla="*/ 2147483646 h 131"/>
                <a:gd name="T90" fmla="*/ 2147483646 w 100"/>
                <a:gd name="T91" fmla="*/ 2147483646 h 131"/>
                <a:gd name="T92" fmla="*/ 2147483646 w 100"/>
                <a:gd name="T93" fmla="*/ 2147483646 h 131"/>
                <a:gd name="T94" fmla="*/ 2147483646 w 100"/>
                <a:gd name="T95" fmla="*/ 2147483646 h 131"/>
                <a:gd name="T96" fmla="*/ 2147483646 w 100"/>
                <a:gd name="T97" fmla="*/ 2147483646 h 131"/>
                <a:gd name="T98" fmla="*/ 2147483646 w 100"/>
                <a:gd name="T99" fmla="*/ 2147483646 h 131"/>
                <a:gd name="T100" fmla="*/ 2147483646 w 100"/>
                <a:gd name="T101" fmla="*/ 2147483646 h 131"/>
                <a:gd name="T102" fmla="*/ 2147483646 w 100"/>
                <a:gd name="T103" fmla="*/ 2147483646 h 131"/>
                <a:gd name="T104" fmla="*/ 2147483646 w 100"/>
                <a:gd name="T105" fmla="*/ 2147483646 h 131"/>
                <a:gd name="T106" fmla="*/ 2147483646 w 100"/>
                <a:gd name="T107" fmla="*/ 2147483646 h 131"/>
                <a:gd name="T108" fmla="*/ 2147483646 w 100"/>
                <a:gd name="T109" fmla="*/ 2147483646 h 131"/>
                <a:gd name="T110" fmla="*/ 2147483646 w 100"/>
                <a:gd name="T111" fmla="*/ 2147483646 h 131"/>
                <a:gd name="T112" fmla="*/ 2147483646 w 100"/>
                <a:gd name="T113" fmla="*/ 2147483646 h 131"/>
                <a:gd name="T114" fmla="*/ 2147483646 w 100"/>
                <a:gd name="T115" fmla="*/ 2147483646 h 131"/>
                <a:gd name="T116" fmla="*/ 2147483646 w 100"/>
                <a:gd name="T117" fmla="*/ 2147483646 h 131"/>
                <a:gd name="T118" fmla="*/ 2147483646 w 100"/>
                <a:gd name="T119" fmla="*/ 2147483646 h 131"/>
                <a:gd name="T120" fmla="*/ 2147483646 w 100"/>
                <a:gd name="T121" fmla="*/ 2147483646 h 1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0" h="131">
                  <a:moveTo>
                    <a:pt x="31" y="4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6" y="28"/>
                    <a:pt x="55" y="35"/>
                    <a:pt x="64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1" y="35"/>
                    <a:pt x="43" y="28"/>
                    <a:pt x="36" y="20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3" y="9"/>
                    <a:pt x="8" y="16"/>
                    <a:pt x="5" y="23"/>
                  </a:cubicBezTo>
                  <a:cubicBezTo>
                    <a:pt x="0" y="29"/>
                    <a:pt x="6" y="39"/>
                    <a:pt x="21" y="55"/>
                  </a:cubicBezTo>
                  <a:cubicBezTo>
                    <a:pt x="22" y="56"/>
                    <a:pt x="24" y="57"/>
                    <a:pt x="25" y="58"/>
                  </a:cubicBezTo>
                  <a:cubicBezTo>
                    <a:pt x="29" y="68"/>
                    <a:pt x="35" y="76"/>
                    <a:pt x="43" y="84"/>
                  </a:cubicBezTo>
                  <a:cubicBezTo>
                    <a:pt x="43" y="90"/>
                    <a:pt x="45" y="97"/>
                    <a:pt x="50" y="103"/>
                  </a:cubicBezTo>
                  <a:cubicBezTo>
                    <a:pt x="55" y="129"/>
                    <a:pt x="55" y="129"/>
                    <a:pt x="55" y="129"/>
                  </a:cubicBezTo>
                  <a:cubicBezTo>
                    <a:pt x="63" y="131"/>
                    <a:pt x="70" y="130"/>
                    <a:pt x="76" y="129"/>
                  </a:cubicBezTo>
                  <a:cubicBezTo>
                    <a:pt x="83" y="127"/>
                    <a:pt x="89" y="124"/>
                    <a:pt x="95" y="119"/>
                  </a:cubicBezTo>
                  <a:cubicBezTo>
                    <a:pt x="99" y="109"/>
                    <a:pt x="100" y="99"/>
                    <a:pt x="99" y="90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75" y="62"/>
                    <a:pt x="66" y="67"/>
                    <a:pt x="56" y="71"/>
                  </a:cubicBezTo>
                  <a:cubicBezTo>
                    <a:pt x="50" y="71"/>
                    <a:pt x="45" y="70"/>
                    <a:pt x="39" y="67"/>
                  </a:cubicBezTo>
                  <a:cubicBezTo>
                    <a:pt x="55" y="62"/>
                    <a:pt x="78" y="51"/>
                    <a:pt x="92" y="40"/>
                  </a:cubicBezTo>
                  <a:cubicBezTo>
                    <a:pt x="88" y="38"/>
                    <a:pt x="79" y="36"/>
                    <a:pt x="76" y="33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4" y="37"/>
                    <a:pt x="62" y="35"/>
                    <a:pt x="59" y="32"/>
                  </a:cubicBezTo>
                  <a:cubicBezTo>
                    <a:pt x="58" y="31"/>
                    <a:pt x="57" y="30"/>
                    <a:pt x="56" y="29"/>
                  </a:cubicBezTo>
                  <a:cubicBezTo>
                    <a:pt x="54" y="27"/>
                    <a:pt x="52" y="24"/>
                    <a:pt x="50" y="20"/>
                  </a:cubicBezTo>
                  <a:cubicBezTo>
                    <a:pt x="49" y="19"/>
                    <a:pt x="49" y="18"/>
                    <a:pt x="48" y="17"/>
                  </a:cubicBezTo>
                  <a:cubicBezTo>
                    <a:pt x="47" y="16"/>
                    <a:pt x="47" y="15"/>
                    <a:pt x="46" y="1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lose/>
                  <a:moveTo>
                    <a:pt x="72" y="39"/>
                  </a:moveTo>
                  <a:cubicBezTo>
                    <a:pt x="73" y="42"/>
                    <a:pt x="73" y="42"/>
                    <a:pt x="73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6" y="29"/>
                  </a:moveTo>
                  <a:cubicBezTo>
                    <a:pt x="7" y="19"/>
                    <a:pt x="12" y="12"/>
                    <a:pt x="20" y="6"/>
                  </a:cubicBezTo>
                  <a:cubicBezTo>
                    <a:pt x="14" y="14"/>
                    <a:pt x="10" y="22"/>
                    <a:pt x="9" y="28"/>
                  </a:cubicBezTo>
                  <a:cubicBezTo>
                    <a:pt x="11" y="43"/>
                    <a:pt x="21" y="54"/>
                    <a:pt x="40" y="64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22" y="56"/>
                    <a:pt x="11" y="44"/>
                    <a:pt x="6" y="29"/>
                  </a:cubicBezTo>
                  <a:close/>
                  <a:moveTo>
                    <a:pt x="44" y="82"/>
                  </a:moveTo>
                  <a:cubicBezTo>
                    <a:pt x="38" y="77"/>
                    <a:pt x="33" y="72"/>
                    <a:pt x="30" y="65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7" y="72"/>
                    <a:pt x="41" y="77"/>
                    <a:pt x="47" y="82"/>
                  </a:cubicBezTo>
                  <a:cubicBezTo>
                    <a:pt x="47" y="88"/>
                    <a:pt x="49" y="95"/>
                    <a:pt x="53" y="102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47" y="97"/>
                    <a:pt x="45" y="91"/>
                    <a:pt x="44" y="82"/>
                  </a:cubicBezTo>
                  <a:close/>
                  <a:moveTo>
                    <a:pt x="36" y="24"/>
                  </a:moveTo>
                  <a:cubicBezTo>
                    <a:pt x="56" y="41"/>
                    <a:pt x="56" y="41"/>
                    <a:pt x="56" y="4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36" y="24"/>
                    <a:pt x="36" y="24"/>
                    <a:pt x="36" y="24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39001" name="组合 192"/>
            <p:cNvGrpSpPr/>
            <p:nvPr/>
          </p:nvGrpSpPr>
          <p:grpSpPr bwMode="auto">
            <a:xfrm>
              <a:off x="4945495" y="1711202"/>
              <a:ext cx="874056" cy="1340050"/>
              <a:chOff x="4945495" y="1711202"/>
              <a:chExt cx="874056" cy="1340050"/>
            </a:xfrm>
          </p:grpSpPr>
          <p:sp>
            <p:nvSpPr>
              <p:cNvPr id="39002" name="Freeform 267"/>
              <p:cNvSpPr/>
              <p:nvPr/>
            </p:nvSpPr>
            <p:spPr bwMode="auto">
              <a:xfrm rot="521357">
                <a:off x="4945495" y="2926195"/>
                <a:ext cx="152701" cy="77725"/>
              </a:xfrm>
              <a:custGeom>
                <a:avLst/>
                <a:gdLst>
                  <a:gd name="T0" fmla="*/ 2147483646 w 38"/>
                  <a:gd name="T1" fmla="*/ 2147483646 h 19"/>
                  <a:gd name="T2" fmla="*/ 0 w 38"/>
                  <a:gd name="T3" fmla="*/ 0 h 19"/>
                  <a:gd name="T4" fmla="*/ 2147483646 w 38"/>
                  <a:gd name="T5" fmla="*/ 2147483646 h 19"/>
                  <a:gd name="T6" fmla="*/ 2147483646 w 38"/>
                  <a:gd name="T7" fmla="*/ 2147483646 h 19"/>
                  <a:gd name="T8" fmla="*/ 2147483646 w 38"/>
                  <a:gd name="T9" fmla="*/ 2147483646 h 19"/>
                  <a:gd name="T10" fmla="*/ 2147483646 w 38"/>
                  <a:gd name="T11" fmla="*/ 2147483646 h 19"/>
                  <a:gd name="T12" fmla="*/ 2147483646 w 38"/>
                  <a:gd name="T13" fmla="*/ 2147483646 h 19"/>
                  <a:gd name="T14" fmla="*/ 2147483646 w 38"/>
                  <a:gd name="T15" fmla="*/ 2147483646 h 19"/>
                  <a:gd name="T16" fmla="*/ 2147483646 w 38"/>
                  <a:gd name="T17" fmla="*/ 2147483646 h 19"/>
                  <a:gd name="T18" fmla="*/ 2147483646 w 38"/>
                  <a:gd name="T19" fmla="*/ 2147483646 h 19"/>
                  <a:gd name="T20" fmla="*/ 2147483646 w 38"/>
                  <a:gd name="T21" fmla="*/ 2147483646 h 19"/>
                  <a:gd name="T22" fmla="*/ 2147483646 w 38"/>
                  <a:gd name="T23" fmla="*/ 2147483646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8" h="19">
                    <a:moveTo>
                      <a:pt x="8" y="13"/>
                    </a:moveTo>
                    <a:cubicBezTo>
                      <a:pt x="3" y="11"/>
                      <a:pt x="1" y="6"/>
                      <a:pt x="0" y="0"/>
                    </a:cubicBezTo>
                    <a:cubicBezTo>
                      <a:pt x="7" y="2"/>
                      <a:pt x="13" y="5"/>
                      <a:pt x="19" y="11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6"/>
                      <a:pt x="33" y="7"/>
                      <a:pt x="36" y="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4" y="16"/>
                      <a:pt x="28" y="18"/>
                      <a:pt x="21" y="19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8" y="13"/>
                      <a:pt x="8" y="13"/>
                      <a:pt x="8" y="1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3" name="Freeform 268"/>
              <p:cNvSpPr>
                <a:spLocks noEditPoints="1"/>
              </p:cNvSpPr>
              <p:nvPr/>
            </p:nvSpPr>
            <p:spPr bwMode="auto">
              <a:xfrm rot="521357">
                <a:off x="4993080" y="1711202"/>
                <a:ext cx="130644" cy="162515"/>
              </a:xfrm>
              <a:custGeom>
                <a:avLst/>
                <a:gdLst>
                  <a:gd name="T0" fmla="*/ 2147483646 w 33"/>
                  <a:gd name="T1" fmla="*/ 2147483646 h 39"/>
                  <a:gd name="T2" fmla="*/ 2147483646 w 33"/>
                  <a:gd name="T3" fmla="*/ 2147483646 h 39"/>
                  <a:gd name="T4" fmla="*/ 0 w 33"/>
                  <a:gd name="T5" fmla="*/ 2147483646 h 39"/>
                  <a:gd name="T6" fmla="*/ 2147483646 w 33"/>
                  <a:gd name="T7" fmla="*/ 2147483646 h 39"/>
                  <a:gd name="T8" fmla="*/ 2147483646 w 33"/>
                  <a:gd name="T9" fmla="*/ 2147483646 h 39"/>
                  <a:gd name="T10" fmla="*/ 2147483646 w 33"/>
                  <a:gd name="T11" fmla="*/ 2147483646 h 39"/>
                  <a:gd name="T12" fmla="*/ 2147483646 w 33"/>
                  <a:gd name="T13" fmla="*/ 2147483646 h 39"/>
                  <a:gd name="T14" fmla="*/ 2147483646 w 33"/>
                  <a:gd name="T15" fmla="*/ 2147483646 h 39"/>
                  <a:gd name="T16" fmla="*/ 2147483646 w 33"/>
                  <a:gd name="T17" fmla="*/ 2147483646 h 39"/>
                  <a:gd name="T18" fmla="*/ 2147483646 w 33"/>
                  <a:gd name="T19" fmla="*/ 2147483646 h 39"/>
                  <a:gd name="T20" fmla="*/ 2147483646 w 33"/>
                  <a:gd name="T21" fmla="*/ 2147483646 h 39"/>
                  <a:gd name="T22" fmla="*/ 2147483646 w 33"/>
                  <a:gd name="T23" fmla="*/ 2147483646 h 39"/>
                  <a:gd name="T24" fmla="*/ 2147483646 w 33"/>
                  <a:gd name="T25" fmla="*/ 2147483646 h 39"/>
                  <a:gd name="T26" fmla="*/ 2147483646 w 33"/>
                  <a:gd name="T27" fmla="*/ 2147483646 h 39"/>
                  <a:gd name="T28" fmla="*/ 2147483646 w 33"/>
                  <a:gd name="T29" fmla="*/ 2147483646 h 39"/>
                  <a:gd name="T30" fmla="*/ 2147483646 w 33"/>
                  <a:gd name="T31" fmla="*/ 2147483646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3" h="39">
                    <a:moveTo>
                      <a:pt x="11" y="1"/>
                    </a:moveTo>
                    <a:cubicBezTo>
                      <a:pt x="7" y="2"/>
                      <a:pt x="5" y="6"/>
                      <a:pt x="3" y="1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5"/>
                      <a:pt x="3" y="30"/>
                      <a:pt x="9" y="35"/>
                    </a:cubicBezTo>
                    <a:cubicBezTo>
                      <a:pt x="10" y="35"/>
                      <a:pt x="11" y="35"/>
                      <a:pt x="12" y="35"/>
                    </a:cubicBezTo>
                    <a:cubicBezTo>
                      <a:pt x="14" y="35"/>
                      <a:pt x="16" y="36"/>
                      <a:pt x="18" y="39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4" y="24"/>
                      <a:pt x="16" y="17"/>
                      <a:pt x="21" y="11"/>
                    </a:cubicBezTo>
                    <a:cubicBezTo>
                      <a:pt x="26" y="12"/>
                      <a:pt x="30" y="11"/>
                      <a:pt x="33" y="9"/>
                    </a:cubicBezTo>
                    <a:cubicBezTo>
                      <a:pt x="27" y="3"/>
                      <a:pt x="20" y="0"/>
                      <a:pt x="11" y="1"/>
                    </a:cubicBezTo>
                    <a:close/>
                    <a:moveTo>
                      <a:pt x="11" y="3"/>
                    </a:moveTo>
                    <a:cubicBezTo>
                      <a:pt x="7" y="6"/>
                      <a:pt x="5" y="12"/>
                      <a:pt x="5" y="21"/>
                    </a:cubicBezTo>
                    <a:cubicBezTo>
                      <a:pt x="4" y="25"/>
                      <a:pt x="5" y="29"/>
                      <a:pt x="9" y="33"/>
                    </a:cubicBezTo>
                    <a:cubicBezTo>
                      <a:pt x="4" y="30"/>
                      <a:pt x="2" y="26"/>
                      <a:pt x="2" y="21"/>
                    </a:cubicBezTo>
                    <a:cubicBezTo>
                      <a:pt x="3" y="11"/>
                      <a:pt x="6" y="5"/>
                      <a:pt x="11" y="3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4" name="Freeform 269"/>
              <p:cNvSpPr/>
              <p:nvPr/>
            </p:nvSpPr>
            <p:spPr bwMode="auto">
              <a:xfrm rot="521357">
                <a:off x="5001259" y="1717614"/>
                <a:ext cx="37326" cy="125421"/>
              </a:xfrm>
              <a:custGeom>
                <a:avLst/>
                <a:gdLst>
                  <a:gd name="T0" fmla="*/ 2147483646 w 9"/>
                  <a:gd name="T1" fmla="*/ 2147483646 h 30"/>
                  <a:gd name="T2" fmla="*/ 2147483646 w 9"/>
                  <a:gd name="T3" fmla="*/ 0 h 30"/>
                  <a:gd name="T4" fmla="*/ 0 w 9"/>
                  <a:gd name="T5" fmla="*/ 2147483646 h 30"/>
                  <a:gd name="T6" fmla="*/ 2147483646 w 9"/>
                  <a:gd name="T7" fmla="*/ 2147483646 h 30"/>
                  <a:gd name="T8" fmla="*/ 2147483646 w 9"/>
                  <a:gd name="T9" fmla="*/ 2147483646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30">
                    <a:moveTo>
                      <a:pt x="3" y="18"/>
                    </a:moveTo>
                    <a:cubicBezTo>
                      <a:pt x="3" y="9"/>
                      <a:pt x="5" y="3"/>
                      <a:pt x="9" y="0"/>
                    </a:cubicBezTo>
                    <a:cubicBezTo>
                      <a:pt x="4" y="2"/>
                      <a:pt x="1" y="8"/>
                      <a:pt x="0" y="18"/>
                    </a:cubicBezTo>
                    <a:cubicBezTo>
                      <a:pt x="0" y="23"/>
                      <a:pt x="2" y="27"/>
                      <a:pt x="7" y="30"/>
                    </a:cubicBezTo>
                    <a:cubicBezTo>
                      <a:pt x="3" y="26"/>
                      <a:pt x="2" y="22"/>
                      <a:pt x="3" y="18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5" name="Freeform 270"/>
              <p:cNvSpPr/>
              <p:nvPr/>
            </p:nvSpPr>
            <p:spPr bwMode="auto">
              <a:xfrm rot="521357">
                <a:off x="5031740" y="1785261"/>
                <a:ext cx="135734" cy="137785"/>
              </a:xfrm>
              <a:custGeom>
                <a:avLst/>
                <a:gdLst>
                  <a:gd name="T0" fmla="*/ 2147483646 w 34"/>
                  <a:gd name="T1" fmla="*/ 2147483646 h 33"/>
                  <a:gd name="T2" fmla="*/ 0 w 34"/>
                  <a:gd name="T3" fmla="*/ 2147483646 h 33"/>
                  <a:gd name="T4" fmla="*/ 2147483646 w 34"/>
                  <a:gd name="T5" fmla="*/ 2147483646 h 33"/>
                  <a:gd name="T6" fmla="*/ 2147483646 w 34"/>
                  <a:gd name="T7" fmla="*/ 2147483646 h 33"/>
                  <a:gd name="T8" fmla="*/ 2147483646 w 34"/>
                  <a:gd name="T9" fmla="*/ 2147483646 h 33"/>
                  <a:gd name="T10" fmla="*/ 2147483646 w 34"/>
                  <a:gd name="T11" fmla="*/ 2147483646 h 33"/>
                  <a:gd name="T12" fmla="*/ 2147483646 w 34"/>
                  <a:gd name="T13" fmla="*/ 2147483646 h 33"/>
                  <a:gd name="T14" fmla="*/ 2147483646 w 34"/>
                  <a:gd name="T15" fmla="*/ 2147483646 h 33"/>
                  <a:gd name="T16" fmla="*/ 2147483646 w 34"/>
                  <a:gd name="T17" fmla="*/ 2147483646 h 33"/>
                  <a:gd name="T18" fmla="*/ 2147483646 w 34"/>
                  <a:gd name="T19" fmla="*/ 2147483646 h 33"/>
                  <a:gd name="T20" fmla="*/ 2147483646 w 34"/>
                  <a:gd name="T21" fmla="*/ 2147483646 h 33"/>
                  <a:gd name="T22" fmla="*/ 2147483646 w 34"/>
                  <a:gd name="T23" fmla="*/ 0 h 33"/>
                  <a:gd name="T24" fmla="*/ 2147483646 w 34"/>
                  <a:gd name="T25" fmla="*/ 2147483646 h 33"/>
                  <a:gd name="T26" fmla="*/ 2147483646 w 34"/>
                  <a:gd name="T27" fmla="*/ 2147483646 h 33"/>
                  <a:gd name="T28" fmla="*/ 2147483646 w 34"/>
                  <a:gd name="T29" fmla="*/ 2147483646 h 33"/>
                  <a:gd name="T30" fmla="*/ 2147483646 w 34"/>
                  <a:gd name="T31" fmla="*/ 2147483646 h 33"/>
                  <a:gd name="T32" fmla="*/ 2147483646 w 34"/>
                  <a:gd name="T33" fmla="*/ 2147483646 h 33"/>
                  <a:gd name="T34" fmla="*/ 2147483646 w 34"/>
                  <a:gd name="T35" fmla="*/ 2147483646 h 33"/>
                  <a:gd name="T36" fmla="*/ 2147483646 w 34"/>
                  <a:gd name="T37" fmla="*/ 2147483646 h 3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33">
                    <a:moveTo>
                      <a:pt x="6" y="23"/>
                    </a:moveTo>
                    <a:cubicBezTo>
                      <a:pt x="4" y="20"/>
                      <a:pt x="2" y="19"/>
                      <a:pt x="0" y="19"/>
                    </a:cubicBezTo>
                    <a:cubicBezTo>
                      <a:pt x="0" y="22"/>
                      <a:pt x="2" y="24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2" y="30"/>
                      <a:pt x="13" y="31"/>
                      <a:pt x="14" y="31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4" y="30"/>
                      <a:pt x="17" y="31"/>
                      <a:pt x="19" y="32"/>
                    </a:cubicBezTo>
                    <a:cubicBezTo>
                      <a:pt x="25" y="33"/>
                      <a:pt x="30" y="31"/>
                      <a:pt x="32" y="26"/>
                    </a:cubicBezTo>
                    <a:cubicBezTo>
                      <a:pt x="34" y="22"/>
                      <a:pt x="33" y="18"/>
                      <a:pt x="31" y="14"/>
                    </a:cubicBezTo>
                    <a:cubicBezTo>
                      <a:pt x="28" y="11"/>
                      <a:pt x="27" y="8"/>
                      <a:pt x="28" y="4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3" y="2"/>
                      <a:pt x="10" y="4"/>
                      <a:pt x="8" y="7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6" name="Freeform 271"/>
              <p:cNvSpPr/>
              <p:nvPr/>
            </p:nvSpPr>
            <p:spPr bwMode="auto">
              <a:xfrm rot="521357">
                <a:off x="5037092" y="1712559"/>
                <a:ext cx="106891" cy="166049"/>
              </a:xfrm>
              <a:custGeom>
                <a:avLst/>
                <a:gdLst>
                  <a:gd name="T0" fmla="*/ 2147483646 w 27"/>
                  <a:gd name="T1" fmla="*/ 2147483646 h 40"/>
                  <a:gd name="T2" fmla="*/ 2147483646 w 27"/>
                  <a:gd name="T3" fmla="*/ 2147483646 h 40"/>
                  <a:gd name="T4" fmla="*/ 2147483646 w 27"/>
                  <a:gd name="T5" fmla="*/ 2147483646 h 40"/>
                  <a:gd name="T6" fmla="*/ 2147483646 w 27"/>
                  <a:gd name="T7" fmla="*/ 2147483646 h 40"/>
                  <a:gd name="T8" fmla="*/ 2147483646 w 27"/>
                  <a:gd name="T9" fmla="*/ 2147483646 h 40"/>
                  <a:gd name="T10" fmla="*/ 2147483646 w 27"/>
                  <a:gd name="T11" fmla="*/ 2147483646 h 40"/>
                  <a:gd name="T12" fmla="*/ 2147483646 w 27"/>
                  <a:gd name="T13" fmla="*/ 2147483646 h 40"/>
                  <a:gd name="T14" fmla="*/ 2147483646 w 27"/>
                  <a:gd name="T15" fmla="*/ 2147483646 h 40"/>
                  <a:gd name="T16" fmla="*/ 2147483646 w 27"/>
                  <a:gd name="T17" fmla="*/ 2147483646 h 40"/>
                  <a:gd name="T18" fmla="*/ 0 w 27"/>
                  <a:gd name="T19" fmla="*/ 2147483646 h 40"/>
                  <a:gd name="T20" fmla="*/ 2147483646 w 27"/>
                  <a:gd name="T21" fmla="*/ 2147483646 h 40"/>
                  <a:gd name="T22" fmla="*/ 2147483646 w 27"/>
                  <a:gd name="T23" fmla="*/ 2147483646 h 40"/>
                  <a:gd name="T24" fmla="*/ 2147483646 w 27"/>
                  <a:gd name="T25" fmla="*/ 2147483646 h 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" h="40">
                    <a:moveTo>
                      <a:pt x="3" y="32"/>
                    </a:moveTo>
                    <a:cubicBezTo>
                      <a:pt x="7" y="40"/>
                      <a:pt x="7" y="40"/>
                      <a:pt x="7" y="40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3"/>
                      <a:pt x="8" y="20"/>
                      <a:pt x="13" y="17"/>
                    </a:cubicBezTo>
                    <a:cubicBezTo>
                      <a:pt x="18" y="17"/>
                      <a:pt x="22" y="16"/>
                      <a:pt x="26" y="13"/>
                    </a:cubicBezTo>
                    <a:cubicBezTo>
                      <a:pt x="26" y="13"/>
                      <a:pt x="27" y="12"/>
                      <a:pt x="27" y="12"/>
                    </a:cubicBezTo>
                    <a:cubicBezTo>
                      <a:pt x="24" y="7"/>
                      <a:pt x="20" y="3"/>
                      <a:pt x="13" y="1"/>
                    </a:cubicBezTo>
                    <a:cubicBezTo>
                      <a:pt x="8" y="0"/>
                      <a:pt x="4" y="0"/>
                      <a:pt x="0" y="2"/>
                    </a:cubicBezTo>
                    <a:cubicBezTo>
                      <a:pt x="9" y="1"/>
                      <a:pt x="16" y="4"/>
                      <a:pt x="22" y="10"/>
                    </a:cubicBezTo>
                    <a:cubicBezTo>
                      <a:pt x="19" y="12"/>
                      <a:pt x="15" y="13"/>
                      <a:pt x="10" y="12"/>
                    </a:cubicBezTo>
                    <a:cubicBezTo>
                      <a:pt x="5" y="18"/>
                      <a:pt x="3" y="25"/>
                      <a:pt x="3" y="3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7" name="Freeform 272"/>
              <p:cNvSpPr/>
              <p:nvPr/>
            </p:nvSpPr>
            <p:spPr bwMode="auto">
              <a:xfrm rot="521357">
                <a:off x="5047941" y="1769472"/>
                <a:ext cx="128947" cy="158982"/>
              </a:xfrm>
              <a:custGeom>
                <a:avLst/>
                <a:gdLst>
                  <a:gd name="T0" fmla="*/ 0 w 32"/>
                  <a:gd name="T1" fmla="*/ 2147483646 h 38"/>
                  <a:gd name="T2" fmla="*/ 2147483646 w 32"/>
                  <a:gd name="T3" fmla="*/ 2147483646 h 38"/>
                  <a:gd name="T4" fmla="*/ 2147483646 w 32"/>
                  <a:gd name="T5" fmla="*/ 2147483646 h 38"/>
                  <a:gd name="T6" fmla="*/ 2147483646 w 32"/>
                  <a:gd name="T7" fmla="*/ 2147483646 h 38"/>
                  <a:gd name="T8" fmla="*/ 2147483646 w 32"/>
                  <a:gd name="T9" fmla="*/ 2147483646 h 38"/>
                  <a:gd name="T10" fmla="*/ 2147483646 w 32"/>
                  <a:gd name="T11" fmla="*/ 2147483646 h 38"/>
                  <a:gd name="T12" fmla="*/ 2147483646 w 32"/>
                  <a:gd name="T13" fmla="*/ 2147483646 h 38"/>
                  <a:gd name="T14" fmla="*/ 2147483646 w 32"/>
                  <a:gd name="T15" fmla="*/ 2147483646 h 38"/>
                  <a:gd name="T16" fmla="*/ 2147483646 w 32"/>
                  <a:gd name="T17" fmla="*/ 2147483646 h 38"/>
                  <a:gd name="T18" fmla="*/ 2147483646 w 32"/>
                  <a:gd name="T19" fmla="*/ 2147483646 h 38"/>
                  <a:gd name="T20" fmla="*/ 2147483646 w 32"/>
                  <a:gd name="T21" fmla="*/ 2147483646 h 38"/>
                  <a:gd name="T22" fmla="*/ 2147483646 w 32"/>
                  <a:gd name="T23" fmla="*/ 2147483646 h 38"/>
                  <a:gd name="T24" fmla="*/ 2147483646 w 32"/>
                  <a:gd name="T25" fmla="*/ 2147483646 h 38"/>
                  <a:gd name="T26" fmla="*/ 2147483646 w 32"/>
                  <a:gd name="T27" fmla="*/ 2147483646 h 38"/>
                  <a:gd name="T28" fmla="*/ 2147483646 w 32"/>
                  <a:gd name="T29" fmla="*/ 2147483646 h 38"/>
                  <a:gd name="T30" fmla="*/ 2147483646 w 32"/>
                  <a:gd name="T31" fmla="*/ 2147483646 h 38"/>
                  <a:gd name="T32" fmla="*/ 2147483646 w 32"/>
                  <a:gd name="T33" fmla="*/ 2147483646 h 38"/>
                  <a:gd name="T34" fmla="*/ 2147483646 w 32"/>
                  <a:gd name="T35" fmla="*/ 2147483646 h 38"/>
                  <a:gd name="T36" fmla="*/ 2147483646 w 32"/>
                  <a:gd name="T37" fmla="*/ 2147483646 h 38"/>
                  <a:gd name="T38" fmla="*/ 2147483646 w 32"/>
                  <a:gd name="T39" fmla="*/ 2147483646 h 38"/>
                  <a:gd name="T40" fmla="*/ 2147483646 w 32"/>
                  <a:gd name="T41" fmla="*/ 2147483646 h 38"/>
                  <a:gd name="T42" fmla="*/ 2147483646 w 32"/>
                  <a:gd name="T43" fmla="*/ 2147483646 h 38"/>
                  <a:gd name="T44" fmla="*/ 2147483646 w 32"/>
                  <a:gd name="T45" fmla="*/ 2147483646 h 38"/>
                  <a:gd name="T46" fmla="*/ 2147483646 w 32"/>
                  <a:gd name="T47" fmla="*/ 2147483646 h 38"/>
                  <a:gd name="T48" fmla="*/ 2147483646 w 32"/>
                  <a:gd name="T49" fmla="*/ 2147483646 h 38"/>
                  <a:gd name="T50" fmla="*/ 2147483646 w 32"/>
                  <a:gd name="T51" fmla="*/ 0 h 38"/>
                  <a:gd name="T52" fmla="*/ 2147483646 w 32"/>
                  <a:gd name="T53" fmla="*/ 2147483646 h 38"/>
                  <a:gd name="T54" fmla="*/ 2147483646 w 32"/>
                  <a:gd name="T55" fmla="*/ 2147483646 h 38"/>
                  <a:gd name="T56" fmla="*/ 0 w 32"/>
                  <a:gd name="T57" fmla="*/ 2147483646 h 3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2" h="38">
                    <a:moveTo>
                      <a:pt x="0" y="19"/>
                    </a:moveTo>
                    <a:cubicBezTo>
                      <a:pt x="3" y="26"/>
                      <a:pt x="3" y="26"/>
                      <a:pt x="3" y="26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6" y="8"/>
                      <a:pt x="9" y="6"/>
                      <a:pt x="1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3" y="12"/>
                      <a:pt x="24" y="15"/>
                      <a:pt x="27" y="18"/>
                    </a:cubicBezTo>
                    <a:cubicBezTo>
                      <a:pt x="29" y="22"/>
                      <a:pt x="30" y="26"/>
                      <a:pt x="28" y="30"/>
                    </a:cubicBezTo>
                    <a:cubicBezTo>
                      <a:pt x="26" y="35"/>
                      <a:pt x="21" y="37"/>
                      <a:pt x="15" y="36"/>
                    </a:cubicBezTo>
                    <a:cubicBezTo>
                      <a:pt x="13" y="35"/>
                      <a:pt x="10" y="34"/>
                      <a:pt x="8" y="31"/>
                    </a:cubicBezTo>
                    <a:cubicBezTo>
                      <a:pt x="10" y="35"/>
                      <a:pt x="10" y="35"/>
                      <a:pt x="10" y="35"/>
                    </a:cubicBezTo>
                    <a:cubicBezTo>
                      <a:pt x="12" y="36"/>
                      <a:pt x="15" y="37"/>
                      <a:pt x="18" y="37"/>
                    </a:cubicBezTo>
                    <a:cubicBezTo>
                      <a:pt x="18" y="38"/>
                      <a:pt x="18" y="38"/>
                      <a:pt x="19" y="38"/>
                    </a:cubicBezTo>
                    <a:cubicBezTo>
                      <a:pt x="20" y="38"/>
                      <a:pt x="21" y="38"/>
                      <a:pt x="23" y="38"/>
                    </a:cubicBezTo>
                    <a:cubicBezTo>
                      <a:pt x="23" y="38"/>
                      <a:pt x="24" y="38"/>
                      <a:pt x="25" y="37"/>
                    </a:cubicBezTo>
                    <a:cubicBezTo>
                      <a:pt x="25" y="37"/>
                      <a:pt x="26" y="37"/>
                      <a:pt x="26" y="37"/>
                    </a:cubicBezTo>
                    <a:cubicBezTo>
                      <a:pt x="27" y="36"/>
                      <a:pt x="28" y="36"/>
                      <a:pt x="29" y="35"/>
                    </a:cubicBezTo>
                    <a:cubicBezTo>
                      <a:pt x="30" y="34"/>
                      <a:pt x="31" y="33"/>
                      <a:pt x="31" y="32"/>
                    </a:cubicBezTo>
                    <a:cubicBezTo>
                      <a:pt x="32" y="30"/>
                      <a:pt x="32" y="29"/>
                      <a:pt x="32" y="27"/>
                    </a:cubicBezTo>
                    <a:cubicBezTo>
                      <a:pt x="32" y="26"/>
                      <a:pt x="32" y="26"/>
                      <a:pt x="32" y="25"/>
                    </a:cubicBezTo>
                    <a:cubicBezTo>
                      <a:pt x="32" y="23"/>
                      <a:pt x="31" y="20"/>
                      <a:pt x="30" y="18"/>
                    </a:cubicBezTo>
                    <a:cubicBezTo>
                      <a:pt x="29" y="17"/>
                      <a:pt x="29" y="16"/>
                      <a:pt x="28" y="15"/>
                    </a:cubicBezTo>
                    <a:cubicBezTo>
                      <a:pt x="26" y="13"/>
                      <a:pt x="25" y="11"/>
                      <a:pt x="25" y="8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3"/>
                      <a:pt x="13" y="4"/>
                      <a:pt x="8" y="4"/>
                    </a:cubicBezTo>
                    <a:cubicBezTo>
                      <a:pt x="3" y="7"/>
                      <a:pt x="1" y="10"/>
                      <a:pt x="1" y="13"/>
                    </a:cubicBezTo>
                    <a:cubicBezTo>
                      <a:pt x="0" y="19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8" name="Freeform 273"/>
              <p:cNvSpPr>
                <a:spLocks noEditPoints="1"/>
              </p:cNvSpPr>
              <p:nvPr/>
            </p:nvSpPr>
            <p:spPr bwMode="auto">
              <a:xfrm rot="521357">
                <a:off x="5155790" y="1859572"/>
                <a:ext cx="412293" cy="183713"/>
              </a:xfrm>
              <a:custGeom>
                <a:avLst/>
                <a:gdLst>
                  <a:gd name="T0" fmla="*/ 2147483646 w 103"/>
                  <a:gd name="T1" fmla="*/ 2147483646 h 44"/>
                  <a:gd name="T2" fmla="*/ 2147483646 w 103"/>
                  <a:gd name="T3" fmla="*/ 2147483646 h 44"/>
                  <a:gd name="T4" fmla="*/ 0 w 103"/>
                  <a:gd name="T5" fmla="*/ 2147483646 h 44"/>
                  <a:gd name="T6" fmla="*/ 2147483646 w 103"/>
                  <a:gd name="T7" fmla="*/ 2147483646 h 44"/>
                  <a:gd name="T8" fmla="*/ 2147483646 w 103"/>
                  <a:gd name="T9" fmla="*/ 2147483646 h 44"/>
                  <a:gd name="T10" fmla="*/ 2147483646 w 103"/>
                  <a:gd name="T11" fmla="*/ 2147483646 h 44"/>
                  <a:gd name="T12" fmla="*/ 2147483646 w 103"/>
                  <a:gd name="T13" fmla="*/ 2147483646 h 44"/>
                  <a:gd name="T14" fmla="*/ 2147483646 w 103"/>
                  <a:gd name="T15" fmla="*/ 2147483646 h 44"/>
                  <a:gd name="T16" fmla="*/ 2147483646 w 103"/>
                  <a:gd name="T17" fmla="*/ 2147483646 h 44"/>
                  <a:gd name="T18" fmla="*/ 2147483646 w 103"/>
                  <a:gd name="T19" fmla="*/ 2147483646 h 44"/>
                  <a:gd name="T20" fmla="*/ 2147483646 w 103"/>
                  <a:gd name="T21" fmla="*/ 2147483646 h 44"/>
                  <a:gd name="T22" fmla="*/ 2147483646 w 103"/>
                  <a:gd name="T23" fmla="*/ 2147483646 h 44"/>
                  <a:gd name="T24" fmla="*/ 2147483646 w 103"/>
                  <a:gd name="T25" fmla="*/ 2147483646 h 44"/>
                  <a:gd name="T26" fmla="*/ 2147483646 w 103"/>
                  <a:gd name="T27" fmla="*/ 2147483646 h 44"/>
                  <a:gd name="T28" fmla="*/ 2147483646 w 103"/>
                  <a:gd name="T29" fmla="*/ 2147483646 h 44"/>
                  <a:gd name="T30" fmla="*/ 2147483646 w 103"/>
                  <a:gd name="T31" fmla="*/ 2147483646 h 44"/>
                  <a:gd name="T32" fmla="*/ 2147483646 w 103"/>
                  <a:gd name="T33" fmla="*/ 2147483646 h 44"/>
                  <a:gd name="T34" fmla="*/ 2147483646 w 103"/>
                  <a:gd name="T35" fmla="*/ 2147483646 h 44"/>
                  <a:gd name="T36" fmla="*/ 2147483646 w 103"/>
                  <a:gd name="T37" fmla="*/ 2147483646 h 44"/>
                  <a:gd name="T38" fmla="*/ 2147483646 w 103"/>
                  <a:gd name="T39" fmla="*/ 2147483646 h 44"/>
                  <a:gd name="T40" fmla="*/ 2147483646 w 103"/>
                  <a:gd name="T41" fmla="*/ 2147483646 h 44"/>
                  <a:gd name="T42" fmla="*/ 2147483646 w 103"/>
                  <a:gd name="T43" fmla="*/ 2147483646 h 44"/>
                  <a:gd name="T44" fmla="*/ 2147483646 w 103"/>
                  <a:gd name="T45" fmla="*/ 2147483646 h 44"/>
                  <a:gd name="T46" fmla="*/ 2147483646 w 103"/>
                  <a:gd name="T47" fmla="*/ 2147483646 h 44"/>
                  <a:gd name="T48" fmla="*/ 2147483646 w 103"/>
                  <a:gd name="T49" fmla="*/ 2147483646 h 44"/>
                  <a:gd name="T50" fmla="*/ 2147483646 w 103"/>
                  <a:gd name="T51" fmla="*/ 2147483646 h 44"/>
                  <a:gd name="T52" fmla="*/ 2147483646 w 103"/>
                  <a:gd name="T53" fmla="*/ 2147483646 h 44"/>
                  <a:gd name="T54" fmla="*/ 2147483646 w 103"/>
                  <a:gd name="T55" fmla="*/ 2147483646 h 4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03" h="44">
                    <a:moveTo>
                      <a:pt x="30" y="10"/>
                    </a:moveTo>
                    <a:cubicBezTo>
                      <a:pt x="27" y="3"/>
                      <a:pt x="23" y="0"/>
                      <a:pt x="18" y="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8"/>
                      <a:pt x="2" y="11"/>
                      <a:pt x="2" y="13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9" y="27"/>
                      <a:pt x="22" y="35"/>
                      <a:pt x="24" y="44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103" y="13"/>
                      <a:pt x="103" y="13"/>
                      <a:pt x="103" y="13"/>
                    </a:cubicBezTo>
                    <a:cubicBezTo>
                      <a:pt x="103" y="10"/>
                      <a:pt x="103" y="10"/>
                      <a:pt x="103" y="10"/>
                    </a:cubicBezTo>
                    <a:cubicBezTo>
                      <a:pt x="103" y="2"/>
                      <a:pt x="103" y="2"/>
                      <a:pt x="103" y="2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65" y="12"/>
                      <a:pt x="60" y="12"/>
                      <a:pt x="53" y="14"/>
                    </a:cubicBezTo>
                    <a:cubicBezTo>
                      <a:pt x="30" y="10"/>
                      <a:pt x="30" y="10"/>
                      <a:pt x="30" y="10"/>
                    </a:cubicBezTo>
                    <a:close/>
                    <a:moveTo>
                      <a:pt x="28" y="11"/>
                    </a:moveTo>
                    <a:cubicBezTo>
                      <a:pt x="29" y="12"/>
                      <a:pt x="29" y="12"/>
                      <a:pt x="29" y="12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59" y="14"/>
                      <a:pt x="64" y="14"/>
                      <a:pt x="68" y="15"/>
                    </a:cubicBezTo>
                    <a:cubicBezTo>
                      <a:pt x="101" y="4"/>
                      <a:pt x="101" y="4"/>
                      <a:pt x="101" y="4"/>
                    </a:cubicBezTo>
                    <a:cubicBezTo>
                      <a:pt x="101" y="8"/>
                      <a:pt x="101" y="8"/>
                      <a:pt x="101" y="8"/>
                    </a:cubicBezTo>
                    <a:cubicBezTo>
                      <a:pt x="68" y="17"/>
                      <a:pt x="68" y="17"/>
                      <a:pt x="68" y="17"/>
                    </a:cubicBezTo>
                    <a:cubicBezTo>
                      <a:pt x="64" y="17"/>
                      <a:pt x="59" y="17"/>
                      <a:pt x="53" y="19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4" y="7"/>
                      <a:pt x="15" y="5"/>
                      <a:pt x="3" y="9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6" y="1"/>
                      <a:pt x="25" y="3"/>
                      <a:pt x="28" y="11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9" name="Freeform 274"/>
              <p:cNvSpPr/>
              <p:nvPr/>
            </p:nvSpPr>
            <p:spPr bwMode="auto">
              <a:xfrm rot="521357">
                <a:off x="5172001" y="1863821"/>
                <a:ext cx="397022" cy="74192"/>
              </a:xfrm>
              <a:custGeom>
                <a:avLst/>
                <a:gdLst>
                  <a:gd name="T0" fmla="*/ 2147483646 w 99"/>
                  <a:gd name="T1" fmla="*/ 2147483646 h 18"/>
                  <a:gd name="T2" fmla="*/ 2147483646 w 99"/>
                  <a:gd name="T3" fmla="*/ 2147483646 h 18"/>
                  <a:gd name="T4" fmla="*/ 0 w 99"/>
                  <a:gd name="T5" fmla="*/ 2147483646 h 18"/>
                  <a:gd name="T6" fmla="*/ 2147483646 w 99"/>
                  <a:gd name="T7" fmla="*/ 2147483646 h 18"/>
                  <a:gd name="T8" fmla="*/ 2147483646 w 99"/>
                  <a:gd name="T9" fmla="*/ 2147483646 h 18"/>
                  <a:gd name="T10" fmla="*/ 2147483646 w 99"/>
                  <a:gd name="T11" fmla="*/ 2147483646 h 18"/>
                  <a:gd name="T12" fmla="*/ 2147483646 w 99"/>
                  <a:gd name="T13" fmla="*/ 2147483646 h 18"/>
                  <a:gd name="T14" fmla="*/ 2147483646 w 99"/>
                  <a:gd name="T15" fmla="*/ 2147483646 h 18"/>
                  <a:gd name="T16" fmla="*/ 2147483646 w 99"/>
                  <a:gd name="T17" fmla="*/ 2147483646 h 18"/>
                  <a:gd name="T18" fmla="*/ 2147483646 w 99"/>
                  <a:gd name="T19" fmla="*/ 2147483646 h 18"/>
                  <a:gd name="T20" fmla="*/ 2147483646 w 99"/>
                  <a:gd name="T21" fmla="*/ 2147483646 h 18"/>
                  <a:gd name="T22" fmla="*/ 2147483646 w 99"/>
                  <a:gd name="T23" fmla="*/ 2147483646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99" h="18">
                    <a:moveTo>
                      <a:pt x="27" y="11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3" y="2"/>
                      <a:pt x="14" y="0"/>
                      <a:pt x="0" y="6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3" y="4"/>
                      <a:pt x="22" y="6"/>
                      <a:pt x="26" y="1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57" y="16"/>
                      <a:pt x="62" y="16"/>
                      <a:pt x="66" y="16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2" y="13"/>
                      <a:pt x="57" y="13"/>
                      <a:pt x="51" y="15"/>
                    </a:cubicBezTo>
                    <a:cubicBezTo>
                      <a:pt x="27" y="11"/>
                      <a:pt x="27" y="11"/>
                      <a:pt x="27" y="11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0" name="Freeform 275"/>
              <p:cNvSpPr/>
              <p:nvPr/>
            </p:nvSpPr>
            <p:spPr bwMode="auto">
              <a:xfrm rot="521357">
                <a:off x="5126512" y="1927473"/>
                <a:ext cx="100105" cy="137785"/>
              </a:xfrm>
              <a:custGeom>
                <a:avLst/>
                <a:gdLst>
                  <a:gd name="T0" fmla="*/ 2147483646 w 25"/>
                  <a:gd name="T1" fmla="*/ 2147483646 h 33"/>
                  <a:gd name="T2" fmla="*/ 0 w 25"/>
                  <a:gd name="T3" fmla="*/ 2147483646 h 33"/>
                  <a:gd name="T4" fmla="*/ 2147483646 w 25"/>
                  <a:gd name="T5" fmla="*/ 2147483646 h 33"/>
                  <a:gd name="T6" fmla="*/ 2147483646 w 25"/>
                  <a:gd name="T7" fmla="*/ 2147483646 h 33"/>
                  <a:gd name="T8" fmla="*/ 2147483646 w 25"/>
                  <a:gd name="T9" fmla="*/ 2147483646 h 33"/>
                  <a:gd name="T10" fmla="*/ 2147483646 w 25"/>
                  <a:gd name="T11" fmla="*/ 2147483646 h 33"/>
                  <a:gd name="T12" fmla="*/ 2147483646 w 25"/>
                  <a:gd name="T13" fmla="*/ 2147483646 h 33"/>
                  <a:gd name="T14" fmla="*/ 2147483646 w 25"/>
                  <a:gd name="T15" fmla="*/ 2147483646 h 33"/>
                  <a:gd name="T16" fmla="*/ 2147483646 w 25"/>
                  <a:gd name="T17" fmla="*/ 2147483646 h 33"/>
                  <a:gd name="T18" fmla="*/ 2147483646 w 25"/>
                  <a:gd name="T19" fmla="*/ 2147483646 h 33"/>
                  <a:gd name="T20" fmla="*/ 2147483646 w 25"/>
                  <a:gd name="T21" fmla="*/ 2147483646 h 33"/>
                  <a:gd name="T22" fmla="*/ 2147483646 w 25"/>
                  <a:gd name="T23" fmla="*/ 2147483646 h 33"/>
                  <a:gd name="T24" fmla="*/ 2147483646 w 25"/>
                  <a:gd name="T25" fmla="*/ 0 h 33"/>
                  <a:gd name="T26" fmla="*/ 2147483646 w 25"/>
                  <a:gd name="T27" fmla="*/ 2147483646 h 3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5" h="33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5" y="28"/>
                      <a:pt x="25" y="28"/>
                      <a:pt x="24" y="24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rgbClr val="7F19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1" name="Freeform 276"/>
              <p:cNvSpPr/>
              <p:nvPr/>
            </p:nvSpPr>
            <p:spPr bwMode="auto">
              <a:xfrm rot="521357">
                <a:off x="5169628" y="1913618"/>
                <a:ext cx="391933" cy="162515"/>
              </a:xfrm>
              <a:custGeom>
                <a:avLst/>
                <a:gdLst>
                  <a:gd name="T0" fmla="*/ 2147483646 w 98"/>
                  <a:gd name="T1" fmla="*/ 2147483646 h 39"/>
                  <a:gd name="T2" fmla="*/ 0 w 98"/>
                  <a:gd name="T3" fmla="*/ 2147483646 h 39"/>
                  <a:gd name="T4" fmla="*/ 2147483646 w 98"/>
                  <a:gd name="T5" fmla="*/ 2147483646 h 39"/>
                  <a:gd name="T6" fmla="*/ 2147483646 w 98"/>
                  <a:gd name="T7" fmla="*/ 2147483646 h 39"/>
                  <a:gd name="T8" fmla="*/ 2147483646 w 98"/>
                  <a:gd name="T9" fmla="*/ 2147483646 h 39"/>
                  <a:gd name="T10" fmla="*/ 2147483646 w 98"/>
                  <a:gd name="T11" fmla="*/ 2147483646 h 39"/>
                  <a:gd name="T12" fmla="*/ 2147483646 w 98"/>
                  <a:gd name="T13" fmla="*/ 2147483646 h 39"/>
                  <a:gd name="T14" fmla="*/ 2147483646 w 98"/>
                  <a:gd name="T15" fmla="*/ 2147483646 h 39"/>
                  <a:gd name="T16" fmla="*/ 2147483646 w 98"/>
                  <a:gd name="T17" fmla="*/ 2147483646 h 39"/>
                  <a:gd name="T18" fmla="*/ 2147483646 w 98"/>
                  <a:gd name="T19" fmla="*/ 2147483646 h 39"/>
                  <a:gd name="T20" fmla="*/ 2147483646 w 98"/>
                  <a:gd name="T21" fmla="*/ 0 h 39"/>
                  <a:gd name="T22" fmla="*/ 2147483646 w 98"/>
                  <a:gd name="T23" fmla="*/ 2147483646 h 39"/>
                  <a:gd name="T24" fmla="*/ 2147483646 w 98"/>
                  <a:gd name="T25" fmla="*/ 2147483646 h 39"/>
                  <a:gd name="T26" fmla="*/ 2147483646 w 98"/>
                  <a:gd name="T27" fmla="*/ 2147483646 h 39"/>
                  <a:gd name="T28" fmla="*/ 2147483646 w 98"/>
                  <a:gd name="T29" fmla="*/ 2147483646 h 39"/>
                  <a:gd name="T30" fmla="*/ 2147483646 w 98"/>
                  <a:gd name="T31" fmla="*/ 2147483646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98" h="39">
                    <a:moveTo>
                      <a:pt x="3" y="6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12" y="19"/>
                      <a:pt x="15" y="26"/>
                      <a:pt x="15" y="33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22"/>
                      <a:pt x="51" y="20"/>
                      <a:pt x="52" y="22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7" y="22"/>
                      <a:pt x="14" y="14"/>
                      <a:pt x="8" y="9"/>
                    </a:cubicBezTo>
                    <a:cubicBezTo>
                      <a:pt x="3" y="6"/>
                      <a:pt x="3" y="6"/>
                      <a:pt x="3" y="6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2" name="Freeform 277"/>
              <p:cNvSpPr/>
              <p:nvPr/>
            </p:nvSpPr>
            <p:spPr bwMode="auto">
              <a:xfrm rot="521357">
                <a:off x="5157153" y="1896237"/>
                <a:ext cx="74654" cy="134252"/>
              </a:xfrm>
              <a:custGeom>
                <a:avLst/>
                <a:gdLst>
                  <a:gd name="T0" fmla="*/ 2147483646 w 19"/>
                  <a:gd name="T1" fmla="*/ 2147483646 h 32"/>
                  <a:gd name="T2" fmla="*/ 2147483646 w 19"/>
                  <a:gd name="T3" fmla="*/ 2147483646 h 32"/>
                  <a:gd name="T4" fmla="*/ 2147483646 w 19"/>
                  <a:gd name="T5" fmla="*/ 0 h 32"/>
                  <a:gd name="T6" fmla="*/ 0 w 19"/>
                  <a:gd name="T7" fmla="*/ 2147483646 h 32"/>
                  <a:gd name="T8" fmla="*/ 2147483646 w 19"/>
                  <a:gd name="T9" fmla="*/ 2147483646 h 32"/>
                  <a:gd name="T10" fmla="*/ 2147483646 w 19"/>
                  <a:gd name="T11" fmla="*/ 2147483646 h 32"/>
                  <a:gd name="T12" fmla="*/ 2147483646 w 19"/>
                  <a:gd name="T13" fmla="*/ 2147483646 h 32"/>
                  <a:gd name="T14" fmla="*/ 2147483646 w 19"/>
                  <a:gd name="T15" fmla="*/ 2147483646 h 32"/>
                  <a:gd name="T16" fmla="*/ 2147483646 w 19"/>
                  <a:gd name="T17" fmla="*/ 2147483646 h 32"/>
                  <a:gd name="T18" fmla="*/ 2147483646 w 19"/>
                  <a:gd name="T19" fmla="*/ 2147483646 h 32"/>
                  <a:gd name="T20" fmla="*/ 2147483646 w 19"/>
                  <a:gd name="T21" fmla="*/ 2147483646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9" h="32">
                    <a:moveTo>
                      <a:pt x="4" y="6"/>
                    </a:moveTo>
                    <a:cubicBezTo>
                      <a:pt x="7" y="4"/>
                      <a:pt x="7" y="4"/>
                      <a:pt x="7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1" y="3"/>
                      <a:pt x="0" y="5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9" y="24"/>
                      <a:pt x="16" y="17"/>
                      <a:pt x="10" y="8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3" name="Freeform 278"/>
              <p:cNvSpPr/>
              <p:nvPr/>
            </p:nvSpPr>
            <p:spPr bwMode="auto">
              <a:xfrm rot="521357">
                <a:off x="5170310" y="1886084"/>
                <a:ext cx="40720" cy="24731"/>
              </a:xfrm>
              <a:custGeom>
                <a:avLst/>
                <a:gdLst>
                  <a:gd name="T0" fmla="*/ 0 w 10"/>
                  <a:gd name="T1" fmla="*/ 2147483646 h 6"/>
                  <a:gd name="T2" fmla="*/ 2147483646 w 10"/>
                  <a:gd name="T3" fmla="*/ 2147483646 h 6"/>
                  <a:gd name="T4" fmla="*/ 2147483646 w 10"/>
                  <a:gd name="T5" fmla="*/ 2147483646 h 6"/>
                  <a:gd name="T6" fmla="*/ 0 w 10"/>
                  <a:gd name="T7" fmla="*/ 0 h 6"/>
                  <a:gd name="T8" fmla="*/ 0 w 10"/>
                  <a:gd name="T9" fmla="*/ 214748364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2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4" name="Freeform 279"/>
              <p:cNvSpPr/>
              <p:nvPr/>
            </p:nvSpPr>
            <p:spPr bwMode="auto">
              <a:xfrm rot="521357">
                <a:off x="5153845" y="1912929"/>
                <a:ext cx="27147" cy="28264"/>
              </a:xfrm>
              <a:custGeom>
                <a:avLst/>
                <a:gdLst>
                  <a:gd name="T0" fmla="*/ 2147483646 w 7"/>
                  <a:gd name="T1" fmla="*/ 0 h 7"/>
                  <a:gd name="T2" fmla="*/ 0 w 7"/>
                  <a:gd name="T3" fmla="*/ 2147483646 h 7"/>
                  <a:gd name="T4" fmla="*/ 2147483646 w 7"/>
                  <a:gd name="T5" fmla="*/ 2147483646 h 7"/>
                  <a:gd name="T6" fmla="*/ 2147483646 w 7"/>
                  <a:gd name="T7" fmla="*/ 2147483646 h 7"/>
                  <a:gd name="T8" fmla="*/ 2147483646 w 7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5" name="Freeform 281"/>
              <p:cNvSpPr/>
              <p:nvPr/>
            </p:nvSpPr>
            <p:spPr bwMode="auto">
              <a:xfrm rot="521357">
                <a:off x="5084463" y="2065339"/>
                <a:ext cx="123858" cy="54762"/>
              </a:xfrm>
              <a:custGeom>
                <a:avLst/>
                <a:gdLst>
                  <a:gd name="T0" fmla="*/ 2147483646 w 73"/>
                  <a:gd name="T1" fmla="*/ 2147483646 h 31"/>
                  <a:gd name="T2" fmla="*/ 2147483646 w 73"/>
                  <a:gd name="T3" fmla="*/ 0 h 31"/>
                  <a:gd name="T4" fmla="*/ 2147483646 w 73"/>
                  <a:gd name="T5" fmla="*/ 2147483646 h 31"/>
                  <a:gd name="T6" fmla="*/ 2147483646 w 73"/>
                  <a:gd name="T7" fmla="*/ 2147483646 h 31"/>
                  <a:gd name="T8" fmla="*/ 0 w 73"/>
                  <a:gd name="T9" fmla="*/ 2147483646 h 31"/>
                  <a:gd name="T10" fmla="*/ 2147483646 w 73"/>
                  <a:gd name="T11" fmla="*/ 2147483646 h 31"/>
                  <a:gd name="T12" fmla="*/ 2147483646 w 73"/>
                  <a:gd name="T13" fmla="*/ 2147483646 h 31"/>
                  <a:gd name="T14" fmla="*/ 2147483646 w 73"/>
                  <a:gd name="T15" fmla="*/ 2147483646 h 3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3" h="31">
                    <a:moveTo>
                      <a:pt x="73" y="7"/>
                    </a:moveTo>
                    <a:lnTo>
                      <a:pt x="71" y="0"/>
                    </a:lnTo>
                    <a:lnTo>
                      <a:pt x="33" y="10"/>
                    </a:lnTo>
                    <a:lnTo>
                      <a:pt x="14" y="19"/>
                    </a:lnTo>
                    <a:lnTo>
                      <a:pt x="0" y="31"/>
                    </a:lnTo>
                    <a:lnTo>
                      <a:pt x="33" y="17"/>
                    </a:lnTo>
                    <a:lnTo>
                      <a:pt x="73" y="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6" name="Freeform 282"/>
              <p:cNvSpPr/>
              <p:nvPr/>
            </p:nvSpPr>
            <p:spPr bwMode="auto">
              <a:xfrm rot="521357">
                <a:off x="4948104" y="1907138"/>
                <a:ext cx="135734" cy="247307"/>
              </a:xfrm>
              <a:custGeom>
                <a:avLst/>
                <a:gdLst>
                  <a:gd name="T0" fmla="*/ 2147483646 w 34"/>
                  <a:gd name="T1" fmla="*/ 0 h 59"/>
                  <a:gd name="T2" fmla="*/ 0 w 34"/>
                  <a:gd name="T3" fmla="*/ 2147483646 h 59"/>
                  <a:gd name="T4" fmla="*/ 2147483646 w 34"/>
                  <a:gd name="T5" fmla="*/ 2147483646 h 59"/>
                  <a:gd name="T6" fmla="*/ 2147483646 w 34"/>
                  <a:gd name="T7" fmla="*/ 2147483646 h 59"/>
                  <a:gd name="T8" fmla="*/ 2147483646 w 34"/>
                  <a:gd name="T9" fmla="*/ 2147483646 h 59"/>
                  <a:gd name="T10" fmla="*/ 2147483646 w 34"/>
                  <a:gd name="T11" fmla="*/ 0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" h="59">
                    <a:moveTo>
                      <a:pt x="14" y="0"/>
                    </a:moveTo>
                    <a:cubicBezTo>
                      <a:pt x="6" y="6"/>
                      <a:pt x="1" y="13"/>
                      <a:pt x="0" y="23"/>
                    </a:cubicBezTo>
                    <a:cubicBezTo>
                      <a:pt x="5" y="38"/>
                      <a:pt x="16" y="50"/>
                      <a:pt x="32" y="59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15" y="48"/>
                      <a:pt x="5" y="37"/>
                      <a:pt x="3" y="22"/>
                    </a:cubicBezTo>
                    <a:cubicBezTo>
                      <a:pt x="4" y="16"/>
                      <a:pt x="8" y="8"/>
                      <a:pt x="14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7" name="Freeform 283"/>
              <p:cNvSpPr/>
              <p:nvPr/>
            </p:nvSpPr>
            <p:spPr bwMode="auto">
              <a:xfrm rot="521357">
                <a:off x="5003685" y="2164727"/>
                <a:ext cx="120465" cy="261438"/>
              </a:xfrm>
              <a:custGeom>
                <a:avLst/>
                <a:gdLst>
                  <a:gd name="T0" fmla="*/ 0 w 30"/>
                  <a:gd name="T1" fmla="*/ 0 h 63"/>
                  <a:gd name="T2" fmla="*/ 2147483646 w 30"/>
                  <a:gd name="T3" fmla="*/ 2147483646 h 63"/>
                  <a:gd name="T4" fmla="*/ 2147483646 w 30"/>
                  <a:gd name="T5" fmla="*/ 2147483646 h 63"/>
                  <a:gd name="T6" fmla="*/ 2147483646 w 30"/>
                  <a:gd name="T7" fmla="*/ 2147483646 h 63"/>
                  <a:gd name="T8" fmla="*/ 2147483646 w 30"/>
                  <a:gd name="T9" fmla="*/ 2147483646 h 63"/>
                  <a:gd name="T10" fmla="*/ 2147483646 w 30"/>
                  <a:gd name="T11" fmla="*/ 2147483646 h 63"/>
                  <a:gd name="T12" fmla="*/ 2147483646 w 30"/>
                  <a:gd name="T13" fmla="*/ 2147483646 h 63"/>
                  <a:gd name="T14" fmla="*/ 2147483646 w 30"/>
                  <a:gd name="T15" fmla="*/ 2147483646 h 63"/>
                  <a:gd name="T16" fmla="*/ 0 w 30"/>
                  <a:gd name="T17" fmla="*/ 0 h 6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0" h="63">
                    <a:moveTo>
                      <a:pt x="0" y="0"/>
                    </a:moveTo>
                    <a:cubicBezTo>
                      <a:pt x="3" y="7"/>
                      <a:pt x="8" y="12"/>
                      <a:pt x="14" y="17"/>
                    </a:cubicBezTo>
                    <a:cubicBezTo>
                      <a:pt x="15" y="26"/>
                      <a:pt x="17" y="32"/>
                      <a:pt x="22" y="37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30" y="63"/>
                      <a:pt x="30" y="63"/>
                      <a:pt x="30" y="63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19" y="30"/>
                      <a:pt x="17" y="23"/>
                      <a:pt x="17" y="17"/>
                    </a:cubicBezTo>
                    <a:cubicBezTo>
                      <a:pt x="11" y="12"/>
                      <a:pt x="7" y="7"/>
                      <a:pt x="4" y="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8" name="Freeform 284"/>
              <p:cNvSpPr/>
              <p:nvPr/>
            </p:nvSpPr>
            <p:spPr bwMode="auto">
              <a:xfrm rot="521357">
                <a:off x="5066840" y="1997016"/>
                <a:ext cx="79744" cy="104223"/>
              </a:xfrm>
              <a:custGeom>
                <a:avLst/>
                <a:gdLst>
                  <a:gd name="T0" fmla="*/ 2147483646 w 47"/>
                  <a:gd name="T1" fmla="*/ 2147483646 h 59"/>
                  <a:gd name="T2" fmla="*/ 0 w 47"/>
                  <a:gd name="T3" fmla="*/ 0 h 59"/>
                  <a:gd name="T4" fmla="*/ 2147483646 w 47"/>
                  <a:gd name="T5" fmla="*/ 2147483646 h 59"/>
                  <a:gd name="T6" fmla="*/ 2147483646 w 47"/>
                  <a:gd name="T7" fmla="*/ 2147483646 h 59"/>
                  <a:gd name="T8" fmla="*/ 2147483646 w 47"/>
                  <a:gd name="T9" fmla="*/ 2147483646 h 59"/>
                  <a:gd name="T10" fmla="*/ 2147483646 w 47"/>
                  <a:gd name="T11" fmla="*/ 2147483646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7" h="59">
                    <a:moveTo>
                      <a:pt x="47" y="40"/>
                    </a:moveTo>
                    <a:lnTo>
                      <a:pt x="0" y="0"/>
                    </a:lnTo>
                    <a:lnTo>
                      <a:pt x="33" y="40"/>
                    </a:lnTo>
                    <a:lnTo>
                      <a:pt x="14" y="59"/>
                    </a:lnTo>
                    <a:lnTo>
                      <a:pt x="47" y="40"/>
                    </a:ln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9" name="Freeform 285"/>
              <p:cNvSpPr/>
              <p:nvPr/>
            </p:nvSpPr>
            <p:spPr bwMode="auto">
              <a:xfrm rot="521357">
                <a:off x="5064108" y="1911594"/>
                <a:ext cx="71260" cy="40629"/>
              </a:xfrm>
              <a:custGeom>
                <a:avLst/>
                <a:gdLst>
                  <a:gd name="T0" fmla="*/ 2147483646 w 18"/>
                  <a:gd name="T1" fmla="*/ 2147483646 h 10"/>
                  <a:gd name="T2" fmla="*/ 0 w 18"/>
                  <a:gd name="T3" fmla="*/ 0 h 10"/>
                  <a:gd name="T4" fmla="*/ 2147483646 w 18"/>
                  <a:gd name="T5" fmla="*/ 2147483646 h 10"/>
                  <a:gd name="T6" fmla="*/ 2147483646 w 18"/>
                  <a:gd name="T7" fmla="*/ 2147483646 h 10"/>
                  <a:gd name="T8" fmla="*/ 2147483646 w 18"/>
                  <a:gd name="T9" fmla="*/ 2147483646 h 10"/>
                  <a:gd name="T10" fmla="*/ 2147483646 w 18"/>
                  <a:gd name="T11" fmla="*/ 2147483646 h 10"/>
                  <a:gd name="T12" fmla="*/ 2147483646 w 18"/>
                  <a:gd name="T13" fmla="*/ 2147483646 h 10"/>
                  <a:gd name="T14" fmla="*/ 2147483646 w 18"/>
                  <a:gd name="T15" fmla="*/ 2147483646 h 10"/>
                  <a:gd name="T16" fmla="*/ 2147483646 w 18"/>
                  <a:gd name="T17" fmla="*/ 2147483646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0">
                    <a:moveTo>
                      <a:pt x="3" y="1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7" y="4"/>
                      <a:pt x="16" y="4"/>
                      <a:pt x="16" y="4"/>
                    </a:cubicBezTo>
                    <a:cubicBezTo>
                      <a:pt x="14" y="4"/>
                      <a:pt x="13" y="4"/>
                      <a:pt x="12" y="4"/>
                    </a:cubicBezTo>
                    <a:cubicBezTo>
                      <a:pt x="11" y="4"/>
                      <a:pt x="11" y="4"/>
                      <a:pt x="11" y="3"/>
                    </a:cubicBezTo>
                    <a:cubicBezTo>
                      <a:pt x="8" y="3"/>
                      <a:pt x="5" y="2"/>
                      <a:pt x="3" y="1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0" name="Freeform 286"/>
              <p:cNvSpPr/>
              <p:nvPr/>
            </p:nvSpPr>
            <p:spPr bwMode="auto">
              <a:xfrm rot="521357">
                <a:off x="5012291" y="1903464"/>
                <a:ext cx="176454" cy="158982"/>
              </a:xfrm>
              <a:custGeom>
                <a:avLst/>
                <a:gdLst>
                  <a:gd name="T0" fmla="*/ 2147483646 w 44"/>
                  <a:gd name="T1" fmla="*/ 2147483646 h 38"/>
                  <a:gd name="T2" fmla="*/ 2147483646 w 44"/>
                  <a:gd name="T3" fmla="*/ 2147483646 h 38"/>
                  <a:gd name="T4" fmla="*/ 2147483646 w 44"/>
                  <a:gd name="T5" fmla="*/ 0 h 38"/>
                  <a:gd name="T6" fmla="*/ 0 w 44"/>
                  <a:gd name="T7" fmla="*/ 2147483646 h 38"/>
                  <a:gd name="T8" fmla="*/ 2147483646 w 44"/>
                  <a:gd name="T9" fmla="*/ 2147483646 h 38"/>
                  <a:gd name="T10" fmla="*/ 2147483646 w 44"/>
                  <a:gd name="T11" fmla="*/ 2147483646 h 38"/>
                  <a:gd name="T12" fmla="*/ 2147483646 w 44"/>
                  <a:gd name="T13" fmla="*/ 2147483646 h 38"/>
                  <a:gd name="T14" fmla="*/ 2147483646 w 44"/>
                  <a:gd name="T15" fmla="*/ 2147483646 h 38"/>
                  <a:gd name="T16" fmla="*/ 2147483646 w 44"/>
                  <a:gd name="T17" fmla="*/ 2147483646 h 38"/>
                  <a:gd name="T18" fmla="*/ 2147483646 w 44"/>
                  <a:gd name="T19" fmla="*/ 2147483646 h 38"/>
                  <a:gd name="T20" fmla="*/ 2147483646 w 44"/>
                  <a:gd name="T21" fmla="*/ 2147483646 h 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4" h="38">
                    <a:moveTo>
                      <a:pt x="18" y="11"/>
                    </a:moveTo>
                    <a:cubicBezTo>
                      <a:pt x="14" y="13"/>
                      <a:pt x="14" y="13"/>
                      <a:pt x="14" y="1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2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23" y="26"/>
                      <a:pt x="31" y="33"/>
                      <a:pt x="40" y="38"/>
                    </a:cubicBezTo>
                    <a:cubicBezTo>
                      <a:pt x="44" y="37"/>
                      <a:pt x="44" y="37"/>
                      <a:pt x="44" y="37"/>
                    </a:cubicBezTo>
                    <a:cubicBezTo>
                      <a:pt x="35" y="33"/>
                      <a:pt x="26" y="26"/>
                      <a:pt x="18" y="16"/>
                    </a:cubicBezTo>
                    <a:cubicBezTo>
                      <a:pt x="18" y="11"/>
                      <a:pt x="18" y="11"/>
                      <a:pt x="18" y="11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1" name="Freeform 287"/>
              <p:cNvSpPr/>
              <p:nvPr/>
            </p:nvSpPr>
            <p:spPr bwMode="auto">
              <a:xfrm rot="521357">
                <a:off x="5120033" y="1944750"/>
                <a:ext cx="20360" cy="24731"/>
              </a:xfrm>
              <a:custGeom>
                <a:avLst/>
                <a:gdLst>
                  <a:gd name="T0" fmla="*/ 2147483646 w 5"/>
                  <a:gd name="T1" fmla="*/ 0 h 6"/>
                  <a:gd name="T2" fmla="*/ 0 w 5"/>
                  <a:gd name="T3" fmla="*/ 2147483646 h 6"/>
                  <a:gd name="T4" fmla="*/ 2147483646 w 5"/>
                  <a:gd name="T5" fmla="*/ 2147483646 h 6"/>
                  <a:gd name="T6" fmla="*/ 2147483646 w 5"/>
                  <a:gd name="T7" fmla="*/ 2147483646 h 6"/>
                  <a:gd name="T8" fmla="*/ 2147483646 w 5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4"/>
                      <a:pt x="1" y="5"/>
                      <a:pt x="2" y="6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2" name="Freeform 288"/>
              <p:cNvSpPr/>
              <p:nvPr/>
            </p:nvSpPr>
            <p:spPr bwMode="auto">
              <a:xfrm rot="521357">
                <a:off x="5123213" y="1950974"/>
                <a:ext cx="44113" cy="84790"/>
              </a:xfrm>
              <a:custGeom>
                <a:avLst/>
                <a:gdLst>
                  <a:gd name="T0" fmla="*/ 0 w 11"/>
                  <a:gd name="T1" fmla="*/ 2147483646 h 20"/>
                  <a:gd name="T2" fmla="*/ 2147483646 w 11"/>
                  <a:gd name="T3" fmla="*/ 2147483646 h 20"/>
                  <a:gd name="T4" fmla="*/ 2147483646 w 11"/>
                  <a:gd name="T5" fmla="*/ 2147483646 h 20"/>
                  <a:gd name="T6" fmla="*/ 2147483646 w 11"/>
                  <a:gd name="T7" fmla="*/ 2147483646 h 20"/>
                  <a:gd name="T8" fmla="*/ 2147483646 w 11"/>
                  <a:gd name="T9" fmla="*/ 2147483646 h 20"/>
                  <a:gd name="T10" fmla="*/ 2147483646 w 11"/>
                  <a:gd name="T11" fmla="*/ 0 h 20"/>
                  <a:gd name="T12" fmla="*/ 0 w 11"/>
                  <a:gd name="T13" fmla="*/ 2147483646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5"/>
                    </a:moveTo>
                    <a:cubicBezTo>
                      <a:pt x="1" y="6"/>
                      <a:pt x="1" y="7"/>
                      <a:pt x="2" y="8"/>
                    </a:cubicBezTo>
                    <a:cubicBezTo>
                      <a:pt x="4" y="12"/>
                      <a:pt x="6" y="15"/>
                      <a:pt x="8" y="17"/>
                    </a:cubicBezTo>
                    <a:cubicBezTo>
                      <a:pt x="9" y="18"/>
                      <a:pt x="10" y="19"/>
                      <a:pt x="11" y="20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3" name="Freeform 289"/>
              <p:cNvSpPr/>
              <p:nvPr/>
            </p:nvSpPr>
            <p:spPr bwMode="auto">
              <a:xfrm rot="521357">
                <a:off x="5166022" y="1935954"/>
                <a:ext cx="23753" cy="24731"/>
              </a:xfrm>
              <a:custGeom>
                <a:avLst/>
                <a:gdLst>
                  <a:gd name="T0" fmla="*/ 2147483646 w 14"/>
                  <a:gd name="T1" fmla="*/ 2147483646 h 14"/>
                  <a:gd name="T2" fmla="*/ 2147483646 w 14"/>
                  <a:gd name="T3" fmla="*/ 2147483646 h 14"/>
                  <a:gd name="T4" fmla="*/ 0 w 14"/>
                  <a:gd name="T5" fmla="*/ 0 h 14"/>
                  <a:gd name="T6" fmla="*/ 0 w 14"/>
                  <a:gd name="T7" fmla="*/ 2147483646 h 14"/>
                  <a:gd name="T8" fmla="*/ 2147483646 w 14"/>
                  <a:gd name="T9" fmla="*/ 2147483646 h 14"/>
                  <a:gd name="T10" fmla="*/ 2147483646 w 14"/>
                  <a:gd name="T11" fmla="*/ 214748364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4">
                    <a:moveTo>
                      <a:pt x="14" y="14"/>
                    </a:moveTo>
                    <a:lnTo>
                      <a:pt x="7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4" y="14"/>
                    </a:ln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4" name="Freeform 290"/>
              <p:cNvSpPr/>
              <p:nvPr/>
            </p:nvSpPr>
            <p:spPr bwMode="auto">
              <a:xfrm rot="521357">
                <a:off x="5130536" y="1930551"/>
                <a:ext cx="23753" cy="28264"/>
              </a:xfrm>
              <a:custGeom>
                <a:avLst/>
                <a:gdLst>
                  <a:gd name="T0" fmla="*/ 2147483646 w 14"/>
                  <a:gd name="T1" fmla="*/ 2147483646 h 16"/>
                  <a:gd name="T2" fmla="*/ 2147483646 w 14"/>
                  <a:gd name="T3" fmla="*/ 2147483646 h 16"/>
                  <a:gd name="T4" fmla="*/ 2147483646 w 14"/>
                  <a:gd name="T5" fmla="*/ 0 h 16"/>
                  <a:gd name="T6" fmla="*/ 0 w 14"/>
                  <a:gd name="T7" fmla="*/ 2147483646 h 16"/>
                  <a:gd name="T8" fmla="*/ 2147483646 w 14"/>
                  <a:gd name="T9" fmla="*/ 2147483646 h 16"/>
                  <a:gd name="T10" fmla="*/ 2147483646 w 14"/>
                  <a:gd name="T11" fmla="*/ 2147483646 h 16"/>
                  <a:gd name="T12" fmla="*/ 2147483646 w 14"/>
                  <a:gd name="T13" fmla="*/ 2147483646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16">
                    <a:moveTo>
                      <a:pt x="14" y="16"/>
                    </a:moveTo>
                    <a:lnTo>
                      <a:pt x="14" y="2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7" y="11"/>
                    </a:lnTo>
                    <a:lnTo>
                      <a:pt x="14" y="16"/>
                    </a:lnTo>
                    <a:close/>
                  </a:path>
                </a:pathLst>
              </a:custGeom>
              <a:solidFill>
                <a:srgbClr val="BD1A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5" name="Freeform 291"/>
              <p:cNvSpPr/>
              <p:nvPr/>
            </p:nvSpPr>
            <p:spPr bwMode="auto">
              <a:xfrm rot="521357">
                <a:off x="5162836" y="1944326"/>
                <a:ext cx="44113" cy="51229"/>
              </a:xfrm>
              <a:custGeom>
                <a:avLst/>
                <a:gdLst>
                  <a:gd name="T0" fmla="*/ 0 w 26"/>
                  <a:gd name="T1" fmla="*/ 0 h 29"/>
                  <a:gd name="T2" fmla="*/ 0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2147483646 h 29"/>
                  <a:gd name="T8" fmla="*/ 0 w 26"/>
                  <a:gd name="T9" fmla="*/ 0 h 29"/>
                  <a:gd name="T10" fmla="*/ 0 w 26"/>
                  <a:gd name="T11" fmla="*/ 0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29">
                    <a:moveTo>
                      <a:pt x="0" y="0"/>
                    </a:moveTo>
                    <a:lnTo>
                      <a:pt x="0" y="7"/>
                    </a:lnTo>
                    <a:lnTo>
                      <a:pt x="26" y="29"/>
                    </a:lnTo>
                    <a:lnTo>
                      <a:pt x="14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6" name="Freeform 292"/>
              <p:cNvSpPr/>
              <p:nvPr/>
            </p:nvSpPr>
            <p:spPr bwMode="auto">
              <a:xfrm rot="521357">
                <a:off x="5144110" y="1963843"/>
                <a:ext cx="52598" cy="100690"/>
              </a:xfrm>
              <a:custGeom>
                <a:avLst/>
                <a:gdLst>
                  <a:gd name="T0" fmla="*/ 2147483646 w 13"/>
                  <a:gd name="T1" fmla="*/ 2147483646 h 24"/>
                  <a:gd name="T2" fmla="*/ 0 w 13"/>
                  <a:gd name="T3" fmla="*/ 0 h 24"/>
                  <a:gd name="T4" fmla="*/ 2147483646 w 13"/>
                  <a:gd name="T5" fmla="*/ 2147483646 h 24"/>
                  <a:gd name="T6" fmla="*/ 2147483646 w 13"/>
                  <a:gd name="T7" fmla="*/ 2147483646 h 24"/>
                  <a:gd name="T8" fmla="*/ 2147483646 w 13"/>
                  <a:gd name="T9" fmla="*/ 2147483646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24">
                    <a:moveTo>
                      <a:pt x="6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8" y="21"/>
                      <a:pt x="10" y="23"/>
                      <a:pt x="13" y="24"/>
                    </a:cubicBezTo>
                    <a:cubicBezTo>
                      <a:pt x="6" y="2"/>
                      <a:pt x="6" y="2"/>
                      <a:pt x="6" y="2"/>
                    </a:cubicBezTo>
                    <a:close/>
                  </a:path>
                </a:pathLst>
              </a:custGeom>
              <a:solidFill>
                <a:srgbClr val="BD1A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7" name="Freeform 293"/>
              <p:cNvSpPr>
                <a:spLocks noEditPoints="1"/>
              </p:cNvSpPr>
              <p:nvPr/>
            </p:nvSpPr>
            <p:spPr bwMode="auto">
              <a:xfrm rot="521357">
                <a:off x="5230020" y="1990805"/>
                <a:ext cx="117071" cy="95390"/>
              </a:xfrm>
              <a:custGeom>
                <a:avLst/>
                <a:gdLst>
                  <a:gd name="T0" fmla="*/ 2147483646 w 29"/>
                  <a:gd name="T1" fmla="*/ 2147483646 h 23"/>
                  <a:gd name="T2" fmla="*/ 0 w 29"/>
                  <a:gd name="T3" fmla="*/ 2147483646 h 23"/>
                  <a:gd name="T4" fmla="*/ 2147483646 w 29"/>
                  <a:gd name="T5" fmla="*/ 2147483646 h 23"/>
                  <a:gd name="T6" fmla="*/ 2147483646 w 29"/>
                  <a:gd name="T7" fmla="*/ 2147483646 h 23"/>
                  <a:gd name="T8" fmla="*/ 2147483646 w 29"/>
                  <a:gd name="T9" fmla="*/ 0 h 23"/>
                  <a:gd name="T10" fmla="*/ 2147483646 w 29"/>
                  <a:gd name="T11" fmla="*/ 0 h 23"/>
                  <a:gd name="T12" fmla="*/ 2147483646 w 29"/>
                  <a:gd name="T13" fmla="*/ 2147483646 h 23"/>
                  <a:gd name="T14" fmla="*/ 2147483646 w 29"/>
                  <a:gd name="T15" fmla="*/ 2147483646 h 23"/>
                  <a:gd name="T16" fmla="*/ 2147483646 w 29"/>
                  <a:gd name="T17" fmla="*/ 2147483646 h 23"/>
                  <a:gd name="T18" fmla="*/ 2147483646 w 29"/>
                  <a:gd name="T19" fmla="*/ 2147483646 h 23"/>
                  <a:gd name="T20" fmla="*/ 2147483646 w 29"/>
                  <a:gd name="T21" fmla="*/ 2147483646 h 23"/>
                  <a:gd name="T22" fmla="*/ 2147483646 w 29"/>
                  <a:gd name="T23" fmla="*/ 2147483646 h 23"/>
                  <a:gd name="T24" fmla="*/ 2147483646 w 29"/>
                  <a:gd name="T25" fmla="*/ 2147483646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9" h="23">
                    <a:moveTo>
                      <a:pt x="3" y="15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6" y="22"/>
                      <a:pt x="9" y="23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3" y="15"/>
                      <a:pt x="3" y="15"/>
                      <a:pt x="3" y="15"/>
                    </a:cubicBezTo>
                    <a:close/>
                    <a:moveTo>
                      <a:pt x="6" y="18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6" y="18"/>
                      <a:pt x="6" y="18"/>
                      <a:pt x="6" y="18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8" name="Freeform 294"/>
              <p:cNvSpPr/>
              <p:nvPr/>
            </p:nvSpPr>
            <p:spPr bwMode="auto">
              <a:xfrm rot="521357">
                <a:off x="5239456" y="1999450"/>
                <a:ext cx="96711" cy="65360"/>
              </a:xfrm>
              <a:custGeom>
                <a:avLst/>
                <a:gdLst>
                  <a:gd name="T0" fmla="*/ 0 w 57"/>
                  <a:gd name="T1" fmla="*/ 2147483646 h 37"/>
                  <a:gd name="T2" fmla="*/ 2147483646 w 57"/>
                  <a:gd name="T3" fmla="*/ 2147483646 h 37"/>
                  <a:gd name="T4" fmla="*/ 2147483646 w 57"/>
                  <a:gd name="T5" fmla="*/ 0 h 37"/>
                  <a:gd name="T6" fmla="*/ 2147483646 w 57"/>
                  <a:gd name="T7" fmla="*/ 0 h 37"/>
                  <a:gd name="T8" fmla="*/ 0 w 57"/>
                  <a:gd name="T9" fmla="*/ 2147483646 h 37"/>
                  <a:gd name="T10" fmla="*/ 0 w 57"/>
                  <a:gd name="T11" fmla="*/ 2147483646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7" h="37">
                    <a:moveTo>
                      <a:pt x="0" y="35"/>
                    </a:moveTo>
                    <a:lnTo>
                      <a:pt x="9" y="37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0" y="35"/>
                    </a:ln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9" name="Freeform 295"/>
              <p:cNvSpPr>
                <a:spLocks noEditPoints="1"/>
              </p:cNvSpPr>
              <p:nvPr/>
            </p:nvSpPr>
            <p:spPr bwMode="auto">
              <a:xfrm rot="521357">
                <a:off x="5022716" y="2103467"/>
                <a:ext cx="792348" cy="680095"/>
              </a:xfrm>
              <a:custGeom>
                <a:avLst/>
                <a:gdLst>
                  <a:gd name="T0" fmla="*/ 2147483646 w 198"/>
                  <a:gd name="T1" fmla="*/ 2147483646 h 163"/>
                  <a:gd name="T2" fmla="*/ 2147483646 w 198"/>
                  <a:gd name="T3" fmla="*/ 2147483646 h 163"/>
                  <a:gd name="T4" fmla="*/ 0 w 198"/>
                  <a:gd name="T5" fmla="*/ 2147483646 h 163"/>
                  <a:gd name="T6" fmla="*/ 2147483646 w 198"/>
                  <a:gd name="T7" fmla="*/ 2147483646 h 163"/>
                  <a:gd name="T8" fmla="*/ 2147483646 w 198"/>
                  <a:gd name="T9" fmla="*/ 2147483646 h 163"/>
                  <a:gd name="T10" fmla="*/ 2147483646 w 198"/>
                  <a:gd name="T11" fmla="*/ 2147483646 h 163"/>
                  <a:gd name="T12" fmla="*/ 2147483646 w 198"/>
                  <a:gd name="T13" fmla="*/ 2147483646 h 163"/>
                  <a:gd name="T14" fmla="*/ 2147483646 w 198"/>
                  <a:gd name="T15" fmla="*/ 2147483646 h 163"/>
                  <a:gd name="T16" fmla="*/ 2147483646 w 198"/>
                  <a:gd name="T17" fmla="*/ 2147483646 h 163"/>
                  <a:gd name="T18" fmla="*/ 2147483646 w 198"/>
                  <a:gd name="T19" fmla="*/ 2147483646 h 163"/>
                  <a:gd name="T20" fmla="*/ 2147483646 w 198"/>
                  <a:gd name="T21" fmla="*/ 2147483646 h 163"/>
                  <a:gd name="T22" fmla="*/ 2147483646 w 198"/>
                  <a:gd name="T23" fmla="*/ 2147483646 h 163"/>
                  <a:gd name="T24" fmla="*/ 2147483646 w 198"/>
                  <a:gd name="T25" fmla="*/ 2147483646 h 163"/>
                  <a:gd name="T26" fmla="*/ 2147483646 w 198"/>
                  <a:gd name="T27" fmla="*/ 2147483646 h 163"/>
                  <a:gd name="T28" fmla="*/ 2147483646 w 198"/>
                  <a:gd name="T29" fmla="*/ 2147483646 h 163"/>
                  <a:gd name="T30" fmla="*/ 2147483646 w 198"/>
                  <a:gd name="T31" fmla="*/ 2147483646 h 163"/>
                  <a:gd name="T32" fmla="*/ 2147483646 w 198"/>
                  <a:gd name="T33" fmla="*/ 2147483646 h 163"/>
                  <a:gd name="T34" fmla="*/ 2147483646 w 198"/>
                  <a:gd name="T35" fmla="*/ 2147483646 h 163"/>
                  <a:gd name="T36" fmla="*/ 2147483646 w 198"/>
                  <a:gd name="T37" fmla="*/ 2147483646 h 163"/>
                  <a:gd name="T38" fmla="*/ 2147483646 w 198"/>
                  <a:gd name="T39" fmla="*/ 2147483646 h 163"/>
                  <a:gd name="T40" fmla="*/ 2147483646 w 198"/>
                  <a:gd name="T41" fmla="*/ 2147483646 h 163"/>
                  <a:gd name="T42" fmla="*/ 2147483646 w 198"/>
                  <a:gd name="T43" fmla="*/ 2147483646 h 163"/>
                  <a:gd name="T44" fmla="*/ 2147483646 w 198"/>
                  <a:gd name="T45" fmla="*/ 2147483646 h 163"/>
                  <a:gd name="T46" fmla="*/ 2147483646 w 198"/>
                  <a:gd name="T47" fmla="*/ 2147483646 h 163"/>
                  <a:gd name="T48" fmla="*/ 2147483646 w 198"/>
                  <a:gd name="T49" fmla="*/ 2147483646 h 163"/>
                  <a:gd name="T50" fmla="*/ 2147483646 w 198"/>
                  <a:gd name="T51" fmla="*/ 2147483646 h 163"/>
                  <a:gd name="T52" fmla="*/ 2147483646 w 198"/>
                  <a:gd name="T53" fmla="*/ 2147483646 h 163"/>
                  <a:gd name="T54" fmla="*/ 2147483646 w 198"/>
                  <a:gd name="T55" fmla="*/ 2147483646 h 163"/>
                  <a:gd name="T56" fmla="*/ 2147483646 w 198"/>
                  <a:gd name="T57" fmla="*/ 2147483646 h 163"/>
                  <a:gd name="T58" fmla="*/ 2147483646 w 198"/>
                  <a:gd name="T59" fmla="*/ 2147483646 h 163"/>
                  <a:gd name="T60" fmla="*/ 2147483646 w 198"/>
                  <a:gd name="T61" fmla="*/ 2147483646 h 163"/>
                  <a:gd name="T62" fmla="*/ 2147483646 w 198"/>
                  <a:gd name="T63" fmla="*/ 2147483646 h 163"/>
                  <a:gd name="T64" fmla="*/ 2147483646 w 198"/>
                  <a:gd name="T65" fmla="*/ 2147483646 h 163"/>
                  <a:gd name="T66" fmla="*/ 2147483646 w 198"/>
                  <a:gd name="T67" fmla="*/ 2147483646 h 163"/>
                  <a:gd name="T68" fmla="*/ 2147483646 w 198"/>
                  <a:gd name="T69" fmla="*/ 2147483646 h 163"/>
                  <a:gd name="T70" fmla="*/ 2147483646 w 198"/>
                  <a:gd name="T71" fmla="*/ 2147483646 h 163"/>
                  <a:gd name="T72" fmla="*/ 2147483646 w 198"/>
                  <a:gd name="T73" fmla="*/ 2147483646 h 163"/>
                  <a:gd name="T74" fmla="*/ 2147483646 w 198"/>
                  <a:gd name="T75" fmla="*/ 2147483646 h 163"/>
                  <a:gd name="T76" fmla="*/ 2147483646 w 198"/>
                  <a:gd name="T77" fmla="*/ 2147483646 h 16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98" h="163">
                    <a:moveTo>
                      <a:pt x="54" y="3"/>
                    </a:moveTo>
                    <a:cubicBezTo>
                      <a:pt x="52" y="3"/>
                      <a:pt x="49" y="3"/>
                      <a:pt x="47" y="2"/>
                    </a:cubicBezTo>
                    <a:cubicBezTo>
                      <a:pt x="34" y="13"/>
                      <a:pt x="16" y="25"/>
                      <a:pt x="0" y="30"/>
                    </a:cubicBezTo>
                    <a:cubicBezTo>
                      <a:pt x="6" y="33"/>
                      <a:pt x="11" y="34"/>
                      <a:pt x="17" y="34"/>
                    </a:cubicBezTo>
                    <a:cubicBezTo>
                      <a:pt x="27" y="30"/>
                      <a:pt x="36" y="25"/>
                      <a:pt x="43" y="18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61" y="62"/>
                      <a:pt x="60" y="72"/>
                      <a:pt x="56" y="82"/>
                    </a:cubicBezTo>
                    <a:cubicBezTo>
                      <a:pt x="50" y="87"/>
                      <a:pt x="44" y="90"/>
                      <a:pt x="37" y="92"/>
                    </a:cubicBezTo>
                    <a:cubicBezTo>
                      <a:pt x="31" y="93"/>
                      <a:pt x="24" y="94"/>
                      <a:pt x="16" y="92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8" y="97"/>
                      <a:pt x="19" y="97"/>
                      <a:pt x="20" y="98"/>
                    </a:cubicBezTo>
                    <a:cubicBezTo>
                      <a:pt x="28" y="99"/>
                      <a:pt x="35" y="99"/>
                      <a:pt x="41" y="98"/>
                    </a:cubicBezTo>
                    <a:cubicBezTo>
                      <a:pt x="46" y="97"/>
                      <a:pt x="50" y="95"/>
                      <a:pt x="54" y="92"/>
                    </a:cubicBezTo>
                    <a:cubicBezTo>
                      <a:pt x="58" y="88"/>
                      <a:pt x="62" y="84"/>
                      <a:pt x="65" y="79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72" y="57"/>
                      <a:pt x="81" y="60"/>
                      <a:pt x="89" y="61"/>
                    </a:cubicBezTo>
                    <a:cubicBezTo>
                      <a:pt x="90" y="62"/>
                      <a:pt x="91" y="63"/>
                      <a:pt x="92" y="63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3" y="64"/>
                      <a:pt x="93" y="64"/>
                      <a:pt x="93" y="65"/>
                    </a:cubicBezTo>
                    <a:cubicBezTo>
                      <a:pt x="112" y="78"/>
                      <a:pt x="133" y="98"/>
                      <a:pt x="155" y="123"/>
                    </a:cubicBezTo>
                    <a:cubicBezTo>
                      <a:pt x="188" y="163"/>
                      <a:pt x="188" y="163"/>
                      <a:pt x="188" y="163"/>
                    </a:cubicBezTo>
                    <a:cubicBezTo>
                      <a:pt x="198" y="157"/>
                      <a:pt x="198" y="157"/>
                      <a:pt x="198" y="157"/>
                    </a:cubicBezTo>
                    <a:cubicBezTo>
                      <a:pt x="161" y="109"/>
                      <a:pt x="161" y="109"/>
                      <a:pt x="161" y="109"/>
                    </a:cubicBezTo>
                    <a:cubicBezTo>
                      <a:pt x="145" y="88"/>
                      <a:pt x="126" y="70"/>
                      <a:pt x="104" y="56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0" y="23"/>
                      <a:pt x="70" y="23"/>
                      <a:pt x="70" y="23"/>
                    </a:cubicBezTo>
                    <a:cubicBezTo>
                      <a:pt x="70" y="18"/>
                      <a:pt x="68" y="12"/>
                      <a:pt x="65" y="6"/>
                    </a:cubicBezTo>
                    <a:cubicBezTo>
                      <a:pt x="64" y="7"/>
                      <a:pt x="64" y="0"/>
                      <a:pt x="63" y="1"/>
                    </a:cubicBezTo>
                    <a:cubicBezTo>
                      <a:pt x="61" y="2"/>
                      <a:pt x="61" y="4"/>
                      <a:pt x="58" y="3"/>
                    </a:cubicBezTo>
                    <a:cubicBezTo>
                      <a:pt x="57" y="3"/>
                      <a:pt x="57" y="5"/>
                      <a:pt x="56" y="4"/>
                    </a:cubicBezTo>
                    <a:lnTo>
                      <a:pt x="54" y="3"/>
                    </a:lnTo>
                    <a:close/>
                    <a:moveTo>
                      <a:pt x="45" y="16"/>
                    </a:moveTo>
                    <a:cubicBezTo>
                      <a:pt x="62" y="14"/>
                      <a:pt x="62" y="14"/>
                      <a:pt x="62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99" y="57"/>
                      <a:pt x="99" y="57"/>
                      <a:pt x="99" y="57"/>
                    </a:cubicBezTo>
                    <a:cubicBezTo>
                      <a:pt x="94" y="58"/>
                      <a:pt x="88" y="58"/>
                      <a:pt x="83" y="57"/>
                    </a:cubicBezTo>
                    <a:cubicBezTo>
                      <a:pt x="77" y="55"/>
                      <a:pt x="70" y="53"/>
                      <a:pt x="64" y="49"/>
                    </a:cubicBezTo>
                    <a:cubicBezTo>
                      <a:pt x="45" y="16"/>
                      <a:pt x="45" y="16"/>
                      <a:pt x="45" y="16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0" name="Freeform 296"/>
              <p:cNvSpPr/>
              <p:nvPr/>
            </p:nvSpPr>
            <p:spPr bwMode="auto">
              <a:xfrm rot="521357">
                <a:off x="5232489" y="2147663"/>
                <a:ext cx="217175" cy="183713"/>
              </a:xfrm>
              <a:custGeom>
                <a:avLst/>
                <a:gdLst>
                  <a:gd name="T0" fmla="*/ 2147483646 w 54"/>
                  <a:gd name="T1" fmla="*/ 0 h 44"/>
                  <a:gd name="T2" fmla="*/ 0 w 54"/>
                  <a:gd name="T3" fmla="*/ 2147483646 h 44"/>
                  <a:gd name="T4" fmla="*/ 2147483646 w 54"/>
                  <a:gd name="T5" fmla="*/ 2147483646 h 44"/>
                  <a:gd name="T6" fmla="*/ 2147483646 w 54"/>
                  <a:gd name="T7" fmla="*/ 2147483646 h 44"/>
                  <a:gd name="T8" fmla="*/ 2147483646 w 54"/>
                  <a:gd name="T9" fmla="*/ 2147483646 h 44"/>
                  <a:gd name="T10" fmla="*/ 2147483646 w 54"/>
                  <a:gd name="T11" fmla="*/ 2147483646 h 44"/>
                  <a:gd name="T12" fmla="*/ 2147483646 w 54"/>
                  <a:gd name="T13" fmla="*/ 2147483646 h 44"/>
                  <a:gd name="T14" fmla="*/ 2147483646 w 54"/>
                  <a:gd name="T15" fmla="*/ 0 h 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4" h="44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25" y="39"/>
                      <a:pt x="32" y="41"/>
                      <a:pt x="38" y="43"/>
                    </a:cubicBezTo>
                    <a:cubicBezTo>
                      <a:pt x="43" y="44"/>
                      <a:pt x="49" y="44"/>
                      <a:pt x="54" y="43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17" y="0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1" name="Freeform 297"/>
              <p:cNvSpPr/>
              <p:nvPr/>
            </p:nvSpPr>
            <p:spPr bwMode="auto">
              <a:xfrm rot="521357">
                <a:off x="5249440" y="1994342"/>
                <a:ext cx="123858" cy="104223"/>
              </a:xfrm>
              <a:custGeom>
                <a:avLst/>
                <a:gdLst>
                  <a:gd name="T0" fmla="*/ 2147483646 w 31"/>
                  <a:gd name="T1" fmla="*/ 2147483646 h 25"/>
                  <a:gd name="T2" fmla="*/ 2147483646 w 31"/>
                  <a:gd name="T3" fmla="*/ 2147483646 h 25"/>
                  <a:gd name="T4" fmla="*/ 2147483646 w 31"/>
                  <a:gd name="T5" fmla="*/ 2147483646 h 25"/>
                  <a:gd name="T6" fmla="*/ 2147483646 w 31"/>
                  <a:gd name="T7" fmla="*/ 2147483646 h 25"/>
                  <a:gd name="T8" fmla="*/ 2147483646 w 31"/>
                  <a:gd name="T9" fmla="*/ 0 h 25"/>
                  <a:gd name="T10" fmla="*/ 2147483646 w 31"/>
                  <a:gd name="T11" fmla="*/ 2147483646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1" h="25">
                    <a:moveTo>
                      <a:pt x="31" y="1"/>
                    </a:moveTo>
                    <a:cubicBezTo>
                      <a:pt x="25" y="13"/>
                      <a:pt x="25" y="13"/>
                      <a:pt x="25" y="13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9" y="25"/>
                      <a:pt x="0" y="24"/>
                      <a:pt x="3" y="24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31" y="1"/>
                    </a:ln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2" name="Freeform 298"/>
              <p:cNvSpPr/>
              <p:nvPr/>
            </p:nvSpPr>
            <p:spPr bwMode="auto">
              <a:xfrm rot="521357">
                <a:off x="5282899" y="2001705"/>
                <a:ext cx="105193" cy="121888"/>
              </a:xfrm>
              <a:custGeom>
                <a:avLst/>
                <a:gdLst>
                  <a:gd name="T0" fmla="*/ 2147483646 w 26"/>
                  <a:gd name="T1" fmla="*/ 2147483646 h 29"/>
                  <a:gd name="T2" fmla="*/ 2147483646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2147483646 h 29"/>
                  <a:gd name="T8" fmla="*/ 2147483646 w 26"/>
                  <a:gd name="T9" fmla="*/ 2147483646 h 29"/>
                  <a:gd name="T10" fmla="*/ 2147483646 w 26"/>
                  <a:gd name="T11" fmla="*/ 0 h 29"/>
                  <a:gd name="T12" fmla="*/ 0 w 26"/>
                  <a:gd name="T13" fmla="*/ 2147483646 h 29"/>
                  <a:gd name="T14" fmla="*/ 2147483646 w 26"/>
                  <a:gd name="T15" fmla="*/ 2147483646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29">
                    <a:moveTo>
                      <a:pt x="22" y="14"/>
                    </a:moveTo>
                    <a:cubicBezTo>
                      <a:pt x="26" y="4"/>
                      <a:pt x="26" y="4"/>
                      <a:pt x="26" y="4"/>
                    </a:cubicBezTo>
                    <a:cubicBezTo>
                      <a:pt x="26" y="4"/>
                      <a:pt x="25" y="3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2"/>
                      <a:pt x="25" y="1"/>
                      <a:pt x="24" y="1"/>
                    </a:cubicBezTo>
                    <a:cubicBezTo>
                      <a:pt x="23" y="0"/>
                      <a:pt x="22" y="0"/>
                      <a:pt x="2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2" y="14"/>
                      <a:pt x="22" y="14"/>
                      <a:pt x="22" y="14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3" name="Freeform 299"/>
              <p:cNvSpPr/>
              <p:nvPr/>
            </p:nvSpPr>
            <p:spPr bwMode="auto">
              <a:xfrm rot="521357">
                <a:off x="5382559" y="1928453"/>
                <a:ext cx="212085" cy="95390"/>
              </a:xfrm>
              <a:custGeom>
                <a:avLst/>
                <a:gdLst>
                  <a:gd name="T0" fmla="*/ 0 w 53"/>
                  <a:gd name="T1" fmla="*/ 2147483646 h 23"/>
                  <a:gd name="T2" fmla="*/ 2147483646 w 53"/>
                  <a:gd name="T3" fmla="*/ 2147483646 h 23"/>
                  <a:gd name="T4" fmla="*/ 2147483646 w 53"/>
                  <a:gd name="T5" fmla="*/ 2147483646 h 23"/>
                  <a:gd name="T6" fmla="*/ 2147483646 w 53"/>
                  <a:gd name="T7" fmla="*/ 0 h 23"/>
                  <a:gd name="T8" fmla="*/ 2147483646 w 53"/>
                  <a:gd name="T9" fmla="*/ 2147483646 h 23"/>
                  <a:gd name="T10" fmla="*/ 0 w 53"/>
                  <a:gd name="T11" fmla="*/ 2147483646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3" h="23">
                    <a:moveTo>
                      <a:pt x="0" y="23"/>
                    </a:moveTo>
                    <a:cubicBezTo>
                      <a:pt x="7" y="22"/>
                      <a:pt x="24" y="21"/>
                      <a:pt x="33" y="18"/>
                    </a:cubicBezTo>
                    <a:cubicBezTo>
                      <a:pt x="40" y="13"/>
                      <a:pt x="46" y="9"/>
                      <a:pt x="53" y="6"/>
                    </a:cubicBezTo>
                    <a:cubicBezTo>
                      <a:pt x="50" y="6"/>
                      <a:pt x="47" y="2"/>
                      <a:pt x="46" y="0"/>
                    </a:cubicBezTo>
                    <a:cubicBezTo>
                      <a:pt x="9" y="18"/>
                      <a:pt x="9" y="18"/>
                      <a:pt x="9" y="18"/>
                    </a:cubicBez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4" name="Freeform 300"/>
              <p:cNvSpPr/>
              <p:nvPr/>
            </p:nvSpPr>
            <p:spPr bwMode="auto">
              <a:xfrm rot="521357">
                <a:off x="5620468" y="1856152"/>
                <a:ext cx="123858" cy="84790"/>
              </a:xfrm>
              <a:custGeom>
                <a:avLst/>
                <a:gdLst>
                  <a:gd name="T0" fmla="*/ 2147483646 w 31"/>
                  <a:gd name="T1" fmla="*/ 2147483646 h 20"/>
                  <a:gd name="T2" fmla="*/ 2147483646 w 31"/>
                  <a:gd name="T3" fmla="*/ 0 h 20"/>
                  <a:gd name="T4" fmla="*/ 2147483646 w 31"/>
                  <a:gd name="T5" fmla="*/ 2147483646 h 20"/>
                  <a:gd name="T6" fmla="*/ 2147483646 w 31"/>
                  <a:gd name="T7" fmla="*/ 2147483646 h 20"/>
                  <a:gd name="T8" fmla="*/ 2147483646 w 31"/>
                  <a:gd name="T9" fmla="*/ 2147483646 h 20"/>
                  <a:gd name="T10" fmla="*/ 2147483646 w 31"/>
                  <a:gd name="T11" fmla="*/ 2147483646 h 20"/>
                  <a:gd name="T12" fmla="*/ 2147483646 w 31"/>
                  <a:gd name="T13" fmla="*/ 2147483646 h 20"/>
                  <a:gd name="T14" fmla="*/ 0 w 31"/>
                  <a:gd name="T15" fmla="*/ 2147483646 h 20"/>
                  <a:gd name="T16" fmla="*/ 2147483646 w 31"/>
                  <a:gd name="T17" fmla="*/ 2147483646 h 20"/>
                  <a:gd name="T18" fmla="*/ 0 w 31"/>
                  <a:gd name="T19" fmla="*/ 2147483646 h 20"/>
                  <a:gd name="T20" fmla="*/ 2147483646 w 31"/>
                  <a:gd name="T21" fmla="*/ 2147483646 h 20"/>
                  <a:gd name="T22" fmla="*/ 2147483646 w 31"/>
                  <a:gd name="T23" fmla="*/ 2147483646 h 20"/>
                  <a:gd name="T24" fmla="*/ 2147483646 w 31"/>
                  <a:gd name="T25" fmla="*/ 2147483646 h 20"/>
                  <a:gd name="T26" fmla="*/ 2147483646 w 31"/>
                  <a:gd name="T27" fmla="*/ 2147483646 h 20"/>
                  <a:gd name="T28" fmla="*/ 2147483646 w 31"/>
                  <a:gd name="T29" fmla="*/ 2147483646 h 20"/>
                  <a:gd name="T30" fmla="*/ 2147483646 w 31"/>
                  <a:gd name="T31" fmla="*/ 2147483646 h 20"/>
                  <a:gd name="T32" fmla="*/ 2147483646 w 31"/>
                  <a:gd name="T33" fmla="*/ 2147483646 h 20"/>
                  <a:gd name="T34" fmla="*/ 2147483646 w 31"/>
                  <a:gd name="T35" fmla="*/ 2147483646 h 20"/>
                  <a:gd name="T36" fmla="*/ 2147483646 w 31"/>
                  <a:gd name="T37" fmla="*/ 2147483646 h 20"/>
                  <a:gd name="T38" fmla="*/ 2147483646 w 31"/>
                  <a:gd name="T39" fmla="*/ 2147483646 h 20"/>
                  <a:gd name="T40" fmla="*/ 2147483646 w 31"/>
                  <a:gd name="T41" fmla="*/ 2147483646 h 20"/>
                  <a:gd name="T42" fmla="*/ 2147483646 w 31"/>
                  <a:gd name="T43" fmla="*/ 2147483646 h 20"/>
                  <a:gd name="T44" fmla="*/ 2147483646 w 31"/>
                  <a:gd name="T45" fmla="*/ 2147483646 h 20"/>
                  <a:gd name="T46" fmla="*/ 2147483646 w 31"/>
                  <a:gd name="T47" fmla="*/ 2147483646 h 20"/>
                  <a:gd name="T48" fmla="*/ 2147483646 w 31"/>
                  <a:gd name="T49" fmla="*/ 2147483646 h 20"/>
                  <a:gd name="T50" fmla="*/ 2147483646 w 31"/>
                  <a:gd name="T51" fmla="*/ 2147483646 h 20"/>
                  <a:gd name="T52" fmla="*/ 2147483646 w 31"/>
                  <a:gd name="T53" fmla="*/ 2147483646 h 20"/>
                  <a:gd name="T54" fmla="*/ 2147483646 w 31"/>
                  <a:gd name="T55" fmla="*/ 2147483646 h 20"/>
                  <a:gd name="T56" fmla="*/ 2147483646 w 31"/>
                  <a:gd name="T57" fmla="*/ 2147483646 h 20"/>
                  <a:gd name="T58" fmla="*/ 2147483646 w 31"/>
                  <a:gd name="T59" fmla="*/ 2147483646 h 20"/>
                  <a:gd name="T60" fmla="*/ 2147483646 w 31"/>
                  <a:gd name="T61" fmla="*/ 2147483646 h 20"/>
                  <a:gd name="T62" fmla="*/ 2147483646 w 31"/>
                  <a:gd name="T63" fmla="*/ 2147483646 h 20"/>
                  <a:gd name="T64" fmla="*/ 2147483646 w 31"/>
                  <a:gd name="T65" fmla="*/ 2147483646 h 2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1" h="20">
                    <a:moveTo>
                      <a:pt x="26" y="1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5" y="16"/>
                      <a:pt x="16" y="16"/>
                      <a:pt x="16" y="16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3" y="7"/>
                      <a:pt x="14" y="7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4"/>
                      <a:pt x="20" y="14"/>
                      <a:pt x="20" y="1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6" y="4"/>
                      <a:pt x="17" y="5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2" y="12"/>
                      <a:pt x="23" y="12"/>
                      <a:pt x="24" y="1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9" y="2"/>
                      <a:pt x="20" y="2"/>
                      <a:pt x="21" y="2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4"/>
                      <a:pt x="31" y="3"/>
                      <a:pt x="31" y="3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9" y="2"/>
                      <a:pt x="28" y="2"/>
                      <a:pt x="27" y="2"/>
                    </a:cubicBezTo>
                    <a:cubicBezTo>
                      <a:pt x="26" y="2"/>
                      <a:pt x="26" y="2"/>
                      <a:pt x="25" y="2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5" name="Freeform 301"/>
              <p:cNvSpPr/>
              <p:nvPr/>
            </p:nvSpPr>
            <p:spPr bwMode="auto">
              <a:xfrm rot="521357">
                <a:off x="5694876" y="1870637"/>
                <a:ext cx="50901" cy="42395"/>
              </a:xfrm>
              <a:custGeom>
                <a:avLst/>
                <a:gdLst>
                  <a:gd name="T0" fmla="*/ 2147483646 w 13"/>
                  <a:gd name="T1" fmla="*/ 2147483646 h 10"/>
                  <a:gd name="T2" fmla="*/ 2147483646 w 13"/>
                  <a:gd name="T3" fmla="*/ 0 h 10"/>
                  <a:gd name="T4" fmla="*/ 0 w 13"/>
                  <a:gd name="T5" fmla="*/ 0 h 10"/>
                  <a:gd name="T6" fmla="*/ 2147483646 w 13"/>
                  <a:gd name="T7" fmla="*/ 2147483646 h 10"/>
                  <a:gd name="T8" fmla="*/ 2147483646 w 13"/>
                  <a:gd name="T9" fmla="*/ 2147483646 h 10"/>
                  <a:gd name="T10" fmla="*/ 2147483646 w 13"/>
                  <a:gd name="T11" fmla="*/ 2147483646 h 10"/>
                  <a:gd name="T12" fmla="*/ 2147483646 w 13"/>
                  <a:gd name="T13" fmla="*/ 2147483646 h 10"/>
                  <a:gd name="T14" fmla="*/ 2147483646 w 13"/>
                  <a:gd name="T15" fmla="*/ 2147483646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10">
                    <a:moveTo>
                      <a:pt x="4" y="2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7" y="9"/>
                      <a:pt x="7" y="9"/>
                      <a:pt x="8" y="8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10" y="5"/>
                      <a:pt x="13" y="5"/>
                      <a:pt x="13" y="3"/>
                    </a:cubicBezTo>
                    <a:cubicBezTo>
                      <a:pt x="4" y="2"/>
                      <a:pt x="4" y="2"/>
                      <a:pt x="4" y="2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6" name="Freeform 302"/>
              <p:cNvSpPr/>
              <p:nvPr/>
            </p:nvSpPr>
            <p:spPr bwMode="auto">
              <a:xfrm rot="521357">
                <a:off x="5622163" y="1860343"/>
                <a:ext cx="61080" cy="49461"/>
              </a:xfrm>
              <a:custGeom>
                <a:avLst/>
                <a:gdLst>
                  <a:gd name="T0" fmla="*/ 2147483646 w 36"/>
                  <a:gd name="T1" fmla="*/ 2147483646 h 28"/>
                  <a:gd name="T2" fmla="*/ 2147483646 w 36"/>
                  <a:gd name="T3" fmla="*/ 2147483646 h 28"/>
                  <a:gd name="T4" fmla="*/ 0 w 36"/>
                  <a:gd name="T5" fmla="*/ 2147483646 h 28"/>
                  <a:gd name="T6" fmla="*/ 2147483646 w 36"/>
                  <a:gd name="T7" fmla="*/ 2147483646 h 28"/>
                  <a:gd name="T8" fmla="*/ 2147483646 w 36"/>
                  <a:gd name="T9" fmla="*/ 0 h 28"/>
                  <a:gd name="T10" fmla="*/ 2147483646 w 36"/>
                  <a:gd name="T11" fmla="*/ 0 h 28"/>
                  <a:gd name="T12" fmla="*/ 2147483646 w 36"/>
                  <a:gd name="T13" fmla="*/ 2147483646 h 28"/>
                  <a:gd name="T14" fmla="*/ 2147483646 w 36"/>
                  <a:gd name="T15" fmla="*/ 2147483646 h 2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6" h="28">
                    <a:moveTo>
                      <a:pt x="19" y="9"/>
                    </a:moveTo>
                    <a:lnTo>
                      <a:pt x="17" y="9"/>
                    </a:lnTo>
                    <a:lnTo>
                      <a:pt x="0" y="24"/>
                    </a:lnTo>
                    <a:lnTo>
                      <a:pt x="5" y="28"/>
                    </a:lnTo>
                    <a:lnTo>
                      <a:pt x="36" y="0"/>
                    </a:lnTo>
                    <a:lnTo>
                      <a:pt x="31" y="0"/>
                    </a:lnTo>
                    <a:lnTo>
                      <a:pt x="19" y="9"/>
                    </a:ln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7" name="Freeform 303"/>
              <p:cNvSpPr/>
              <p:nvPr/>
            </p:nvSpPr>
            <p:spPr bwMode="auto">
              <a:xfrm rot="521357">
                <a:off x="5682089" y="1875533"/>
                <a:ext cx="23753" cy="40629"/>
              </a:xfrm>
              <a:custGeom>
                <a:avLst/>
                <a:gdLst>
                  <a:gd name="T0" fmla="*/ 2147483646 w 6"/>
                  <a:gd name="T1" fmla="*/ 2147483646 h 10"/>
                  <a:gd name="T2" fmla="*/ 0 w 6"/>
                  <a:gd name="T3" fmla="*/ 0 h 10"/>
                  <a:gd name="T4" fmla="*/ 2147483646 w 6"/>
                  <a:gd name="T5" fmla="*/ 2147483646 h 10"/>
                  <a:gd name="T6" fmla="*/ 2147483646 w 6"/>
                  <a:gd name="T7" fmla="*/ 2147483646 h 10"/>
                  <a:gd name="T8" fmla="*/ 2147483646 w 6"/>
                  <a:gd name="T9" fmla="*/ 2147483646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10">
                    <a:moveTo>
                      <a:pt x="2" y="1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6" y="10"/>
                      <a:pt x="6" y="9"/>
                      <a:pt x="6" y="7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8" name="Freeform 304"/>
              <p:cNvSpPr/>
              <p:nvPr/>
            </p:nvSpPr>
            <p:spPr bwMode="auto">
              <a:xfrm rot="521357">
                <a:off x="5667090" y="1885469"/>
                <a:ext cx="20360" cy="37096"/>
              </a:xfrm>
              <a:custGeom>
                <a:avLst/>
                <a:gdLst>
                  <a:gd name="T0" fmla="*/ 2147483646 w 5"/>
                  <a:gd name="T1" fmla="*/ 0 h 9"/>
                  <a:gd name="T2" fmla="*/ 0 w 5"/>
                  <a:gd name="T3" fmla="*/ 0 h 9"/>
                  <a:gd name="T4" fmla="*/ 2147483646 w 5"/>
                  <a:gd name="T5" fmla="*/ 2147483646 h 9"/>
                  <a:gd name="T6" fmla="*/ 2147483646 w 5"/>
                  <a:gd name="T7" fmla="*/ 2147483646 h 9"/>
                  <a:gd name="T8" fmla="*/ 2147483646 w 5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9"/>
                      <a:pt x="5" y="8"/>
                      <a:pt x="5" y="7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9" name="Freeform 305"/>
              <p:cNvSpPr/>
              <p:nvPr/>
            </p:nvSpPr>
            <p:spPr bwMode="auto">
              <a:xfrm rot="521357">
                <a:off x="5575307" y="1886350"/>
                <a:ext cx="49204" cy="70659"/>
              </a:xfrm>
              <a:custGeom>
                <a:avLst/>
                <a:gdLst>
                  <a:gd name="T0" fmla="*/ 2147483646 w 29"/>
                  <a:gd name="T1" fmla="*/ 0 h 40"/>
                  <a:gd name="T2" fmla="*/ 0 w 29"/>
                  <a:gd name="T3" fmla="*/ 2147483646 h 40"/>
                  <a:gd name="T4" fmla="*/ 0 w 29"/>
                  <a:gd name="T5" fmla="*/ 2147483646 h 40"/>
                  <a:gd name="T6" fmla="*/ 2147483646 w 29"/>
                  <a:gd name="T7" fmla="*/ 2147483646 h 40"/>
                  <a:gd name="T8" fmla="*/ 2147483646 w 29"/>
                  <a:gd name="T9" fmla="*/ 0 h 40"/>
                  <a:gd name="T10" fmla="*/ 2147483646 w 29"/>
                  <a:gd name="T11" fmla="*/ 0 h 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9" h="40">
                    <a:moveTo>
                      <a:pt x="24" y="0"/>
                    </a:moveTo>
                    <a:lnTo>
                      <a:pt x="0" y="9"/>
                    </a:lnTo>
                    <a:lnTo>
                      <a:pt x="0" y="40"/>
                    </a:lnTo>
                    <a:lnTo>
                      <a:pt x="29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0" name="Freeform 306"/>
              <p:cNvSpPr/>
              <p:nvPr/>
            </p:nvSpPr>
            <p:spPr bwMode="auto">
              <a:xfrm rot="521357">
                <a:off x="5575878" y="1929949"/>
                <a:ext cx="59384" cy="44162"/>
              </a:xfrm>
              <a:custGeom>
                <a:avLst/>
                <a:gdLst>
                  <a:gd name="T0" fmla="*/ 0 w 15"/>
                  <a:gd name="T1" fmla="*/ 2147483646 h 11"/>
                  <a:gd name="T2" fmla="*/ 2147483646 w 15"/>
                  <a:gd name="T3" fmla="*/ 2147483646 h 11"/>
                  <a:gd name="T4" fmla="*/ 2147483646 w 15"/>
                  <a:gd name="T5" fmla="*/ 2147483646 h 11"/>
                  <a:gd name="T6" fmla="*/ 2147483646 w 15"/>
                  <a:gd name="T7" fmla="*/ 0 h 11"/>
                  <a:gd name="T8" fmla="*/ 0 w 15"/>
                  <a:gd name="T9" fmla="*/ 214748364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0" y="7"/>
                    </a:moveTo>
                    <a:cubicBezTo>
                      <a:pt x="1" y="9"/>
                      <a:pt x="3" y="10"/>
                      <a:pt x="6" y="11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1" name="Freeform 307"/>
              <p:cNvSpPr/>
              <p:nvPr/>
            </p:nvSpPr>
            <p:spPr bwMode="auto">
              <a:xfrm rot="521357">
                <a:off x="5623041" y="1909227"/>
                <a:ext cx="44113" cy="51229"/>
              </a:xfrm>
              <a:custGeom>
                <a:avLst/>
                <a:gdLst>
                  <a:gd name="T0" fmla="*/ 0 w 26"/>
                  <a:gd name="T1" fmla="*/ 2147483646 h 29"/>
                  <a:gd name="T2" fmla="*/ 2147483646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0 h 29"/>
                  <a:gd name="T8" fmla="*/ 0 w 26"/>
                  <a:gd name="T9" fmla="*/ 2147483646 h 29"/>
                  <a:gd name="T10" fmla="*/ 0 w 26"/>
                  <a:gd name="T11" fmla="*/ 2147483646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29">
                    <a:moveTo>
                      <a:pt x="0" y="15"/>
                    </a:moveTo>
                    <a:lnTo>
                      <a:pt x="9" y="29"/>
                    </a:lnTo>
                    <a:lnTo>
                      <a:pt x="9" y="19"/>
                    </a:lnTo>
                    <a:lnTo>
                      <a:pt x="26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2" name="Freeform 308"/>
              <p:cNvSpPr/>
              <p:nvPr/>
            </p:nvSpPr>
            <p:spPr bwMode="auto">
              <a:xfrm rot="521357">
                <a:off x="5018575" y="1853441"/>
                <a:ext cx="11877" cy="7066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147483646 h 2"/>
                  <a:gd name="T4" fmla="*/ 2147483646 w 3"/>
                  <a:gd name="T5" fmla="*/ 0 h 2"/>
                  <a:gd name="T6" fmla="*/ 0 w 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3" name="Freeform 309"/>
              <p:cNvSpPr>
                <a:spLocks noEditPoints="1"/>
              </p:cNvSpPr>
              <p:nvPr/>
            </p:nvSpPr>
            <p:spPr bwMode="auto">
              <a:xfrm rot="521357">
                <a:off x="5059232" y="2324086"/>
                <a:ext cx="682064" cy="695992"/>
              </a:xfrm>
              <a:custGeom>
                <a:avLst/>
                <a:gdLst>
                  <a:gd name="T0" fmla="*/ 2147483646 w 170"/>
                  <a:gd name="T1" fmla="*/ 2147483646 h 167"/>
                  <a:gd name="T2" fmla="*/ 2147483646 w 170"/>
                  <a:gd name="T3" fmla="*/ 2147483646 h 167"/>
                  <a:gd name="T4" fmla="*/ 2147483646 w 170"/>
                  <a:gd name="T5" fmla="*/ 2147483646 h 167"/>
                  <a:gd name="T6" fmla="*/ 2147483646 w 170"/>
                  <a:gd name="T7" fmla="*/ 2147483646 h 167"/>
                  <a:gd name="T8" fmla="*/ 2147483646 w 170"/>
                  <a:gd name="T9" fmla="*/ 2147483646 h 167"/>
                  <a:gd name="T10" fmla="*/ 2147483646 w 170"/>
                  <a:gd name="T11" fmla="*/ 2147483646 h 167"/>
                  <a:gd name="T12" fmla="*/ 2147483646 w 170"/>
                  <a:gd name="T13" fmla="*/ 2147483646 h 167"/>
                  <a:gd name="T14" fmla="*/ 2147483646 w 170"/>
                  <a:gd name="T15" fmla="*/ 2147483646 h 167"/>
                  <a:gd name="T16" fmla="*/ 2147483646 w 170"/>
                  <a:gd name="T17" fmla="*/ 2147483646 h 167"/>
                  <a:gd name="T18" fmla="*/ 2147483646 w 170"/>
                  <a:gd name="T19" fmla="*/ 2147483646 h 167"/>
                  <a:gd name="T20" fmla="*/ 2147483646 w 170"/>
                  <a:gd name="T21" fmla="*/ 2147483646 h 167"/>
                  <a:gd name="T22" fmla="*/ 2147483646 w 170"/>
                  <a:gd name="T23" fmla="*/ 2147483646 h 167"/>
                  <a:gd name="T24" fmla="*/ 2147483646 w 170"/>
                  <a:gd name="T25" fmla="*/ 2147483646 h 167"/>
                  <a:gd name="T26" fmla="*/ 2147483646 w 170"/>
                  <a:gd name="T27" fmla="*/ 2147483646 h 167"/>
                  <a:gd name="T28" fmla="*/ 2147483646 w 170"/>
                  <a:gd name="T29" fmla="*/ 2147483646 h 167"/>
                  <a:gd name="T30" fmla="*/ 2147483646 w 170"/>
                  <a:gd name="T31" fmla="*/ 2147483646 h 167"/>
                  <a:gd name="T32" fmla="*/ 2147483646 w 170"/>
                  <a:gd name="T33" fmla="*/ 2147483646 h 167"/>
                  <a:gd name="T34" fmla="*/ 2147483646 w 170"/>
                  <a:gd name="T35" fmla="*/ 2147483646 h 167"/>
                  <a:gd name="T36" fmla="*/ 2147483646 w 170"/>
                  <a:gd name="T37" fmla="*/ 2147483646 h 167"/>
                  <a:gd name="T38" fmla="*/ 2147483646 w 170"/>
                  <a:gd name="T39" fmla="*/ 2147483646 h 167"/>
                  <a:gd name="T40" fmla="*/ 2147483646 w 170"/>
                  <a:gd name="T41" fmla="*/ 2147483646 h 167"/>
                  <a:gd name="T42" fmla="*/ 2147483646 w 170"/>
                  <a:gd name="T43" fmla="*/ 2147483646 h 167"/>
                  <a:gd name="T44" fmla="*/ 2147483646 w 170"/>
                  <a:gd name="T45" fmla="*/ 0 h 167"/>
                  <a:gd name="T46" fmla="*/ 2147483646 w 170"/>
                  <a:gd name="T47" fmla="*/ 2147483646 h 167"/>
                  <a:gd name="T48" fmla="*/ 2147483646 w 170"/>
                  <a:gd name="T49" fmla="*/ 2147483646 h 167"/>
                  <a:gd name="T50" fmla="*/ 2147483646 w 170"/>
                  <a:gd name="T51" fmla="*/ 2147483646 h 167"/>
                  <a:gd name="T52" fmla="*/ 2147483646 w 170"/>
                  <a:gd name="T53" fmla="*/ 2147483646 h 167"/>
                  <a:gd name="T54" fmla="*/ 2147483646 w 170"/>
                  <a:gd name="T55" fmla="*/ 2147483646 h 167"/>
                  <a:gd name="T56" fmla="*/ 2147483646 w 170"/>
                  <a:gd name="T57" fmla="*/ 2147483646 h 167"/>
                  <a:gd name="T58" fmla="*/ 2147483646 w 170"/>
                  <a:gd name="T59" fmla="*/ 2147483646 h 167"/>
                  <a:gd name="T60" fmla="*/ 2147483646 w 170"/>
                  <a:gd name="T61" fmla="*/ 2147483646 h 167"/>
                  <a:gd name="T62" fmla="*/ 2147483646 w 170"/>
                  <a:gd name="T63" fmla="*/ 2147483646 h 167"/>
                  <a:gd name="T64" fmla="*/ 2147483646 w 170"/>
                  <a:gd name="T65" fmla="*/ 2147483646 h 167"/>
                  <a:gd name="T66" fmla="*/ 2147483646 w 170"/>
                  <a:gd name="T67" fmla="*/ 2147483646 h 167"/>
                  <a:gd name="T68" fmla="*/ 2147483646 w 170"/>
                  <a:gd name="T69" fmla="*/ 2147483646 h 167"/>
                  <a:gd name="T70" fmla="*/ 2147483646 w 170"/>
                  <a:gd name="T71" fmla="*/ 2147483646 h 167"/>
                  <a:gd name="T72" fmla="*/ 2147483646 w 170"/>
                  <a:gd name="T73" fmla="*/ 2147483646 h 167"/>
                  <a:gd name="T74" fmla="*/ 2147483646 w 170"/>
                  <a:gd name="T75" fmla="*/ 2147483646 h 167"/>
                  <a:gd name="T76" fmla="*/ 2147483646 w 170"/>
                  <a:gd name="T77" fmla="*/ 2147483646 h 167"/>
                  <a:gd name="T78" fmla="*/ 2147483646 w 170"/>
                  <a:gd name="T79" fmla="*/ 2147483646 h 167"/>
                  <a:gd name="T80" fmla="*/ 2147483646 w 170"/>
                  <a:gd name="T81" fmla="*/ 2147483646 h 16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70" h="167">
                    <a:moveTo>
                      <a:pt x="36" y="39"/>
                    </a:moveTo>
                    <a:cubicBezTo>
                      <a:pt x="32" y="42"/>
                      <a:pt x="28" y="44"/>
                      <a:pt x="23" y="45"/>
                    </a:cubicBezTo>
                    <a:cubicBezTo>
                      <a:pt x="17" y="46"/>
                      <a:pt x="10" y="46"/>
                      <a:pt x="2" y="45"/>
                    </a:cubicBezTo>
                    <a:cubicBezTo>
                      <a:pt x="1" y="63"/>
                      <a:pt x="0" y="92"/>
                      <a:pt x="3" y="110"/>
                    </a:cubicBezTo>
                    <a:cubicBezTo>
                      <a:pt x="5" y="116"/>
                      <a:pt x="6" y="117"/>
                      <a:pt x="8" y="119"/>
                    </a:cubicBezTo>
                    <a:cubicBezTo>
                      <a:pt x="22" y="134"/>
                      <a:pt x="26" y="150"/>
                      <a:pt x="37" y="167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59" y="160"/>
                      <a:pt x="59" y="160"/>
                      <a:pt x="59" y="160"/>
                    </a:cubicBezTo>
                    <a:cubicBezTo>
                      <a:pt x="42" y="132"/>
                      <a:pt x="42" y="132"/>
                      <a:pt x="42" y="132"/>
                    </a:cubicBezTo>
                    <a:cubicBezTo>
                      <a:pt x="32" y="91"/>
                      <a:pt x="32" y="91"/>
                      <a:pt x="32" y="91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48" y="40"/>
                      <a:pt x="48" y="40"/>
                      <a:pt x="48" y="40"/>
                    </a:cubicBezTo>
                    <a:cubicBezTo>
                      <a:pt x="72" y="43"/>
                      <a:pt x="95" y="54"/>
                      <a:pt x="116" y="74"/>
                    </a:cubicBezTo>
                    <a:cubicBezTo>
                      <a:pt x="131" y="87"/>
                      <a:pt x="144" y="99"/>
                      <a:pt x="155" y="111"/>
                    </a:cubicBezTo>
                    <a:cubicBezTo>
                      <a:pt x="156" y="112"/>
                      <a:pt x="158" y="113"/>
                      <a:pt x="159" y="113"/>
                    </a:cubicBezTo>
                    <a:cubicBezTo>
                      <a:pt x="161" y="114"/>
                      <a:pt x="164" y="113"/>
                      <a:pt x="166" y="112"/>
                    </a:cubicBezTo>
                    <a:cubicBezTo>
                      <a:pt x="170" y="110"/>
                      <a:pt x="170" y="110"/>
                      <a:pt x="170" y="110"/>
                    </a:cubicBezTo>
                    <a:cubicBezTo>
                      <a:pt x="137" y="70"/>
                      <a:pt x="137" y="70"/>
                      <a:pt x="137" y="70"/>
                    </a:cubicBezTo>
                    <a:cubicBezTo>
                      <a:pt x="115" y="45"/>
                      <a:pt x="94" y="25"/>
                      <a:pt x="75" y="12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74" y="10"/>
                      <a:pt x="74" y="10"/>
                      <a:pt x="74" y="10"/>
                    </a:cubicBezTo>
                    <a:cubicBezTo>
                      <a:pt x="73" y="10"/>
                      <a:pt x="72" y="9"/>
                      <a:pt x="71" y="8"/>
                    </a:cubicBezTo>
                    <a:cubicBezTo>
                      <a:pt x="63" y="7"/>
                      <a:pt x="54" y="4"/>
                      <a:pt x="46" y="0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4" y="31"/>
                      <a:pt x="40" y="35"/>
                      <a:pt x="36" y="39"/>
                    </a:cubicBezTo>
                    <a:close/>
                    <a:moveTo>
                      <a:pt x="4" y="47"/>
                    </a:moveTo>
                    <a:cubicBezTo>
                      <a:pt x="7" y="48"/>
                      <a:pt x="7" y="48"/>
                      <a:pt x="7" y="48"/>
                    </a:cubicBezTo>
                    <a:cubicBezTo>
                      <a:pt x="5" y="59"/>
                      <a:pt x="6" y="74"/>
                      <a:pt x="11" y="94"/>
                    </a:cubicBezTo>
                    <a:cubicBezTo>
                      <a:pt x="12" y="103"/>
                      <a:pt x="15" y="114"/>
                      <a:pt x="26" y="124"/>
                    </a:cubicBezTo>
                    <a:cubicBezTo>
                      <a:pt x="59" y="158"/>
                      <a:pt x="59" y="158"/>
                      <a:pt x="59" y="158"/>
                    </a:cubicBezTo>
                    <a:cubicBezTo>
                      <a:pt x="55" y="160"/>
                      <a:pt x="55" y="160"/>
                      <a:pt x="55" y="160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14" y="115"/>
                      <a:pt x="8" y="105"/>
                      <a:pt x="8" y="94"/>
                    </a:cubicBezTo>
                    <a:cubicBezTo>
                      <a:pt x="4" y="74"/>
                      <a:pt x="3" y="58"/>
                      <a:pt x="4" y="47"/>
                    </a:cubicBezTo>
                    <a:close/>
                    <a:moveTo>
                      <a:pt x="51" y="36"/>
                    </a:moveTo>
                    <a:cubicBezTo>
                      <a:pt x="57" y="33"/>
                      <a:pt x="57" y="33"/>
                      <a:pt x="57" y="33"/>
                    </a:cubicBezTo>
                    <a:cubicBezTo>
                      <a:pt x="74" y="39"/>
                      <a:pt x="94" y="50"/>
                      <a:pt x="119" y="67"/>
                    </a:cubicBezTo>
                    <a:cubicBezTo>
                      <a:pt x="161" y="110"/>
                      <a:pt x="161" y="110"/>
                      <a:pt x="161" y="110"/>
                    </a:cubicBezTo>
                    <a:cubicBezTo>
                      <a:pt x="157" y="109"/>
                      <a:pt x="157" y="109"/>
                      <a:pt x="157" y="109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01" y="57"/>
                      <a:pt x="80" y="46"/>
                      <a:pt x="51" y="3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4" name="Freeform 310"/>
              <p:cNvSpPr/>
              <p:nvPr/>
            </p:nvSpPr>
            <p:spPr bwMode="auto">
              <a:xfrm rot="521357">
                <a:off x="5059633" y="2483974"/>
                <a:ext cx="193421" cy="491081"/>
              </a:xfrm>
              <a:custGeom>
                <a:avLst/>
                <a:gdLst>
                  <a:gd name="T0" fmla="*/ 2147483646 w 48"/>
                  <a:gd name="T1" fmla="*/ 2147483646 h 118"/>
                  <a:gd name="T2" fmla="*/ 2147483646 w 48"/>
                  <a:gd name="T3" fmla="*/ 0 h 118"/>
                  <a:gd name="T4" fmla="*/ 2147483646 w 48"/>
                  <a:gd name="T5" fmla="*/ 2147483646 h 118"/>
                  <a:gd name="T6" fmla="*/ 2147483646 w 48"/>
                  <a:gd name="T7" fmla="*/ 2147483646 h 118"/>
                  <a:gd name="T8" fmla="*/ 2147483646 w 48"/>
                  <a:gd name="T9" fmla="*/ 2147483646 h 118"/>
                  <a:gd name="T10" fmla="*/ 2147483646 w 48"/>
                  <a:gd name="T11" fmla="*/ 2147483646 h 118"/>
                  <a:gd name="T12" fmla="*/ 2147483646 w 48"/>
                  <a:gd name="T13" fmla="*/ 2147483646 h 118"/>
                  <a:gd name="T14" fmla="*/ 2147483646 w 48"/>
                  <a:gd name="T15" fmla="*/ 2147483646 h 118"/>
                  <a:gd name="T16" fmla="*/ 2147483646 w 48"/>
                  <a:gd name="T17" fmla="*/ 2147483646 h 1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8" h="118">
                    <a:moveTo>
                      <a:pt x="4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1"/>
                      <a:pt x="0" y="29"/>
                      <a:pt x="4" y="49"/>
                    </a:cubicBezTo>
                    <a:cubicBezTo>
                      <a:pt x="4" y="59"/>
                      <a:pt x="0" y="63"/>
                      <a:pt x="23" y="77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25" y="76"/>
                      <a:pt x="25" y="76"/>
                      <a:pt x="25" y="76"/>
                    </a:cubicBezTo>
                    <a:cubicBezTo>
                      <a:pt x="15" y="66"/>
                      <a:pt x="9" y="56"/>
                      <a:pt x="8" y="47"/>
                    </a:cubicBezTo>
                    <a:cubicBezTo>
                      <a:pt x="3" y="27"/>
                      <a:pt x="2" y="12"/>
                      <a:pt x="4" y="1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5" name="Freeform 311"/>
              <p:cNvSpPr/>
              <p:nvPr/>
            </p:nvSpPr>
            <p:spPr bwMode="auto">
              <a:xfrm rot="521357">
                <a:off x="5271029" y="2475254"/>
                <a:ext cx="441136" cy="321499"/>
              </a:xfrm>
              <a:custGeom>
                <a:avLst/>
                <a:gdLst>
                  <a:gd name="T0" fmla="*/ 2147483646 w 110"/>
                  <a:gd name="T1" fmla="*/ 0 h 77"/>
                  <a:gd name="T2" fmla="*/ 0 w 110"/>
                  <a:gd name="T3" fmla="*/ 2147483646 h 77"/>
                  <a:gd name="T4" fmla="*/ 2147483646 w 110"/>
                  <a:gd name="T5" fmla="*/ 2147483646 h 77"/>
                  <a:gd name="T6" fmla="*/ 2147483646 w 110"/>
                  <a:gd name="T7" fmla="*/ 2147483646 h 77"/>
                  <a:gd name="T8" fmla="*/ 2147483646 w 110"/>
                  <a:gd name="T9" fmla="*/ 2147483646 h 77"/>
                  <a:gd name="T10" fmla="*/ 2147483646 w 110"/>
                  <a:gd name="T11" fmla="*/ 2147483646 h 77"/>
                  <a:gd name="T12" fmla="*/ 2147483646 w 110"/>
                  <a:gd name="T13" fmla="*/ 0 h 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0" h="77">
                    <a:moveTo>
                      <a:pt x="6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29" y="13"/>
                      <a:pt x="50" y="24"/>
                      <a:pt x="64" y="36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10" y="77"/>
                      <a:pt x="110" y="77"/>
                      <a:pt x="110" y="77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43" y="17"/>
                      <a:pt x="23" y="6"/>
                      <a:pt x="6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6" name="Freeform 312"/>
              <p:cNvSpPr/>
              <p:nvPr/>
            </p:nvSpPr>
            <p:spPr bwMode="auto">
              <a:xfrm rot="521357">
                <a:off x="5158031" y="2465286"/>
                <a:ext cx="147612" cy="517578"/>
              </a:xfrm>
              <a:custGeom>
                <a:avLst/>
                <a:gdLst>
                  <a:gd name="T0" fmla="*/ 2147483646 w 37"/>
                  <a:gd name="T1" fmla="*/ 2147483646 h 124"/>
                  <a:gd name="T2" fmla="*/ 2147483646 w 37"/>
                  <a:gd name="T3" fmla="*/ 0 h 124"/>
                  <a:gd name="T4" fmla="*/ 2147483646 w 37"/>
                  <a:gd name="T5" fmla="*/ 2147483646 h 124"/>
                  <a:gd name="T6" fmla="*/ 0 w 37"/>
                  <a:gd name="T7" fmla="*/ 2147483646 h 124"/>
                  <a:gd name="T8" fmla="*/ 2147483646 w 37"/>
                  <a:gd name="T9" fmla="*/ 2147483646 h 124"/>
                  <a:gd name="T10" fmla="*/ 2147483646 w 37"/>
                  <a:gd name="T11" fmla="*/ 2147483646 h 124"/>
                  <a:gd name="T12" fmla="*/ 2147483646 w 37"/>
                  <a:gd name="T13" fmla="*/ 2147483646 h 124"/>
                  <a:gd name="T14" fmla="*/ 2147483646 w 37"/>
                  <a:gd name="T15" fmla="*/ 2147483646 h 12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7" h="124">
                    <a:moveTo>
                      <a:pt x="10" y="64"/>
                    </a:moveTo>
                    <a:cubicBezTo>
                      <a:pt x="10" y="47"/>
                      <a:pt x="17" y="12"/>
                      <a:pt x="21" y="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24" y="124"/>
                      <a:pt x="24" y="124"/>
                      <a:pt x="24" y="124"/>
                    </a:cubicBezTo>
                    <a:cubicBezTo>
                      <a:pt x="37" y="119"/>
                      <a:pt x="37" y="119"/>
                      <a:pt x="37" y="119"/>
                    </a:cubicBezTo>
                    <a:cubicBezTo>
                      <a:pt x="33" y="105"/>
                      <a:pt x="11" y="73"/>
                      <a:pt x="10" y="64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7" name="Freeform 313"/>
              <p:cNvSpPr/>
              <p:nvPr/>
            </p:nvSpPr>
            <p:spPr bwMode="auto">
              <a:xfrm rot="521357">
                <a:off x="5016837" y="1855113"/>
                <a:ext cx="35630" cy="28264"/>
              </a:xfrm>
              <a:custGeom>
                <a:avLst/>
                <a:gdLst>
                  <a:gd name="T0" fmla="*/ 2147483646 w 9"/>
                  <a:gd name="T1" fmla="*/ 2147483646 h 7"/>
                  <a:gd name="T2" fmla="*/ 2147483646 w 9"/>
                  <a:gd name="T3" fmla="*/ 0 h 7"/>
                  <a:gd name="T4" fmla="*/ 0 w 9"/>
                  <a:gd name="T5" fmla="*/ 2147483646 h 7"/>
                  <a:gd name="T6" fmla="*/ 2147483646 w 9"/>
                  <a:gd name="T7" fmla="*/ 2147483646 h 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9" y="7"/>
                    </a:moveTo>
                    <a:cubicBezTo>
                      <a:pt x="5" y="5"/>
                      <a:pt x="3" y="3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4"/>
                      <a:pt x="5" y="6"/>
                      <a:pt x="9" y="7"/>
                    </a:cubicBez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8" name="Freeform 314"/>
              <p:cNvSpPr/>
              <p:nvPr/>
            </p:nvSpPr>
            <p:spPr bwMode="auto">
              <a:xfrm rot="521357">
                <a:off x="5016304" y="1862138"/>
                <a:ext cx="35630" cy="21198"/>
              </a:xfrm>
              <a:custGeom>
                <a:avLst/>
                <a:gdLst>
                  <a:gd name="T0" fmla="*/ 2147483646 w 9"/>
                  <a:gd name="T1" fmla="*/ 2147483646 h 5"/>
                  <a:gd name="T2" fmla="*/ 0 w 9"/>
                  <a:gd name="T3" fmla="*/ 0 h 5"/>
                  <a:gd name="T4" fmla="*/ 2147483646 w 9"/>
                  <a:gd name="T5" fmla="*/ 2147483646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5" y="4"/>
                      <a:pt x="2" y="2"/>
                      <a:pt x="0" y="0"/>
                    </a:cubicBezTo>
                    <a:cubicBezTo>
                      <a:pt x="0" y="2"/>
                      <a:pt x="3" y="4"/>
                      <a:pt x="9" y="5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9" name="Freeform 316"/>
              <p:cNvSpPr/>
              <p:nvPr/>
            </p:nvSpPr>
            <p:spPr bwMode="auto">
              <a:xfrm rot="521357">
                <a:off x="5145382" y="2942285"/>
                <a:ext cx="121967" cy="108967"/>
              </a:xfrm>
              <a:custGeom>
                <a:avLst/>
                <a:gdLst>
                  <a:gd name="T0" fmla="*/ 2147483646 w 9979"/>
                  <a:gd name="T1" fmla="*/ 2147483646 h 10078"/>
                  <a:gd name="T2" fmla="*/ 2147483646 w 9979"/>
                  <a:gd name="T3" fmla="*/ 0 h 10078"/>
                  <a:gd name="T4" fmla="*/ 2147483646 w 9979"/>
                  <a:gd name="T5" fmla="*/ 2147483646 h 10078"/>
                  <a:gd name="T6" fmla="*/ 1743456505 w 9979"/>
                  <a:gd name="T7" fmla="*/ 2147483646 h 10078"/>
                  <a:gd name="T8" fmla="*/ 900103871 w 9979"/>
                  <a:gd name="T9" fmla="*/ 2147483646 h 10078"/>
                  <a:gd name="T10" fmla="*/ 2147483646 w 9979"/>
                  <a:gd name="T11" fmla="*/ 2147483646 h 10078"/>
                  <a:gd name="T12" fmla="*/ 2147483646 w 9979"/>
                  <a:gd name="T13" fmla="*/ 2147483646 h 10078"/>
                  <a:gd name="T14" fmla="*/ 2147483646 w 9979"/>
                  <a:gd name="T15" fmla="*/ 2147483646 h 10078"/>
                  <a:gd name="T16" fmla="*/ 2147483646 w 9979"/>
                  <a:gd name="T17" fmla="*/ 2147483646 h 1007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979" h="10078">
                    <a:moveTo>
                      <a:pt x="9739" y="1444"/>
                    </a:moveTo>
                    <a:lnTo>
                      <a:pt x="8453" y="0"/>
                    </a:lnTo>
                    <a:cubicBezTo>
                      <a:pt x="7353" y="646"/>
                      <a:pt x="7096" y="922"/>
                      <a:pt x="5775" y="1833"/>
                    </a:cubicBezTo>
                    <a:cubicBezTo>
                      <a:pt x="4453" y="2743"/>
                      <a:pt x="1440" y="4133"/>
                      <a:pt x="523" y="5457"/>
                    </a:cubicBezTo>
                    <a:cubicBezTo>
                      <a:pt x="-395" y="6781"/>
                      <a:pt x="152" y="9049"/>
                      <a:pt x="270" y="9780"/>
                    </a:cubicBezTo>
                    <a:cubicBezTo>
                      <a:pt x="388" y="10511"/>
                      <a:pt x="278" y="9645"/>
                      <a:pt x="1233" y="9843"/>
                    </a:cubicBezTo>
                    <a:cubicBezTo>
                      <a:pt x="2187" y="10041"/>
                      <a:pt x="4367" y="9342"/>
                      <a:pt x="5442" y="8429"/>
                    </a:cubicBezTo>
                    <a:cubicBezTo>
                      <a:pt x="6104" y="5714"/>
                      <a:pt x="7660" y="4097"/>
                      <a:pt x="8983" y="2935"/>
                    </a:cubicBezTo>
                    <a:cubicBezTo>
                      <a:pt x="10630" y="1769"/>
                      <a:pt x="9739" y="1444"/>
                      <a:pt x="9739" y="144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0" name="Freeform 315"/>
              <p:cNvSpPr/>
              <p:nvPr/>
            </p:nvSpPr>
            <p:spPr bwMode="auto">
              <a:xfrm rot="521357">
                <a:off x="5675333" y="2811286"/>
                <a:ext cx="144218" cy="63593"/>
              </a:xfrm>
              <a:custGeom>
                <a:avLst/>
                <a:gdLst>
                  <a:gd name="T0" fmla="*/ 2147483646 w 36"/>
                  <a:gd name="T1" fmla="*/ 0 h 15"/>
                  <a:gd name="T2" fmla="*/ 2147483646 w 36"/>
                  <a:gd name="T3" fmla="*/ 2147483646 h 15"/>
                  <a:gd name="T4" fmla="*/ 2147483646 w 36"/>
                  <a:gd name="T5" fmla="*/ 2147483646 h 15"/>
                  <a:gd name="T6" fmla="*/ 0 w 36"/>
                  <a:gd name="T7" fmla="*/ 2147483646 h 15"/>
                  <a:gd name="T8" fmla="*/ 2147483646 w 36"/>
                  <a:gd name="T9" fmla="*/ 2147483646 h 15"/>
                  <a:gd name="T10" fmla="*/ 2147483646 w 36"/>
                  <a:gd name="T11" fmla="*/ 2147483646 h 15"/>
                  <a:gd name="T12" fmla="*/ 2147483646 w 36"/>
                  <a:gd name="T13" fmla="*/ 2147483646 h 15"/>
                  <a:gd name="T14" fmla="*/ 2147483646 w 36"/>
                  <a:gd name="T15" fmla="*/ 2147483646 h 15"/>
                  <a:gd name="T16" fmla="*/ 2147483646 w 36"/>
                  <a:gd name="T17" fmla="*/ 0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6" h="15">
                    <a:moveTo>
                      <a:pt x="21" y="0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5" y="9"/>
                      <a:pt x="2" y="10"/>
                      <a:pt x="0" y="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10" y="13"/>
                      <a:pt x="15" y="13"/>
                      <a:pt x="18" y="15"/>
                    </a:cubicBezTo>
                    <a:cubicBezTo>
                      <a:pt x="24" y="15"/>
                      <a:pt x="30" y="13"/>
                      <a:pt x="36" y="10"/>
                    </a:cubicBezTo>
                    <a:cubicBezTo>
                      <a:pt x="35" y="7"/>
                      <a:pt x="33" y="4"/>
                      <a:pt x="30" y="2"/>
                    </a:cubicBezTo>
                    <a:cubicBezTo>
                      <a:pt x="21" y="0"/>
                      <a:pt x="21" y="0"/>
                      <a:pt x="2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1" name="Line 317"/>
              <p:cNvSpPr>
                <a:spLocks noChangeShapeType="1"/>
              </p:cNvSpPr>
              <p:nvPr/>
            </p:nvSpPr>
            <p:spPr bwMode="auto">
              <a:xfrm rot="521357">
                <a:off x="5257324" y="251800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2" name="Line 318"/>
              <p:cNvSpPr>
                <a:spLocks noChangeShapeType="1"/>
              </p:cNvSpPr>
              <p:nvPr/>
            </p:nvSpPr>
            <p:spPr bwMode="auto">
              <a:xfrm rot="521357">
                <a:off x="5257324" y="251800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3" name="Line 319"/>
              <p:cNvSpPr>
                <a:spLocks noChangeShapeType="1"/>
              </p:cNvSpPr>
              <p:nvPr/>
            </p:nvSpPr>
            <p:spPr bwMode="auto">
              <a:xfrm rot="521357">
                <a:off x="5372607" y="1999522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4" name="Line 320"/>
              <p:cNvSpPr>
                <a:spLocks noChangeShapeType="1"/>
              </p:cNvSpPr>
              <p:nvPr/>
            </p:nvSpPr>
            <p:spPr bwMode="auto">
              <a:xfrm rot="521357">
                <a:off x="5372607" y="1999522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94" name="组合 193"/>
          <p:cNvGrpSpPr/>
          <p:nvPr/>
        </p:nvGrpSpPr>
        <p:grpSpPr bwMode="auto">
          <a:xfrm>
            <a:off x="3055938" y="2232025"/>
            <a:ext cx="869950" cy="1016000"/>
            <a:chOff x="3944102" y="2232025"/>
            <a:chExt cx="871006" cy="1016487"/>
          </a:xfrm>
        </p:grpSpPr>
        <p:sp>
          <p:nvSpPr>
            <p:cNvPr id="38941" name="Freeform 211"/>
            <p:cNvSpPr>
              <a:spLocks noEditPoints="1"/>
            </p:cNvSpPr>
            <p:nvPr/>
          </p:nvSpPr>
          <p:spPr bwMode="auto">
            <a:xfrm rot="521357">
              <a:off x="4024295" y="2232025"/>
              <a:ext cx="119771" cy="178845"/>
            </a:xfrm>
            <a:custGeom>
              <a:avLst/>
              <a:gdLst>
                <a:gd name="T0" fmla="*/ 2147483646 w 32"/>
                <a:gd name="T1" fmla="*/ 0 h 46"/>
                <a:gd name="T2" fmla="*/ 2147483646 w 32"/>
                <a:gd name="T3" fmla="*/ 2147483646 h 46"/>
                <a:gd name="T4" fmla="*/ 2147483646 w 32"/>
                <a:gd name="T5" fmla="*/ 2147483646 h 46"/>
                <a:gd name="T6" fmla="*/ 2147483646 w 32"/>
                <a:gd name="T7" fmla="*/ 2147483646 h 46"/>
                <a:gd name="T8" fmla="*/ 2147483646 w 32"/>
                <a:gd name="T9" fmla="*/ 2147483646 h 46"/>
                <a:gd name="T10" fmla="*/ 2147483646 w 32"/>
                <a:gd name="T11" fmla="*/ 2147483646 h 46"/>
                <a:gd name="T12" fmla="*/ 2147483646 w 32"/>
                <a:gd name="T13" fmla="*/ 2147483646 h 46"/>
                <a:gd name="T14" fmla="*/ 2147483646 w 32"/>
                <a:gd name="T15" fmla="*/ 2147483646 h 46"/>
                <a:gd name="T16" fmla="*/ 2147483646 w 32"/>
                <a:gd name="T17" fmla="*/ 0 h 46"/>
                <a:gd name="T18" fmla="*/ 2147483646 w 32"/>
                <a:gd name="T19" fmla="*/ 2147483646 h 46"/>
                <a:gd name="T20" fmla="*/ 2147483646 w 32"/>
                <a:gd name="T21" fmla="*/ 2147483646 h 46"/>
                <a:gd name="T22" fmla="*/ 2147483646 w 32"/>
                <a:gd name="T23" fmla="*/ 2147483646 h 46"/>
                <a:gd name="T24" fmla="*/ 2147483646 w 32"/>
                <a:gd name="T25" fmla="*/ 2147483646 h 46"/>
                <a:gd name="T26" fmla="*/ 2147483646 w 32"/>
                <a:gd name="T27" fmla="*/ 2147483646 h 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2" h="46">
                  <a:moveTo>
                    <a:pt x="32" y="0"/>
                  </a:moveTo>
                  <a:cubicBezTo>
                    <a:pt x="32" y="1"/>
                    <a:pt x="31" y="3"/>
                    <a:pt x="31" y="4"/>
                  </a:cubicBezTo>
                  <a:cubicBezTo>
                    <a:pt x="31" y="5"/>
                    <a:pt x="30" y="5"/>
                    <a:pt x="30" y="6"/>
                  </a:cubicBezTo>
                  <a:cubicBezTo>
                    <a:pt x="27" y="13"/>
                    <a:pt x="20" y="19"/>
                    <a:pt x="9" y="23"/>
                  </a:cubicBezTo>
                  <a:cubicBezTo>
                    <a:pt x="9" y="25"/>
                    <a:pt x="9" y="27"/>
                    <a:pt x="10" y="29"/>
                  </a:cubicBezTo>
                  <a:cubicBezTo>
                    <a:pt x="7" y="34"/>
                    <a:pt x="5" y="40"/>
                    <a:pt x="5" y="4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0" y="25"/>
                    <a:pt x="2" y="15"/>
                    <a:pt x="10" y="6"/>
                  </a:cubicBezTo>
                  <a:cubicBezTo>
                    <a:pt x="16" y="2"/>
                    <a:pt x="23" y="0"/>
                    <a:pt x="32" y="0"/>
                  </a:cubicBezTo>
                  <a:close/>
                  <a:moveTo>
                    <a:pt x="25" y="4"/>
                  </a:moveTo>
                  <a:cubicBezTo>
                    <a:pt x="23" y="11"/>
                    <a:pt x="17" y="17"/>
                    <a:pt x="9" y="22"/>
                  </a:cubicBezTo>
                  <a:cubicBezTo>
                    <a:pt x="20" y="18"/>
                    <a:pt x="27" y="11"/>
                    <a:pt x="30" y="1"/>
                  </a:cubicBezTo>
                  <a:cubicBezTo>
                    <a:pt x="23" y="1"/>
                    <a:pt x="17" y="2"/>
                    <a:pt x="12" y="6"/>
                  </a:cubicBezTo>
                  <a:cubicBezTo>
                    <a:pt x="18" y="4"/>
                    <a:pt x="23" y="3"/>
                    <a:pt x="25" y="4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2" name="Freeform 212"/>
            <p:cNvSpPr/>
            <p:nvPr/>
          </p:nvSpPr>
          <p:spPr bwMode="auto">
            <a:xfrm rot="521357">
              <a:off x="4065504" y="2239479"/>
              <a:ext cx="77221" cy="80398"/>
            </a:xfrm>
            <a:custGeom>
              <a:avLst/>
              <a:gdLst>
                <a:gd name="T0" fmla="*/ 0 w 21"/>
                <a:gd name="T1" fmla="*/ 2147483646 h 21"/>
                <a:gd name="T2" fmla="*/ 2147483646 w 21"/>
                <a:gd name="T3" fmla="*/ 2147483646 h 21"/>
                <a:gd name="T4" fmla="*/ 2147483646 w 21"/>
                <a:gd name="T5" fmla="*/ 2147483646 h 21"/>
                <a:gd name="T6" fmla="*/ 2147483646 w 21"/>
                <a:gd name="T7" fmla="*/ 0 h 21"/>
                <a:gd name="T8" fmla="*/ 0 w 21"/>
                <a:gd name="T9" fmla="*/ 2147483646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" h="21">
                  <a:moveTo>
                    <a:pt x="0" y="21"/>
                  </a:moveTo>
                  <a:cubicBezTo>
                    <a:pt x="8" y="16"/>
                    <a:pt x="14" y="10"/>
                    <a:pt x="16" y="3"/>
                  </a:cubicBezTo>
                  <a:cubicBezTo>
                    <a:pt x="14" y="2"/>
                    <a:pt x="9" y="3"/>
                    <a:pt x="3" y="5"/>
                  </a:cubicBezTo>
                  <a:cubicBezTo>
                    <a:pt x="8" y="1"/>
                    <a:pt x="14" y="0"/>
                    <a:pt x="21" y="0"/>
                  </a:cubicBezTo>
                  <a:cubicBezTo>
                    <a:pt x="18" y="10"/>
                    <a:pt x="11" y="17"/>
                    <a:pt x="0" y="21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3" name="Freeform 213"/>
            <p:cNvSpPr>
              <a:spLocks noEditPoints="1"/>
            </p:cNvSpPr>
            <p:nvPr/>
          </p:nvSpPr>
          <p:spPr bwMode="auto">
            <a:xfrm rot="521357">
              <a:off x="4060835" y="2259209"/>
              <a:ext cx="97708" cy="187049"/>
            </a:xfrm>
            <a:custGeom>
              <a:avLst/>
              <a:gdLst>
                <a:gd name="T0" fmla="*/ 2147483646 w 26"/>
                <a:gd name="T1" fmla="*/ 2147483646 h 48"/>
                <a:gd name="T2" fmla="*/ 2147483646 w 26"/>
                <a:gd name="T3" fmla="*/ 0 h 48"/>
                <a:gd name="T4" fmla="*/ 2147483646 w 26"/>
                <a:gd name="T5" fmla="*/ 2147483646 h 48"/>
                <a:gd name="T6" fmla="*/ 2147483646 w 26"/>
                <a:gd name="T7" fmla="*/ 2147483646 h 48"/>
                <a:gd name="T8" fmla="*/ 2147483646 w 26"/>
                <a:gd name="T9" fmla="*/ 2147483646 h 48"/>
                <a:gd name="T10" fmla="*/ 2147483646 w 26"/>
                <a:gd name="T11" fmla="*/ 2147483646 h 48"/>
                <a:gd name="T12" fmla="*/ 2147483646 w 26"/>
                <a:gd name="T13" fmla="*/ 2147483646 h 48"/>
                <a:gd name="T14" fmla="*/ 2147483646 w 26"/>
                <a:gd name="T15" fmla="*/ 2147483646 h 48"/>
                <a:gd name="T16" fmla="*/ 2147483646 w 26"/>
                <a:gd name="T17" fmla="*/ 2147483646 h 48"/>
                <a:gd name="T18" fmla="*/ 2147483646 w 26"/>
                <a:gd name="T19" fmla="*/ 2147483646 h 48"/>
                <a:gd name="T20" fmla="*/ 2147483646 w 26"/>
                <a:gd name="T21" fmla="*/ 2147483646 h 48"/>
                <a:gd name="T22" fmla="*/ 2147483646 w 26"/>
                <a:gd name="T23" fmla="*/ 2147483646 h 48"/>
                <a:gd name="T24" fmla="*/ 2147483646 w 26"/>
                <a:gd name="T25" fmla="*/ 2147483646 h 48"/>
                <a:gd name="T26" fmla="*/ 2147483646 w 26"/>
                <a:gd name="T27" fmla="*/ 2147483646 h 48"/>
                <a:gd name="T28" fmla="*/ 2147483646 w 26"/>
                <a:gd name="T29" fmla="*/ 2147483646 h 48"/>
                <a:gd name="T30" fmla="*/ 2147483646 w 26"/>
                <a:gd name="T31" fmla="*/ 2147483646 h 48"/>
                <a:gd name="T32" fmla="*/ 2147483646 w 26"/>
                <a:gd name="T33" fmla="*/ 2147483646 h 48"/>
                <a:gd name="T34" fmla="*/ 2147483646 w 26"/>
                <a:gd name="T35" fmla="*/ 2147483646 h 48"/>
                <a:gd name="T36" fmla="*/ 2147483646 w 26"/>
                <a:gd name="T37" fmla="*/ 2147483646 h 48"/>
                <a:gd name="T38" fmla="*/ 2147483646 w 26"/>
                <a:gd name="T39" fmla="*/ 2147483646 h 48"/>
                <a:gd name="T40" fmla="*/ 2147483646 w 26"/>
                <a:gd name="T41" fmla="*/ 2147483646 h 48"/>
                <a:gd name="T42" fmla="*/ 2147483646 w 26"/>
                <a:gd name="T43" fmla="*/ 2147483646 h 48"/>
                <a:gd name="T44" fmla="*/ 2147483646 w 26"/>
                <a:gd name="T45" fmla="*/ 2147483646 h 48"/>
                <a:gd name="T46" fmla="*/ 2147483646 w 26"/>
                <a:gd name="T47" fmla="*/ 2147483646 h 48"/>
                <a:gd name="T48" fmla="*/ 2147483646 w 26"/>
                <a:gd name="T49" fmla="*/ 2147483646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6" h="48">
                  <a:moveTo>
                    <a:pt x="16" y="7"/>
                  </a:moveTo>
                  <a:cubicBezTo>
                    <a:pt x="19" y="5"/>
                    <a:pt x="19" y="3"/>
                    <a:pt x="19" y="0"/>
                  </a:cubicBezTo>
                  <a:cubicBezTo>
                    <a:pt x="22" y="4"/>
                    <a:pt x="23" y="7"/>
                    <a:pt x="22" y="12"/>
                  </a:cubicBezTo>
                  <a:cubicBezTo>
                    <a:pt x="25" y="16"/>
                    <a:pt x="26" y="21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1" y="31"/>
                    <a:pt x="21" y="32"/>
                  </a:cubicBezTo>
                  <a:cubicBezTo>
                    <a:pt x="20" y="33"/>
                    <a:pt x="19" y="33"/>
                    <a:pt x="18" y="34"/>
                  </a:cubicBezTo>
                  <a:cubicBezTo>
                    <a:pt x="17" y="34"/>
                    <a:pt x="16" y="35"/>
                    <a:pt x="15" y="35"/>
                  </a:cubicBezTo>
                  <a:cubicBezTo>
                    <a:pt x="14" y="35"/>
                    <a:pt x="12" y="35"/>
                    <a:pt x="10" y="3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8" y="36"/>
                    <a:pt x="14" y="38"/>
                    <a:pt x="20" y="39"/>
                  </a:cubicBezTo>
                  <a:cubicBezTo>
                    <a:pt x="22" y="42"/>
                    <a:pt x="24" y="44"/>
                    <a:pt x="25" y="47"/>
                  </a:cubicBezTo>
                  <a:cubicBezTo>
                    <a:pt x="19" y="48"/>
                    <a:pt x="13" y="46"/>
                    <a:pt x="8" y="41"/>
                  </a:cubicBezTo>
                  <a:cubicBezTo>
                    <a:pt x="2" y="41"/>
                    <a:pt x="0" y="38"/>
                    <a:pt x="1" y="31"/>
                  </a:cubicBezTo>
                  <a:cubicBezTo>
                    <a:pt x="0" y="27"/>
                    <a:pt x="0" y="23"/>
                    <a:pt x="1" y="19"/>
                  </a:cubicBezTo>
                  <a:cubicBezTo>
                    <a:pt x="7" y="16"/>
                    <a:pt x="12" y="12"/>
                    <a:pt x="16" y="7"/>
                  </a:cubicBezTo>
                  <a:close/>
                  <a:moveTo>
                    <a:pt x="20" y="3"/>
                  </a:moveTo>
                  <a:cubicBezTo>
                    <a:pt x="21" y="5"/>
                    <a:pt x="21" y="8"/>
                    <a:pt x="20" y="12"/>
                  </a:cubicBezTo>
                  <a:cubicBezTo>
                    <a:pt x="22" y="16"/>
                    <a:pt x="22" y="20"/>
                    <a:pt x="21" y="24"/>
                  </a:cubicBezTo>
                  <a:cubicBezTo>
                    <a:pt x="20" y="29"/>
                    <a:pt x="18" y="32"/>
                    <a:pt x="15" y="34"/>
                  </a:cubicBezTo>
                  <a:cubicBezTo>
                    <a:pt x="16" y="34"/>
                    <a:pt x="17" y="34"/>
                    <a:pt x="18" y="33"/>
                  </a:cubicBezTo>
                  <a:cubicBezTo>
                    <a:pt x="20" y="32"/>
                    <a:pt x="22" y="29"/>
                    <a:pt x="22" y="24"/>
                  </a:cubicBezTo>
                  <a:cubicBezTo>
                    <a:pt x="24" y="21"/>
                    <a:pt x="24" y="16"/>
                    <a:pt x="22" y="12"/>
                  </a:cubicBezTo>
                  <a:cubicBezTo>
                    <a:pt x="22" y="8"/>
                    <a:pt x="22" y="5"/>
                    <a:pt x="20" y="3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4" name="Freeform 214"/>
            <p:cNvSpPr/>
            <p:nvPr/>
          </p:nvSpPr>
          <p:spPr bwMode="auto">
            <a:xfrm rot="521357">
              <a:off x="4120511" y="2274629"/>
              <a:ext cx="33095" cy="121418"/>
            </a:xfrm>
            <a:custGeom>
              <a:avLst/>
              <a:gdLst>
                <a:gd name="T0" fmla="*/ 2147483646 w 9"/>
                <a:gd name="T1" fmla="*/ 2147483646 h 31"/>
                <a:gd name="T2" fmla="*/ 2147483646 w 9"/>
                <a:gd name="T3" fmla="*/ 0 h 31"/>
                <a:gd name="T4" fmla="*/ 2147483646 w 9"/>
                <a:gd name="T5" fmla="*/ 2147483646 h 31"/>
                <a:gd name="T6" fmla="*/ 2147483646 w 9"/>
                <a:gd name="T7" fmla="*/ 2147483646 h 31"/>
                <a:gd name="T8" fmla="*/ 2147483646 w 9"/>
                <a:gd name="T9" fmla="*/ 2147483646 h 31"/>
                <a:gd name="T10" fmla="*/ 0 w 9"/>
                <a:gd name="T11" fmla="*/ 2147483646 h 31"/>
                <a:gd name="T12" fmla="*/ 2147483646 w 9"/>
                <a:gd name="T13" fmla="*/ 2147483646 h 31"/>
                <a:gd name="T14" fmla="*/ 2147483646 w 9"/>
                <a:gd name="T15" fmla="*/ 2147483646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31">
                  <a:moveTo>
                    <a:pt x="5" y="9"/>
                  </a:moveTo>
                  <a:cubicBezTo>
                    <a:pt x="6" y="5"/>
                    <a:pt x="6" y="2"/>
                    <a:pt x="5" y="0"/>
                  </a:cubicBezTo>
                  <a:cubicBezTo>
                    <a:pt x="7" y="2"/>
                    <a:pt x="7" y="5"/>
                    <a:pt x="7" y="9"/>
                  </a:cubicBezTo>
                  <a:cubicBezTo>
                    <a:pt x="9" y="13"/>
                    <a:pt x="9" y="18"/>
                    <a:pt x="7" y="21"/>
                  </a:cubicBezTo>
                  <a:cubicBezTo>
                    <a:pt x="7" y="26"/>
                    <a:pt x="5" y="29"/>
                    <a:pt x="3" y="30"/>
                  </a:cubicBezTo>
                  <a:cubicBezTo>
                    <a:pt x="2" y="31"/>
                    <a:pt x="1" y="31"/>
                    <a:pt x="0" y="31"/>
                  </a:cubicBezTo>
                  <a:cubicBezTo>
                    <a:pt x="3" y="29"/>
                    <a:pt x="5" y="26"/>
                    <a:pt x="6" y="21"/>
                  </a:cubicBezTo>
                  <a:cubicBezTo>
                    <a:pt x="7" y="17"/>
                    <a:pt x="7" y="13"/>
                    <a:pt x="5" y="9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5" name="Freeform 215"/>
            <p:cNvSpPr/>
            <p:nvPr/>
          </p:nvSpPr>
          <p:spPr bwMode="auto">
            <a:xfrm rot="521357">
              <a:off x="4056208" y="2256823"/>
              <a:ext cx="77221" cy="167359"/>
            </a:xfrm>
            <a:custGeom>
              <a:avLst/>
              <a:gdLst>
                <a:gd name="T0" fmla="*/ 2147483646 w 21"/>
                <a:gd name="T1" fmla="*/ 0 h 43"/>
                <a:gd name="T2" fmla="*/ 2147483646 w 21"/>
                <a:gd name="T3" fmla="*/ 2147483646 h 43"/>
                <a:gd name="T4" fmla="*/ 2147483646 w 21"/>
                <a:gd name="T5" fmla="*/ 2147483646 h 43"/>
                <a:gd name="T6" fmla="*/ 2147483646 w 21"/>
                <a:gd name="T7" fmla="*/ 2147483646 h 43"/>
                <a:gd name="T8" fmla="*/ 2147483646 w 21"/>
                <a:gd name="T9" fmla="*/ 2147483646 h 43"/>
                <a:gd name="T10" fmla="*/ 2147483646 w 21"/>
                <a:gd name="T11" fmla="*/ 2147483646 h 43"/>
                <a:gd name="T12" fmla="*/ 2147483646 w 21"/>
                <a:gd name="T13" fmla="*/ 2147483646 h 43"/>
                <a:gd name="T14" fmla="*/ 2147483646 w 21"/>
                <a:gd name="T15" fmla="*/ 2147483646 h 43"/>
                <a:gd name="T16" fmla="*/ 0 w 21"/>
                <a:gd name="T17" fmla="*/ 2147483646 h 43"/>
                <a:gd name="T18" fmla="*/ 2147483646 w 21"/>
                <a:gd name="T19" fmla="*/ 0 h 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3"/>
                    <a:pt x="21" y="5"/>
                    <a:pt x="18" y="7"/>
                  </a:cubicBezTo>
                  <a:cubicBezTo>
                    <a:pt x="14" y="12"/>
                    <a:pt x="9" y="16"/>
                    <a:pt x="3" y="19"/>
                  </a:cubicBezTo>
                  <a:cubicBezTo>
                    <a:pt x="2" y="23"/>
                    <a:pt x="2" y="27"/>
                    <a:pt x="3" y="31"/>
                  </a:cubicBezTo>
                  <a:cubicBezTo>
                    <a:pt x="2" y="38"/>
                    <a:pt x="4" y="41"/>
                    <a:pt x="10" y="41"/>
                  </a:cubicBezTo>
                  <a:cubicBezTo>
                    <a:pt x="5" y="43"/>
                    <a:pt x="2" y="43"/>
                    <a:pt x="1" y="39"/>
                  </a:cubicBezTo>
                  <a:cubicBezTo>
                    <a:pt x="0" y="35"/>
                    <a:pt x="0" y="31"/>
                    <a:pt x="2" y="27"/>
                  </a:cubicBezTo>
                  <a:cubicBezTo>
                    <a:pt x="1" y="26"/>
                    <a:pt x="1" y="25"/>
                    <a:pt x="1" y="23"/>
                  </a:cubicBezTo>
                  <a:cubicBezTo>
                    <a:pt x="0" y="21"/>
                    <a:pt x="0" y="19"/>
                    <a:pt x="0" y="17"/>
                  </a:cubicBezTo>
                  <a:cubicBezTo>
                    <a:pt x="11" y="13"/>
                    <a:pt x="18" y="7"/>
                    <a:pt x="21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6" name="Freeform 216"/>
            <p:cNvSpPr/>
            <p:nvPr/>
          </p:nvSpPr>
          <p:spPr bwMode="auto">
            <a:xfrm rot="521357">
              <a:off x="4138593" y="2259392"/>
              <a:ext cx="37822" cy="103369"/>
            </a:xfrm>
            <a:custGeom>
              <a:avLst/>
              <a:gdLst>
                <a:gd name="T0" fmla="*/ 2147483646 w 10"/>
                <a:gd name="T1" fmla="*/ 2147483646 h 27"/>
                <a:gd name="T2" fmla="*/ 0 w 10"/>
                <a:gd name="T3" fmla="*/ 2147483646 h 27"/>
                <a:gd name="T4" fmla="*/ 2147483646 w 10"/>
                <a:gd name="T5" fmla="*/ 0 h 27"/>
                <a:gd name="T6" fmla="*/ 2147483646 w 10"/>
                <a:gd name="T7" fmla="*/ 2147483646 h 27"/>
                <a:gd name="T8" fmla="*/ 2147483646 w 10"/>
                <a:gd name="T9" fmla="*/ 2147483646 h 27"/>
                <a:gd name="T10" fmla="*/ 2147483646 w 10"/>
                <a:gd name="T11" fmla="*/ 2147483646 h 27"/>
                <a:gd name="T12" fmla="*/ 2147483646 w 10"/>
                <a:gd name="T13" fmla="*/ 2147483646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27">
                  <a:moveTo>
                    <a:pt x="3" y="14"/>
                  </a:moveTo>
                  <a:cubicBezTo>
                    <a:pt x="4" y="9"/>
                    <a:pt x="3" y="6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5" y="5"/>
                    <a:pt x="6" y="10"/>
                    <a:pt x="6" y="14"/>
                  </a:cubicBezTo>
                  <a:cubicBezTo>
                    <a:pt x="8" y="16"/>
                    <a:pt x="9" y="19"/>
                    <a:pt x="10" y="22"/>
                  </a:cubicBezTo>
                  <a:cubicBezTo>
                    <a:pt x="8" y="22"/>
                    <a:pt x="6" y="24"/>
                    <a:pt x="4" y="27"/>
                  </a:cubicBezTo>
                  <a:cubicBezTo>
                    <a:pt x="7" y="23"/>
                    <a:pt x="6" y="18"/>
                    <a:pt x="3" y="1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7" name="Freeform 217"/>
            <p:cNvSpPr/>
            <p:nvPr/>
          </p:nvSpPr>
          <p:spPr bwMode="auto">
            <a:xfrm rot="521357">
              <a:off x="4014588" y="2250547"/>
              <a:ext cx="77221" cy="182127"/>
            </a:xfrm>
            <a:custGeom>
              <a:avLst/>
              <a:gdLst>
                <a:gd name="T0" fmla="*/ 2147483646 w 21"/>
                <a:gd name="T1" fmla="*/ 2147483646 h 47"/>
                <a:gd name="T2" fmla="*/ 2147483646 w 21"/>
                <a:gd name="T3" fmla="*/ 2147483646 h 47"/>
                <a:gd name="T4" fmla="*/ 2147483646 w 21"/>
                <a:gd name="T5" fmla="*/ 2147483646 h 47"/>
                <a:gd name="T6" fmla="*/ 2147483646 w 21"/>
                <a:gd name="T7" fmla="*/ 2147483646 h 47"/>
                <a:gd name="T8" fmla="*/ 2147483646 w 21"/>
                <a:gd name="T9" fmla="*/ 2147483646 h 47"/>
                <a:gd name="T10" fmla="*/ 2147483646 w 21"/>
                <a:gd name="T11" fmla="*/ 2147483646 h 47"/>
                <a:gd name="T12" fmla="*/ 0 w 21"/>
                <a:gd name="T13" fmla="*/ 2147483646 h 47"/>
                <a:gd name="T14" fmla="*/ 2147483646 w 21"/>
                <a:gd name="T15" fmla="*/ 2147483646 h 47"/>
                <a:gd name="T16" fmla="*/ 2147483646 w 21"/>
                <a:gd name="T17" fmla="*/ 0 h 47"/>
                <a:gd name="T18" fmla="*/ 2147483646 w 21"/>
                <a:gd name="T19" fmla="*/ 2147483646 h 47"/>
                <a:gd name="T20" fmla="*/ 2147483646 w 21"/>
                <a:gd name="T21" fmla="*/ 2147483646 h 47"/>
                <a:gd name="T22" fmla="*/ 2147483646 w 21"/>
                <a:gd name="T23" fmla="*/ 2147483646 h 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" h="47">
                  <a:moveTo>
                    <a:pt x="12" y="23"/>
                  </a:moveTo>
                  <a:cubicBezTo>
                    <a:pt x="12" y="25"/>
                    <a:pt x="12" y="26"/>
                    <a:pt x="13" y="27"/>
                  </a:cubicBezTo>
                  <a:cubicBezTo>
                    <a:pt x="11" y="31"/>
                    <a:pt x="11" y="35"/>
                    <a:pt x="12" y="39"/>
                  </a:cubicBezTo>
                  <a:cubicBezTo>
                    <a:pt x="13" y="43"/>
                    <a:pt x="16" y="43"/>
                    <a:pt x="21" y="41"/>
                  </a:cubicBezTo>
                  <a:cubicBezTo>
                    <a:pt x="19" y="44"/>
                    <a:pt x="17" y="46"/>
                    <a:pt x="14" y="47"/>
                  </a:cubicBezTo>
                  <a:cubicBezTo>
                    <a:pt x="11" y="46"/>
                    <a:pt x="8" y="44"/>
                    <a:pt x="4" y="43"/>
                  </a:cubicBezTo>
                  <a:cubicBezTo>
                    <a:pt x="2" y="37"/>
                    <a:pt x="0" y="31"/>
                    <a:pt x="0" y="24"/>
                  </a:cubicBezTo>
                  <a:cubicBezTo>
                    <a:pt x="0" y="19"/>
                    <a:pt x="2" y="14"/>
                    <a:pt x="4" y="8"/>
                  </a:cubicBezTo>
                  <a:cubicBezTo>
                    <a:pt x="6" y="5"/>
                    <a:pt x="9" y="2"/>
                    <a:pt x="12" y="0"/>
                  </a:cubicBezTo>
                  <a:cubicBezTo>
                    <a:pt x="4" y="9"/>
                    <a:pt x="2" y="19"/>
                    <a:pt x="5" y="3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34"/>
                    <a:pt x="9" y="28"/>
                    <a:pt x="12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8" name="Freeform 218"/>
            <p:cNvSpPr>
              <a:spLocks noEditPoints="1"/>
            </p:cNvSpPr>
            <p:nvPr/>
          </p:nvSpPr>
          <p:spPr bwMode="auto">
            <a:xfrm rot="521357">
              <a:off x="4129675" y="2352530"/>
              <a:ext cx="357739" cy="162438"/>
            </a:xfrm>
            <a:custGeom>
              <a:avLst/>
              <a:gdLst>
                <a:gd name="T0" fmla="*/ 2147483646 w 96"/>
                <a:gd name="T1" fmla="*/ 2147483646 h 42"/>
                <a:gd name="T2" fmla="*/ 2147483646 w 96"/>
                <a:gd name="T3" fmla="*/ 2147483646 h 42"/>
                <a:gd name="T4" fmla="*/ 2147483646 w 96"/>
                <a:gd name="T5" fmla="*/ 2147483646 h 42"/>
                <a:gd name="T6" fmla="*/ 2147483646 w 96"/>
                <a:gd name="T7" fmla="*/ 2147483646 h 42"/>
                <a:gd name="T8" fmla="*/ 2147483646 w 96"/>
                <a:gd name="T9" fmla="*/ 2147483646 h 42"/>
                <a:gd name="T10" fmla="*/ 2147483646 w 96"/>
                <a:gd name="T11" fmla="*/ 2147483646 h 42"/>
                <a:gd name="T12" fmla="*/ 2147483646 w 96"/>
                <a:gd name="T13" fmla="*/ 2147483646 h 42"/>
                <a:gd name="T14" fmla="*/ 2147483646 w 96"/>
                <a:gd name="T15" fmla="*/ 2147483646 h 42"/>
                <a:gd name="T16" fmla="*/ 2147483646 w 96"/>
                <a:gd name="T17" fmla="*/ 0 h 42"/>
                <a:gd name="T18" fmla="*/ 2147483646 w 96"/>
                <a:gd name="T19" fmla="*/ 2147483646 h 42"/>
                <a:gd name="T20" fmla="*/ 2147483646 w 96"/>
                <a:gd name="T21" fmla="*/ 2147483646 h 42"/>
                <a:gd name="T22" fmla="*/ 2147483646 w 96"/>
                <a:gd name="T23" fmla="*/ 2147483646 h 42"/>
                <a:gd name="T24" fmla="*/ 2147483646 w 96"/>
                <a:gd name="T25" fmla="*/ 2147483646 h 42"/>
                <a:gd name="T26" fmla="*/ 2147483646 w 96"/>
                <a:gd name="T27" fmla="*/ 2147483646 h 42"/>
                <a:gd name="T28" fmla="*/ 2147483646 w 96"/>
                <a:gd name="T29" fmla="*/ 2147483646 h 42"/>
                <a:gd name="T30" fmla="*/ 2147483646 w 96"/>
                <a:gd name="T31" fmla="*/ 2147483646 h 42"/>
                <a:gd name="T32" fmla="*/ 2147483646 w 96"/>
                <a:gd name="T33" fmla="*/ 2147483646 h 42"/>
                <a:gd name="T34" fmla="*/ 2147483646 w 96"/>
                <a:gd name="T35" fmla="*/ 2147483646 h 42"/>
                <a:gd name="T36" fmla="*/ 2147483646 w 96"/>
                <a:gd name="T37" fmla="*/ 2147483646 h 42"/>
                <a:gd name="T38" fmla="*/ 0 w 96"/>
                <a:gd name="T39" fmla="*/ 2147483646 h 42"/>
                <a:gd name="T40" fmla="*/ 2147483646 w 96"/>
                <a:gd name="T41" fmla="*/ 2147483646 h 42"/>
                <a:gd name="T42" fmla="*/ 2147483646 w 96"/>
                <a:gd name="T43" fmla="*/ 2147483646 h 42"/>
                <a:gd name="T44" fmla="*/ 2147483646 w 96"/>
                <a:gd name="T45" fmla="*/ 2147483646 h 42"/>
                <a:gd name="T46" fmla="*/ 2147483646 w 96"/>
                <a:gd name="T47" fmla="*/ 2147483646 h 42"/>
                <a:gd name="T48" fmla="*/ 2147483646 w 96"/>
                <a:gd name="T49" fmla="*/ 2147483646 h 42"/>
                <a:gd name="T50" fmla="*/ 2147483646 w 96"/>
                <a:gd name="T51" fmla="*/ 2147483646 h 42"/>
                <a:gd name="T52" fmla="*/ 2147483646 w 96"/>
                <a:gd name="T53" fmla="*/ 2147483646 h 42"/>
                <a:gd name="T54" fmla="*/ 2147483646 w 96"/>
                <a:gd name="T55" fmla="*/ 2147483646 h 42"/>
                <a:gd name="T56" fmla="*/ 2147483646 w 96"/>
                <a:gd name="T57" fmla="*/ 2147483646 h 42"/>
                <a:gd name="T58" fmla="*/ 2147483646 w 96"/>
                <a:gd name="T59" fmla="*/ 2147483646 h 42"/>
                <a:gd name="T60" fmla="*/ 2147483646 w 96"/>
                <a:gd name="T61" fmla="*/ 2147483646 h 42"/>
                <a:gd name="T62" fmla="*/ 2147483646 w 96"/>
                <a:gd name="T63" fmla="*/ 2147483646 h 42"/>
                <a:gd name="T64" fmla="*/ 2147483646 w 96"/>
                <a:gd name="T65" fmla="*/ 2147483646 h 42"/>
                <a:gd name="T66" fmla="*/ 2147483646 w 96"/>
                <a:gd name="T67" fmla="*/ 2147483646 h 42"/>
                <a:gd name="T68" fmla="*/ 2147483646 w 96"/>
                <a:gd name="T69" fmla="*/ 2147483646 h 42"/>
                <a:gd name="T70" fmla="*/ 2147483646 w 96"/>
                <a:gd name="T71" fmla="*/ 2147483646 h 42"/>
                <a:gd name="T72" fmla="*/ 2147483646 w 96"/>
                <a:gd name="T73" fmla="*/ 2147483646 h 42"/>
                <a:gd name="T74" fmla="*/ 2147483646 w 96"/>
                <a:gd name="T75" fmla="*/ 2147483646 h 42"/>
                <a:gd name="T76" fmla="*/ 2147483646 w 96"/>
                <a:gd name="T77" fmla="*/ 2147483646 h 42"/>
                <a:gd name="T78" fmla="*/ 2147483646 w 96"/>
                <a:gd name="T79" fmla="*/ 2147483646 h 42"/>
                <a:gd name="T80" fmla="*/ 2147483646 w 96"/>
                <a:gd name="T81" fmla="*/ 2147483646 h 42"/>
                <a:gd name="T82" fmla="*/ 2147483646 w 96"/>
                <a:gd name="T83" fmla="*/ 2147483646 h 42"/>
                <a:gd name="T84" fmla="*/ 2147483646 w 96"/>
                <a:gd name="T85" fmla="*/ 2147483646 h 42"/>
                <a:gd name="T86" fmla="*/ 2147483646 w 96"/>
                <a:gd name="T87" fmla="*/ 2147483646 h 42"/>
                <a:gd name="T88" fmla="*/ 2147483646 w 96"/>
                <a:gd name="T89" fmla="*/ 2147483646 h 42"/>
                <a:gd name="T90" fmla="*/ 2147483646 w 96"/>
                <a:gd name="T91" fmla="*/ 2147483646 h 42"/>
                <a:gd name="T92" fmla="*/ 2147483646 w 96"/>
                <a:gd name="T93" fmla="*/ 2147483646 h 4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96" h="42">
                  <a:moveTo>
                    <a:pt x="19" y="8"/>
                  </a:moveTo>
                  <a:cubicBezTo>
                    <a:pt x="20" y="8"/>
                    <a:pt x="20" y="8"/>
                    <a:pt x="20" y="8"/>
                  </a:cubicBezTo>
                  <a:cubicBezTo>
                    <a:pt x="28" y="10"/>
                    <a:pt x="36" y="11"/>
                    <a:pt x="44" y="11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36" y="23"/>
                    <a:pt x="27" y="20"/>
                    <a:pt x="18" y="14"/>
                  </a:cubicBezTo>
                  <a:cubicBezTo>
                    <a:pt x="24" y="18"/>
                    <a:pt x="29" y="24"/>
                    <a:pt x="33" y="30"/>
                  </a:cubicBezTo>
                  <a:cubicBezTo>
                    <a:pt x="35" y="33"/>
                    <a:pt x="37" y="35"/>
                    <a:pt x="38" y="38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5"/>
                    <a:pt x="1" y="14"/>
                    <a:pt x="1" y="14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4" y="6"/>
                    <a:pt x="6" y="4"/>
                    <a:pt x="8" y="4"/>
                  </a:cubicBezTo>
                  <a:cubicBezTo>
                    <a:pt x="11" y="4"/>
                    <a:pt x="15" y="5"/>
                    <a:pt x="19" y="8"/>
                  </a:cubicBezTo>
                  <a:close/>
                  <a:moveTo>
                    <a:pt x="51" y="11"/>
                  </a:moveTo>
                  <a:cubicBezTo>
                    <a:pt x="50" y="9"/>
                    <a:pt x="50" y="9"/>
                    <a:pt x="50" y="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5" y="6"/>
                    <a:pt x="11" y="5"/>
                    <a:pt x="8" y="5"/>
                  </a:cubicBezTo>
                  <a:cubicBezTo>
                    <a:pt x="6" y="5"/>
                    <a:pt x="4" y="7"/>
                    <a:pt x="3" y="9"/>
                  </a:cubicBezTo>
                  <a:cubicBezTo>
                    <a:pt x="4" y="8"/>
                    <a:pt x="6" y="7"/>
                    <a:pt x="8" y="7"/>
                  </a:cubicBezTo>
                  <a:cubicBezTo>
                    <a:pt x="11" y="7"/>
                    <a:pt x="15" y="8"/>
                    <a:pt x="18" y="10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1" y="11"/>
                    <a:pt x="51" y="11"/>
                    <a:pt x="51" y="11"/>
                  </a:cubicBezTo>
                  <a:close/>
                  <a:moveTo>
                    <a:pt x="58" y="10"/>
                  </a:moveTo>
                  <a:cubicBezTo>
                    <a:pt x="55" y="13"/>
                    <a:pt x="55" y="13"/>
                    <a:pt x="55" y="13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58" y="10"/>
                    <a:pt x="58" y="10"/>
                    <a:pt x="58" y="10"/>
                  </a:cubicBezTo>
                  <a:close/>
                  <a:moveTo>
                    <a:pt x="18" y="15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23" y="23"/>
                    <a:pt x="30" y="30"/>
                    <a:pt x="34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2" y="29"/>
                    <a:pt x="26" y="22"/>
                    <a:pt x="18" y="15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9" name="Freeform 219"/>
            <p:cNvSpPr/>
            <p:nvPr/>
          </p:nvSpPr>
          <p:spPr bwMode="auto">
            <a:xfrm rot="521357">
              <a:off x="4148542" y="2360962"/>
              <a:ext cx="179657" cy="31175"/>
            </a:xfrm>
            <a:custGeom>
              <a:avLst/>
              <a:gdLst>
                <a:gd name="T0" fmla="*/ 2147483646 w 48"/>
                <a:gd name="T1" fmla="*/ 2147483646 h 8"/>
                <a:gd name="T2" fmla="*/ 2147483646 w 48"/>
                <a:gd name="T3" fmla="*/ 2147483646 h 8"/>
                <a:gd name="T4" fmla="*/ 2147483646 w 48"/>
                <a:gd name="T5" fmla="*/ 2147483646 h 8"/>
                <a:gd name="T6" fmla="*/ 2147483646 w 48"/>
                <a:gd name="T7" fmla="*/ 2147483646 h 8"/>
                <a:gd name="T8" fmla="*/ 2147483646 w 48"/>
                <a:gd name="T9" fmla="*/ 2147483646 h 8"/>
                <a:gd name="T10" fmla="*/ 2147483646 w 48"/>
                <a:gd name="T11" fmla="*/ 2147483646 h 8"/>
                <a:gd name="T12" fmla="*/ 0 w 48"/>
                <a:gd name="T13" fmla="*/ 2147483646 h 8"/>
                <a:gd name="T14" fmla="*/ 2147483646 w 48"/>
                <a:gd name="T15" fmla="*/ 0 h 8"/>
                <a:gd name="T16" fmla="*/ 2147483646 w 48"/>
                <a:gd name="T17" fmla="*/ 2147483646 h 8"/>
                <a:gd name="T18" fmla="*/ 2147483646 w 48"/>
                <a:gd name="T19" fmla="*/ 2147483646 h 8"/>
                <a:gd name="T20" fmla="*/ 2147483646 w 48"/>
                <a:gd name="T21" fmla="*/ 2147483646 h 8"/>
                <a:gd name="T22" fmla="*/ 2147483646 w 48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8">
                  <a:moveTo>
                    <a:pt x="47" y="4"/>
                  </a:moveTo>
                  <a:cubicBezTo>
                    <a:pt x="48" y="6"/>
                    <a:pt x="48" y="6"/>
                    <a:pt x="48" y="6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3" y="2"/>
                    <a:pt x="1" y="3"/>
                    <a:pt x="0" y="4"/>
                  </a:cubicBezTo>
                  <a:cubicBezTo>
                    <a:pt x="1" y="2"/>
                    <a:pt x="3" y="0"/>
                    <a:pt x="5" y="0"/>
                  </a:cubicBezTo>
                  <a:cubicBezTo>
                    <a:pt x="8" y="0"/>
                    <a:pt x="12" y="1"/>
                    <a:pt x="16" y="3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7" y="4"/>
                    <a:pt x="47" y="4"/>
                    <a:pt x="47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0" name="Freeform 220"/>
            <p:cNvSpPr/>
            <p:nvPr/>
          </p:nvSpPr>
          <p:spPr bwMode="auto">
            <a:xfrm rot="521357">
              <a:off x="4341454" y="2373183"/>
              <a:ext cx="148138" cy="45941"/>
            </a:xfrm>
            <a:custGeom>
              <a:avLst/>
              <a:gdLst>
                <a:gd name="T0" fmla="*/ 0 w 94"/>
                <a:gd name="T1" fmla="*/ 2147483646 h 28"/>
                <a:gd name="T2" fmla="*/ 2147483646 w 94"/>
                <a:gd name="T3" fmla="*/ 2147483646 h 28"/>
                <a:gd name="T4" fmla="*/ 2147483646 w 94"/>
                <a:gd name="T5" fmla="*/ 0 h 28"/>
                <a:gd name="T6" fmla="*/ 2147483646 w 94"/>
                <a:gd name="T7" fmla="*/ 2147483646 h 28"/>
                <a:gd name="T8" fmla="*/ 0 w 94"/>
                <a:gd name="T9" fmla="*/ 2147483646 h 28"/>
                <a:gd name="T10" fmla="*/ 0 w 94"/>
                <a:gd name="T11" fmla="*/ 2147483646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4" h="28">
                  <a:moveTo>
                    <a:pt x="0" y="28"/>
                  </a:moveTo>
                  <a:lnTo>
                    <a:pt x="7" y="21"/>
                  </a:lnTo>
                  <a:lnTo>
                    <a:pt x="94" y="0"/>
                  </a:lnTo>
                  <a:lnTo>
                    <a:pt x="87" y="7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1" name="Freeform 221"/>
            <p:cNvSpPr/>
            <p:nvPr/>
          </p:nvSpPr>
          <p:spPr bwMode="auto">
            <a:xfrm rot="521357">
              <a:off x="4186906" y="2398945"/>
              <a:ext cx="74069" cy="91884"/>
            </a:xfrm>
            <a:custGeom>
              <a:avLst/>
              <a:gdLst>
                <a:gd name="T0" fmla="*/ 0 w 20"/>
                <a:gd name="T1" fmla="*/ 2147483646 h 24"/>
                <a:gd name="T2" fmla="*/ 2147483646 w 20"/>
                <a:gd name="T3" fmla="*/ 0 h 24"/>
                <a:gd name="T4" fmla="*/ 2147483646 w 20"/>
                <a:gd name="T5" fmla="*/ 2147483646 h 24"/>
                <a:gd name="T6" fmla="*/ 2147483646 w 20"/>
                <a:gd name="T7" fmla="*/ 2147483646 h 24"/>
                <a:gd name="T8" fmla="*/ 0 w 20"/>
                <a:gd name="T9" fmla="*/ 2147483646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24">
                  <a:moveTo>
                    <a:pt x="0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0" y="7"/>
                    <a:pt x="16" y="14"/>
                    <a:pt x="20" y="23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4" y="15"/>
                    <a:pt x="7" y="8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2" name="Freeform 222"/>
            <p:cNvSpPr/>
            <p:nvPr/>
          </p:nvSpPr>
          <p:spPr bwMode="auto">
            <a:xfrm rot="521357">
              <a:off x="4307902" y="2389512"/>
              <a:ext cx="37822" cy="47584"/>
            </a:xfrm>
            <a:custGeom>
              <a:avLst/>
              <a:gdLst>
                <a:gd name="T0" fmla="*/ 2147483646 w 24"/>
                <a:gd name="T1" fmla="*/ 2147483646 h 29"/>
                <a:gd name="T2" fmla="*/ 2147483646 w 24"/>
                <a:gd name="T3" fmla="*/ 2147483646 h 29"/>
                <a:gd name="T4" fmla="*/ 2147483646 w 24"/>
                <a:gd name="T5" fmla="*/ 0 h 29"/>
                <a:gd name="T6" fmla="*/ 0 w 24"/>
                <a:gd name="T7" fmla="*/ 2147483646 h 29"/>
                <a:gd name="T8" fmla="*/ 2147483646 w 24"/>
                <a:gd name="T9" fmla="*/ 2147483646 h 29"/>
                <a:gd name="T10" fmla="*/ 2147483646 w 24"/>
                <a:gd name="T11" fmla="*/ 2147483646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29">
                  <a:moveTo>
                    <a:pt x="12" y="3"/>
                  </a:moveTo>
                  <a:lnTo>
                    <a:pt x="17" y="3"/>
                  </a:lnTo>
                  <a:lnTo>
                    <a:pt x="24" y="0"/>
                  </a:lnTo>
                  <a:lnTo>
                    <a:pt x="0" y="29"/>
                  </a:lnTo>
                  <a:lnTo>
                    <a:pt x="12" y="3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3" name="Freeform 223"/>
            <p:cNvSpPr/>
            <p:nvPr/>
          </p:nvSpPr>
          <p:spPr bwMode="auto">
            <a:xfrm rot="521357">
              <a:off x="4377164" y="2399825"/>
              <a:ext cx="119771" cy="65631"/>
            </a:xfrm>
            <a:custGeom>
              <a:avLst/>
              <a:gdLst>
                <a:gd name="T0" fmla="*/ 2147483646 w 32"/>
                <a:gd name="T1" fmla="*/ 0 h 17"/>
                <a:gd name="T2" fmla="*/ 2147483646 w 32"/>
                <a:gd name="T3" fmla="*/ 2147483646 h 17"/>
                <a:gd name="T4" fmla="*/ 2147483646 w 32"/>
                <a:gd name="T5" fmla="*/ 2147483646 h 17"/>
                <a:gd name="T6" fmla="*/ 2147483646 w 32"/>
                <a:gd name="T7" fmla="*/ 2147483646 h 17"/>
                <a:gd name="T8" fmla="*/ 0 w 32"/>
                <a:gd name="T9" fmla="*/ 2147483646 h 17"/>
                <a:gd name="T10" fmla="*/ 2147483646 w 32"/>
                <a:gd name="T11" fmla="*/ 0 h 17"/>
                <a:gd name="T12" fmla="*/ 2147483646 w 32"/>
                <a:gd name="T13" fmla="*/ 0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2" h="17">
                  <a:moveTo>
                    <a:pt x="28" y="0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30" y="5"/>
                    <a:pt x="31" y="7"/>
                    <a:pt x="32" y="9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10" y="16"/>
                    <a:pt x="1" y="14"/>
                    <a:pt x="0" y="12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4" name="Freeform 224"/>
            <p:cNvSpPr/>
            <p:nvPr/>
          </p:nvSpPr>
          <p:spPr bwMode="auto">
            <a:xfrm rot="521357">
              <a:off x="4485612" y="2354096"/>
              <a:ext cx="129227" cy="73836"/>
            </a:xfrm>
            <a:custGeom>
              <a:avLst/>
              <a:gdLst>
                <a:gd name="T0" fmla="*/ 2147483646 w 35"/>
                <a:gd name="T1" fmla="*/ 2147483646 h 19"/>
                <a:gd name="T2" fmla="*/ 0 w 35"/>
                <a:gd name="T3" fmla="*/ 2147483646 h 19"/>
                <a:gd name="T4" fmla="*/ 2147483646 w 35"/>
                <a:gd name="T5" fmla="*/ 2147483646 h 19"/>
                <a:gd name="T6" fmla="*/ 2147483646 w 35"/>
                <a:gd name="T7" fmla="*/ 2147483646 h 19"/>
                <a:gd name="T8" fmla="*/ 2147483646 w 35"/>
                <a:gd name="T9" fmla="*/ 0 h 19"/>
                <a:gd name="T10" fmla="*/ 2147483646 w 35"/>
                <a:gd name="T11" fmla="*/ 2147483646 h 19"/>
                <a:gd name="T12" fmla="*/ 2147483646 w 35"/>
                <a:gd name="T13" fmla="*/ 2147483646 h 19"/>
                <a:gd name="T14" fmla="*/ 2147483646 w 35"/>
                <a:gd name="T15" fmla="*/ 2147483646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" h="19">
                  <a:moveTo>
                    <a:pt x="2" y="19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3" y="0"/>
                    <a:pt x="23" y="0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5" name="Freeform 225"/>
            <p:cNvSpPr/>
            <p:nvPr/>
          </p:nvSpPr>
          <p:spPr bwMode="auto">
            <a:xfrm rot="521357">
              <a:off x="4197597" y="2396400"/>
              <a:ext cx="237968" cy="73836"/>
            </a:xfrm>
            <a:custGeom>
              <a:avLst/>
              <a:gdLst>
                <a:gd name="T0" fmla="*/ 2147483646 w 64"/>
                <a:gd name="T1" fmla="*/ 0 h 19"/>
                <a:gd name="T2" fmla="*/ 2147483646 w 64"/>
                <a:gd name="T3" fmla="*/ 2147483646 h 19"/>
                <a:gd name="T4" fmla="*/ 2147483646 w 64"/>
                <a:gd name="T5" fmla="*/ 2147483646 h 19"/>
                <a:gd name="T6" fmla="*/ 2147483646 w 64"/>
                <a:gd name="T7" fmla="*/ 2147483646 h 19"/>
                <a:gd name="T8" fmla="*/ 2147483646 w 64"/>
                <a:gd name="T9" fmla="*/ 2147483646 h 19"/>
                <a:gd name="T10" fmla="*/ 0 w 64"/>
                <a:gd name="T11" fmla="*/ 2147483646 h 19"/>
                <a:gd name="T12" fmla="*/ 2147483646 w 64"/>
                <a:gd name="T13" fmla="*/ 2147483646 h 19"/>
                <a:gd name="T14" fmla="*/ 2147483646 w 64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19">
                  <a:moveTo>
                    <a:pt x="64" y="0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2" y="6"/>
                    <a:pt x="49" y="7"/>
                    <a:pt x="44" y="10"/>
                  </a:cubicBezTo>
                  <a:cubicBezTo>
                    <a:pt x="40" y="11"/>
                    <a:pt x="37" y="13"/>
                    <a:pt x="35" y="16"/>
                  </a:cubicBezTo>
                  <a:cubicBezTo>
                    <a:pt x="29" y="16"/>
                    <a:pt x="22" y="17"/>
                    <a:pt x="15" y="19"/>
                  </a:cubicBezTo>
                  <a:cubicBezTo>
                    <a:pt x="11" y="13"/>
                    <a:pt x="6" y="7"/>
                    <a:pt x="0" y="3"/>
                  </a:cubicBezTo>
                  <a:cubicBezTo>
                    <a:pt x="9" y="9"/>
                    <a:pt x="18" y="12"/>
                    <a:pt x="27" y="12"/>
                  </a:cubicBezTo>
                  <a:cubicBezTo>
                    <a:pt x="64" y="0"/>
                    <a:pt x="64" y="0"/>
                    <a:pt x="6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6" name="Freeform 226"/>
            <p:cNvSpPr/>
            <p:nvPr/>
          </p:nvSpPr>
          <p:spPr bwMode="auto">
            <a:xfrm rot="521357">
              <a:off x="4485785" y="2411838"/>
              <a:ext cx="18911" cy="31175"/>
            </a:xfrm>
            <a:custGeom>
              <a:avLst/>
              <a:gdLst>
                <a:gd name="T0" fmla="*/ 2147483646 w 5"/>
                <a:gd name="T1" fmla="*/ 2147483646 h 8"/>
                <a:gd name="T2" fmla="*/ 0 w 5"/>
                <a:gd name="T3" fmla="*/ 2147483646 h 8"/>
                <a:gd name="T4" fmla="*/ 2147483646 w 5"/>
                <a:gd name="T5" fmla="*/ 0 h 8"/>
                <a:gd name="T6" fmla="*/ 2147483646 w 5"/>
                <a:gd name="T7" fmla="*/ 2147483646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2" y="6"/>
                    <a:pt x="1" y="4"/>
                    <a:pt x="0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3"/>
                    <a:pt x="4" y="6"/>
                    <a:pt x="3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7" name="Freeform 227"/>
            <p:cNvSpPr>
              <a:spLocks noEditPoints="1"/>
            </p:cNvSpPr>
            <p:nvPr/>
          </p:nvSpPr>
          <p:spPr bwMode="auto">
            <a:xfrm rot="521357">
              <a:off x="4250787" y="2493669"/>
              <a:ext cx="59885" cy="45941"/>
            </a:xfrm>
            <a:custGeom>
              <a:avLst/>
              <a:gdLst>
                <a:gd name="T0" fmla="*/ 2147483646 w 16"/>
                <a:gd name="T1" fmla="*/ 0 h 12"/>
                <a:gd name="T2" fmla="*/ 2147483646 w 16"/>
                <a:gd name="T3" fmla="*/ 0 h 12"/>
                <a:gd name="T4" fmla="*/ 2147483646 w 16"/>
                <a:gd name="T5" fmla="*/ 2147483646 h 12"/>
                <a:gd name="T6" fmla="*/ 2147483646 w 16"/>
                <a:gd name="T7" fmla="*/ 2147483646 h 12"/>
                <a:gd name="T8" fmla="*/ 2147483646 w 16"/>
                <a:gd name="T9" fmla="*/ 2147483646 h 12"/>
                <a:gd name="T10" fmla="*/ 2147483646 w 16"/>
                <a:gd name="T11" fmla="*/ 2147483646 h 12"/>
                <a:gd name="T12" fmla="*/ 2147483646 w 16"/>
                <a:gd name="T13" fmla="*/ 2147483646 h 12"/>
                <a:gd name="T14" fmla="*/ 2147483646 w 16"/>
                <a:gd name="T15" fmla="*/ 2147483646 h 12"/>
                <a:gd name="T16" fmla="*/ 2147483646 w 16"/>
                <a:gd name="T17" fmla="*/ 2147483646 h 12"/>
                <a:gd name="T18" fmla="*/ 0 w 16"/>
                <a:gd name="T19" fmla="*/ 2147483646 h 12"/>
                <a:gd name="T20" fmla="*/ 2147483646 w 16"/>
                <a:gd name="T21" fmla="*/ 2147483646 h 12"/>
                <a:gd name="T22" fmla="*/ 2147483646 w 16"/>
                <a:gd name="T23" fmla="*/ 0 h 12"/>
                <a:gd name="T24" fmla="*/ 2147483646 w 16"/>
                <a:gd name="T25" fmla="*/ 2147483646 h 12"/>
                <a:gd name="T26" fmla="*/ 2147483646 w 16"/>
                <a:gd name="T27" fmla="*/ 2147483646 h 12"/>
                <a:gd name="T28" fmla="*/ 2147483646 w 16"/>
                <a:gd name="T29" fmla="*/ 2147483646 h 12"/>
                <a:gd name="T30" fmla="*/ 2147483646 w 16"/>
                <a:gd name="T31" fmla="*/ 2147483646 h 12"/>
                <a:gd name="T32" fmla="*/ 2147483646 w 16"/>
                <a:gd name="T33" fmla="*/ 2147483646 h 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" h="12"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10" y="1"/>
                    <a:pt x="11" y="1"/>
                    <a:pt x="12" y="2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5" y="5"/>
                    <a:pt x="15" y="6"/>
                    <a:pt x="16" y="6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0"/>
                    <a:pt x="6" y="9"/>
                    <a:pt x="5" y="8"/>
                  </a:cubicBezTo>
                  <a:cubicBezTo>
                    <a:pt x="5" y="8"/>
                    <a:pt x="4" y="8"/>
                    <a:pt x="3" y="8"/>
                  </a:cubicBezTo>
                  <a:cubicBezTo>
                    <a:pt x="3" y="7"/>
                    <a:pt x="2" y="7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7" y="0"/>
                    <a:pt x="7" y="0"/>
                    <a:pt x="7" y="0"/>
                  </a:cubicBezTo>
                  <a:close/>
                  <a:moveTo>
                    <a:pt x="3" y="5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3" y="5"/>
                    <a:pt x="3" y="5"/>
                    <a:pt x="3" y="5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8" name="Freeform 228"/>
            <p:cNvSpPr/>
            <p:nvPr/>
          </p:nvSpPr>
          <p:spPr bwMode="auto">
            <a:xfrm rot="521357">
              <a:off x="4262875" y="2499473"/>
              <a:ext cx="26792" cy="19690"/>
            </a:xfrm>
            <a:custGeom>
              <a:avLst/>
              <a:gdLst>
                <a:gd name="T0" fmla="*/ 2147483646 w 17"/>
                <a:gd name="T1" fmla="*/ 2147483646 h 12"/>
                <a:gd name="T2" fmla="*/ 0 w 17"/>
                <a:gd name="T3" fmla="*/ 2147483646 h 12"/>
                <a:gd name="T4" fmla="*/ 2147483646 w 17"/>
                <a:gd name="T5" fmla="*/ 0 h 12"/>
                <a:gd name="T6" fmla="*/ 2147483646 w 17"/>
                <a:gd name="T7" fmla="*/ 0 h 12"/>
                <a:gd name="T8" fmla="*/ 2147483646 w 17"/>
                <a:gd name="T9" fmla="*/ 2147483646 h 12"/>
                <a:gd name="T10" fmla="*/ 2147483646 w 17"/>
                <a:gd name="T11" fmla="*/ 2147483646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12">
                  <a:moveTo>
                    <a:pt x="3" y="12"/>
                  </a:moveTo>
                  <a:lnTo>
                    <a:pt x="0" y="7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9" name="Freeform 229"/>
            <p:cNvSpPr/>
            <p:nvPr/>
          </p:nvSpPr>
          <p:spPr bwMode="auto">
            <a:xfrm rot="521357">
              <a:off x="4244721" y="2492777"/>
              <a:ext cx="18911" cy="19690"/>
            </a:xfrm>
            <a:custGeom>
              <a:avLst/>
              <a:gdLst>
                <a:gd name="T0" fmla="*/ 2147483646 w 5"/>
                <a:gd name="T1" fmla="*/ 0 h 5"/>
                <a:gd name="T2" fmla="*/ 2147483646 w 5"/>
                <a:gd name="T3" fmla="*/ 2147483646 h 5"/>
                <a:gd name="T4" fmla="*/ 2147483646 w 5"/>
                <a:gd name="T5" fmla="*/ 2147483646 h 5"/>
                <a:gd name="T6" fmla="*/ 0 w 5"/>
                <a:gd name="T7" fmla="*/ 2147483646 h 5"/>
                <a:gd name="T8" fmla="*/ 2147483646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5" y="1"/>
                    <a:pt x="5" y="1"/>
                    <a:pt x="5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4"/>
                    <a:pt x="0" y="4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0" name="Freeform 230"/>
            <p:cNvSpPr/>
            <p:nvPr/>
          </p:nvSpPr>
          <p:spPr bwMode="auto">
            <a:xfrm rot="521357">
              <a:off x="4232815" y="2516112"/>
              <a:ext cx="81949" cy="91884"/>
            </a:xfrm>
            <a:custGeom>
              <a:avLst/>
              <a:gdLst>
                <a:gd name="T0" fmla="*/ 2147483646 w 22"/>
                <a:gd name="T1" fmla="*/ 2147483646 h 24"/>
                <a:gd name="T2" fmla="*/ 2147483646 w 22"/>
                <a:gd name="T3" fmla="*/ 0 h 24"/>
                <a:gd name="T4" fmla="*/ 2147483646 w 22"/>
                <a:gd name="T5" fmla="*/ 2147483646 h 24"/>
                <a:gd name="T6" fmla="*/ 2147483646 w 22"/>
                <a:gd name="T7" fmla="*/ 2147483646 h 24"/>
                <a:gd name="T8" fmla="*/ 0 w 22"/>
                <a:gd name="T9" fmla="*/ 2147483646 h 24"/>
                <a:gd name="T10" fmla="*/ 2147483646 w 22"/>
                <a:gd name="T11" fmla="*/ 2147483646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2" h="24">
                  <a:moveTo>
                    <a:pt x="14" y="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0" y="3"/>
                    <a:pt x="21" y="6"/>
                    <a:pt x="22" y="1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5" y="22"/>
                    <a:pt x="2" y="22"/>
                    <a:pt x="0" y="20"/>
                  </a:cubicBezTo>
                  <a:lnTo>
                    <a:pt x="14" y="4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1" name="Freeform 231"/>
            <p:cNvSpPr/>
            <p:nvPr/>
          </p:nvSpPr>
          <p:spPr bwMode="auto">
            <a:xfrm rot="521357">
              <a:off x="4005008" y="2439798"/>
              <a:ext cx="212753" cy="85321"/>
            </a:xfrm>
            <a:custGeom>
              <a:avLst/>
              <a:gdLst>
                <a:gd name="T0" fmla="*/ 0 w 135"/>
                <a:gd name="T1" fmla="*/ 2147483646 h 52"/>
                <a:gd name="T2" fmla="*/ 2147483646 w 135"/>
                <a:gd name="T3" fmla="*/ 0 h 52"/>
                <a:gd name="T4" fmla="*/ 2147483646 w 135"/>
                <a:gd name="T5" fmla="*/ 2147483646 h 52"/>
                <a:gd name="T6" fmla="*/ 2147483646 w 135"/>
                <a:gd name="T7" fmla="*/ 2147483646 h 52"/>
                <a:gd name="T8" fmla="*/ 2147483646 w 135"/>
                <a:gd name="T9" fmla="*/ 2147483646 h 52"/>
                <a:gd name="T10" fmla="*/ 2147483646 w 135"/>
                <a:gd name="T11" fmla="*/ 2147483646 h 52"/>
                <a:gd name="T12" fmla="*/ 2147483646 w 135"/>
                <a:gd name="T13" fmla="*/ 2147483646 h 52"/>
                <a:gd name="T14" fmla="*/ 0 w 135"/>
                <a:gd name="T15" fmla="*/ 2147483646 h 52"/>
                <a:gd name="T16" fmla="*/ 0 w 135"/>
                <a:gd name="T17" fmla="*/ 21474836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5" h="52">
                  <a:moveTo>
                    <a:pt x="0" y="7"/>
                  </a:moveTo>
                  <a:lnTo>
                    <a:pt x="2" y="0"/>
                  </a:lnTo>
                  <a:lnTo>
                    <a:pt x="83" y="43"/>
                  </a:lnTo>
                  <a:lnTo>
                    <a:pt x="116" y="24"/>
                  </a:lnTo>
                  <a:lnTo>
                    <a:pt x="135" y="33"/>
                  </a:lnTo>
                  <a:lnTo>
                    <a:pt x="73" y="52"/>
                  </a:lnTo>
                  <a:lnTo>
                    <a:pt x="7" y="9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2" name="Freeform 232"/>
            <p:cNvSpPr>
              <a:spLocks noEditPoints="1"/>
            </p:cNvSpPr>
            <p:nvPr/>
          </p:nvSpPr>
          <p:spPr bwMode="auto">
            <a:xfrm rot="521357">
              <a:off x="4010297" y="2426440"/>
              <a:ext cx="179657" cy="82038"/>
            </a:xfrm>
            <a:custGeom>
              <a:avLst/>
              <a:gdLst>
                <a:gd name="T0" fmla="*/ 0 w 48"/>
                <a:gd name="T1" fmla="*/ 2147483646 h 21"/>
                <a:gd name="T2" fmla="*/ 0 w 48"/>
                <a:gd name="T3" fmla="*/ 0 h 21"/>
                <a:gd name="T4" fmla="*/ 2147483646 w 48"/>
                <a:gd name="T5" fmla="*/ 2147483646 h 21"/>
                <a:gd name="T6" fmla="*/ 2147483646 w 48"/>
                <a:gd name="T7" fmla="*/ 2147483646 h 21"/>
                <a:gd name="T8" fmla="*/ 2147483646 w 48"/>
                <a:gd name="T9" fmla="*/ 2147483646 h 21"/>
                <a:gd name="T10" fmla="*/ 2147483646 w 48"/>
                <a:gd name="T11" fmla="*/ 2147483646 h 21"/>
                <a:gd name="T12" fmla="*/ 0 w 48"/>
                <a:gd name="T13" fmla="*/ 2147483646 h 21"/>
                <a:gd name="T14" fmla="*/ 2147483646 w 48"/>
                <a:gd name="T15" fmla="*/ 2147483646 h 21"/>
                <a:gd name="T16" fmla="*/ 2147483646 w 48"/>
                <a:gd name="T17" fmla="*/ 2147483646 h 21"/>
                <a:gd name="T18" fmla="*/ 2147483646 w 48"/>
                <a:gd name="T19" fmla="*/ 2147483646 h 21"/>
                <a:gd name="T20" fmla="*/ 2147483646 w 48"/>
                <a:gd name="T21" fmla="*/ 2147483646 h 21"/>
                <a:gd name="T22" fmla="*/ 2147483646 w 48"/>
                <a:gd name="T23" fmla="*/ 2147483646 h 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21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7" y="3"/>
                    <a:pt x="10" y="4"/>
                  </a:cubicBezTo>
                  <a:cubicBezTo>
                    <a:pt x="19" y="7"/>
                    <a:pt x="28" y="8"/>
                    <a:pt x="37" y="9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8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18" y="8"/>
                    <a:pt x="18" y="8"/>
                    <a:pt x="18" y="8"/>
                  </a:cubicBez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3" name="Freeform 233"/>
            <p:cNvSpPr/>
            <p:nvPr/>
          </p:nvSpPr>
          <p:spPr bwMode="auto">
            <a:xfrm rot="521357">
              <a:off x="4061803" y="2460928"/>
              <a:ext cx="119771" cy="22971"/>
            </a:xfrm>
            <a:custGeom>
              <a:avLst/>
              <a:gdLst>
                <a:gd name="T0" fmla="*/ 0 w 76"/>
                <a:gd name="T1" fmla="*/ 0 h 14"/>
                <a:gd name="T2" fmla="*/ 2147483646 w 76"/>
                <a:gd name="T3" fmla="*/ 0 h 14"/>
                <a:gd name="T4" fmla="*/ 2147483646 w 76"/>
                <a:gd name="T5" fmla="*/ 2147483646 h 14"/>
                <a:gd name="T6" fmla="*/ 2147483646 w 76"/>
                <a:gd name="T7" fmla="*/ 2147483646 h 14"/>
                <a:gd name="T8" fmla="*/ 0 w 76"/>
                <a:gd name="T9" fmla="*/ 0 h 14"/>
                <a:gd name="T10" fmla="*/ 0 w 76"/>
                <a:gd name="T11" fmla="*/ 0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6" h="14">
                  <a:moveTo>
                    <a:pt x="0" y="0"/>
                  </a:moveTo>
                  <a:lnTo>
                    <a:pt x="10" y="0"/>
                  </a:lnTo>
                  <a:lnTo>
                    <a:pt x="55" y="5"/>
                  </a:lnTo>
                  <a:lnTo>
                    <a:pt x="76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4" name="Freeform 234"/>
            <p:cNvSpPr/>
            <p:nvPr/>
          </p:nvSpPr>
          <p:spPr bwMode="auto">
            <a:xfrm rot="521357">
              <a:off x="3944102" y="2457672"/>
              <a:ext cx="398713" cy="318311"/>
            </a:xfrm>
            <a:custGeom>
              <a:avLst/>
              <a:gdLst>
                <a:gd name="T0" fmla="*/ 2147483646 w 107"/>
                <a:gd name="T1" fmla="*/ 0 h 82"/>
                <a:gd name="T2" fmla="*/ 2147483646 w 107"/>
                <a:gd name="T3" fmla="*/ 2147483646 h 82"/>
                <a:gd name="T4" fmla="*/ 2147483646 w 107"/>
                <a:gd name="T5" fmla="*/ 2147483646 h 82"/>
                <a:gd name="T6" fmla="*/ 2147483646 w 107"/>
                <a:gd name="T7" fmla="*/ 2147483646 h 82"/>
                <a:gd name="T8" fmla="*/ 2147483646 w 107"/>
                <a:gd name="T9" fmla="*/ 2147483646 h 82"/>
                <a:gd name="T10" fmla="*/ 2147483646 w 107"/>
                <a:gd name="T11" fmla="*/ 2147483646 h 82"/>
                <a:gd name="T12" fmla="*/ 2147483646 w 107"/>
                <a:gd name="T13" fmla="*/ 2147483646 h 82"/>
                <a:gd name="T14" fmla="*/ 2147483646 w 107"/>
                <a:gd name="T15" fmla="*/ 2147483646 h 82"/>
                <a:gd name="T16" fmla="*/ 2147483646 w 107"/>
                <a:gd name="T17" fmla="*/ 2147483646 h 82"/>
                <a:gd name="T18" fmla="*/ 2147483646 w 107"/>
                <a:gd name="T19" fmla="*/ 2147483646 h 82"/>
                <a:gd name="T20" fmla="*/ 2147483646 w 107"/>
                <a:gd name="T21" fmla="*/ 2147483646 h 82"/>
                <a:gd name="T22" fmla="*/ 2147483646 w 107"/>
                <a:gd name="T23" fmla="*/ 2147483646 h 82"/>
                <a:gd name="T24" fmla="*/ 2147483646 w 107"/>
                <a:gd name="T25" fmla="*/ 2147483646 h 82"/>
                <a:gd name="T26" fmla="*/ 2147483646 w 107"/>
                <a:gd name="T27" fmla="*/ 2147483646 h 82"/>
                <a:gd name="T28" fmla="*/ 2147483646 w 107"/>
                <a:gd name="T29" fmla="*/ 2147483646 h 82"/>
                <a:gd name="T30" fmla="*/ 2147483646 w 107"/>
                <a:gd name="T31" fmla="*/ 2147483646 h 82"/>
                <a:gd name="T32" fmla="*/ 2147483646 w 107"/>
                <a:gd name="T33" fmla="*/ 2147483646 h 82"/>
                <a:gd name="T34" fmla="*/ 2147483646 w 107"/>
                <a:gd name="T35" fmla="*/ 2147483646 h 82"/>
                <a:gd name="T36" fmla="*/ 2147483646 w 107"/>
                <a:gd name="T37" fmla="*/ 2147483646 h 82"/>
                <a:gd name="T38" fmla="*/ 2147483646 w 107"/>
                <a:gd name="T39" fmla="*/ 2147483646 h 82"/>
                <a:gd name="T40" fmla="*/ 0 w 107"/>
                <a:gd name="T41" fmla="*/ 2147483646 h 82"/>
                <a:gd name="T42" fmla="*/ 2147483646 w 107"/>
                <a:gd name="T43" fmla="*/ 0 h 8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7" h="82">
                  <a:moveTo>
                    <a:pt x="11" y="0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60" y="39"/>
                    <a:pt x="72" y="33"/>
                    <a:pt x="81" y="25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64" y="48"/>
                    <a:pt x="51" y="53"/>
                    <a:pt x="44" y="48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0" y="55"/>
                    <a:pt x="32" y="49"/>
                    <a:pt x="28" y="40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10" y="33"/>
                    <a:pt x="3" y="28"/>
                    <a:pt x="0" y="23"/>
                  </a:cubicBezTo>
                  <a:cubicBezTo>
                    <a:pt x="1" y="16"/>
                    <a:pt x="5" y="8"/>
                    <a:pt x="1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5" name="Freeform 235"/>
            <p:cNvSpPr/>
            <p:nvPr/>
          </p:nvSpPr>
          <p:spPr bwMode="auto">
            <a:xfrm rot="521357">
              <a:off x="4052352" y="2418318"/>
              <a:ext cx="100860" cy="42660"/>
            </a:xfrm>
            <a:custGeom>
              <a:avLst/>
              <a:gdLst>
                <a:gd name="T0" fmla="*/ 0 w 27"/>
                <a:gd name="T1" fmla="*/ 2147483646 h 11"/>
                <a:gd name="T2" fmla="*/ 2147483646 w 27"/>
                <a:gd name="T3" fmla="*/ 0 h 11"/>
                <a:gd name="T4" fmla="*/ 2147483646 w 27"/>
                <a:gd name="T5" fmla="*/ 2147483646 h 11"/>
                <a:gd name="T6" fmla="*/ 2147483646 w 27"/>
                <a:gd name="T7" fmla="*/ 2147483646 h 11"/>
                <a:gd name="T8" fmla="*/ 0 w 27"/>
                <a:gd name="T9" fmla="*/ 214748364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11">
                  <a:moveTo>
                    <a:pt x="0" y="6"/>
                  </a:moveTo>
                  <a:cubicBezTo>
                    <a:pt x="3" y="5"/>
                    <a:pt x="5" y="3"/>
                    <a:pt x="7" y="0"/>
                  </a:cubicBezTo>
                  <a:cubicBezTo>
                    <a:pt x="12" y="5"/>
                    <a:pt x="18" y="7"/>
                    <a:pt x="24" y="6"/>
                  </a:cubicBezTo>
                  <a:cubicBezTo>
                    <a:pt x="25" y="8"/>
                    <a:pt x="26" y="9"/>
                    <a:pt x="27" y="11"/>
                  </a:cubicBezTo>
                  <a:cubicBezTo>
                    <a:pt x="18" y="10"/>
                    <a:pt x="9" y="9"/>
                    <a:pt x="0" y="6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6" name="Freeform 236"/>
            <p:cNvSpPr/>
            <p:nvPr/>
          </p:nvSpPr>
          <p:spPr bwMode="auto">
            <a:xfrm rot="521357">
              <a:off x="4104424" y="2401050"/>
              <a:ext cx="115044" cy="85321"/>
            </a:xfrm>
            <a:custGeom>
              <a:avLst/>
              <a:gdLst>
                <a:gd name="T0" fmla="*/ 2147483646 w 31"/>
                <a:gd name="T1" fmla="*/ 2147483646 h 22"/>
                <a:gd name="T2" fmla="*/ 0 w 31"/>
                <a:gd name="T3" fmla="*/ 2147483646 h 22"/>
                <a:gd name="T4" fmla="*/ 2147483646 w 31"/>
                <a:gd name="T5" fmla="*/ 0 h 22"/>
                <a:gd name="T6" fmla="*/ 2147483646 w 31"/>
                <a:gd name="T7" fmla="*/ 2147483646 h 22"/>
                <a:gd name="T8" fmla="*/ 2147483646 w 31"/>
                <a:gd name="T9" fmla="*/ 2147483646 h 22"/>
                <a:gd name="T10" fmla="*/ 2147483646 w 31"/>
                <a:gd name="T11" fmla="*/ 2147483646 h 22"/>
                <a:gd name="T12" fmla="*/ 2147483646 w 31"/>
                <a:gd name="T13" fmla="*/ 2147483646 h 22"/>
                <a:gd name="T14" fmla="*/ 2147483646 w 31"/>
                <a:gd name="T15" fmla="*/ 2147483646 h 22"/>
                <a:gd name="T16" fmla="*/ 2147483646 w 31"/>
                <a:gd name="T17" fmla="*/ 2147483646 h 22"/>
                <a:gd name="T18" fmla="*/ 2147483646 w 31"/>
                <a:gd name="T19" fmla="*/ 2147483646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1" h="22">
                  <a:moveTo>
                    <a:pt x="5" y="5"/>
                  </a:moveTo>
                  <a:cubicBezTo>
                    <a:pt x="3" y="4"/>
                    <a:pt x="2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6"/>
                    <a:pt x="11" y="15"/>
                    <a:pt x="10" y="13"/>
                  </a:cubicBezTo>
                  <a:cubicBezTo>
                    <a:pt x="9" y="10"/>
                    <a:pt x="7" y="8"/>
                    <a:pt x="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7" name="Freeform 237"/>
            <p:cNvSpPr/>
            <p:nvPr/>
          </p:nvSpPr>
          <p:spPr bwMode="auto">
            <a:xfrm rot="521357">
              <a:off x="4069937" y="2382922"/>
              <a:ext cx="59885" cy="26253"/>
            </a:xfrm>
            <a:custGeom>
              <a:avLst/>
              <a:gdLst>
                <a:gd name="T0" fmla="*/ 2147483646 w 16"/>
                <a:gd name="T1" fmla="*/ 2147483646 h 7"/>
                <a:gd name="T2" fmla="*/ 2147483646 w 16"/>
                <a:gd name="T3" fmla="*/ 2147483646 h 7"/>
                <a:gd name="T4" fmla="*/ 0 w 16"/>
                <a:gd name="T5" fmla="*/ 0 h 7"/>
                <a:gd name="T6" fmla="*/ 2147483646 w 16"/>
                <a:gd name="T7" fmla="*/ 2147483646 h 7"/>
                <a:gd name="T8" fmla="*/ 2147483646 w 16"/>
                <a:gd name="T9" fmla="*/ 214748364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7">
                  <a:moveTo>
                    <a:pt x="11" y="3"/>
                  </a:moveTo>
                  <a:cubicBezTo>
                    <a:pt x="13" y="4"/>
                    <a:pt x="14" y="6"/>
                    <a:pt x="16" y="7"/>
                  </a:cubicBezTo>
                  <a:cubicBezTo>
                    <a:pt x="10" y="6"/>
                    <a:pt x="4" y="4"/>
                    <a:pt x="0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3"/>
                    <a:pt x="10" y="3"/>
                    <a:pt x="11" y="3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8" name="Freeform 238"/>
            <p:cNvSpPr>
              <a:spLocks noEditPoints="1"/>
            </p:cNvSpPr>
            <p:nvPr/>
          </p:nvSpPr>
          <p:spPr bwMode="auto">
            <a:xfrm rot="521357">
              <a:off x="4117251" y="2393821"/>
              <a:ext cx="104012" cy="77116"/>
            </a:xfrm>
            <a:custGeom>
              <a:avLst/>
              <a:gdLst>
                <a:gd name="T0" fmla="*/ 0 w 28"/>
                <a:gd name="T1" fmla="*/ 2147483646 h 20"/>
                <a:gd name="T2" fmla="*/ 2147483646 w 28"/>
                <a:gd name="T3" fmla="*/ 0 h 20"/>
                <a:gd name="T4" fmla="*/ 2147483646 w 28"/>
                <a:gd name="T5" fmla="*/ 2147483646 h 20"/>
                <a:gd name="T6" fmla="*/ 2147483646 w 28"/>
                <a:gd name="T7" fmla="*/ 2147483646 h 20"/>
                <a:gd name="T8" fmla="*/ 2147483646 w 28"/>
                <a:gd name="T9" fmla="*/ 2147483646 h 20"/>
                <a:gd name="T10" fmla="*/ 0 w 28"/>
                <a:gd name="T11" fmla="*/ 2147483646 h 20"/>
                <a:gd name="T12" fmla="*/ 2147483646 w 28"/>
                <a:gd name="T13" fmla="*/ 2147483646 h 20"/>
                <a:gd name="T14" fmla="*/ 2147483646 w 28"/>
                <a:gd name="T15" fmla="*/ 2147483646 h 20"/>
                <a:gd name="T16" fmla="*/ 2147483646 w 28"/>
                <a:gd name="T17" fmla="*/ 2147483646 h 20"/>
                <a:gd name="T18" fmla="*/ 2147483646 w 28"/>
                <a:gd name="T19" fmla="*/ 2147483646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8" h="20">
                  <a:moveTo>
                    <a:pt x="0" y="2"/>
                  </a:moveTo>
                  <a:cubicBezTo>
                    <a:pt x="1" y="1"/>
                    <a:pt x="2" y="1"/>
                    <a:pt x="3" y="0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0" y="2"/>
                    <a:pt x="0" y="2"/>
                    <a:pt x="0" y="2"/>
                  </a:cubicBezTo>
                  <a:close/>
                  <a:moveTo>
                    <a:pt x="26" y="14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4"/>
                    <a:pt x="26" y="14"/>
                    <a:pt x="26" y="14"/>
                  </a:cubicBez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9" name="Freeform 239"/>
            <p:cNvSpPr/>
            <p:nvPr/>
          </p:nvSpPr>
          <p:spPr bwMode="auto">
            <a:xfrm rot="521357">
              <a:off x="4129132" y="2402329"/>
              <a:ext cx="85100" cy="49224"/>
            </a:xfrm>
            <a:custGeom>
              <a:avLst/>
              <a:gdLst>
                <a:gd name="T0" fmla="*/ 0 w 54"/>
                <a:gd name="T1" fmla="*/ 0 h 30"/>
                <a:gd name="T2" fmla="*/ 2147483646 w 54"/>
                <a:gd name="T3" fmla="*/ 2147483646 h 30"/>
                <a:gd name="T4" fmla="*/ 2147483646 w 54"/>
                <a:gd name="T5" fmla="*/ 2147483646 h 30"/>
                <a:gd name="T6" fmla="*/ 0 w 54"/>
                <a:gd name="T7" fmla="*/ 0 h 30"/>
                <a:gd name="T8" fmla="*/ 0 w 54"/>
                <a:gd name="T9" fmla="*/ 0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" h="30">
                  <a:moveTo>
                    <a:pt x="0" y="0"/>
                  </a:moveTo>
                  <a:lnTo>
                    <a:pt x="54" y="28"/>
                  </a:lnTo>
                  <a:lnTo>
                    <a:pt x="50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0" name="Freeform 240"/>
            <p:cNvSpPr/>
            <p:nvPr/>
          </p:nvSpPr>
          <p:spPr bwMode="auto">
            <a:xfrm rot="521357">
              <a:off x="4188278" y="2453433"/>
              <a:ext cx="69342" cy="68913"/>
            </a:xfrm>
            <a:custGeom>
              <a:avLst/>
              <a:gdLst>
                <a:gd name="T0" fmla="*/ 2147483646 w 19"/>
                <a:gd name="T1" fmla="*/ 2147483646 h 18"/>
                <a:gd name="T2" fmla="*/ 2147483646 w 19"/>
                <a:gd name="T3" fmla="*/ 2147483646 h 18"/>
                <a:gd name="T4" fmla="*/ 2147483646 w 19"/>
                <a:gd name="T5" fmla="*/ 2147483646 h 18"/>
                <a:gd name="T6" fmla="*/ 2147483646 w 19"/>
                <a:gd name="T7" fmla="*/ 2147483646 h 18"/>
                <a:gd name="T8" fmla="*/ 0 w 19"/>
                <a:gd name="T9" fmla="*/ 2147483646 h 18"/>
                <a:gd name="T10" fmla="*/ 2147483646 w 19"/>
                <a:gd name="T11" fmla="*/ 0 h 18"/>
                <a:gd name="T12" fmla="*/ 2147483646 w 19"/>
                <a:gd name="T13" fmla="*/ 214748364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18">
                  <a:moveTo>
                    <a:pt x="5" y="11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15"/>
                    <a:pt x="15" y="17"/>
                    <a:pt x="14" y="1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1" name="Freeform 241"/>
            <p:cNvSpPr>
              <a:spLocks noEditPoints="1"/>
            </p:cNvSpPr>
            <p:nvPr/>
          </p:nvSpPr>
          <p:spPr bwMode="auto">
            <a:xfrm rot="521357">
              <a:off x="3985417" y="2458944"/>
              <a:ext cx="301006" cy="164078"/>
            </a:xfrm>
            <a:custGeom>
              <a:avLst/>
              <a:gdLst>
                <a:gd name="T0" fmla="*/ 2147483646 w 81"/>
                <a:gd name="T1" fmla="*/ 2147483646 h 42"/>
                <a:gd name="T2" fmla="*/ 2147483646 w 81"/>
                <a:gd name="T3" fmla="*/ 2147483646 h 42"/>
                <a:gd name="T4" fmla="*/ 2147483646 w 81"/>
                <a:gd name="T5" fmla="*/ 2147483646 h 42"/>
                <a:gd name="T6" fmla="*/ 2147483646 w 81"/>
                <a:gd name="T7" fmla="*/ 2147483646 h 42"/>
                <a:gd name="T8" fmla="*/ 2147483646 w 81"/>
                <a:gd name="T9" fmla="*/ 2147483646 h 42"/>
                <a:gd name="T10" fmla="*/ 2147483646 w 81"/>
                <a:gd name="T11" fmla="*/ 2147483646 h 42"/>
                <a:gd name="T12" fmla="*/ 2147483646 w 81"/>
                <a:gd name="T13" fmla="*/ 2147483646 h 42"/>
                <a:gd name="T14" fmla="*/ 2147483646 w 81"/>
                <a:gd name="T15" fmla="*/ 2147483646 h 42"/>
                <a:gd name="T16" fmla="*/ 2147483646 w 81"/>
                <a:gd name="T17" fmla="*/ 2147483646 h 42"/>
                <a:gd name="T18" fmla="*/ 2147483646 w 81"/>
                <a:gd name="T19" fmla="*/ 2147483646 h 42"/>
                <a:gd name="T20" fmla="*/ 2147483646 w 81"/>
                <a:gd name="T21" fmla="*/ 2147483646 h 42"/>
                <a:gd name="T22" fmla="*/ 2147483646 w 81"/>
                <a:gd name="T23" fmla="*/ 2147483646 h 42"/>
                <a:gd name="T24" fmla="*/ 2147483646 w 81"/>
                <a:gd name="T25" fmla="*/ 2147483646 h 42"/>
                <a:gd name="T26" fmla="*/ 0 w 81"/>
                <a:gd name="T27" fmla="*/ 2147483646 h 42"/>
                <a:gd name="T28" fmla="*/ 2147483646 w 81"/>
                <a:gd name="T29" fmla="*/ 0 h 42"/>
                <a:gd name="T30" fmla="*/ 2147483646 w 81"/>
                <a:gd name="T31" fmla="*/ 2147483646 h 42"/>
                <a:gd name="T32" fmla="*/ 2147483646 w 81"/>
                <a:gd name="T33" fmla="*/ 2147483646 h 42"/>
                <a:gd name="T34" fmla="*/ 2147483646 w 81"/>
                <a:gd name="T35" fmla="*/ 2147483646 h 42"/>
                <a:gd name="T36" fmla="*/ 2147483646 w 81"/>
                <a:gd name="T37" fmla="*/ 2147483646 h 42"/>
                <a:gd name="T38" fmla="*/ 2147483646 w 81"/>
                <a:gd name="T39" fmla="*/ 2147483646 h 42"/>
                <a:gd name="T40" fmla="*/ 2147483646 w 81"/>
                <a:gd name="T41" fmla="*/ 2147483646 h 42"/>
                <a:gd name="T42" fmla="*/ 2147483646 w 81"/>
                <a:gd name="T43" fmla="*/ 2147483646 h 42"/>
                <a:gd name="T44" fmla="*/ 2147483646 w 81"/>
                <a:gd name="T45" fmla="*/ 2147483646 h 42"/>
                <a:gd name="T46" fmla="*/ 2147483646 w 81"/>
                <a:gd name="T47" fmla="*/ 2147483646 h 42"/>
                <a:gd name="T48" fmla="*/ 2147483646 w 81"/>
                <a:gd name="T49" fmla="*/ 2147483646 h 42"/>
                <a:gd name="T50" fmla="*/ 2147483646 w 81"/>
                <a:gd name="T51" fmla="*/ 2147483646 h 42"/>
                <a:gd name="T52" fmla="*/ 2147483646 w 81"/>
                <a:gd name="T53" fmla="*/ 2147483646 h 42"/>
                <a:gd name="T54" fmla="*/ 2147483646 w 81"/>
                <a:gd name="T55" fmla="*/ 2147483646 h 4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1" h="42">
                  <a:moveTo>
                    <a:pt x="60" y="10"/>
                  </a:moveTo>
                  <a:cubicBezTo>
                    <a:pt x="63" y="11"/>
                    <a:pt x="63" y="11"/>
                    <a:pt x="63" y="11"/>
                  </a:cubicBezTo>
                  <a:cubicBezTo>
                    <a:pt x="63" y="12"/>
                    <a:pt x="65" y="12"/>
                    <a:pt x="66" y="1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76" y="10"/>
                    <a:pt x="76" y="10"/>
                  </a:cubicBezTo>
                  <a:cubicBezTo>
                    <a:pt x="78" y="10"/>
                    <a:pt x="79" y="14"/>
                    <a:pt x="81" y="15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64" y="32"/>
                    <a:pt x="52" y="38"/>
                    <a:pt x="39" y="4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60" y="10"/>
                    <a:pt x="60" y="10"/>
                    <a:pt x="60" y="10"/>
                  </a:cubicBezTo>
                  <a:close/>
                  <a:moveTo>
                    <a:pt x="69" y="18"/>
                  </a:moveTo>
                  <a:cubicBezTo>
                    <a:pt x="66" y="16"/>
                    <a:pt x="66" y="16"/>
                    <a:pt x="66" y="16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69" y="18"/>
                    <a:pt x="69" y="18"/>
                    <a:pt x="69" y="18"/>
                  </a:cubicBezTo>
                  <a:close/>
                  <a:moveTo>
                    <a:pt x="37" y="26"/>
                  </a:moveTo>
                  <a:cubicBezTo>
                    <a:pt x="37" y="31"/>
                    <a:pt x="37" y="31"/>
                    <a:pt x="37" y="31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37" y="26"/>
                    <a:pt x="37" y="26"/>
                    <a:pt x="37" y="26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2" name="Freeform 242"/>
            <p:cNvSpPr/>
            <p:nvPr/>
          </p:nvSpPr>
          <p:spPr bwMode="auto">
            <a:xfrm rot="521357">
              <a:off x="4126974" y="2528695"/>
              <a:ext cx="111893" cy="77116"/>
            </a:xfrm>
            <a:custGeom>
              <a:avLst/>
              <a:gdLst>
                <a:gd name="T0" fmla="*/ 2147483646 w 71"/>
                <a:gd name="T1" fmla="*/ 0 h 47"/>
                <a:gd name="T2" fmla="*/ 2147483646 w 71"/>
                <a:gd name="T3" fmla="*/ 2147483646 h 47"/>
                <a:gd name="T4" fmla="*/ 2147483646 w 71"/>
                <a:gd name="T5" fmla="*/ 2147483646 h 47"/>
                <a:gd name="T6" fmla="*/ 0 w 71"/>
                <a:gd name="T7" fmla="*/ 2147483646 h 47"/>
                <a:gd name="T8" fmla="*/ 2147483646 w 71"/>
                <a:gd name="T9" fmla="*/ 2147483646 h 47"/>
                <a:gd name="T10" fmla="*/ 2147483646 w 71"/>
                <a:gd name="T11" fmla="*/ 0 h 47"/>
                <a:gd name="T12" fmla="*/ 2147483646 w 71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1" h="47">
                  <a:moveTo>
                    <a:pt x="64" y="0"/>
                  </a:moveTo>
                  <a:lnTo>
                    <a:pt x="71" y="5"/>
                  </a:lnTo>
                  <a:lnTo>
                    <a:pt x="19" y="33"/>
                  </a:lnTo>
                  <a:lnTo>
                    <a:pt x="0" y="47"/>
                  </a:lnTo>
                  <a:lnTo>
                    <a:pt x="16" y="29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3" name="Freeform 243"/>
            <p:cNvSpPr/>
            <p:nvPr/>
          </p:nvSpPr>
          <p:spPr bwMode="auto">
            <a:xfrm rot="521357">
              <a:off x="4026681" y="2497808"/>
              <a:ext cx="104012" cy="73836"/>
            </a:xfrm>
            <a:custGeom>
              <a:avLst/>
              <a:gdLst>
                <a:gd name="T0" fmla="*/ 2147483646 w 66"/>
                <a:gd name="T1" fmla="*/ 2147483646 h 45"/>
                <a:gd name="T2" fmla="*/ 2147483646 w 66"/>
                <a:gd name="T3" fmla="*/ 2147483646 h 45"/>
                <a:gd name="T4" fmla="*/ 0 w 66"/>
                <a:gd name="T5" fmla="*/ 0 h 45"/>
                <a:gd name="T6" fmla="*/ 2147483646 w 66"/>
                <a:gd name="T7" fmla="*/ 2147483646 h 45"/>
                <a:gd name="T8" fmla="*/ 2147483646 w 66"/>
                <a:gd name="T9" fmla="*/ 2147483646 h 45"/>
                <a:gd name="T10" fmla="*/ 2147483646 w 66"/>
                <a:gd name="T11" fmla="*/ 2147483646 h 4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6" h="45">
                  <a:moveTo>
                    <a:pt x="61" y="45"/>
                  </a:moveTo>
                  <a:lnTo>
                    <a:pt x="61" y="33"/>
                  </a:lnTo>
                  <a:lnTo>
                    <a:pt x="0" y="0"/>
                  </a:lnTo>
                  <a:lnTo>
                    <a:pt x="66" y="33"/>
                  </a:lnTo>
                  <a:lnTo>
                    <a:pt x="61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4" name="Freeform 244"/>
            <p:cNvSpPr/>
            <p:nvPr/>
          </p:nvSpPr>
          <p:spPr bwMode="auto">
            <a:xfrm rot="521357">
              <a:off x="4032322" y="2491766"/>
              <a:ext cx="228512" cy="105009"/>
            </a:xfrm>
            <a:custGeom>
              <a:avLst/>
              <a:gdLst>
                <a:gd name="T0" fmla="*/ 2147483646 w 61"/>
                <a:gd name="T1" fmla="*/ 0 h 27"/>
                <a:gd name="T2" fmla="*/ 2147483646 w 61"/>
                <a:gd name="T3" fmla="*/ 2147483646 h 27"/>
                <a:gd name="T4" fmla="*/ 2147483646 w 61"/>
                <a:gd name="T5" fmla="*/ 2147483646 h 27"/>
                <a:gd name="T6" fmla="*/ 2147483646 w 61"/>
                <a:gd name="T7" fmla="*/ 2147483646 h 27"/>
                <a:gd name="T8" fmla="*/ 2147483646 w 61"/>
                <a:gd name="T9" fmla="*/ 2147483646 h 27"/>
                <a:gd name="T10" fmla="*/ 0 w 61"/>
                <a:gd name="T11" fmla="*/ 2147483646 h 27"/>
                <a:gd name="T12" fmla="*/ 2147483646 w 61"/>
                <a:gd name="T13" fmla="*/ 2147483646 h 27"/>
                <a:gd name="T14" fmla="*/ 2147483646 w 61"/>
                <a:gd name="T15" fmla="*/ 2147483646 h 27"/>
                <a:gd name="T16" fmla="*/ 2147483646 w 61"/>
                <a:gd name="T17" fmla="*/ 0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1" h="27">
                  <a:moveTo>
                    <a:pt x="57" y="0"/>
                  </a:moveTo>
                  <a:cubicBezTo>
                    <a:pt x="58" y="1"/>
                    <a:pt x="60" y="2"/>
                    <a:pt x="61" y="3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51" y="5"/>
                    <a:pt x="51" y="5"/>
                    <a:pt x="51" y="5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5" name="Freeform 245"/>
            <p:cNvSpPr/>
            <p:nvPr/>
          </p:nvSpPr>
          <p:spPr bwMode="auto">
            <a:xfrm rot="521357">
              <a:off x="4061904" y="2567752"/>
              <a:ext cx="267910" cy="173922"/>
            </a:xfrm>
            <a:custGeom>
              <a:avLst/>
              <a:gdLst>
                <a:gd name="T0" fmla="*/ 0 w 72"/>
                <a:gd name="T1" fmla="*/ 2147483646 h 45"/>
                <a:gd name="T2" fmla="*/ 2147483646 w 72"/>
                <a:gd name="T3" fmla="*/ 2147483646 h 45"/>
                <a:gd name="T4" fmla="*/ 2147483646 w 72"/>
                <a:gd name="T5" fmla="*/ 2147483646 h 45"/>
                <a:gd name="T6" fmla="*/ 2147483646 w 72"/>
                <a:gd name="T7" fmla="*/ 2147483646 h 45"/>
                <a:gd name="T8" fmla="*/ 2147483646 w 72"/>
                <a:gd name="T9" fmla="*/ 0 h 45"/>
                <a:gd name="T10" fmla="*/ 2147483646 w 72"/>
                <a:gd name="T11" fmla="*/ 2147483646 h 45"/>
                <a:gd name="T12" fmla="*/ 2147483646 w 72"/>
                <a:gd name="T13" fmla="*/ 2147483646 h 45"/>
                <a:gd name="T14" fmla="*/ 2147483646 w 72"/>
                <a:gd name="T15" fmla="*/ 2147483646 h 45"/>
                <a:gd name="T16" fmla="*/ 2147483646 w 72"/>
                <a:gd name="T17" fmla="*/ 2147483646 h 45"/>
                <a:gd name="T18" fmla="*/ 2147483646 w 72"/>
                <a:gd name="T19" fmla="*/ 2147483646 h 45"/>
                <a:gd name="T20" fmla="*/ 2147483646 w 72"/>
                <a:gd name="T21" fmla="*/ 2147483646 h 45"/>
                <a:gd name="T22" fmla="*/ 2147483646 w 72"/>
                <a:gd name="T23" fmla="*/ 2147483646 h 45"/>
                <a:gd name="T24" fmla="*/ 0 w 72"/>
                <a:gd name="T25" fmla="*/ 2147483646 h 4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2" h="45">
                  <a:moveTo>
                    <a:pt x="0" y="17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18" y="27"/>
                    <a:pt x="31" y="21"/>
                    <a:pt x="50" y="6"/>
                  </a:cubicBezTo>
                  <a:cubicBezTo>
                    <a:pt x="51" y="7"/>
                    <a:pt x="52" y="3"/>
                    <a:pt x="53" y="3"/>
                  </a:cubicBezTo>
                  <a:cubicBezTo>
                    <a:pt x="54" y="2"/>
                    <a:pt x="56" y="1"/>
                    <a:pt x="57" y="0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0" y="17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6" name="Freeform 246"/>
            <p:cNvSpPr/>
            <p:nvPr/>
          </p:nvSpPr>
          <p:spPr bwMode="auto">
            <a:xfrm rot="521357">
              <a:off x="4611401" y="2339472"/>
              <a:ext cx="59885" cy="16407"/>
            </a:xfrm>
            <a:custGeom>
              <a:avLst/>
              <a:gdLst>
                <a:gd name="T0" fmla="*/ 2147483646 w 16"/>
                <a:gd name="T1" fmla="*/ 0 h 4"/>
                <a:gd name="T2" fmla="*/ 2147483646 w 16"/>
                <a:gd name="T3" fmla="*/ 0 h 4"/>
                <a:gd name="T4" fmla="*/ 2147483646 w 16"/>
                <a:gd name="T5" fmla="*/ 2147483646 h 4"/>
                <a:gd name="T6" fmla="*/ 2147483646 w 16"/>
                <a:gd name="T7" fmla="*/ 2147483646 h 4"/>
                <a:gd name="T8" fmla="*/ 2147483646 w 16"/>
                <a:gd name="T9" fmla="*/ 2147483646 h 4"/>
                <a:gd name="T10" fmla="*/ 2147483646 w 16"/>
                <a:gd name="T11" fmla="*/ 2147483646 h 4"/>
                <a:gd name="T12" fmla="*/ 2147483646 w 16"/>
                <a:gd name="T13" fmla="*/ 2147483646 h 4"/>
                <a:gd name="T14" fmla="*/ 0 w 16"/>
                <a:gd name="T15" fmla="*/ 2147483646 h 4"/>
                <a:gd name="T16" fmla="*/ 2147483646 w 16"/>
                <a:gd name="T17" fmla="*/ 0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" h="4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2"/>
                    <a:pt x="15" y="3"/>
                    <a:pt x="11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7" name="Freeform 247"/>
            <p:cNvSpPr/>
            <p:nvPr/>
          </p:nvSpPr>
          <p:spPr bwMode="auto">
            <a:xfrm rot="521357">
              <a:off x="4595487" y="2347472"/>
              <a:ext cx="44126" cy="19690"/>
            </a:xfrm>
            <a:custGeom>
              <a:avLst/>
              <a:gdLst>
                <a:gd name="T0" fmla="*/ 0 w 12"/>
                <a:gd name="T1" fmla="*/ 0 h 5"/>
                <a:gd name="T2" fmla="*/ 2147483646 w 12"/>
                <a:gd name="T3" fmla="*/ 2147483646 h 5"/>
                <a:gd name="T4" fmla="*/ 2147483646 w 12"/>
                <a:gd name="T5" fmla="*/ 2147483646 h 5"/>
                <a:gd name="T6" fmla="*/ 2147483646 w 12"/>
                <a:gd name="T7" fmla="*/ 2147483646 h 5"/>
                <a:gd name="T8" fmla="*/ 2147483646 w 12"/>
                <a:gd name="T9" fmla="*/ 2147483646 h 5"/>
                <a:gd name="T10" fmla="*/ 2147483646 w 12"/>
                <a:gd name="T11" fmla="*/ 2147483646 h 5"/>
                <a:gd name="T12" fmla="*/ 2147483646 w 12"/>
                <a:gd name="T13" fmla="*/ 2147483646 h 5"/>
                <a:gd name="T14" fmla="*/ 0 w 12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" h="5">
                  <a:moveTo>
                    <a:pt x="0" y="0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1" y="4"/>
                    <a:pt x="11" y="5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8" name="Freeform 248"/>
            <p:cNvSpPr/>
            <p:nvPr/>
          </p:nvSpPr>
          <p:spPr bwMode="auto">
            <a:xfrm rot="521357">
              <a:off x="4596231" y="2344248"/>
              <a:ext cx="44126" cy="16407"/>
            </a:xfrm>
            <a:custGeom>
              <a:avLst/>
              <a:gdLst>
                <a:gd name="T0" fmla="*/ 2147483646 w 12"/>
                <a:gd name="T1" fmla="*/ 2147483646 h 4"/>
                <a:gd name="T2" fmla="*/ 0 w 12"/>
                <a:gd name="T3" fmla="*/ 2147483646 h 4"/>
                <a:gd name="T4" fmla="*/ 2147483646 w 12"/>
                <a:gd name="T5" fmla="*/ 0 h 4"/>
                <a:gd name="T6" fmla="*/ 2147483646 w 12"/>
                <a:gd name="T7" fmla="*/ 2147483646 h 4"/>
                <a:gd name="T8" fmla="*/ 2147483646 w 12"/>
                <a:gd name="T9" fmla="*/ 2147483646 h 4"/>
                <a:gd name="T10" fmla="*/ 2147483646 w 12"/>
                <a:gd name="T11" fmla="*/ 2147483646 h 4"/>
                <a:gd name="T12" fmla="*/ 2147483646 w 12"/>
                <a:gd name="T13" fmla="*/ 2147483646 h 4"/>
                <a:gd name="T14" fmla="*/ 2147483646 w 12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" h="4">
                  <a:moveTo>
                    <a:pt x="8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9" name="Freeform 249"/>
            <p:cNvSpPr/>
            <p:nvPr/>
          </p:nvSpPr>
          <p:spPr bwMode="auto">
            <a:xfrm rot="521357">
              <a:off x="4575092" y="2350606"/>
              <a:ext cx="59885" cy="31175"/>
            </a:xfrm>
            <a:custGeom>
              <a:avLst/>
              <a:gdLst>
                <a:gd name="T0" fmla="*/ 2147483646 w 16"/>
                <a:gd name="T1" fmla="*/ 2147483646 h 8"/>
                <a:gd name="T2" fmla="*/ 2147483646 w 16"/>
                <a:gd name="T3" fmla="*/ 0 h 8"/>
                <a:gd name="T4" fmla="*/ 2147483646 w 16"/>
                <a:gd name="T5" fmla="*/ 2147483646 h 8"/>
                <a:gd name="T6" fmla="*/ 2147483646 w 16"/>
                <a:gd name="T7" fmla="*/ 2147483646 h 8"/>
                <a:gd name="T8" fmla="*/ 2147483646 w 16"/>
                <a:gd name="T9" fmla="*/ 2147483646 h 8"/>
                <a:gd name="T10" fmla="*/ 2147483646 w 16"/>
                <a:gd name="T11" fmla="*/ 2147483646 h 8"/>
                <a:gd name="T12" fmla="*/ 2147483646 w 16"/>
                <a:gd name="T13" fmla="*/ 2147483646 h 8"/>
                <a:gd name="T14" fmla="*/ 0 w 16"/>
                <a:gd name="T15" fmla="*/ 2147483646 h 8"/>
                <a:gd name="T16" fmla="*/ 2147483646 w 16"/>
                <a:gd name="T17" fmla="*/ 2147483646 h 8"/>
                <a:gd name="T18" fmla="*/ 2147483646 w 16"/>
                <a:gd name="T19" fmla="*/ 2147483646 h 8"/>
                <a:gd name="T20" fmla="*/ 2147483646 w 16"/>
                <a:gd name="T21" fmla="*/ 2147483646 h 8"/>
                <a:gd name="T22" fmla="*/ 2147483646 w 16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" h="8">
                  <a:moveTo>
                    <a:pt x="6" y="1"/>
                  </a:moveTo>
                  <a:cubicBezTo>
                    <a:pt x="6" y="1"/>
                    <a:pt x="7" y="1"/>
                    <a:pt x="7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5" y="2"/>
                    <a:pt x="15" y="3"/>
                    <a:pt x="16" y="4"/>
                  </a:cubicBezTo>
                  <a:cubicBezTo>
                    <a:pt x="16" y="4"/>
                    <a:pt x="16" y="4"/>
                    <a:pt x="15" y="5"/>
                  </a:cubicBezTo>
                  <a:cubicBezTo>
                    <a:pt x="15" y="6"/>
                    <a:pt x="15" y="6"/>
                    <a:pt x="14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2" y="2"/>
                    <a:pt x="4" y="3"/>
                  </a:cubicBezTo>
                  <a:cubicBezTo>
                    <a:pt x="4" y="3"/>
                    <a:pt x="6" y="4"/>
                    <a:pt x="10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6" y="1"/>
                    <a:pt x="6" y="1"/>
                    <a:pt x="6" y="1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0" name="Freeform 250"/>
            <p:cNvSpPr/>
            <p:nvPr/>
          </p:nvSpPr>
          <p:spPr bwMode="auto">
            <a:xfrm rot="521357">
              <a:off x="4607755" y="2342679"/>
              <a:ext cx="44126" cy="14768"/>
            </a:xfrm>
            <a:custGeom>
              <a:avLst/>
              <a:gdLst>
                <a:gd name="T0" fmla="*/ 0 w 12"/>
                <a:gd name="T1" fmla="*/ 2147483646 h 4"/>
                <a:gd name="T2" fmla="*/ 2147483646 w 12"/>
                <a:gd name="T3" fmla="*/ 0 h 4"/>
                <a:gd name="T4" fmla="*/ 2147483646 w 12"/>
                <a:gd name="T5" fmla="*/ 2147483646 h 4"/>
                <a:gd name="T6" fmla="*/ 2147483646 w 12"/>
                <a:gd name="T7" fmla="*/ 2147483646 h 4"/>
                <a:gd name="T8" fmla="*/ 2147483646 w 12"/>
                <a:gd name="T9" fmla="*/ 2147483646 h 4"/>
                <a:gd name="T10" fmla="*/ 2147483646 w 12"/>
                <a:gd name="T11" fmla="*/ 2147483646 h 4"/>
                <a:gd name="T12" fmla="*/ 0 w 12"/>
                <a:gd name="T13" fmla="*/ 2147483646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4">
                  <a:moveTo>
                    <a:pt x="0" y="2"/>
                  </a:moveTo>
                  <a:cubicBezTo>
                    <a:pt x="0" y="1"/>
                    <a:pt x="0" y="1"/>
                    <a:pt x="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1" name="Freeform 251"/>
            <p:cNvSpPr/>
            <p:nvPr/>
          </p:nvSpPr>
          <p:spPr bwMode="auto">
            <a:xfrm rot="521357">
              <a:off x="4591443" y="2354292"/>
              <a:ext cx="33095" cy="16407"/>
            </a:xfrm>
            <a:custGeom>
              <a:avLst/>
              <a:gdLst>
                <a:gd name="T0" fmla="*/ 2147483646 w 9"/>
                <a:gd name="T1" fmla="*/ 0 h 4"/>
                <a:gd name="T2" fmla="*/ 2147483646 w 9"/>
                <a:gd name="T3" fmla="*/ 2147483646 h 4"/>
                <a:gd name="T4" fmla="*/ 2147483646 w 9"/>
                <a:gd name="T5" fmla="*/ 2147483646 h 4"/>
                <a:gd name="T6" fmla="*/ 0 w 9"/>
                <a:gd name="T7" fmla="*/ 2147483646 h 4"/>
                <a:gd name="T8" fmla="*/ 2147483646 w 9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4">
                  <a:moveTo>
                    <a:pt x="2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2" y="3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2" name="Freeform 252"/>
            <p:cNvSpPr/>
            <p:nvPr/>
          </p:nvSpPr>
          <p:spPr bwMode="auto">
            <a:xfrm rot="521357">
              <a:off x="4486422" y="2359847"/>
              <a:ext cx="96132" cy="49224"/>
            </a:xfrm>
            <a:custGeom>
              <a:avLst/>
              <a:gdLst>
                <a:gd name="T0" fmla="*/ 0 w 61"/>
                <a:gd name="T1" fmla="*/ 2147483646 h 30"/>
                <a:gd name="T2" fmla="*/ 2147483646 w 61"/>
                <a:gd name="T3" fmla="*/ 2147483646 h 30"/>
                <a:gd name="T4" fmla="*/ 2147483646 w 61"/>
                <a:gd name="T5" fmla="*/ 2147483646 h 30"/>
                <a:gd name="T6" fmla="*/ 2147483646 w 61"/>
                <a:gd name="T7" fmla="*/ 0 h 30"/>
                <a:gd name="T8" fmla="*/ 0 w 61"/>
                <a:gd name="T9" fmla="*/ 2147483646 h 30"/>
                <a:gd name="T10" fmla="*/ 0 w 61"/>
                <a:gd name="T11" fmla="*/ 2147483646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30">
                  <a:moveTo>
                    <a:pt x="0" y="30"/>
                  </a:moveTo>
                  <a:lnTo>
                    <a:pt x="4" y="19"/>
                  </a:lnTo>
                  <a:lnTo>
                    <a:pt x="9" y="19"/>
                  </a:lnTo>
                  <a:lnTo>
                    <a:pt x="61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3" name="Freeform 253"/>
            <p:cNvSpPr/>
            <p:nvPr/>
          </p:nvSpPr>
          <p:spPr bwMode="auto">
            <a:xfrm rot="521357">
              <a:off x="4492540" y="2380337"/>
              <a:ext cx="7881" cy="4923"/>
            </a:xfrm>
            <a:custGeom>
              <a:avLst/>
              <a:gdLst>
                <a:gd name="T0" fmla="*/ 0 w 5"/>
                <a:gd name="T1" fmla="*/ 2147483646 h 3"/>
                <a:gd name="T2" fmla="*/ 2147483646 w 5"/>
                <a:gd name="T3" fmla="*/ 0 h 3"/>
                <a:gd name="T4" fmla="*/ 2147483646 w 5"/>
                <a:gd name="T5" fmla="*/ 2147483646 h 3"/>
                <a:gd name="T6" fmla="*/ 0 w 5"/>
                <a:gd name="T7" fmla="*/ 2147483646 h 3"/>
                <a:gd name="T8" fmla="*/ 0 w 5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4" name="Freeform 254"/>
            <p:cNvSpPr/>
            <p:nvPr/>
          </p:nvSpPr>
          <p:spPr bwMode="auto">
            <a:xfrm rot="521357">
              <a:off x="4136783" y="2637971"/>
              <a:ext cx="89829" cy="62349"/>
            </a:xfrm>
            <a:custGeom>
              <a:avLst/>
              <a:gdLst>
                <a:gd name="T0" fmla="*/ 0 w 57"/>
                <a:gd name="T1" fmla="*/ 2147483646 h 38"/>
                <a:gd name="T2" fmla="*/ 2147483646 w 57"/>
                <a:gd name="T3" fmla="*/ 2147483646 h 38"/>
                <a:gd name="T4" fmla="*/ 2147483646 w 57"/>
                <a:gd name="T5" fmla="*/ 0 h 38"/>
                <a:gd name="T6" fmla="*/ 2147483646 w 57"/>
                <a:gd name="T7" fmla="*/ 2147483646 h 38"/>
                <a:gd name="T8" fmla="*/ 2147483646 w 57"/>
                <a:gd name="T9" fmla="*/ 2147483646 h 38"/>
                <a:gd name="T10" fmla="*/ 2147483646 w 57"/>
                <a:gd name="T11" fmla="*/ 2147483646 h 38"/>
                <a:gd name="T12" fmla="*/ 0 w 57"/>
                <a:gd name="T13" fmla="*/ 2147483646 h 38"/>
                <a:gd name="T14" fmla="*/ 0 w 57"/>
                <a:gd name="T15" fmla="*/ 2147483646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7" h="38">
                  <a:moveTo>
                    <a:pt x="0" y="29"/>
                  </a:moveTo>
                  <a:lnTo>
                    <a:pt x="8" y="26"/>
                  </a:lnTo>
                  <a:lnTo>
                    <a:pt x="50" y="0"/>
                  </a:lnTo>
                  <a:lnTo>
                    <a:pt x="57" y="10"/>
                  </a:lnTo>
                  <a:lnTo>
                    <a:pt x="12" y="33"/>
                  </a:lnTo>
                  <a:lnTo>
                    <a:pt x="5" y="38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5" name="Freeform 255"/>
            <p:cNvSpPr/>
            <p:nvPr/>
          </p:nvSpPr>
          <p:spPr bwMode="auto">
            <a:xfrm rot="521357">
              <a:off x="4163698" y="2644166"/>
              <a:ext cx="297853" cy="255962"/>
            </a:xfrm>
            <a:custGeom>
              <a:avLst/>
              <a:gdLst>
                <a:gd name="T0" fmla="*/ 2147483646 w 80"/>
                <a:gd name="T1" fmla="*/ 2147483646 h 66"/>
                <a:gd name="T2" fmla="*/ 0 w 80"/>
                <a:gd name="T3" fmla="*/ 2147483646 h 66"/>
                <a:gd name="T4" fmla="*/ 2147483646 w 80"/>
                <a:gd name="T5" fmla="*/ 2147483646 h 66"/>
                <a:gd name="T6" fmla="*/ 2147483646 w 80"/>
                <a:gd name="T7" fmla="*/ 2147483646 h 66"/>
                <a:gd name="T8" fmla="*/ 2147483646 w 80"/>
                <a:gd name="T9" fmla="*/ 2147483646 h 66"/>
                <a:gd name="T10" fmla="*/ 2147483646 w 80"/>
                <a:gd name="T11" fmla="*/ 2147483646 h 66"/>
                <a:gd name="T12" fmla="*/ 2147483646 w 80"/>
                <a:gd name="T13" fmla="*/ 0 h 66"/>
                <a:gd name="T14" fmla="*/ 2147483646 w 80"/>
                <a:gd name="T15" fmla="*/ 2147483646 h 66"/>
                <a:gd name="T16" fmla="*/ 2147483646 w 80"/>
                <a:gd name="T17" fmla="*/ 2147483646 h 66"/>
                <a:gd name="T18" fmla="*/ 2147483646 w 80"/>
                <a:gd name="T19" fmla="*/ 2147483646 h 66"/>
                <a:gd name="T20" fmla="*/ 2147483646 w 80"/>
                <a:gd name="T21" fmla="*/ 2147483646 h 66"/>
                <a:gd name="T22" fmla="*/ 2147483646 w 80"/>
                <a:gd name="T23" fmla="*/ 2147483646 h 66"/>
                <a:gd name="T24" fmla="*/ 2147483646 w 80"/>
                <a:gd name="T25" fmla="*/ 2147483646 h 66"/>
                <a:gd name="T26" fmla="*/ 2147483646 w 80"/>
                <a:gd name="T27" fmla="*/ 2147483646 h 66"/>
                <a:gd name="T28" fmla="*/ 2147483646 w 80"/>
                <a:gd name="T29" fmla="*/ 2147483646 h 66"/>
                <a:gd name="T30" fmla="*/ 2147483646 w 80"/>
                <a:gd name="T31" fmla="*/ 2147483646 h 66"/>
                <a:gd name="T32" fmla="*/ 2147483646 w 80"/>
                <a:gd name="T33" fmla="*/ 2147483646 h 66"/>
                <a:gd name="T34" fmla="*/ 2147483646 w 80"/>
                <a:gd name="T35" fmla="*/ 2147483646 h 66"/>
                <a:gd name="T36" fmla="*/ 2147483646 w 80"/>
                <a:gd name="T37" fmla="*/ 2147483646 h 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0" h="66">
                  <a:moveTo>
                    <a:pt x="16" y="49"/>
                  </a:moveTo>
                  <a:cubicBezTo>
                    <a:pt x="10" y="48"/>
                    <a:pt x="4" y="44"/>
                    <a:pt x="0" y="39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55" y="46"/>
                    <a:pt x="68" y="38"/>
                    <a:pt x="80" y="32"/>
                  </a:cubicBezTo>
                  <a:cubicBezTo>
                    <a:pt x="78" y="34"/>
                    <a:pt x="76" y="36"/>
                    <a:pt x="74" y="38"/>
                  </a:cubicBezTo>
                  <a:cubicBezTo>
                    <a:pt x="72" y="40"/>
                    <a:pt x="70" y="42"/>
                    <a:pt x="67" y="43"/>
                  </a:cubicBezTo>
                  <a:cubicBezTo>
                    <a:pt x="66" y="44"/>
                    <a:pt x="64" y="45"/>
                    <a:pt x="63" y="45"/>
                  </a:cubicBezTo>
                  <a:cubicBezTo>
                    <a:pt x="55" y="53"/>
                    <a:pt x="49" y="60"/>
                    <a:pt x="47" y="66"/>
                  </a:cubicBezTo>
                  <a:cubicBezTo>
                    <a:pt x="16" y="49"/>
                    <a:pt x="16" y="49"/>
                    <a:pt x="16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6" name="Freeform 256"/>
            <p:cNvSpPr>
              <a:spLocks noEditPoints="1"/>
            </p:cNvSpPr>
            <p:nvPr/>
          </p:nvSpPr>
          <p:spPr bwMode="auto">
            <a:xfrm rot="521357">
              <a:off x="4199953" y="2657759"/>
              <a:ext cx="297853" cy="213300"/>
            </a:xfrm>
            <a:custGeom>
              <a:avLst/>
              <a:gdLst>
                <a:gd name="T0" fmla="*/ 0 w 80"/>
                <a:gd name="T1" fmla="*/ 2147483646 h 55"/>
                <a:gd name="T2" fmla="*/ 2147483646 w 80"/>
                <a:gd name="T3" fmla="*/ 2147483646 h 55"/>
                <a:gd name="T4" fmla="*/ 2147483646 w 80"/>
                <a:gd name="T5" fmla="*/ 2147483646 h 55"/>
                <a:gd name="T6" fmla="*/ 2147483646 w 80"/>
                <a:gd name="T7" fmla="*/ 2147483646 h 55"/>
                <a:gd name="T8" fmla="*/ 2147483646 w 80"/>
                <a:gd name="T9" fmla="*/ 0 h 55"/>
                <a:gd name="T10" fmla="*/ 2147483646 w 80"/>
                <a:gd name="T11" fmla="*/ 2147483646 h 55"/>
                <a:gd name="T12" fmla="*/ 2147483646 w 80"/>
                <a:gd name="T13" fmla="*/ 2147483646 h 55"/>
                <a:gd name="T14" fmla="*/ 2147483646 w 80"/>
                <a:gd name="T15" fmla="*/ 2147483646 h 55"/>
                <a:gd name="T16" fmla="*/ 0 w 80"/>
                <a:gd name="T17" fmla="*/ 2147483646 h 55"/>
                <a:gd name="T18" fmla="*/ 2147483646 w 80"/>
                <a:gd name="T19" fmla="*/ 2147483646 h 55"/>
                <a:gd name="T20" fmla="*/ 2147483646 w 80"/>
                <a:gd name="T21" fmla="*/ 2147483646 h 55"/>
                <a:gd name="T22" fmla="*/ 2147483646 w 80"/>
                <a:gd name="T23" fmla="*/ 2147483646 h 55"/>
                <a:gd name="T24" fmla="*/ 2147483646 w 80"/>
                <a:gd name="T25" fmla="*/ 2147483646 h 55"/>
                <a:gd name="T26" fmla="*/ 2147483646 w 80"/>
                <a:gd name="T27" fmla="*/ 2147483646 h 55"/>
                <a:gd name="T28" fmla="*/ 2147483646 w 80"/>
                <a:gd name="T29" fmla="*/ 2147483646 h 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0" h="55">
                  <a:moveTo>
                    <a:pt x="0" y="38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21"/>
                    <a:pt x="75" y="26"/>
                    <a:pt x="71" y="30"/>
                  </a:cubicBezTo>
                  <a:cubicBezTo>
                    <a:pt x="59" y="36"/>
                    <a:pt x="46" y="44"/>
                    <a:pt x="35" y="55"/>
                  </a:cubicBezTo>
                  <a:cubicBezTo>
                    <a:pt x="0" y="38"/>
                    <a:pt x="0" y="38"/>
                    <a:pt x="0" y="38"/>
                  </a:cubicBezTo>
                  <a:close/>
                  <a:moveTo>
                    <a:pt x="49" y="2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49" y="2"/>
                    <a:pt x="49" y="2"/>
                    <a:pt x="49" y="2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7" name="Freeform 257"/>
            <p:cNvSpPr/>
            <p:nvPr/>
          </p:nvSpPr>
          <p:spPr bwMode="auto">
            <a:xfrm rot="521357">
              <a:off x="4384247" y="2677726"/>
              <a:ext cx="111893" cy="105009"/>
            </a:xfrm>
            <a:custGeom>
              <a:avLst/>
              <a:gdLst>
                <a:gd name="T0" fmla="*/ 0 w 71"/>
                <a:gd name="T1" fmla="*/ 2147483646 h 64"/>
                <a:gd name="T2" fmla="*/ 2147483646 w 71"/>
                <a:gd name="T3" fmla="*/ 0 h 64"/>
                <a:gd name="T4" fmla="*/ 2147483646 w 71"/>
                <a:gd name="T5" fmla="*/ 2147483646 h 64"/>
                <a:gd name="T6" fmla="*/ 2147483646 w 71"/>
                <a:gd name="T7" fmla="*/ 2147483646 h 64"/>
                <a:gd name="T8" fmla="*/ 2147483646 w 71"/>
                <a:gd name="T9" fmla="*/ 2147483646 h 64"/>
                <a:gd name="T10" fmla="*/ 0 w 71"/>
                <a:gd name="T11" fmla="*/ 2147483646 h 64"/>
                <a:gd name="T12" fmla="*/ 0 w 71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1" h="64">
                  <a:moveTo>
                    <a:pt x="0" y="5"/>
                  </a:moveTo>
                  <a:lnTo>
                    <a:pt x="2" y="0"/>
                  </a:lnTo>
                  <a:lnTo>
                    <a:pt x="71" y="33"/>
                  </a:lnTo>
                  <a:lnTo>
                    <a:pt x="52" y="64"/>
                  </a:lnTo>
                  <a:lnTo>
                    <a:pt x="61" y="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8" name="Freeform 258"/>
            <p:cNvSpPr/>
            <p:nvPr/>
          </p:nvSpPr>
          <p:spPr bwMode="auto">
            <a:xfrm rot="521357">
              <a:off x="4277855" y="2568420"/>
              <a:ext cx="111893" cy="88602"/>
            </a:xfrm>
            <a:custGeom>
              <a:avLst/>
              <a:gdLst>
                <a:gd name="T0" fmla="*/ 2147483646 w 30"/>
                <a:gd name="T1" fmla="*/ 2147483646 h 23"/>
                <a:gd name="T2" fmla="*/ 2147483646 w 30"/>
                <a:gd name="T3" fmla="*/ 0 h 23"/>
                <a:gd name="T4" fmla="*/ 2147483646 w 30"/>
                <a:gd name="T5" fmla="*/ 2147483646 h 23"/>
                <a:gd name="T6" fmla="*/ 2147483646 w 30"/>
                <a:gd name="T7" fmla="*/ 2147483646 h 23"/>
                <a:gd name="T8" fmla="*/ 2147483646 w 30"/>
                <a:gd name="T9" fmla="*/ 2147483646 h 23"/>
                <a:gd name="T10" fmla="*/ 2147483646 w 30"/>
                <a:gd name="T11" fmla="*/ 2147483646 h 23"/>
                <a:gd name="T12" fmla="*/ 2147483646 w 30"/>
                <a:gd name="T13" fmla="*/ 2147483646 h 23"/>
                <a:gd name="T14" fmla="*/ 2147483646 w 30"/>
                <a:gd name="T15" fmla="*/ 2147483646 h 23"/>
                <a:gd name="T16" fmla="*/ 2147483646 w 30"/>
                <a:gd name="T17" fmla="*/ 2147483646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0" h="23">
                  <a:moveTo>
                    <a:pt x="2" y="2"/>
                  </a:moveTo>
                  <a:cubicBezTo>
                    <a:pt x="3" y="1"/>
                    <a:pt x="5" y="2"/>
                    <a:pt x="5" y="0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0" y="4"/>
                    <a:pt x="1" y="4"/>
                  </a:cubicBezTo>
                  <a:lnTo>
                    <a:pt x="2" y="2"/>
                  </a:ln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9" name="Freeform 259"/>
            <p:cNvSpPr/>
            <p:nvPr/>
          </p:nvSpPr>
          <p:spPr bwMode="auto">
            <a:xfrm rot="521357">
              <a:off x="4273145" y="2587752"/>
              <a:ext cx="111893" cy="111572"/>
            </a:xfrm>
            <a:custGeom>
              <a:avLst/>
              <a:gdLst>
                <a:gd name="T0" fmla="*/ 2147483646 w 71"/>
                <a:gd name="T1" fmla="*/ 2147483646 h 68"/>
                <a:gd name="T2" fmla="*/ 2147483646 w 71"/>
                <a:gd name="T3" fmla="*/ 2147483646 h 68"/>
                <a:gd name="T4" fmla="*/ 2147483646 w 71"/>
                <a:gd name="T5" fmla="*/ 2147483646 h 68"/>
                <a:gd name="T6" fmla="*/ 2147483646 w 71"/>
                <a:gd name="T7" fmla="*/ 2147483646 h 68"/>
                <a:gd name="T8" fmla="*/ 0 w 71"/>
                <a:gd name="T9" fmla="*/ 2147483646 h 68"/>
                <a:gd name="T10" fmla="*/ 2147483646 w 71"/>
                <a:gd name="T11" fmla="*/ 0 h 68"/>
                <a:gd name="T12" fmla="*/ 2147483646 w 71"/>
                <a:gd name="T13" fmla="*/ 2147483646 h 68"/>
                <a:gd name="T14" fmla="*/ 2147483646 w 71"/>
                <a:gd name="T15" fmla="*/ 2147483646 h 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1" h="68">
                  <a:moveTo>
                    <a:pt x="36" y="42"/>
                  </a:moveTo>
                  <a:lnTo>
                    <a:pt x="71" y="35"/>
                  </a:lnTo>
                  <a:lnTo>
                    <a:pt x="52" y="68"/>
                  </a:lnTo>
                  <a:lnTo>
                    <a:pt x="31" y="61"/>
                  </a:lnTo>
                  <a:lnTo>
                    <a:pt x="0" y="9"/>
                  </a:lnTo>
                  <a:lnTo>
                    <a:pt x="2" y="0"/>
                  </a:lnTo>
                  <a:lnTo>
                    <a:pt x="36" y="42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0" name="Freeform 260"/>
            <p:cNvSpPr/>
            <p:nvPr/>
          </p:nvSpPr>
          <p:spPr bwMode="auto">
            <a:xfrm rot="521357">
              <a:off x="4423875" y="2756142"/>
              <a:ext cx="371923" cy="283855"/>
            </a:xfrm>
            <a:custGeom>
              <a:avLst/>
              <a:gdLst>
                <a:gd name="T0" fmla="*/ 2147483646 w 100"/>
                <a:gd name="T1" fmla="*/ 0 h 73"/>
                <a:gd name="T2" fmla="*/ 2147483646 w 100"/>
                <a:gd name="T3" fmla="*/ 2147483646 h 73"/>
                <a:gd name="T4" fmla="*/ 2147483646 w 100"/>
                <a:gd name="T5" fmla="*/ 2147483646 h 73"/>
                <a:gd name="T6" fmla="*/ 2147483646 w 100"/>
                <a:gd name="T7" fmla="*/ 2147483646 h 73"/>
                <a:gd name="T8" fmla="*/ 2147483646 w 100"/>
                <a:gd name="T9" fmla="*/ 2147483646 h 73"/>
                <a:gd name="T10" fmla="*/ 2147483646 w 100"/>
                <a:gd name="T11" fmla="*/ 2147483646 h 73"/>
                <a:gd name="T12" fmla="*/ 2147483646 w 100"/>
                <a:gd name="T13" fmla="*/ 2147483646 h 73"/>
                <a:gd name="T14" fmla="*/ 2147483646 w 100"/>
                <a:gd name="T15" fmla="*/ 2147483646 h 73"/>
                <a:gd name="T16" fmla="*/ 2147483646 w 100"/>
                <a:gd name="T17" fmla="*/ 2147483646 h 73"/>
                <a:gd name="T18" fmla="*/ 2147483646 w 100"/>
                <a:gd name="T19" fmla="*/ 2147483646 h 73"/>
                <a:gd name="T20" fmla="*/ 2147483646 w 100"/>
                <a:gd name="T21" fmla="*/ 2147483646 h 73"/>
                <a:gd name="T22" fmla="*/ 2147483646 w 100"/>
                <a:gd name="T23" fmla="*/ 2147483646 h 73"/>
                <a:gd name="T24" fmla="*/ 2147483646 w 100"/>
                <a:gd name="T25" fmla="*/ 2147483646 h 73"/>
                <a:gd name="T26" fmla="*/ 0 w 100"/>
                <a:gd name="T27" fmla="*/ 2147483646 h 73"/>
                <a:gd name="T28" fmla="*/ 2147483646 w 100"/>
                <a:gd name="T29" fmla="*/ 2147483646 h 73"/>
                <a:gd name="T30" fmla="*/ 2147483646 w 100"/>
                <a:gd name="T31" fmla="*/ 0 h 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00" h="73">
                  <a:moveTo>
                    <a:pt x="15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6" y="23"/>
                    <a:pt x="22" y="26"/>
                    <a:pt x="29" y="27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44" y="40"/>
                    <a:pt x="52" y="44"/>
                    <a:pt x="60" y="46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100" y="70"/>
                    <a:pt x="100" y="70"/>
                    <a:pt x="100" y="70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89" y="67"/>
                    <a:pt x="83" y="64"/>
                    <a:pt x="76" y="62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47" y="48"/>
                    <a:pt x="39" y="44"/>
                    <a:pt x="34" y="37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15" y="30"/>
                    <a:pt x="7" y="27"/>
                    <a:pt x="0" y="21"/>
                  </a:cubicBezTo>
                  <a:cubicBezTo>
                    <a:pt x="2" y="19"/>
                    <a:pt x="4" y="17"/>
                    <a:pt x="6" y="15"/>
                  </a:cubicBezTo>
                  <a:cubicBezTo>
                    <a:pt x="10" y="11"/>
                    <a:pt x="13" y="6"/>
                    <a:pt x="15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1" name="Freeform 261"/>
            <p:cNvSpPr/>
            <p:nvPr/>
          </p:nvSpPr>
          <p:spPr bwMode="auto">
            <a:xfrm rot="521357">
              <a:off x="4303280" y="2819017"/>
              <a:ext cx="81949" cy="379020"/>
            </a:xfrm>
            <a:custGeom>
              <a:avLst/>
              <a:gdLst>
                <a:gd name="T0" fmla="*/ 2147483646 w 22"/>
                <a:gd name="T1" fmla="*/ 2147483646 h 98"/>
                <a:gd name="T2" fmla="*/ 2147483646 w 22"/>
                <a:gd name="T3" fmla="*/ 0 h 98"/>
                <a:gd name="T4" fmla="*/ 2147483646 w 22"/>
                <a:gd name="T5" fmla="*/ 2147483646 h 98"/>
                <a:gd name="T6" fmla="*/ 2147483646 w 22"/>
                <a:gd name="T7" fmla="*/ 2147483646 h 98"/>
                <a:gd name="T8" fmla="*/ 2147483646 w 22"/>
                <a:gd name="T9" fmla="*/ 2147483646 h 98"/>
                <a:gd name="T10" fmla="*/ 2147483646 w 22"/>
                <a:gd name="T11" fmla="*/ 2147483646 h 98"/>
                <a:gd name="T12" fmla="*/ 2147483646 w 22"/>
                <a:gd name="T13" fmla="*/ 2147483646 h 98"/>
                <a:gd name="T14" fmla="*/ 2147483646 w 22"/>
                <a:gd name="T15" fmla="*/ 2147483646 h 98"/>
                <a:gd name="T16" fmla="*/ 2147483646 w 22"/>
                <a:gd name="T17" fmla="*/ 2147483646 h 98"/>
                <a:gd name="T18" fmla="*/ 2147483646 w 22"/>
                <a:gd name="T19" fmla="*/ 2147483646 h 98"/>
                <a:gd name="T20" fmla="*/ 2147483646 w 22"/>
                <a:gd name="T21" fmla="*/ 2147483646 h 98"/>
                <a:gd name="T22" fmla="*/ 2147483646 w 22"/>
                <a:gd name="T23" fmla="*/ 2147483646 h 98"/>
                <a:gd name="T24" fmla="*/ 0 w 22"/>
                <a:gd name="T25" fmla="*/ 2147483646 h 98"/>
                <a:gd name="T26" fmla="*/ 2147483646 w 22"/>
                <a:gd name="T27" fmla="*/ 2147483646 h 9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2" h="98">
                  <a:moveTo>
                    <a:pt x="16" y="2"/>
                  </a:moveTo>
                  <a:cubicBezTo>
                    <a:pt x="17" y="2"/>
                    <a:pt x="19" y="1"/>
                    <a:pt x="20" y="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4" y="21"/>
                    <a:pt x="18" y="25"/>
                    <a:pt x="22" y="30"/>
                  </a:cubicBezTo>
                  <a:cubicBezTo>
                    <a:pt x="16" y="42"/>
                    <a:pt x="13" y="57"/>
                    <a:pt x="11" y="73"/>
                  </a:cubicBezTo>
                  <a:cubicBezTo>
                    <a:pt x="10" y="78"/>
                    <a:pt x="9" y="82"/>
                    <a:pt x="6" y="86"/>
                  </a:cubicBezTo>
                  <a:cubicBezTo>
                    <a:pt x="8" y="91"/>
                    <a:pt x="9" y="94"/>
                    <a:pt x="12" y="97"/>
                  </a:cubicBezTo>
                  <a:cubicBezTo>
                    <a:pt x="9" y="98"/>
                    <a:pt x="7" y="98"/>
                    <a:pt x="4" y="97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6" y="80"/>
                    <a:pt x="8" y="76"/>
                    <a:pt x="7" y="71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9"/>
                    <a:pt x="11" y="39"/>
                    <a:pt x="17" y="30"/>
                  </a:cubicBezTo>
                  <a:cubicBezTo>
                    <a:pt x="13" y="27"/>
                    <a:pt x="8" y="24"/>
                    <a:pt x="0" y="23"/>
                  </a:cubicBezTo>
                  <a:cubicBezTo>
                    <a:pt x="2" y="17"/>
                    <a:pt x="8" y="10"/>
                    <a:pt x="16" y="2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2" name="Freeform 262"/>
            <p:cNvSpPr>
              <a:spLocks noEditPoints="1"/>
            </p:cNvSpPr>
            <p:nvPr/>
          </p:nvSpPr>
          <p:spPr bwMode="auto">
            <a:xfrm rot="521357">
              <a:off x="4326597" y="2826535"/>
              <a:ext cx="133956" cy="375738"/>
            </a:xfrm>
            <a:custGeom>
              <a:avLst/>
              <a:gdLst>
                <a:gd name="T0" fmla="*/ 2147483646 w 36"/>
                <a:gd name="T1" fmla="*/ 0 h 97"/>
                <a:gd name="T2" fmla="*/ 2147483646 w 36"/>
                <a:gd name="T3" fmla="*/ 2147483646 h 97"/>
                <a:gd name="T4" fmla="*/ 2147483646 w 36"/>
                <a:gd name="T5" fmla="*/ 2147483646 h 97"/>
                <a:gd name="T6" fmla="*/ 2147483646 w 36"/>
                <a:gd name="T7" fmla="*/ 2147483646 h 97"/>
                <a:gd name="T8" fmla="*/ 2147483646 w 36"/>
                <a:gd name="T9" fmla="*/ 2147483646 h 97"/>
                <a:gd name="T10" fmla="*/ 2147483646 w 36"/>
                <a:gd name="T11" fmla="*/ 2147483646 h 97"/>
                <a:gd name="T12" fmla="*/ 2147483646 w 36"/>
                <a:gd name="T13" fmla="*/ 2147483646 h 97"/>
                <a:gd name="T14" fmla="*/ 0 w 36"/>
                <a:gd name="T15" fmla="*/ 2147483646 h 97"/>
                <a:gd name="T16" fmla="*/ 2147483646 w 36"/>
                <a:gd name="T17" fmla="*/ 2147483646 h 97"/>
                <a:gd name="T18" fmla="*/ 2147483646 w 36"/>
                <a:gd name="T19" fmla="*/ 2147483646 h 97"/>
                <a:gd name="T20" fmla="*/ 2147483646 w 36"/>
                <a:gd name="T21" fmla="*/ 2147483646 h 97"/>
                <a:gd name="T22" fmla="*/ 2147483646 w 36"/>
                <a:gd name="T23" fmla="*/ 0 h 97"/>
                <a:gd name="T24" fmla="*/ 2147483646 w 36"/>
                <a:gd name="T25" fmla="*/ 2147483646 h 97"/>
                <a:gd name="T26" fmla="*/ 2147483646 w 36"/>
                <a:gd name="T27" fmla="*/ 2147483646 h 97"/>
                <a:gd name="T28" fmla="*/ 2147483646 w 36"/>
                <a:gd name="T29" fmla="*/ 2147483646 h 97"/>
                <a:gd name="T30" fmla="*/ 2147483646 w 36"/>
                <a:gd name="T31" fmla="*/ 2147483646 h 97"/>
                <a:gd name="T32" fmla="*/ 2147483646 w 36"/>
                <a:gd name="T33" fmla="*/ 2147483646 h 97"/>
                <a:gd name="T34" fmla="*/ 2147483646 w 36"/>
                <a:gd name="T35" fmla="*/ 2147483646 h 97"/>
                <a:gd name="T36" fmla="*/ 2147483646 w 36"/>
                <a:gd name="T37" fmla="*/ 2147483646 h 97"/>
                <a:gd name="T38" fmla="*/ 2147483646 w 36"/>
                <a:gd name="T39" fmla="*/ 2147483646 h 97"/>
                <a:gd name="T40" fmla="*/ 2147483646 w 36"/>
                <a:gd name="T41" fmla="*/ 2147483646 h 97"/>
                <a:gd name="T42" fmla="*/ 2147483646 w 36"/>
                <a:gd name="T43" fmla="*/ 2147483646 h 97"/>
                <a:gd name="T44" fmla="*/ 2147483646 w 36"/>
                <a:gd name="T45" fmla="*/ 2147483646 h 97"/>
                <a:gd name="T46" fmla="*/ 2147483646 w 36"/>
                <a:gd name="T47" fmla="*/ 2147483646 h 97"/>
                <a:gd name="T48" fmla="*/ 2147483646 w 36"/>
                <a:gd name="T49" fmla="*/ 2147483646 h 9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6" h="97">
                  <a:moveTo>
                    <a:pt x="14" y="0"/>
                  </a:moveTo>
                  <a:cubicBezTo>
                    <a:pt x="24" y="7"/>
                    <a:pt x="24" y="7"/>
                    <a:pt x="24" y="7"/>
                  </a:cubicBezTo>
                  <a:cubicBezTo>
                    <a:pt x="34" y="14"/>
                    <a:pt x="36" y="24"/>
                    <a:pt x="30" y="36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3" y="69"/>
                    <a:pt x="10" y="78"/>
                    <a:pt x="10" y="8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9" y="96"/>
                    <a:pt x="7" y="97"/>
                    <a:pt x="6" y="97"/>
                  </a:cubicBezTo>
                  <a:cubicBezTo>
                    <a:pt x="3" y="94"/>
                    <a:pt x="2" y="91"/>
                    <a:pt x="0" y="86"/>
                  </a:cubicBezTo>
                  <a:cubicBezTo>
                    <a:pt x="3" y="82"/>
                    <a:pt x="4" y="78"/>
                    <a:pt x="5" y="73"/>
                  </a:cubicBezTo>
                  <a:cubicBezTo>
                    <a:pt x="7" y="57"/>
                    <a:pt x="10" y="42"/>
                    <a:pt x="16" y="30"/>
                  </a:cubicBezTo>
                  <a:cubicBezTo>
                    <a:pt x="12" y="25"/>
                    <a:pt x="8" y="21"/>
                    <a:pt x="3" y="18"/>
                  </a:cubicBezTo>
                  <a:cubicBezTo>
                    <a:pt x="14" y="0"/>
                    <a:pt x="14" y="0"/>
                    <a:pt x="14" y="0"/>
                  </a:cubicBezTo>
                  <a:close/>
                  <a:moveTo>
                    <a:pt x="31" y="20"/>
                  </a:moveTo>
                  <a:cubicBezTo>
                    <a:pt x="31" y="14"/>
                    <a:pt x="26" y="8"/>
                    <a:pt x="15" y="2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4" y="8"/>
                    <a:pt x="29" y="14"/>
                    <a:pt x="28" y="23"/>
                  </a:cubicBezTo>
                  <a:cubicBezTo>
                    <a:pt x="29" y="28"/>
                    <a:pt x="27" y="33"/>
                    <a:pt x="24" y="39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0" y="66"/>
                    <a:pt x="8" y="73"/>
                    <a:pt x="7" y="8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0" y="73"/>
                    <a:pt x="12" y="66"/>
                    <a:pt x="15" y="58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31" y="33"/>
                    <a:pt x="32" y="27"/>
                    <a:pt x="31" y="20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3" name="Freeform 263"/>
            <p:cNvSpPr/>
            <p:nvPr/>
          </p:nvSpPr>
          <p:spPr bwMode="auto">
            <a:xfrm rot="521357">
              <a:off x="4351883" y="2833822"/>
              <a:ext cx="92982" cy="360971"/>
            </a:xfrm>
            <a:custGeom>
              <a:avLst/>
              <a:gdLst>
                <a:gd name="T0" fmla="*/ 2147483646 w 25"/>
                <a:gd name="T1" fmla="*/ 0 h 93"/>
                <a:gd name="T2" fmla="*/ 2147483646 w 25"/>
                <a:gd name="T3" fmla="*/ 2147483646 h 93"/>
                <a:gd name="T4" fmla="*/ 2147483646 w 25"/>
                <a:gd name="T5" fmla="*/ 2147483646 h 93"/>
                <a:gd name="T6" fmla="*/ 2147483646 w 25"/>
                <a:gd name="T7" fmla="*/ 2147483646 h 93"/>
                <a:gd name="T8" fmla="*/ 2147483646 w 25"/>
                <a:gd name="T9" fmla="*/ 2147483646 h 93"/>
                <a:gd name="T10" fmla="*/ 2147483646 w 25"/>
                <a:gd name="T11" fmla="*/ 2147483646 h 93"/>
                <a:gd name="T12" fmla="*/ 0 w 25"/>
                <a:gd name="T13" fmla="*/ 2147483646 h 93"/>
                <a:gd name="T14" fmla="*/ 0 w 25"/>
                <a:gd name="T15" fmla="*/ 2147483646 h 93"/>
                <a:gd name="T16" fmla="*/ 2147483646 w 25"/>
                <a:gd name="T17" fmla="*/ 2147483646 h 93"/>
                <a:gd name="T18" fmla="*/ 2147483646 w 25"/>
                <a:gd name="T19" fmla="*/ 2147483646 h 93"/>
                <a:gd name="T20" fmla="*/ 2147483646 w 25"/>
                <a:gd name="T21" fmla="*/ 2147483646 h 93"/>
                <a:gd name="T22" fmla="*/ 2147483646 w 25"/>
                <a:gd name="T23" fmla="*/ 2147483646 h 93"/>
                <a:gd name="T24" fmla="*/ 2147483646 w 25"/>
                <a:gd name="T25" fmla="*/ 0 h 9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5" h="93">
                  <a:moveTo>
                    <a:pt x="8" y="0"/>
                  </a:moveTo>
                  <a:cubicBezTo>
                    <a:pt x="19" y="6"/>
                    <a:pt x="24" y="12"/>
                    <a:pt x="24" y="18"/>
                  </a:cubicBezTo>
                  <a:cubicBezTo>
                    <a:pt x="25" y="25"/>
                    <a:pt x="24" y="31"/>
                    <a:pt x="19" y="3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5" y="64"/>
                    <a:pt x="3" y="71"/>
                    <a:pt x="2" y="78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" y="71"/>
                    <a:pt x="3" y="64"/>
                    <a:pt x="6" y="56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1"/>
                    <a:pt x="22" y="26"/>
                    <a:pt x="21" y="21"/>
                  </a:cubicBezTo>
                  <a:cubicBezTo>
                    <a:pt x="22" y="12"/>
                    <a:pt x="17" y="6"/>
                    <a:pt x="7" y="2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4" name="Freeform 264"/>
            <p:cNvSpPr>
              <a:spLocks noEditPoints="1"/>
            </p:cNvSpPr>
            <p:nvPr/>
          </p:nvSpPr>
          <p:spPr bwMode="auto">
            <a:xfrm rot="521357">
              <a:off x="4465249" y="2764006"/>
              <a:ext cx="349859" cy="267447"/>
            </a:xfrm>
            <a:custGeom>
              <a:avLst/>
              <a:gdLst>
                <a:gd name="T0" fmla="*/ 2147483646 w 94"/>
                <a:gd name="T1" fmla="*/ 2147483646 h 69"/>
                <a:gd name="T2" fmla="*/ 2147483646 w 94"/>
                <a:gd name="T3" fmla="*/ 2147483646 h 69"/>
                <a:gd name="T4" fmla="*/ 0 w 94"/>
                <a:gd name="T5" fmla="*/ 2147483646 h 69"/>
                <a:gd name="T6" fmla="*/ 2147483646 w 94"/>
                <a:gd name="T7" fmla="*/ 0 h 69"/>
                <a:gd name="T8" fmla="*/ 2147483646 w 94"/>
                <a:gd name="T9" fmla="*/ 2147483646 h 69"/>
                <a:gd name="T10" fmla="*/ 2147483646 w 94"/>
                <a:gd name="T11" fmla="*/ 2147483646 h 69"/>
                <a:gd name="T12" fmla="*/ 2147483646 w 94"/>
                <a:gd name="T13" fmla="*/ 2147483646 h 69"/>
                <a:gd name="T14" fmla="*/ 2147483646 w 94"/>
                <a:gd name="T15" fmla="*/ 2147483646 h 69"/>
                <a:gd name="T16" fmla="*/ 2147483646 w 94"/>
                <a:gd name="T17" fmla="*/ 2147483646 h 69"/>
                <a:gd name="T18" fmla="*/ 2147483646 w 94"/>
                <a:gd name="T19" fmla="*/ 2147483646 h 69"/>
                <a:gd name="T20" fmla="*/ 2147483646 w 94"/>
                <a:gd name="T21" fmla="*/ 2147483646 h 69"/>
                <a:gd name="T22" fmla="*/ 2147483646 w 94"/>
                <a:gd name="T23" fmla="*/ 2147483646 h 69"/>
                <a:gd name="T24" fmla="*/ 2147483646 w 94"/>
                <a:gd name="T25" fmla="*/ 2147483646 h 69"/>
                <a:gd name="T26" fmla="*/ 2147483646 w 94"/>
                <a:gd name="T27" fmla="*/ 2147483646 h 69"/>
                <a:gd name="T28" fmla="*/ 2147483646 w 94"/>
                <a:gd name="T29" fmla="*/ 2147483646 h 69"/>
                <a:gd name="T30" fmla="*/ 2147483646 w 94"/>
                <a:gd name="T31" fmla="*/ 2147483646 h 69"/>
                <a:gd name="T32" fmla="*/ 2147483646 w 94"/>
                <a:gd name="T33" fmla="*/ 2147483646 h 69"/>
                <a:gd name="T34" fmla="*/ 2147483646 w 94"/>
                <a:gd name="T35" fmla="*/ 2147483646 h 69"/>
                <a:gd name="T36" fmla="*/ 2147483646 w 94"/>
                <a:gd name="T37" fmla="*/ 2147483646 h 69"/>
                <a:gd name="T38" fmla="*/ 2147483646 w 94"/>
                <a:gd name="T39" fmla="*/ 2147483646 h 69"/>
                <a:gd name="T40" fmla="*/ 2147483646 w 94"/>
                <a:gd name="T41" fmla="*/ 2147483646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4" h="69">
                  <a:moveTo>
                    <a:pt x="25" y="32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1" y="25"/>
                    <a:pt x="5" y="22"/>
                    <a:pt x="0" y="1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6" y="13"/>
                    <a:pt x="33" y="18"/>
                    <a:pt x="40" y="24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9" y="58"/>
                    <a:pt x="86" y="63"/>
                    <a:pt x="94" y="66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41" y="43"/>
                    <a:pt x="33" y="39"/>
                    <a:pt x="25" y="32"/>
                  </a:cubicBezTo>
                  <a:close/>
                  <a:moveTo>
                    <a:pt x="6" y="3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16" y="12"/>
                    <a:pt x="27" y="19"/>
                    <a:pt x="37" y="27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76" y="60"/>
                    <a:pt x="83" y="63"/>
                    <a:pt x="90" y="66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2" y="19"/>
                    <a:pt x="25" y="15"/>
                    <a:pt x="16" y="11"/>
                  </a:cubicBezTo>
                  <a:cubicBezTo>
                    <a:pt x="6" y="3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5" name="Freeform 265"/>
            <p:cNvSpPr/>
            <p:nvPr/>
          </p:nvSpPr>
          <p:spPr bwMode="auto">
            <a:xfrm rot="521357">
              <a:off x="4484010" y="2777481"/>
              <a:ext cx="316764" cy="242834"/>
            </a:xfrm>
            <a:custGeom>
              <a:avLst/>
              <a:gdLst>
                <a:gd name="T0" fmla="*/ 0 w 85"/>
                <a:gd name="T1" fmla="*/ 2147483646 h 63"/>
                <a:gd name="T2" fmla="*/ 2147483646 w 85"/>
                <a:gd name="T3" fmla="*/ 0 h 63"/>
                <a:gd name="T4" fmla="*/ 2147483646 w 85"/>
                <a:gd name="T5" fmla="*/ 2147483646 h 63"/>
                <a:gd name="T6" fmla="*/ 2147483646 w 85"/>
                <a:gd name="T7" fmla="*/ 2147483646 h 63"/>
                <a:gd name="T8" fmla="*/ 2147483646 w 85"/>
                <a:gd name="T9" fmla="*/ 2147483646 h 63"/>
                <a:gd name="T10" fmla="*/ 2147483646 w 85"/>
                <a:gd name="T11" fmla="*/ 2147483646 h 63"/>
                <a:gd name="T12" fmla="*/ 2147483646 w 85"/>
                <a:gd name="T13" fmla="*/ 2147483646 h 63"/>
                <a:gd name="T14" fmla="*/ 2147483646 w 85"/>
                <a:gd name="T15" fmla="*/ 2147483646 h 63"/>
                <a:gd name="T16" fmla="*/ 0 w 85"/>
                <a:gd name="T17" fmla="*/ 2147483646 h 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5" h="63">
                  <a:moveTo>
                    <a:pt x="0" y="3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20" y="12"/>
                    <a:pt x="27" y="16"/>
                    <a:pt x="34" y="22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78" y="60"/>
                    <a:pt x="71" y="57"/>
                    <a:pt x="64" y="52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22" y="16"/>
                    <a:pt x="11" y="9"/>
                    <a:pt x="0" y="3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6" name="Freeform 266"/>
            <p:cNvSpPr/>
            <p:nvPr/>
          </p:nvSpPr>
          <p:spPr bwMode="auto">
            <a:xfrm rot="521357">
              <a:off x="4272322" y="3089356"/>
              <a:ext cx="70918" cy="159156"/>
            </a:xfrm>
            <a:custGeom>
              <a:avLst/>
              <a:gdLst>
                <a:gd name="T0" fmla="*/ 2147483646 w 19"/>
                <a:gd name="T1" fmla="*/ 0 h 41"/>
                <a:gd name="T2" fmla="*/ 2147483646 w 19"/>
                <a:gd name="T3" fmla="*/ 2147483646 h 41"/>
                <a:gd name="T4" fmla="*/ 2147483646 w 19"/>
                <a:gd name="T5" fmla="*/ 2147483646 h 41"/>
                <a:gd name="T6" fmla="*/ 2147483646 w 19"/>
                <a:gd name="T7" fmla="*/ 2147483646 h 41"/>
                <a:gd name="T8" fmla="*/ 2147483646 w 19"/>
                <a:gd name="T9" fmla="*/ 2147483646 h 41"/>
                <a:gd name="T10" fmla="*/ 2147483646 w 19"/>
                <a:gd name="T11" fmla="*/ 2147483646 h 41"/>
                <a:gd name="T12" fmla="*/ 2147483646 w 19"/>
                <a:gd name="T13" fmla="*/ 2147483646 h 41"/>
                <a:gd name="T14" fmla="*/ 2147483646 w 19"/>
                <a:gd name="T15" fmla="*/ 2147483646 h 41"/>
                <a:gd name="T16" fmla="*/ 2147483646 w 19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41">
                  <a:moveTo>
                    <a:pt x="9" y="0"/>
                  </a:moveTo>
                  <a:cubicBezTo>
                    <a:pt x="10" y="5"/>
                    <a:pt x="8" y="9"/>
                    <a:pt x="5" y="12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9" y="27"/>
                    <a:pt x="11" y="27"/>
                    <a:pt x="14" y="26"/>
                  </a:cubicBezTo>
                  <a:cubicBezTo>
                    <a:pt x="15" y="26"/>
                    <a:pt x="17" y="25"/>
                    <a:pt x="19" y="24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9"/>
                    <a:pt x="14" y="41"/>
                    <a:pt x="7" y="38"/>
                  </a:cubicBezTo>
                  <a:cubicBezTo>
                    <a:pt x="4" y="33"/>
                    <a:pt x="3" y="25"/>
                    <a:pt x="3" y="16"/>
                  </a:cubicBezTo>
                  <a:cubicBezTo>
                    <a:pt x="0" y="10"/>
                    <a:pt x="2" y="4"/>
                    <a:pt x="9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38997" name="组合 195"/>
            <p:cNvGrpSpPr/>
            <p:nvPr/>
          </p:nvGrpSpPr>
          <p:grpSpPr bwMode="auto">
            <a:xfrm>
              <a:off x="4289030" y="2423803"/>
              <a:ext cx="124656" cy="95811"/>
              <a:chOff x="4519983" y="2236092"/>
              <a:chExt cx="134206" cy="103151"/>
            </a:xfrm>
          </p:grpSpPr>
          <p:sp>
            <p:nvSpPr>
              <p:cNvPr id="38998" name="Freeform 321"/>
              <p:cNvSpPr/>
              <p:nvPr/>
            </p:nvSpPr>
            <p:spPr bwMode="auto">
              <a:xfrm rot="521357">
                <a:off x="4519983" y="2236092"/>
                <a:ext cx="117071" cy="91857"/>
              </a:xfrm>
              <a:custGeom>
                <a:avLst/>
                <a:gdLst>
                  <a:gd name="T0" fmla="*/ 2147483646 w 29"/>
                  <a:gd name="T1" fmla="*/ 0 h 22"/>
                  <a:gd name="T2" fmla="*/ 2147483646 w 29"/>
                  <a:gd name="T3" fmla="*/ 2147483646 h 22"/>
                  <a:gd name="T4" fmla="*/ 2147483646 w 29"/>
                  <a:gd name="T5" fmla="*/ 2147483646 h 22"/>
                  <a:gd name="T6" fmla="*/ 2147483646 w 29"/>
                  <a:gd name="T7" fmla="*/ 2147483646 h 22"/>
                  <a:gd name="T8" fmla="*/ 2147483646 w 29"/>
                  <a:gd name="T9" fmla="*/ 2147483646 h 22"/>
                  <a:gd name="T10" fmla="*/ 2147483646 w 29"/>
                  <a:gd name="T11" fmla="*/ 2147483646 h 22"/>
                  <a:gd name="T12" fmla="*/ 2147483646 w 29"/>
                  <a:gd name="T13" fmla="*/ 2147483646 h 22"/>
                  <a:gd name="T14" fmla="*/ 0 w 29"/>
                  <a:gd name="T15" fmla="*/ 2147483646 h 22"/>
                  <a:gd name="T16" fmla="*/ 2147483646 w 29"/>
                  <a:gd name="T17" fmla="*/ 2147483646 h 22"/>
                  <a:gd name="T18" fmla="*/ 2147483646 w 29"/>
                  <a:gd name="T19" fmla="*/ 2147483646 h 22"/>
                  <a:gd name="T20" fmla="*/ 2147483646 w 29"/>
                  <a:gd name="T21" fmla="*/ 2147483646 h 22"/>
                  <a:gd name="T22" fmla="*/ 2147483646 w 29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22">
                    <a:moveTo>
                      <a:pt x="28" y="0"/>
                    </a:moveTo>
                    <a:cubicBezTo>
                      <a:pt x="28" y="0"/>
                      <a:pt x="29" y="1"/>
                      <a:pt x="28" y="2"/>
                    </a:cubicBezTo>
                    <a:cubicBezTo>
                      <a:pt x="28" y="3"/>
                      <a:pt x="27" y="3"/>
                      <a:pt x="2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19" y="11"/>
                      <a:pt x="17" y="13"/>
                      <a:pt x="14" y="14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3" y="21"/>
                      <a:pt x="2" y="21"/>
                      <a:pt x="0" y="2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0"/>
                      <a:pt x="9" y="10"/>
                    </a:cubicBezTo>
                    <a:cubicBezTo>
                      <a:pt x="11" y="7"/>
                      <a:pt x="14" y="5"/>
                      <a:pt x="18" y="4"/>
                    </a:cubicBezTo>
                    <a:cubicBezTo>
                      <a:pt x="23" y="1"/>
                      <a:pt x="26" y="0"/>
                      <a:pt x="28" y="0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999" name="Freeform 322"/>
              <p:cNvSpPr/>
              <p:nvPr/>
            </p:nvSpPr>
            <p:spPr bwMode="auto">
              <a:xfrm rot="521357">
                <a:off x="4533724" y="2247386"/>
                <a:ext cx="120465" cy="91857"/>
              </a:xfrm>
              <a:custGeom>
                <a:avLst/>
                <a:gdLst>
                  <a:gd name="T0" fmla="*/ 2147483646 w 30"/>
                  <a:gd name="T1" fmla="*/ 2147483646 h 22"/>
                  <a:gd name="T2" fmla="*/ 2147483646 w 30"/>
                  <a:gd name="T3" fmla="*/ 0 h 22"/>
                  <a:gd name="T4" fmla="*/ 2147483646 w 30"/>
                  <a:gd name="T5" fmla="*/ 2147483646 h 22"/>
                  <a:gd name="T6" fmla="*/ 2147483646 w 30"/>
                  <a:gd name="T7" fmla="*/ 2147483646 h 22"/>
                  <a:gd name="T8" fmla="*/ 2147483646 w 30"/>
                  <a:gd name="T9" fmla="*/ 2147483646 h 22"/>
                  <a:gd name="T10" fmla="*/ 2147483646 w 30"/>
                  <a:gd name="T11" fmla="*/ 2147483646 h 22"/>
                  <a:gd name="T12" fmla="*/ 2147483646 w 30"/>
                  <a:gd name="T13" fmla="*/ 2147483646 h 22"/>
                  <a:gd name="T14" fmla="*/ 0 w 30"/>
                  <a:gd name="T15" fmla="*/ 2147483646 h 22"/>
                  <a:gd name="T16" fmla="*/ 2147483646 w 30"/>
                  <a:gd name="T17" fmla="*/ 2147483646 h 22"/>
                  <a:gd name="T18" fmla="*/ 2147483646 w 30"/>
                  <a:gd name="T19" fmla="*/ 2147483646 h 22"/>
                  <a:gd name="T20" fmla="*/ 2147483646 w 30"/>
                  <a:gd name="T21" fmla="*/ 2147483646 h 2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0" h="22">
                    <a:moveTo>
                      <a:pt x="24" y="2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30" y="2"/>
                      <a:pt x="28" y="4"/>
                      <a:pt x="25" y="5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3" y="6"/>
                      <a:pt x="23" y="6"/>
                      <a:pt x="22" y="6"/>
                    </a:cubicBezTo>
                    <a:cubicBezTo>
                      <a:pt x="21" y="10"/>
                      <a:pt x="17" y="13"/>
                      <a:pt x="12" y="14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2" y="21"/>
                      <a:pt x="1" y="20"/>
                      <a:pt x="0" y="20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3" y="11"/>
                      <a:pt x="15" y="9"/>
                      <a:pt x="17" y="6"/>
                    </a:cubicBezTo>
                    <a:cubicBezTo>
                      <a:pt x="24" y="2"/>
                      <a:pt x="24" y="2"/>
                      <a:pt x="24" y="2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54" name="组合 253"/>
          <p:cNvGrpSpPr/>
          <p:nvPr/>
        </p:nvGrpSpPr>
        <p:grpSpPr bwMode="auto">
          <a:xfrm>
            <a:off x="2970213" y="2374900"/>
            <a:ext cx="708025" cy="739775"/>
            <a:chOff x="2970474" y="2375684"/>
            <a:chExt cx="708388" cy="739049"/>
          </a:xfrm>
        </p:grpSpPr>
        <p:sp>
          <p:nvSpPr>
            <p:cNvPr id="255" name="任意多边形 254"/>
            <p:cNvSpPr/>
            <p:nvPr/>
          </p:nvSpPr>
          <p:spPr>
            <a:xfrm>
              <a:off x="3504147" y="2375684"/>
              <a:ext cx="174715" cy="72953"/>
            </a:xfrm>
            <a:custGeom>
              <a:avLst/>
              <a:gdLst>
                <a:gd name="connsiteX0" fmla="*/ 0 w 215900"/>
                <a:gd name="connsiteY0" fmla="*/ 85839 h 85839"/>
                <a:gd name="connsiteX1" fmla="*/ 15875 w 215900"/>
                <a:gd name="connsiteY1" fmla="*/ 79489 h 85839"/>
                <a:gd name="connsiteX2" fmla="*/ 25400 w 215900"/>
                <a:gd name="connsiteY2" fmla="*/ 76314 h 85839"/>
                <a:gd name="connsiteX3" fmla="*/ 34925 w 215900"/>
                <a:gd name="connsiteY3" fmla="*/ 69964 h 85839"/>
                <a:gd name="connsiteX4" fmla="*/ 53975 w 215900"/>
                <a:gd name="connsiteY4" fmla="*/ 63614 h 85839"/>
                <a:gd name="connsiteX5" fmla="*/ 73025 w 215900"/>
                <a:gd name="connsiteY5" fmla="*/ 57264 h 85839"/>
                <a:gd name="connsiteX6" fmla="*/ 82550 w 215900"/>
                <a:gd name="connsiteY6" fmla="*/ 54089 h 85839"/>
                <a:gd name="connsiteX7" fmla="*/ 92075 w 215900"/>
                <a:gd name="connsiteY7" fmla="*/ 47739 h 85839"/>
                <a:gd name="connsiteX8" fmla="*/ 111125 w 215900"/>
                <a:gd name="connsiteY8" fmla="*/ 41389 h 85839"/>
                <a:gd name="connsiteX9" fmla="*/ 130175 w 215900"/>
                <a:gd name="connsiteY9" fmla="*/ 35039 h 85839"/>
                <a:gd name="connsiteX10" fmla="*/ 139700 w 215900"/>
                <a:gd name="connsiteY10" fmla="*/ 31864 h 85839"/>
                <a:gd name="connsiteX11" fmla="*/ 149225 w 215900"/>
                <a:gd name="connsiteY11" fmla="*/ 28689 h 85839"/>
                <a:gd name="connsiteX12" fmla="*/ 171450 w 215900"/>
                <a:gd name="connsiteY12" fmla="*/ 19164 h 85839"/>
                <a:gd name="connsiteX13" fmla="*/ 193675 w 215900"/>
                <a:gd name="connsiteY13" fmla="*/ 9639 h 85839"/>
                <a:gd name="connsiteX14" fmla="*/ 212725 w 215900"/>
                <a:gd name="connsiteY14" fmla="*/ 114 h 85839"/>
                <a:gd name="connsiteX15" fmla="*/ 215900 w 215900"/>
                <a:gd name="connsiteY15" fmla="*/ 114 h 8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5900" h="85839">
                  <a:moveTo>
                    <a:pt x="0" y="85839"/>
                  </a:moveTo>
                  <a:cubicBezTo>
                    <a:pt x="5292" y="83722"/>
                    <a:pt x="10539" y="81490"/>
                    <a:pt x="15875" y="79489"/>
                  </a:cubicBezTo>
                  <a:cubicBezTo>
                    <a:pt x="19009" y="78314"/>
                    <a:pt x="22407" y="77811"/>
                    <a:pt x="25400" y="76314"/>
                  </a:cubicBezTo>
                  <a:cubicBezTo>
                    <a:pt x="28813" y="74607"/>
                    <a:pt x="31438" y="71514"/>
                    <a:pt x="34925" y="69964"/>
                  </a:cubicBezTo>
                  <a:cubicBezTo>
                    <a:pt x="41042" y="67246"/>
                    <a:pt x="47625" y="65731"/>
                    <a:pt x="53975" y="63614"/>
                  </a:cubicBezTo>
                  <a:lnTo>
                    <a:pt x="73025" y="57264"/>
                  </a:lnTo>
                  <a:lnTo>
                    <a:pt x="82550" y="54089"/>
                  </a:lnTo>
                  <a:cubicBezTo>
                    <a:pt x="85725" y="51972"/>
                    <a:pt x="88588" y="49289"/>
                    <a:pt x="92075" y="47739"/>
                  </a:cubicBezTo>
                  <a:cubicBezTo>
                    <a:pt x="98192" y="45021"/>
                    <a:pt x="104775" y="43506"/>
                    <a:pt x="111125" y="41389"/>
                  </a:cubicBezTo>
                  <a:lnTo>
                    <a:pt x="130175" y="35039"/>
                  </a:lnTo>
                  <a:lnTo>
                    <a:pt x="139700" y="31864"/>
                  </a:lnTo>
                  <a:lnTo>
                    <a:pt x="149225" y="28689"/>
                  </a:lnTo>
                  <a:cubicBezTo>
                    <a:pt x="173138" y="12747"/>
                    <a:pt x="142747" y="31465"/>
                    <a:pt x="171450" y="19164"/>
                  </a:cubicBezTo>
                  <a:cubicBezTo>
                    <a:pt x="202147" y="6008"/>
                    <a:pt x="157214" y="18754"/>
                    <a:pt x="193675" y="9639"/>
                  </a:cubicBezTo>
                  <a:cubicBezTo>
                    <a:pt x="202987" y="3431"/>
                    <a:pt x="202209" y="2743"/>
                    <a:pt x="212725" y="114"/>
                  </a:cubicBezTo>
                  <a:cubicBezTo>
                    <a:pt x="213752" y="-143"/>
                    <a:pt x="214842" y="114"/>
                    <a:pt x="215900" y="114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56" name="任意多边形 255"/>
            <p:cNvSpPr/>
            <p:nvPr/>
          </p:nvSpPr>
          <p:spPr>
            <a:xfrm>
              <a:off x="2970474" y="2616747"/>
              <a:ext cx="381195" cy="497986"/>
            </a:xfrm>
            <a:custGeom>
              <a:avLst/>
              <a:gdLst>
                <a:gd name="connsiteX0" fmla="*/ 0 w 409890"/>
                <a:gd name="connsiteY0" fmla="*/ 428625 h 514350"/>
                <a:gd name="connsiteX1" fmla="*/ 42863 w 409890"/>
                <a:gd name="connsiteY1" fmla="*/ 461963 h 514350"/>
                <a:gd name="connsiteX2" fmla="*/ 52388 w 409890"/>
                <a:gd name="connsiteY2" fmla="*/ 476250 h 514350"/>
                <a:gd name="connsiteX3" fmla="*/ 95250 w 409890"/>
                <a:gd name="connsiteY3" fmla="*/ 500063 h 514350"/>
                <a:gd name="connsiteX4" fmla="*/ 133350 w 409890"/>
                <a:gd name="connsiteY4" fmla="*/ 514350 h 514350"/>
                <a:gd name="connsiteX5" fmla="*/ 204788 w 409890"/>
                <a:gd name="connsiteY5" fmla="*/ 504825 h 514350"/>
                <a:gd name="connsiteX6" fmla="*/ 233363 w 409890"/>
                <a:gd name="connsiteY6" fmla="*/ 495300 h 514350"/>
                <a:gd name="connsiteX7" fmla="*/ 247650 w 409890"/>
                <a:gd name="connsiteY7" fmla="*/ 490538 h 514350"/>
                <a:gd name="connsiteX8" fmla="*/ 290513 w 409890"/>
                <a:gd name="connsiteY8" fmla="*/ 466725 h 514350"/>
                <a:gd name="connsiteX9" fmla="*/ 304800 w 409890"/>
                <a:gd name="connsiteY9" fmla="*/ 438150 h 514350"/>
                <a:gd name="connsiteX10" fmla="*/ 314325 w 409890"/>
                <a:gd name="connsiteY10" fmla="*/ 423863 h 514350"/>
                <a:gd name="connsiteX11" fmla="*/ 309563 w 409890"/>
                <a:gd name="connsiteY11" fmla="*/ 223838 h 514350"/>
                <a:gd name="connsiteX12" fmla="*/ 304800 w 409890"/>
                <a:gd name="connsiteY12" fmla="*/ 209550 h 514350"/>
                <a:gd name="connsiteX13" fmla="*/ 314325 w 409890"/>
                <a:gd name="connsiteY13" fmla="*/ 142875 h 514350"/>
                <a:gd name="connsiteX14" fmla="*/ 319088 w 409890"/>
                <a:gd name="connsiteY14" fmla="*/ 128588 h 514350"/>
                <a:gd name="connsiteX15" fmla="*/ 328613 w 409890"/>
                <a:gd name="connsiteY15" fmla="*/ 114300 h 514350"/>
                <a:gd name="connsiteX16" fmla="*/ 342900 w 409890"/>
                <a:gd name="connsiteY16" fmla="*/ 85725 h 514350"/>
                <a:gd name="connsiteX17" fmla="*/ 357188 w 409890"/>
                <a:gd name="connsiteY17" fmla="*/ 76200 h 514350"/>
                <a:gd name="connsiteX18" fmla="*/ 376238 w 409890"/>
                <a:gd name="connsiteY18" fmla="*/ 47625 h 514350"/>
                <a:gd name="connsiteX19" fmla="*/ 385763 w 409890"/>
                <a:gd name="connsiteY19" fmla="*/ 33338 h 514350"/>
                <a:gd name="connsiteX20" fmla="*/ 409575 w 409890"/>
                <a:gd name="connsiteY20" fmla="*/ 4763 h 514350"/>
                <a:gd name="connsiteX21" fmla="*/ 409575 w 409890"/>
                <a:gd name="connsiteY21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09890" h="514350">
                  <a:moveTo>
                    <a:pt x="0" y="428625"/>
                  </a:moveTo>
                  <a:cubicBezTo>
                    <a:pt x="19915" y="441901"/>
                    <a:pt x="28873" y="445176"/>
                    <a:pt x="42863" y="461963"/>
                  </a:cubicBezTo>
                  <a:cubicBezTo>
                    <a:pt x="46527" y="466360"/>
                    <a:pt x="48080" y="472481"/>
                    <a:pt x="52388" y="476250"/>
                  </a:cubicBezTo>
                  <a:cubicBezTo>
                    <a:pt x="92428" y="511285"/>
                    <a:pt x="66907" y="485891"/>
                    <a:pt x="95250" y="500063"/>
                  </a:cubicBezTo>
                  <a:cubicBezTo>
                    <a:pt x="127948" y="516413"/>
                    <a:pt x="87415" y="505164"/>
                    <a:pt x="133350" y="514350"/>
                  </a:cubicBezTo>
                  <a:cubicBezTo>
                    <a:pt x="156294" y="512056"/>
                    <a:pt x="181940" y="511056"/>
                    <a:pt x="204788" y="504825"/>
                  </a:cubicBezTo>
                  <a:cubicBezTo>
                    <a:pt x="214474" y="502183"/>
                    <a:pt x="223838" y="498475"/>
                    <a:pt x="233363" y="495300"/>
                  </a:cubicBezTo>
                  <a:lnTo>
                    <a:pt x="247650" y="490538"/>
                  </a:lnTo>
                  <a:cubicBezTo>
                    <a:pt x="280402" y="468703"/>
                    <a:pt x="265365" y="475108"/>
                    <a:pt x="290513" y="466725"/>
                  </a:cubicBezTo>
                  <a:cubicBezTo>
                    <a:pt x="317810" y="425782"/>
                    <a:pt x="285083" y="477585"/>
                    <a:pt x="304800" y="438150"/>
                  </a:cubicBezTo>
                  <a:cubicBezTo>
                    <a:pt x="307360" y="433031"/>
                    <a:pt x="311150" y="428625"/>
                    <a:pt x="314325" y="423863"/>
                  </a:cubicBezTo>
                  <a:cubicBezTo>
                    <a:pt x="312738" y="357188"/>
                    <a:pt x="312524" y="290466"/>
                    <a:pt x="309563" y="223838"/>
                  </a:cubicBezTo>
                  <a:cubicBezTo>
                    <a:pt x="309340" y="218823"/>
                    <a:pt x="304800" y="214570"/>
                    <a:pt x="304800" y="209550"/>
                  </a:cubicBezTo>
                  <a:cubicBezTo>
                    <a:pt x="304800" y="184891"/>
                    <a:pt x="307915" y="165309"/>
                    <a:pt x="314325" y="142875"/>
                  </a:cubicBezTo>
                  <a:cubicBezTo>
                    <a:pt x="315704" y="138048"/>
                    <a:pt x="316843" y="133078"/>
                    <a:pt x="319088" y="128588"/>
                  </a:cubicBezTo>
                  <a:cubicBezTo>
                    <a:pt x="321648" y="123468"/>
                    <a:pt x="325438" y="119063"/>
                    <a:pt x="328613" y="114300"/>
                  </a:cubicBezTo>
                  <a:cubicBezTo>
                    <a:pt x="332486" y="102680"/>
                    <a:pt x="333668" y="94957"/>
                    <a:pt x="342900" y="85725"/>
                  </a:cubicBezTo>
                  <a:cubicBezTo>
                    <a:pt x="346947" y="81678"/>
                    <a:pt x="352425" y="79375"/>
                    <a:pt x="357188" y="76200"/>
                  </a:cubicBezTo>
                  <a:cubicBezTo>
                    <a:pt x="365557" y="51093"/>
                    <a:pt x="356419" y="71407"/>
                    <a:pt x="376238" y="47625"/>
                  </a:cubicBezTo>
                  <a:cubicBezTo>
                    <a:pt x="379902" y="43228"/>
                    <a:pt x="382099" y="37735"/>
                    <a:pt x="385763" y="33338"/>
                  </a:cubicBezTo>
                  <a:cubicBezTo>
                    <a:pt x="398925" y="17543"/>
                    <a:pt x="400709" y="22495"/>
                    <a:pt x="409575" y="4763"/>
                  </a:cubicBezTo>
                  <a:cubicBezTo>
                    <a:pt x="410285" y="3343"/>
                    <a:pt x="409575" y="1588"/>
                    <a:pt x="409575" y="0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259" name="矩形 19"/>
          <p:cNvSpPr>
            <a:spLocks noChangeArrowheads="1"/>
          </p:cNvSpPr>
          <p:nvPr/>
        </p:nvSpPr>
        <p:spPr bwMode="auto">
          <a:xfrm>
            <a:off x="2794000" y="1368425"/>
            <a:ext cx="149383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dist" eaLnBrk="1" hangingPunct="1">
              <a:spcBef>
                <a:spcPct val="0"/>
              </a:spcBef>
              <a:buFontTx/>
              <a:buNone/>
            </a:pPr>
            <a:r>
              <a:rPr lang="en-US" altLang="zh-CN" sz="1600">
                <a:solidFill>
                  <a:srgbClr val="C400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 YOU </a:t>
            </a:r>
            <a:endParaRPr lang="en-US" altLang="zh-CN" sz="1600">
              <a:solidFill>
                <a:srgbClr val="C400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0" name="TextBox 26"/>
          <p:cNvSpPr txBox="1">
            <a:spLocks noChangeArrowheads="1"/>
          </p:cNvSpPr>
          <p:nvPr/>
        </p:nvSpPr>
        <p:spPr bwMode="auto">
          <a:xfrm>
            <a:off x="2141538" y="796925"/>
            <a:ext cx="2379662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b="1" spc="300" dirty="0">
                <a:solidFill>
                  <a:srgbClr val="C400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观赏</a:t>
            </a:r>
            <a:endParaRPr lang="zh-CN" altLang="en-US" sz="3200" b="1" spc="300" dirty="0">
              <a:solidFill>
                <a:srgbClr val="C400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6" name="矩形 155"/>
          <p:cNvSpPr/>
          <p:nvPr/>
        </p:nvSpPr>
        <p:spPr>
          <a:xfrm rot="161292">
            <a:off x="8591550" y="4908550"/>
            <a:ext cx="50800" cy="476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57" name="矩形 156"/>
          <p:cNvSpPr/>
          <p:nvPr/>
        </p:nvSpPr>
        <p:spPr>
          <a:xfrm rot="161292">
            <a:off x="8678863" y="4913313"/>
            <a:ext cx="50800" cy="47625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58" name="矩形 157"/>
          <p:cNvSpPr/>
          <p:nvPr/>
        </p:nvSpPr>
        <p:spPr>
          <a:xfrm rot="161292">
            <a:off x="8766175" y="4916488"/>
            <a:ext cx="52388" cy="476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59" name="矩形 158"/>
          <p:cNvSpPr/>
          <p:nvPr/>
        </p:nvSpPr>
        <p:spPr>
          <a:xfrm rot="161292">
            <a:off x="8855075" y="4921250"/>
            <a:ext cx="50800" cy="476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10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4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4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4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4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6" presetClass="entr" presetSubtype="37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8" dur="25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6" presetClass="entr" presetSubtype="37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1" dur="25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6" presetClass="entr" presetSubtype="37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4" dur="25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6" presetClass="entr" presetSubtype="37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7" dur="25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2" presetClass="entr" presetSubtype="8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2" presetClass="entr" presetSubtype="2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2" presetClass="entr" presetSubtype="2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4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4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 tmFilter="0, 0; .2, .5; .8, .5; 1, 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1" dur="250" autoRev="1" fill="hold"/>
                                        <p:tgtEl>
                                          <p:spTgt spid="15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2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4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4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 tmFilter="0, 0; .2, .5; .8, .5; 1, 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8" dur="250" autoRev="1" fill="hold"/>
                                        <p:tgtEl>
                                          <p:spTgt spid="1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4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4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 tmFilter="0, 0; .2, .5; .8, .5; 1, 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5" dur="250" autoRev="1" fill="hold"/>
                                        <p:tgtEl>
                                          <p:spTgt spid="1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4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4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 tmFilter="0, 0; .2, .5; .8, .5; 1, 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2" dur="250" autoRev="1" fill="hold"/>
                                        <p:tgtEl>
                                          <p:spTgt spid="1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/>
      <p:bldP spid="134" grpId="0" animBg="1"/>
      <p:bldP spid="259" grpId="0"/>
      <p:bldP spid="260" grpId="0"/>
      <p:bldP spid="156" grpId="0" animBg="1"/>
      <p:bldP spid="156" grpId="1" animBg="1"/>
      <p:bldP spid="157" grpId="0" animBg="1"/>
      <p:bldP spid="157" grpId="1" animBg="1"/>
      <p:bldP spid="158" grpId="0" animBg="1"/>
      <p:bldP spid="158" grpId="1" animBg="1"/>
      <p:bldP spid="159" grpId="0" animBg="1"/>
      <p:bldP spid="159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304"/>
          <p:cNvSpPr>
            <a:spLocks noEditPoints="1"/>
          </p:cNvSpPr>
          <p:nvPr/>
        </p:nvSpPr>
        <p:spPr bwMode="auto">
          <a:xfrm>
            <a:off x="4152900" y="1412875"/>
            <a:ext cx="3948113" cy="2779713"/>
          </a:xfrm>
          <a:custGeom>
            <a:avLst/>
            <a:gdLst>
              <a:gd name="T0" fmla="*/ 16708 w 561"/>
              <a:gd name="T1" fmla="*/ 0 h 395"/>
              <a:gd name="T2" fmla="*/ 753 w 561"/>
              <a:gd name="T3" fmla="*/ 0 h 395"/>
              <a:gd name="T4" fmla="*/ 0 w 561"/>
              <a:gd name="T5" fmla="*/ 775 h 395"/>
              <a:gd name="T6" fmla="*/ 0 w 561"/>
              <a:gd name="T7" fmla="*/ 10331 h 395"/>
              <a:gd name="T8" fmla="*/ 753 w 561"/>
              <a:gd name="T9" fmla="*/ 11080 h 395"/>
              <a:gd name="T10" fmla="*/ 7586 w 561"/>
              <a:gd name="T11" fmla="*/ 11080 h 395"/>
              <a:gd name="T12" fmla="*/ 7586 w 561"/>
              <a:gd name="T13" fmla="*/ 12018 h 395"/>
              <a:gd name="T14" fmla="*/ 5690 w 561"/>
              <a:gd name="T15" fmla="*/ 12018 h 395"/>
              <a:gd name="T16" fmla="*/ 5690 w 561"/>
              <a:gd name="T17" fmla="*/ 12297 h 395"/>
              <a:gd name="T18" fmla="*/ 11764 w 561"/>
              <a:gd name="T19" fmla="*/ 12297 h 395"/>
              <a:gd name="T20" fmla="*/ 11764 w 561"/>
              <a:gd name="T21" fmla="*/ 12018 h 395"/>
              <a:gd name="T22" fmla="*/ 9868 w 561"/>
              <a:gd name="T23" fmla="*/ 12018 h 395"/>
              <a:gd name="T24" fmla="*/ 9868 w 561"/>
              <a:gd name="T25" fmla="*/ 11080 h 395"/>
              <a:gd name="T26" fmla="*/ 16708 w 561"/>
              <a:gd name="T27" fmla="*/ 11080 h 395"/>
              <a:gd name="T28" fmla="*/ 17454 w 561"/>
              <a:gd name="T29" fmla="*/ 10331 h 395"/>
              <a:gd name="T30" fmla="*/ 17454 w 561"/>
              <a:gd name="T31" fmla="*/ 775 h 395"/>
              <a:gd name="T32" fmla="*/ 16708 w 561"/>
              <a:gd name="T33" fmla="*/ 0 h 395"/>
              <a:gd name="T34" fmla="*/ 16798 w 561"/>
              <a:gd name="T35" fmla="*/ 10490 h 395"/>
              <a:gd name="T36" fmla="*/ 619 w 561"/>
              <a:gd name="T37" fmla="*/ 10490 h 395"/>
              <a:gd name="T38" fmla="*/ 619 w 561"/>
              <a:gd name="T39" fmla="*/ 591 h 395"/>
              <a:gd name="T40" fmla="*/ 16798 w 561"/>
              <a:gd name="T41" fmla="*/ 591 h 395"/>
              <a:gd name="T42" fmla="*/ 16798 w 561"/>
              <a:gd name="T43" fmla="*/ 10490 h 39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61" h="395">
                <a:moveTo>
                  <a:pt x="537" y="0"/>
                </a:moveTo>
                <a:cubicBezTo>
                  <a:pt x="24" y="0"/>
                  <a:pt x="24" y="0"/>
                  <a:pt x="24" y="0"/>
                </a:cubicBezTo>
                <a:cubicBezTo>
                  <a:pt x="11" y="0"/>
                  <a:pt x="0" y="11"/>
                  <a:pt x="0" y="25"/>
                </a:cubicBezTo>
                <a:cubicBezTo>
                  <a:pt x="0" y="332"/>
                  <a:pt x="0" y="332"/>
                  <a:pt x="0" y="332"/>
                </a:cubicBezTo>
                <a:cubicBezTo>
                  <a:pt x="0" y="345"/>
                  <a:pt x="11" y="356"/>
                  <a:pt x="24" y="356"/>
                </a:cubicBezTo>
                <a:cubicBezTo>
                  <a:pt x="244" y="356"/>
                  <a:pt x="244" y="356"/>
                  <a:pt x="244" y="356"/>
                </a:cubicBezTo>
                <a:cubicBezTo>
                  <a:pt x="244" y="386"/>
                  <a:pt x="244" y="386"/>
                  <a:pt x="244" y="386"/>
                </a:cubicBezTo>
                <a:cubicBezTo>
                  <a:pt x="183" y="386"/>
                  <a:pt x="183" y="386"/>
                  <a:pt x="183" y="386"/>
                </a:cubicBezTo>
                <a:cubicBezTo>
                  <a:pt x="183" y="395"/>
                  <a:pt x="183" y="395"/>
                  <a:pt x="183" y="395"/>
                </a:cubicBezTo>
                <a:cubicBezTo>
                  <a:pt x="378" y="395"/>
                  <a:pt x="378" y="395"/>
                  <a:pt x="378" y="395"/>
                </a:cubicBezTo>
                <a:cubicBezTo>
                  <a:pt x="378" y="386"/>
                  <a:pt x="378" y="386"/>
                  <a:pt x="378" y="386"/>
                </a:cubicBezTo>
                <a:cubicBezTo>
                  <a:pt x="317" y="386"/>
                  <a:pt x="317" y="386"/>
                  <a:pt x="317" y="386"/>
                </a:cubicBezTo>
                <a:cubicBezTo>
                  <a:pt x="317" y="356"/>
                  <a:pt x="317" y="356"/>
                  <a:pt x="317" y="356"/>
                </a:cubicBezTo>
                <a:cubicBezTo>
                  <a:pt x="537" y="356"/>
                  <a:pt x="537" y="356"/>
                  <a:pt x="537" y="356"/>
                </a:cubicBezTo>
                <a:cubicBezTo>
                  <a:pt x="550" y="356"/>
                  <a:pt x="561" y="345"/>
                  <a:pt x="561" y="332"/>
                </a:cubicBezTo>
                <a:cubicBezTo>
                  <a:pt x="561" y="25"/>
                  <a:pt x="561" y="25"/>
                  <a:pt x="561" y="25"/>
                </a:cubicBezTo>
                <a:cubicBezTo>
                  <a:pt x="561" y="11"/>
                  <a:pt x="550" y="0"/>
                  <a:pt x="537" y="0"/>
                </a:cubicBezTo>
                <a:close/>
                <a:moveTo>
                  <a:pt x="540" y="337"/>
                </a:moveTo>
                <a:cubicBezTo>
                  <a:pt x="20" y="337"/>
                  <a:pt x="20" y="337"/>
                  <a:pt x="20" y="337"/>
                </a:cubicBezTo>
                <a:cubicBezTo>
                  <a:pt x="20" y="19"/>
                  <a:pt x="20" y="19"/>
                  <a:pt x="20" y="19"/>
                </a:cubicBezTo>
                <a:cubicBezTo>
                  <a:pt x="540" y="19"/>
                  <a:pt x="540" y="19"/>
                  <a:pt x="540" y="19"/>
                </a:cubicBezTo>
                <a:lnTo>
                  <a:pt x="540" y="33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35" name="Freeform 306"/>
          <p:cNvSpPr/>
          <p:nvPr/>
        </p:nvSpPr>
        <p:spPr bwMode="auto">
          <a:xfrm>
            <a:off x="2405063" y="3143250"/>
            <a:ext cx="1314450" cy="155575"/>
          </a:xfrm>
          <a:custGeom>
            <a:avLst/>
            <a:gdLst>
              <a:gd name="T0" fmla="*/ 2147483646 w 441"/>
              <a:gd name="T1" fmla="*/ 2147483646 h 52"/>
              <a:gd name="T2" fmla="*/ 2147483646 w 441"/>
              <a:gd name="T3" fmla="*/ 0 h 52"/>
              <a:gd name="T4" fmla="*/ 2147483646 w 441"/>
              <a:gd name="T5" fmla="*/ 2147483646 h 52"/>
              <a:gd name="T6" fmla="*/ 0 w 441"/>
              <a:gd name="T7" fmla="*/ 2147483646 h 52"/>
              <a:gd name="T8" fmla="*/ 0 w 441"/>
              <a:gd name="T9" fmla="*/ 2147483646 h 52"/>
              <a:gd name="T10" fmla="*/ 2147483646 w 441"/>
              <a:gd name="T11" fmla="*/ 2147483646 h 52"/>
              <a:gd name="T12" fmla="*/ 2147483646 w 441"/>
              <a:gd name="T13" fmla="*/ 2147483646 h 52"/>
              <a:gd name="T14" fmla="*/ 2147483646 w 441"/>
              <a:gd name="T15" fmla="*/ 2147483646 h 52"/>
              <a:gd name="T16" fmla="*/ 2147483646 w 441"/>
              <a:gd name="T17" fmla="*/ 2147483646 h 52"/>
              <a:gd name="T18" fmla="*/ 2147483646 w 441"/>
              <a:gd name="T19" fmla="*/ 2147483646 h 5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41" h="52">
                <a:moveTo>
                  <a:pt x="427" y="14"/>
                </a:moveTo>
                <a:lnTo>
                  <a:pt x="413" y="0"/>
                </a:lnTo>
                <a:lnTo>
                  <a:pt x="413" y="12"/>
                </a:lnTo>
                <a:lnTo>
                  <a:pt x="0" y="12"/>
                </a:lnTo>
                <a:lnTo>
                  <a:pt x="0" y="40"/>
                </a:lnTo>
                <a:lnTo>
                  <a:pt x="413" y="40"/>
                </a:lnTo>
                <a:lnTo>
                  <a:pt x="413" y="52"/>
                </a:lnTo>
                <a:lnTo>
                  <a:pt x="427" y="40"/>
                </a:lnTo>
                <a:lnTo>
                  <a:pt x="441" y="26"/>
                </a:lnTo>
                <a:lnTo>
                  <a:pt x="427" y="14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6" name="Freeform 307"/>
          <p:cNvSpPr/>
          <p:nvPr/>
        </p:nvSpPr>
        <p:spPr bwMode="auto">
          <a:xfrm>
            <a:off x="2390775" y="3608388"/>
            <a:ext cx="1317625" cy="155575"/>
          </a:xfrm>
          <a:custGeom>
            <a:avLst/>
            <a:gdLst>
              <a:gd name="T0" fmla="*/ 2147483646 w 442"/>
              <a:gd name="T1" fmla="*/ 2147483646 h 52"/>
              <a:gd name="T2" fmla="*/ 2147483646 w 442"/>
              <a:gd name="T3" fmla="*/ 2147483646 h 52"/>
              <a:gd name="T4" fmla="*/ 2147483646 w 442"/>
              <a:gd name="T5" fmla="*/ 0 h 52"/>
              <a:gd name="T6" fmla="*/ 2147483646 w 442"/>
              <a:gd name="T7" fmla="*/ 2147483646 h 52"/>
              <a:gd name="T8" fmla="*/ 0 w 442"/>
              <a:gd name="T9" fmla="*/ 2147483646 h 52"/>
              <a:gd name="T10" fmla="*/ 2147483646 w 442"/>
              <a:gd name="T11" fmla="*/ 2147483646 h 52"/>
              <a:gd name="T12" fmla="*/ 2147483646 w 442"/>
              <a:gd name="T13" fmla="*/ 2147483646 h 52"/>
              <a:gd name="T14" fmla="*/ 2147483646 w 442"/>
              <a:gd name="T15" fmla="*/ 2147483646 h 52"/>
              <a:gd name="T16" fmla="*/ 2147483646 w 442"/>
              <a:gd name="T17" fmla="*/ 2147483646 h 52"/>
              <a:gd name="T18" fmla="*/ 2147483646 w 442"/>
              <a:gd name="T19" fmla="*/ 2147483646 h 5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42" h="52">
                <a:moveTo>
                  <a:pt x="442" y="12"/>
                </a:moveTo>
                <a:lnTo>
                  <a:pt x="28" y="12"/>
                </a:lnTo>
                <a:lnTo>
                  <a:pt x="28" y="0"/>
                </a:lnTo>
                <a:lnTo>
                  <a:pt x="14" y="12"/>
                </a:lnTo>
                <a:lnTo>
                  <a:pt x="0" y="26"/>
                </a:lnTo>
                <a:lnTo>
                  <a:pt x="14" y="38"/>
                </a:lnTo>
                <a:lnTo>
                  <a:pt x="28" y="52"/>
                </a:lnTo>
                <a:lnTo>
                  <a:pt x="28" y="38"/>
                </a:lnTo>
                <a:lnTo>
                  <a:pt x="442" y="38"/>
                </a:lnTo>
                <a:lnTo>
                  <a:pt x="442" y="12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7" name="Freeform 459"/>
          <p:cNvSpPr/>
          <p:nvPr/>
        </p:nvSpPr>
        <p:spPr bwMode="auto">
          <a:xfrm>
            <a:off x="6772275" y="2687638"/>
            <a:ext cx="217488" cy="596900"/>
          </a:xfrm>
          <a:custGeom>
            <a:avLst/>
            <a:gdLst>
              <a:gd name="T0" fmla="*/ 2147483646 w 73"/>
              <a:gd name="T1" fmla="*/ 2147483646 h 200"/>
              <a:gd name="T2" fmla="*/ 0 w 73"/>
              <a:gd name="T3" fmla="*/ 0 h 200"/>
              <a:gd name="T4" fmla="*/ 2147483646 w 73"/>
              <a:gd name="T5" fmla="*/ 0 h 200"/>
              <a:gd name="T6" fmla="*/ 2147483646 w 73"/>
              <a:gd name="T7" fmla="*/ 2147483646 h 200"/>
              <a:gd name="T8" fmla="*/ 2147483646 w 73"/>
              <a:gd name="T9" fmla="*/ 2147483646 h 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200">
                <a:moveTo>
                  <a:pt x="71" y="200"/>
                </a:moveTo>
                <a:lnTo>
                  <a:pt x="0" y="0"/>
                </a:lnTo>
                <a:lnTo>
                  <a:pt x="2" y="0"/>
                </a:lnTo>
                <a:lnTo>
                  <a:pt x="73" y="198"/>
                </a:lnTo>
                <a:lnTo>
                  <a:pt x="71" y="20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8" name="Freeform 460"/>
          <p:cNvSpPr/>
          <p:nvPr/>
        </p:nvSpPr>
        <p:spPr bwMode="auto">
          <a:xfrm>
            <a:off x="6173788" y="1830388"/>
            <a:ext cx="752475" cy="77787"/>
          </a:xfrm>
          <a:custGeom>
            <a:avLst/>
            <a:gdLst>
              <a:gd name="T0" fmla="*/ 2147483646 w 253"/>
              <a:gd name="T1" fmla="*/ 2147483646 h 26"/>
              <a:gd name="T2" fmla="*/ 0 w 253"/>
              <a:gd name="T3" fmla="*/ 2147483646 h 26"/>
              <a:gd name="T4" fmla="*/ 0 w 253"/>
              <a:gd name="T5" fmla="*/ 0 h 26"/>
              <a:gd name="T6" fmla="*/ 2147483646 w 253"/>
              <a:gd name="T7" fmla="*/ 2147483646 h 26"/>
              <a:gd name="T8" fmla="*/ 2147483646 w 253"/>
              <a:gd name="T9" fmla="*/ 2147483646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53" h="26">
                <a:moveTo>
                  <a:pt x="253" y="26"/>
                </a:moveTo>
                <a:lnTo>
                  <a:pt x="0" y="2"/>
                </a:lnTo>
                <a:lnTo>
                  <a:pt x="0" y="0"/>
                </a:lnTo>
                <a:lnTo>
                  <a:pt x="253" y="23"/>
                </a:lnTo>
                <a:lnTo>
                  <a:pt x="253" y="26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9" name="Freeform 461"/>
          <p:cNvSpPr/>
          <p:nvPr/>
        </p:nvSpPr>
        <p:spPr bwMode="auto">
          <a:xfrm>
            <a:off x="4814888" y="1912938"/>
            <a:ext cx="1435100" cy="1490662"/>
          </a:xfrm>
          <a:custGeom>
            <a:avLst/>
            <a:gdLst>
              <a:gd name="T0" fmla="*/ 2147483646 w 482"/>
              <a:gd name="T1" fmla="*/ 2147483646 h 500"/>
              <a:gd name="T2" fmla="*/ 0 w 482"/>
              <a:gd name="T3" fmla="*/ 2147483646 h 500"/>
              <a:gd name="T4" fmla="*/ 2147483646 w 482"/>
              <a:gd name="T5" fmla="*/ 0 h 500"/>
              <a:gd name="T6" fmla="*/ 2147483646 w 482"/>
              <a:gd name="T7" fmla="*/ 2147483646 h 500"/>
              <a:gd name="T8" fmla="*/ 2147483646 w 482"/>
              <a:gd name="T9" fmla="*/ 2147483646 h 5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2" h="500">
                <a:moveTo>
                  <a:pt x="480" y="500"/>
                </a:moveTo>
                <a:lnTo>
                  <a:pt x="0" y="2"/>
                </a:lnTo>
                <a:lnTo>
                  <a:pt x="3" y="0"/>
                </a:lnTo>
                <a:lnTo>
                  <a:pt x="482" y="498"/>
                </a:lnTo>
                <a:lnTo>
                  <a:pt x="480" y="50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0" name="Freeform 462"/>
          <p:cNvSpPr/>
          <p:nvPr/>
        </p:nvSpPr>
        <p:spPr bwMode="auto">
          <a:xfrm>
            <a:off x="6059488" y="1908175"/>
            <a:ext cx="866775" cy="666750"/>
          </a:xfrm>
          <a:custGeom>
            <a:avLst/>
            <a:gdLst>
              <a:gd name="T0" fmla="*/ 0 w 291"/>
              <a:gd name="T1" fmla="*/ 2147483646 h 224"/>
              <a:gd name="T2" fmla="*/ 0 w 291"/>
              <a:gd name="T3" fmla="*/ 2147483646 h 224"/>
              <a:gd name="T4" fmla="*/ 2147483646 w 291"/>
              <a:gd name="T5" fmla="*/ 0 h 224"/>
              <a:gd name="T6" fmla="*/ 2147483646 w 291"/>
              <a:gd name="T7" fmla="*/ 0 h 224"/>
              <a:gd name="T8" fmla="*/ 0 w 291"/>
              <a:gd name="T9" fmla="*/ 2147483646 h 2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91" h="224">
                <a:moveTo>
                  <a:pt x="0" y="224"/>
                </a:moveTo>
                <a:lnTo>
                  <a:pt x="0" y="221"/>
                </a:lnTo>
                <a:lnTo>
                  <a:pt x="291" y="0"/>
                </a:lnTo>
                <a:lnTo>
                  <a:pt x="0" y="224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297" name="Freeform 463"/>
          <p:cNvSpPr/>
          <p:nvPr/>
        </p:nvSpPr>
        <p:spPr bwMode="auto">
          <a:xfrm>
            <a:off x="6173788" y="1830388"/>
            <a:ext cx="604837" cy="857250"/>
          </a:xfrm>
          <a:custGeom>
            <a:avLst/>
            <a:gdLst>
              <a:gd name="T0" fmla="*/ 2147483646 w 203"/>
              <a:gd name="T1" fmla="*/ 2147483646 h 288"/>
              <a:gd name="T2" fmla="*/ 0 w 203"/>
              <a:gd name="T3" fmla="*/ 0 h 288"/>
              <a:gd name="T4" fmla="*/ 0 w 203"/>
              <a:gd name="T5" fmla="*/ 0 h 288"/>
              <a:gd name="T6" fmla="*/ 2147483646 w 203"/>
              <a:gd name="T7" fmla="*/ 2147483646 h 288"/>
              <a:gd name="T8" fmla="*/ 2147483646 w 203"/>
              <a:gd name="T9" fmla="*/ 2147483646 h 28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3" h="288">
                <a:moveTo>
                  <a:pt x="203" y="288"/>
                </a:moveTo>
                <a:lnTo>
                  <a:pt x="0" y="0"/>
                </a:lnTo>
                <a:lnTo>
                  <a:pt x="203" y="288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2" name="Freeform 464"/>
          <p:cNvSpPr/>
          <p:nvPr/>
        </p:nvSpPr>
        <p:spPr bwMode="auto">
          <a:xfrm>
            <a:off x="5019675" y="1830388"/>
            <a:ext cx="1154113" cy="708025"/>
          </a:xfrm>
          <a:custGeom>
            <a:avLst/>
            <a:gdLst>
              <a:gd name="T0" fmla="*/ 0 w 387"/>
              <a:gd name="T1" fmla="*/ 2147483646 h 238"/>
              <a:gd name="T2" fmla="*/ 0 w 387"/>
              <a:gd name="T3" fmla="*/ 2147483646 h 238"/>
              <a:gd name="T4" fmla="*/ 2147483646 w 387"/>
              <a:gd name="T5" fmla="*/ 0 h 238"/>
              <a:gd name="T6" fmla="*/ 2147483646 w 387"/>
              <a:gd name="T7" fmla="*/ 0 h 238"/>
              <a:gd name="T8" fmla="*/ 0 w 387"/>
              <a:gd name="T9" fmla="*/ 2147483646 h 2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87" h="238">
                <a:moveTo>
                  <a:pt x="0" y="238"/>
                </a:moveTo>
                <a:lnTo>
                  <a:pt x="0" y="236"/>
                </a:lnTo>
                <a:lnTo>
                  <a:pt x="387" y="0"/>
                </a:lnTo>
                <a:lnTo>
                  <a:pt x="0" y="238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3" name="Freeform 465"/>
          <p:cNvSpPr/>
          <p:nvPr/>
        </p:nvSpPr>
        <p:spPr bwMode="auto">
          <a:xfrm>
            <a:off x="4989513" y="1997075"/>
            <a:ext cx="552450" cy="527050"/>
          </a:xfrm>
          <a:custGeom>
            <a:avLst/>
            <a:gdLst>
              <a:gd name="T0" fmla="*/ 2147483646 w 185"/>
              <a:gd name="T1" fmla="*/ 2147483646 h 177"/>
              <a:gd name="T2" fmla="*/ 0 w 185"/>
              <a:gd name="T3" fmla="*/ 2147483646 h 177"/>
              <a:gd name="T4" fmla="*/ 2147483646 w 185"/>
              <a:gd name="T5" fmla="*/ 0 h 177"/>
              <a:gd name="T6" fmla="*/ 2147483646 w 185"/>
              <a:gd name="T7" fmla="*/ 2147483646 h 177"/>
              <a:gd name="T8" fmla="*/ 2147483646 w 185"/>
              <a:gd name="T9" fmla="*/ 2147483646 h 17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85" h="177">
                <a:moveTo>
                  <a:pt x="3" y="177"/>
                </a:moveTo>
                <a:lnTo>
                  <a:pt x="0" y="175"/>
                </a:lnTo>
                <a:lnTo>
                  <a:pt x="182" y="0"/>
                </a:lnTo>
                <a:lnTo>
                  <a:pt x="185" y="3"/>
                </a:lnTo>
                <a:lnTo>
                  <a:pt x="3" y="177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4" name="Freeform 466"/>
          <p:cNvSpPr/>
          <p:nvPr/>
        </p:nvSpPr>
        <p:spPr bwMode="auto">
          <a:xfrm>
            <a:off x="4921250" y="1976438"/>
            <a:ext cx="1106488" cy="625475"/>
          </a:xfrm>
          <a:custGeom>
            <a:avLst/>
            <a:gdLst>
              <a:gd name="T0" fmla="*/ 2147483646 w 371"/>
              <a:gd name="T1" fmla="*/ 2147483646 h 210"/>
              <a:gd name="T2" fmla="*/ 0 w 371"/>
              <a:gd name="T3" fmla="*/ 2147483646 h 210"/>
              <a:gd name="T4" fmla="*/ 2147483646 w 371"/>
              <a:gd name="T5" fmla="*/ 0 h 210"/>
              <a:gd name="T6" fmla="*/ 2147483646 w 371"/>
              <a:gd name="T7" fmla="*/ 2147483646 h 210"/>
              <a:gd name="T8" fmla="*/ 2147483646 w 371"/>
              <a:gd name="T9" fmla="*/ 2147483646 h 2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71" h="210">
                <a:moveTo>
                  <a:pt x="368" y="210"/>
                </a:moveTo>
                <a:lnTo>
                  <a:pt x="0" y="3"/>
                </a:lnTo>
                <a:lnTo>
                  <a:pt x="2" y="0"/>
                </a:lnTo>
                <a:lnTo>
                  <a:pt x="371" y="208"/>
                </a:lnTo>
                <a:lnTo>
                  <a:pt x="368" y="21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5" name="Freeform 467"/>
          <p:cNvSpPr/>
          <p:nvPr/>
        </p:nvSpPr>
        <p:spPr bwMode="auto">
          <a:xfrm>
            <a:off x="5222875" y="1997075"/>
            <a:ext cx="319088" cy="1006475"/>
          </a:xfrm>
          <a:custGeom>
            <a:avLst/>
            <a:gdLst>
              <a:gd name="T0" fmla="*/ 2147483646 w 107"/>
              <a:gd name="T1" fmla="*/ 2147483646 h 338"/>
              <a:gd name="T2" fmla="*/ 0 w 107"/>
              <a:gd name="T3" fmla="*/ 2147483646 h 338"/>
              <a:gd name="T4" fmla="*/ 2147483646 w 107"/>
              <a:gd name="T5" fmla="*/ 0 h 338"/>
              <a:gd name="T6" fmla="*/ 2147483646 w 107"/>
              <a:gd name="T7" fmla="*/ 0 h 338"/>
              <a:gd name="T8" fmla="*/ 2147483646 w 107"/>
              <a:gd name="T9" fmla="*/ 2147483646 h 3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7" h="338">
                <a:moveTo>
                  <a:pt x="3" y="338"/>
                </a:moveTo>
                <a:lnTo>
                  <a:pt x="0" y="338"/>
                </a:lnTo>
                <a:lnTo>
                  <a:pt x="104" y="0"/>
                </a:lnTo>
                <a:lnTo>
                  <a:pt x="107" y="0"/>
                </a:lnTo>
                <a:lnTo>
                  <a:pt x="3" y="338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6" name="Freeform 468"/>
          <p:cNvSpPr/>
          <p:nvPr/>
        </p:nvSpPr>
        <p:spPr bwMode="auto">
          <a:xfrm>
            <a:off x="5541963" y="1997075"/>
            <a:ext cx="490537" cy="604838"/>
          </a:xfrm>
          <a:custGeom>
            <a:avLst/>
            <a:gdLst>
              <a:gd name="T0" fmla="*/ 2147483646 w 165"/>
              <a:gd name="T1" fmla="*/ 2147483646 h 203"/>
              <a:gd name="T2" fmla="*/ 0 w 165"/>
              <a:gd name="T3" fmla="*/ 2147483646 h 203"/>
              <a:gd name="T4" fmla="*/ 2147483646 w 165"/>
              <a:gd name="T5" fmla="*/ 0 h 203"/>
              <a:gd name="T6" fmla="*/ 2147483646 w 165"/>
              <a:gd name="T7" fmla="*/ 2147483646 h 203"/>
              <a:gd name="T8" fmla="*/ 2147483646 w 165"/>
              <a:gd name="T9" fmla="*/ 2147483646 h 20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5" h="203">
                <a:moveTo>
                  <a:pt x="165" y="203"/>
                </a:moveTo>
                <a:lnTo>
                  <a:pt x="0" y="3"/>
                </a:lnTo>
                <a:lnTo>
                  <a:pt x="2" y="0"/>
                </a:lnTo>
                <a:lnTo>
                  <a:pt x="165" y="201"/>
                </a:lnTo>
                <a:lnTo>
                  <a:pt x="165" y="203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7" name="Freeform 469"/>
          <p:cNvSpPr/>
          <p:nvPr/>
        </p:nvSpPr>
        <p:spPr bwMode="auto">
          <a:xfrm>
            <a:off x="6032500" y="1830388"/>
            <a:ext cx="141288" cy="765175"/>
          </a:xfrm>
          <a:custGeom>
            <a:avLst/>
            <a:gdLst>
              <a:gd name="T0" fmla="*/ 2147483646 w 47"/>
              <a:gd name="T1" fmla="*/ 2147483646 h 257"/>
              <a:gd name="T2" fmla="*/ 0 w 47"/>
              <a:gd name="T3" fmla="*/ 2147483646 h 257"/>
              <a:gd name="T4" fmla="*/ 2147483646 w 47"/>
              <a:gd name="T5" fmla="*/ 0 h 257"/>
              <a:gd name="T6" fmla="*/ 2147483646 w 47"/>
              <a:gd name="T7" fmla="*/ 0 h 257"/>
              <a:gd name="T8" fmla="*/ 2147483646 w 47"/>
              <a:gd name="T9" fmla="*/ 2147483646 h 2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257">
                <a:moveTo>
                  <a:pt x="2" y="257"/>
                </a:moveTo>
                <a:lnTo>
                  <a:pt x="0" y="257"/>
                </a:lnTo>
                <a:lnTo>
                  <a:pt x="45" y="0"/>
                </a:lnTo>
                <a:lnTo>
                  <a:pt x="47" y="0"/>
                </a:lnTo>
                <a:lnTo>
                  <a:pt x="2" y="25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8" name="Freeform 470"/>
          <p:cNvSpPr/>
          <p:nvPr/>
        </p:nvSpPr>
        <p:spPr bwMode="auto">
          <a:xfrm>
            <a:off x="5237163" y="3024188"/>
            <a:ext cx="1746250" cy="260350"/>
          </a:xfrm>
          <a:custGeom>
            <a:avLst/>
            <a:gdLst>
              <a:gd name="T0" fmla="*/ 2147483646 w 586"/>
              <a:gd name="T1" fmla="*/ 2147483646 h 87"/>
              <a:gd name="T2" fmla="*/ 0 w 586"/>
              <a:gd name="T3" fmla="*/ 2147483646 h 87"/>
              <a:gd name="T4" fmla="*/ 0 w 586"/>
              <a:gd name="T5" fmla="*/ 0 h 87"/>
              <a:gd name="T6" fmla="*/ 2147483646 w 586"/>
              <a:gd name="T7" fmla="*/ 2147483646 h 87"/>
              <a:gd name="T8" fmla="*/ 2147483646 w 586"/>
              <a:gd name="T9" fmla="*/ 2147483646 h 8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86" h="87">
                <a:moveTo>
                  <a:pt x="586" y="87"/>
                </a:moveTo>
                <a:lnTo>
                  <a:pt x="0" y="2"/>
                </a:lnTo>
                <a:lnTo>
                  <a:pt x="0" y="0"/>
                </a:lnTo>
                <a:lnTo>
                  <a:pt x="586" y="85"/>
                </a:lnTo>
                <a:lnTo>
                  <a:pt x="586" y="87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9" name="Freeform 471"/>
          <p:cNvSpPr/>
          <p:nvPr/>
        </p:nvSpPr>
        <p:spPr bwMode="auto">
          <a:xfrm>
            <a:off x="4989513" y="2533650"/>
            <a:ext cx="1260475" cy="869950"/>
          </a:xfrm>
          <a:custGeom>
            <a:avLst/>
            <a:gdLst>
              <a:gd name="T0" fmla="*/ 2147483646 w 423"/>
              <a:gd name="T1" fmla="*/ 2147483646 h 292"/>
              <a:gd name="T2" fmla="*/ 0 w 423"/>
              <a:gd name="T3" fmla="*/ 2147483646 h 292"/>
              <a:gd name="T4" fmla="*/ 2147483646 w 423"/>
              <a:gd name="T5" fmla="*/ 0 h 292"/>
              <a:gd name="T6" fmla="*/ 2147483646 w 423"/>
              <a:gd name="T7" fmla="*/ 2147483646 h 292"/>
              <a:gd name="T8" fmla="*/ 2147483646 w 423"/>
              <a:gd name="T9" fmla="*/ 2147483646 h 29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23" h="292">
                <a:moveTo>
                  <a:pt x="421" y="292"/>
                </a:moveTo>
                <a:lnTo>
                  <a:pt x="0" y="2"/>
                </a:lnTo>
                <a:lnTo>
                  <a:pt x="3" y="0"/>
                </a:lnTo>
                <a:lnTo>
                  <a:pt x="423" y="290"/>
                </a:lnTo>
                <a:lnTo>
                  <a:pt x="421" y="29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0" name="Freeform 472"/>
          <p:cNvSpPr/>
          <p:nvPr/>
        </p:nvSpPr>
        <p:spPr bwMode="auto">
          <a:xfrm>
            <a:off x="4689475" y="3278188"/>
            <a:ext cx="1555750" cy="125412"/>
          </a:xfrm>
          <a:custGeom>
            <a:avLst/>
            <a:gdLst>
              <a:gd name="T0" fmla="*/ 2147483646 w 522"/>
              <a:gd name="T1" fmla="*/ 2147483646 h 42"/>
              <a:gd name="T2" fmla="*/ 0 w 522"/>
              <a:gd name="T3" fmla="*/ 2147483646 h 42"/>
              <a:gd name="T4" fmla="*/ 0 w 522"/>
              <a:gd name="T5" fmla="*/ 0 h 42"/>
              <a:gd name="T6" fmla="*/ 2147483646 w 522"/>
              <a:gd name="T7" fmla="*/ 2147483646 h 42"/>
              <a:gd name="T8" fmla="*/ 2147483646 w 522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22" h="42">
                <a:moveTo>
                  <a:pt x="522" y="42"/>
                </a:moveTo>
                <a:lnTo>
                  <a:pt x="0" y="2"/>
                </a:lnTo>
                <a:lnTo>
                  <a:pt x="0" y="0"/>
                </a:lnTo>
                <a:lnTo>
                  <a:pt x="522" y="40"/>
                </a:lnTo>
                <a:lnTo>
                  <a:pt x="522" y="4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1" name="Freeform 473"/>
          <p:cNvSpPr/>
          <p:nvPr/>
        </p:nvSpPr>
        <p:spPr bwMode="auto">
          <a:xfrm>
            <a:off x="5237163" y="3024188"/>
            <a:ext cx="1012825" cy="379412"/>
          </a:xfrm>
          <a:custGeom>
            <a:avLst/>
            <a:gdLst>
              <a:gd name="T0" fmla="*/ 2147483646 w 340"/>
              <a:gd name="T1" fmla="*/ 2147483646 h 127"/>
              <a:gd name="T2" fmla="*/ 0 w 340"/>
              <a:gd name="T3" fmla="*/ 2147483646 h 127"/>
              <a:gd name="T4" fmla="*/ 0 w 340"/>
              <a:gd name="T5" fmla="*/ 0 h 127"/>
              <a:gd name="T6" fmla="*/ 2147483646 w 340"/>
              <a:gd name="T7" fmla="*/ 2147483646 h 127"/>
              <a:gd name="T8" fmla="*/ 2147483646 w 340"/>
              <a:gd name="T9" fmla="*/ 2147483646 h 1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40" h="127">
                <a:moveTo>
                  <a:pt x="338" y="127"/>
                </a:moveTo>
                <a:lnTo>
                  <a:pt x="0" y="2"/>
                </a:lnTo>
                <a:lnTo>
                  <a:pt x="0" y="0"/>
                </a:lnTo>
                <a:lnTo>
                  <a:pt x="340" y="125"/>
                </a:lnTo>
                <a:lnTo>
                  <a:pt x="338" y="127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2" name="Freeform 474"/>
          <p:cNvSpPr/>
          <p:nvPr/>
        </p:nvSpPr>
        <p:spPr bwMode="auto">
          <a:xfrm>
            <a:off x="6921500" y="1908175"/>
            <a:ext cx="76200" cy="1355725"/>
          </a:xfrm>
          <a:custGeom>
            <a:avLst/>
            <a:gdLst>
              <a:gd name="T0" fmla="*/ 2147483646 w 26"/>
              <a:gd name="T1" fmla="*/ 2147483646 h 455"/>
              <a:gd name="T2" fmla="*/ 0 w 26"/>
              <a:gd name="T3" fmla="*/ 0 h 455"/>
              <a:gd name="T4" fmla="*/ 2147483646 w 26"/>
              <a:gd name="T5" fmla="*/ 0 h 455"/>
              <a:gd name="T6" fmla="*/ 2147483646 w 26"/>
              <a:gd name="T7" fmla="*/ 2147483646 h 455"/>
              <a:gd name="T8" fmla="*/ 2147483646 w 26"/>
              <a:gd name="T9" fmla="*/ 2147483646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455">
                <a:moveTo>
                  <a:pt x="23" y="455"/>
                </a:moveTo>
                <a:lnTo>
                  <a:pt x="0" y="0"/>
                </a:lnTo>
                <a:lnTo>
                  <a:pt x="2" y="0"/>
                </a:lnTo>
                <a:lnTo>
                  <a:pt x="26" y="453"/>
                </a:lnTo>
                <a:lnTo>
                  <a:pt x="23" y="455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3" name="Freeform 475"/>
          <p:cNvSpPr/>
          <p:nvPr/>
        </p:nvSpPr>
        <p:spPr bwMode="auto">
          <a:xfrm>
            <a:off x="6245225" y="1908175"/>
            <a:ext cx="681038" cy="1495425"/>
          </a:xfrm>
          <a:custGeom>
            <a:avLst/>
            <a:gdLst>
              <a:gd name="T0" fmla="*/ 2147483646 w 229"/>
              <a:gd name="T1" fmla="*/ 2147483646 h 502"/>
              <a:gd name="T2" fmla="*/ 0 w 229"/>
              <a:gd name="T3" fmla="*/ 2147483646 h 502"/>
              <a:gd name="T4" fmla="*/ 2147483646 w 229"/>
              <a:gd name="T5" fmla="*/ 0 h 502"/>
              <a:gd name="T6" fmla="*/ 2147483646 w 229"/>
              <a:gd name="T7" fmla="*/ 0 h 502"/>
              <a:gd name="T8" fmla="*/ 2147483646 w 229"/>
              <a:gd name="T9" fmla="*/ 2147483646 h 50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29" h="502">
                <a:moveTo>
                  <a:pt x="2" y="502"/>
                </a:moveTo>
                <a:lnTo>
                  <a:pt x="0" y="500"/>
                </a:lnTo>
                <a:lnTo>
                  <a:pt x="227" y="0"/>
                </a:lnTo>
                <a:lnTo>
                  <a:pt x="229" y="0"/>
                </a:lnTo>
                <a:lnTo>
                  <a:pt x="2" y="50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4" name="Freeform 476"/>
          <p:cNvSpPr/>
          <p:nvPr/>
        </p:nvSpPr>
        <p:spPr bwMode="auto">
          <a:xfrm>
            <a:off x="6926263" y="1908175"/>
            <a:ext cx="579437" cy="615950"/>
          </a:xfrm>
          <a:custGeom>
            <a:avLst/>
            <a:gdLst>
              <a:gd name="T0" fmla="*/ 2147483646 w 194"/>
              <a:gd name="T1" fmla="*/ 2147483646 h 207"/>
              <a:gd name="T2" fmla="*/ 0 w 194"/>
              <a:gd name="T3" fmla="*/ 0 h 207"/>
              <a:gd name="T4" fmla="*/ 0 w 194"/>
              <a:gd name="T5" fmla="*/ 0 h 207"/>
              <a:gd name="T6" fmla="*/ 2147483646 w 194"/>
              <a:gd name="T7" fmla="*/ 2147483646 h 207"/>
              <a:gd name="T8" fmla="*/ 2147483646 w 194"/>
              <a:gd name="T9" fmla="*/ 2147483646 h 20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4" h="207">
                <a:moveTo>
                  <a:pt x="194" y="207"/>
                </a:moveTo>
                <a:lnTo>
                  <a:pt x="0" y="0"/>
                </a:lnTo>
                <a:lnTo>
                  <a:pt x="194" y="205"/>
                </a:lnTo>
                <a:lnTo>
                  <a:pt x="194" y="207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5" name="Freeform 477"/>
          <p:cNvSpPr/>
          <p:nvPr/>
        </p:nvSpPr>
        <p:spPr bwMode="auto">
          <a:xfrm>
            <a:off x="6173788" y="1830388"/>
            <a:ext cx="1343025" cy="708025"/>
          </a:xfrm>
          <a:custGeom>
            <a:avLst/>
            <a:gdLst>
              <a:gd name="T0" fmla="*/ 2147483646 w 451"/>
              <a:gd name="T1" fmla="*/ 2147483646 h 238"/>
              <a:gd name="T2" fmla="*/ 0 w 451"/>
              <a:gd name="T3" fmla="*/ 2147483646 h 238"/>
              <a:gd name="T4" fmla="*/ 0 w 451"/>
              <a:gd name="T5" fmla="*/ 0 h 238"/>
              <a:gd name="T6" fmla="*/ 2147483646 w 451"/>
              <a:gd name="T7" fmla="*/ 2147483646 h 238"/>
              <a:gd name="T8" fmla="*/ 2147483646 w 451"/>
              <a:gd name="T9" fmla="*/ 2147483646 h 2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1" h="238">
                <a:moveTo>
                  <a:pt x="449" y="238"/>
                </a:moveTo>
                <a:lnTo>
                  <a:pt x="0" y="2"/>
                </a:lnTo>
                <a:lnTo>
                  <a:pt x="0" y="0"/>
                </a:lnTo>
                <a:lnTo>
                  <a:pt x="451" y="236"/>
                </a:lnTo>
                <a:lnTo>
                  <a:pt x="449" y="238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6" name="Freeform 478"/>
          <p:cNvSpPr/>
          <p:nvPr/>
        </p:nvSpPr>
        <p:spPr bwMode="auto">
          <a:xfrm>
            <a:off x="6772275" y="1898650"/>
            <a:ext cx="153988" cy="774700"/>
          </a:xfrm>
          <a:custGeom>
            <a:avLst/>
            <a:gdLst>
              <a:gd name="T0" fmla="*/ 2147483646 w 52"/>
              <a:gd name="T1" fmla="*/ 2147483646 h 260"/>
              <a:gd name="T2" fmla="*/ 0 w 52"/>
              <a:gd name="T3" fmla="*/ 2147483646 h 260"/>
              <a:gd name="T4" fmla="*/ 2147483646 w 52"/>
              <a:gd name="T5" fmla="*/ 0 h 260"/>
              <a:gd name="T6" fmla="*/ 2147483646 w 52"/>
              <a:gd name="T7" fmla="*/ 0 h 260"/>
              <a:gd name="T8" fmla="*/ 2147483646 w 52"/>
              <a:gd name="T9" fmla="*/ 2147483646 h 26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2" h="260">
                <a:moveTo>
                  <a:pt x="2" y="260"/>
                </a:moveTo>
                <a:lnTo>
                  <a:pt x="0" y="260"/>
                </a:lnTo>
                <a:lnTo>
                  <a:pt x="50" y="0"/>
                </a:lnTo>
                <a:lnTo>
                  <a:pt x="52" y="0"/>
                </a:lnTo>
                <a:lnTo>
                  <a:pt x="2" y="26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7" name="Freeform 479"/>
          <p:cNvSpPr/>
          <p:nvPr/>
        </p:nvSpPr>
        <p:spPr bwMode="auto">
          <a:xfrm>
            <a:off x="6989763" y="2533650"/>
            <a:ext cx="527050" cy="750888"/>
          </a:xfrm>
          <a:custGeom>
            <a:avLst/>
            <a:gdLst>
              <a:gd name="T0" fmla="*/ 2147483646 w 177"/>
              <a:gd name="T1" fmla="*/ 2147483646 h 252"/>
              <a:gd name="T2" fmla="*/ 0 w 177"/>
              <a:gd name="T3" fmla="*/ 2147483646 h 252"/>
              <a:gd name="T4" fmla="*/ 2147483646 w 177"/>
              <a:gd name="T5" fmla="*/ 0 h 252"/>
              <a:gd name="T6" fmla="*/ 2147483646 w 177"/>
              <a:gd name="T7" fmla="*/ 2147483646 h 252"/>
              <a:gd name="T8" fmla="*/ 2147483646 w 177"/>
              <a:gd name="T9" fmla="*/ 2147483646 h 25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7" h="252">
                <a:moveTo>
                  <a:pt x="3" y="252"/>
                </a:moveTo>
                <a:lnTo>
                  <a:pt x="0" y="250"/>
                </a:lnTo>
                <a:lnTo>
                  <a:pt x="175" y="0"/>
                </a:lnTo>
                <a:lnTo>
                  <a:pt x="177" y="2"/>
                </a:lnTo>
                <a:lnTo>
                  <a:pt x="3" y="25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8" name="Freeform 480"/>
          <p:cNvSpPr/>
          <p:nvPr/>
        </p:nvSpPr>
        <p:spPr bwMode="auto">
          <a:xfrm>
            <a:off x="6245225" y="3278188"/>
            <a:ext cx="738188" cy="125412"/>
          </a:xfrm>
          <a:custGeom>
            <a:avLst/>
            <a:gdLst>
              <a:gd name="T0" fmla="*/ 2147483646 w 248"/>
              <a:gd name="T1" fmla="*/ 2147483646 h 42"/>
              <a:gd name="T2" fmla="*/ 0 w 248"/>
              <a:gd name="T3" fmla="*/ 2147483646 h 42"/>
              <a:gd name="T4" fmla="*/ 2147483646 w 248"/>
              <a:gd name="T5" fmla="*/ 0 h 42"/>
              <a:gd name="T6" fmla="*/ 2147483646 w 248"/>
              <a:gd name="T7" fmla="*/ 2147483646 h 42"/>
              <a:gd name="T8" fmla="*/ 2147483646 w 248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8" h="42">
                <a:moveTo>
                  <a:pt x="2" y="42"/>
                </a:moveTo>
                <a:lnTo>
                  <a:pt x="0" y="40"/>
                </a:lnTo>
                <a:lnTo>
                  <a:pt x="248" y="0"/>
                </a:lnTo>
                <a:lnTo>
                  <a:pt x="248" y="2"/>
                </a:lnTo>
                <a:lnTo>
                  <a:pt x="2" y="4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9" name="Freeform 481"/>
          <p:cNvSpPr/>
          <p:nvPr/>
        </p:nvSpPr>
        <p:spPr bwMode="auto">
          <a:xfrm>
            <a:off x="6245225" y="2687638"/>
            <a:ext cx="533400" cy="715962"/>
          </a:xfrm>
          <a:custGeom>
            <a:avLst/>
            <a:gdLst>
              <a:gd name="T0" fmla="*/ 2147483646 w 179"/>
              <a:gd name="T1" fmla="*/ 2147483646 h 240"/>
              <a:gd name="T2" fmla="*/ 0 w 179"/>
              <a:gd name="T3" fmla="*/ 2147483646 h 240"/>
              <a:gd name="T4" fmla="*/ 2147483646 w 179"/>
              <a:gd name="T5" fmla="*/ 0 h 240"/>
              <a:gd name="T6" fmla="*/ 2147483646 w 179"/>
              <a:gd name="T7" fmla="*/ 0 h 240"/>
              <a:gd name="T8" fmla="*/ 2147483646 w 179"/>
              <a:gd name="T9" fmla="*/ 2147483646 h 2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9" h="240">
                <a:moveTo>
                  <a:pt x="2" y="240"/>
                </a:moveTo>
                <a:lnTo>
                  <a:pt x="0" y="238"/>
                </a:lnTo>
                <a:lnTo>
                  <a:pt x="179" y="0"/>
                </a:lnTo>
                <a:lnTo>
                  <a:pt x="2" y="24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0" name="Freeform 482"/>
          <p:cNvSpPr/>
          <p:nvPr/>
        </p:nvSpPr>
        <p:spPr bwMode="auto">
          <a:xfrm>
            <a:off x="6245225" y="2533650"/>
            <a:ext cx="1260475" cy="869950"/>
          </a:xfrm>
          <a:custGeom>
            <a:avLst/>
            <a:gdLst>
              <a:gd name="T0" fmla="*/ 2147483646 w 423"/>
              <a:gd name="T1" fmla="*/ 2147483646 h 292"/>
              <a:gd name="T2" fmla="*/ 0 w 423"/>
              <a:gd name="T3" fmla="*/ 2147483646 h 292"/>
              <a:gd name="T4" fmla="*/ 2147483646 w 423"/>
              <a:gd name="T5" fmla="*/ 0 h 292"/>
              <a:gd name="T6" fmla="*/ 2147483646 w 423"/>
              <a:gd name="T7" fmla="*/ 2147483646 h 292"/>
              <a:gd name="T8" fmla="*/ 2147483646 w 423"/>
              <a:gd name="T9" fmla="*/ 2147483646 h 29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23" h="292">
                <a:moveTo>
                  <a:pt x="2" y="292"/>
                </a:moveTo>
                <a:lnTo>
                  <a:pt x="0" y="290"/>
                </a:lnTo>
                <a:lnTo>
                  <a:pt x="423" y="0"/>
                </a:lnTo>
                <a:lnTo>
                  <a:pt x="423" y="2"/>
                </a:lnTo>
                <a:lnTo>
                  <a:pt x="2" y="29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1" name="Freeform 483"/>
          <p:cNvSpPr/>
          <p:nvPr/>
        </p:nvSpPr>
        <p:spPr bwMode="auto">
          <a:xfrm>
            <a:off x="4829175" y="1830388"/>
            <a:ext cx="1344613" cy="82550"/>
          </a:xfrm>
          <a:custGeom>
            <a:avLst/>
            <a:gdLst>
              <a:gd name="T0" fmla="*/ 0 w 451"/>
              <a:gd name="T1" fmla="*/ 2147483646 h 28"/>
              <a:gd name="T2" fmla="*/ 0 w 451"/>
              <a:gd name="T3" fmla="*/ 2147483646 h 28"/>
              <a:gd name="T4" fmla="*/ 2147483646 w 451"/>
              <a:gd name="T5" fmla="*/ 0 h 28"/>
              <a:gd name="T6" fmla="*/ 2147483646 w 451"/>
              <a:gd name="T7" fmla="*/ 2147483646 h 28"/>
              <a:gd name="T8" fmla="*/ 0 w 451"/>
              <a:gd name="T9" fmla="*/ 2147483646 h 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1" h="28">
                <a:moveTo>
                  <a:pt x="0" y="28"/>
                </a:moveTo>
                <a:lnTo>
                  <a:pt x="0" y="26"/>
                </a:lnTo>
                <a:lnTo>
                  <a:pt x="451" y="0"/>
                </a:lnTo>
                <a:lnTo>
                  <a:pt x="451" y="2"/>
                </a:lnTo>
                <a:lnTo>
                  <a:pt x="0" y="28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2" name="Freeform 484"/>
          <p:cNvSpPr/>
          <p:nvPr/>
        </p:nvSpPr>
        <p:spPr bwMode="auto">
          <a:xfrm>
            <a:off x="5546725" y="1830388"/>
            <a:ext cx="627063" cy="174625"/>
          </a:xfrm>
          <a:custGeom>
            <a:avLst/>
            <a:gdLst>
              <a:gd name="T0" fmla="*/ 0 w 210"/>
              <a:gd name="T1" fmla="*/ 2147483646 h 59"/>
              <a:gd name="T2" fmla="*/ 0 w 210"/>
              <a:gd name="T3" fmla="*/ 2147483646 h 59"/>
              <a:gd name="T4" fmla="*/ 2147483646 w 210"/>
              <a:gd name="T5" fmla="*/ 0 h 59"/>
              <a:gd name="T6" fmla="*/ 2147483646 w 210"/>
              <a:gd name="T7" fmla="*/ 2147483646 h 59"/>
              <a:gd name="T8" fmla="*/ 0 w 210"/>
              <a:gd name="T9" fmla="*/ 2147483646 h 5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0" h="59">
                <a:moveTo>
                  <a:pt x="0" y="59"/>
                </a:moveTo>
                <a:lnTo>
                  <a:pt x="0" y="56"/>
                </a:lnTo>
                <a:lnTo>
                  <a:pt x="210" y="0"/>
                </a:lnTo>
                <a:lnTo>
                  <a:pt x="210" y="2"/>
                </a:lnTo>
                <a:lnTo>
                  <a:pt x="0" y="59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3" name="Freeform 485"/>
          <p:cNvSpPr/>
          <p:nvPr/>
        </p:nvSpPr>
        <p:spPr bwMode="auto">
          <a:xfrm>
            <a:off x="6038850" y="2601913"/>
            <a:ext cx="739775" cy="92075"/>
          </a:xfrm>
          <a:custGeom>
            <a:avLst/>
            <a:gdLst>
              <a:gd name="T0" fmla="*/ 2147483646 w 248"/>
              <a:gd name="T1" fmla="*/ 2147483646 h 31"/>
              <a:gd name="T2" fmla="*/ 0 w 248"/>
              <a:gd name="T3" fmla="*/ 2147483646 h 31"/>
              <a:gd name="T4" fmla="*/ 0 w 248"/>
              <a:gd name="T5" fmla="*/ 0 h 31"/>
              <a:gd name="T6" fmla="*/ 2147483646 w 248"/>
              <a:gd name="T7" fmla="*/ 2147483646 h 31"/>
              <a:gd name="T8" fmla="*/ 2147483646 w 248"/>
              <a:gd name="T9" fmla="*/ 2147483646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8" h="31">
                <a:moveTo>
                  <a:pt x="248" y="31"/>
                </a:moveTo>
                <a:lnTo>
                  <a:pt x="0" y="3"/>
                </a:lnTo>
                <a:lnTo>
                  <a:pt x="0" y="0"/>
                </a:lnTo>
                <a:lnTo>
                  <a:pt x="248" y="29"/>
                </a:lnTo>
                <a:lnTo>
                  <a:pt x="248" y="31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4" name="Freeform 486"/>
          <p:cNvSpPr/>
          <p:nvPr/>
        </p:nvSpPr>
        <p:spPr bwMode="auto">
          <a:xfrm>
            <a:off x="6018213" y="2533650"/>
            <a:ext cx="1492250" cy="68263"/>
          </a:xfrm>
          <a:custGeom>
            <a:avLst/>
            <a:gdLst>
              <a:gd name="T0" fmla="*/ 0 w 501"/>
              <a:gd name="T1" fmla="*/ 2147483646 h 23"/>
              <a:gd name="T2" fmla="*/ 0 w 501"/>
              <a:gd name="T3" fmla="*/ 2147483646 h 23"/>
              <a:gd name="T4" fmla="*/ 2147483646 w 501"/>
              <a:gd name="T5" fmla="*/ 0 h 23"/>
              <a:gd name="T6" fmla="*/ 2147483646 w 501"/>
              <a:gd name="T7" fmla="*/ 2147483646 h 23"/>
              <a:gd name="T8" fmla="*/ 0 w 501"/>
              <a:gd name="T9" fmla="*/ 2147483646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1" h="23">
                <a:moveTo>
                  <a:pt x="0" y="23"/>
                </a:moveTo>
                <a:lnTo>
                  <a:pt x="0" y="21"/>
                </a:lnTo>
                <a:lnTo>
                  <a:pt x="501" y="0"/>
                </a:lnTo>
                <a:lnTo>
                  <a:pt x="501" y="2"/>
                </a:lnTo>
                <a:lnTo>
                  <a:pt x="0" y="23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5" name="Freeform 487"/>
          <p:cNvSpPr/>
          <p:nvPr/>
        </p:nvSpPr>
        <p:spPr bwMode="auto">
          <a:xfrm>
            <a:off x="4843463" y="1970088"/>
            <a:ext cx="155575" cy="554037"/>
          </a:xfrm>
          <a:custGeom>
            <a:avLst/>
            <a:gdLst>
              <a:gd name="T0" fmla="*/ 2147483646 w 52"/>
              <a:gd name="T1" fmla="*/ 2147483646 h 186"/>
              <a:gd name="T2" fmla="*/ 0 w 52"/>
              <a:gd name="T3" fmla="*/ 0 h 186"/>
              <a:gd name="T4" fmla="*/ 2147483646 w 52"/>
              <a:gd name="T5" fmla="*/ 0 h 186"/>
              <a:gd name="T6" fmla="*/ 2147483646 w 52"/>
              <a:gd name="T7" fmla="*/ 2147483646 h 186"/>
              <a:gd name="T8" fmla="*/ 2147483646 w 52"/>
              <a:gd name="T9" fmla="*/ 2147483646 h 18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2" h="186">
                <a:moveTo>
                  <a:pt x="49" y="186"/>
                </a:moveTo>
                <a:lnTo>
                  <a:pt x="0" y="0"/>
                </a:lnTo>
                <a:lnTo>
                  <a:pt x="2" y="0"/>
                </a:lnTo>
                <a:lnTo>
                  <a:pt x="52" y="186"/>
                </a:lnTo>
                <a:lnTo>
                  <a:pt x="49" y="186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6" name="Freeform 488"/>
          <p:cNvSpPr/>
          <p:nvPr/>
        </p:nvSpPr>
        <p:spPr bwMode="auto">
          <a:xfrm>
            <a:off x="4652963" y="1908175"/>
            <a:ext cx="182562" cy="1355725"/>
          </a:xfrm>
          <a:custGeom>
            <a:avLst/>
            <a:gdLst>
              <a:gd name="T0" fmla="*/ 2147483646 w 61"/>
              <a:gd name="T1" fmla="*/ 2147483646 h 455"/>
              <a:gd name="T2" fmla="*/ 0 w 61"/>
              <a:gd name="T3" fmla="*/ 2147483646 h 455"/>
              <a:gd name="T4" fmla="*/ 2147483646 w 61"/>
              <a:gd name="T5" fmla="*/ 0 h 455"/>
              <a:gd name="T6" fmla="*/ 2147483646 w 61"/>
              <a:gd name="T7" fmla="*/ 0 h 455"/>
              <a:gd name="T8" fmla="*/ 2147483646 w 61"/>
              <a:gd name="T9" fmla="*/ 2147483646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1" h="455">
                <a:moveTo>
                  <a:pt x="2" y="455"/>
                </a:moveTo>
                <a:lnTo>
                  <a:pt x="0" y="453"/>
                </a:lnTo>
                <a:lnTo>
                  <a:pt x="59" y="0"/>
                </a:lnTo>
                <a:lnTo>
                  <a:pt x="61" y="0"/>
                </a:lnTo>
                <a:lnTo>
                  <a:pt x="2" y="455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7" name="Freeform 489"/>
          <p:cNvSpPr/>
          <p:nvPr/>
        </p:nvSpPr>
        <p:spPr bwMode="auto">
          <a:xfrm>
            <a:off x="5010150" y="2565400"/>
            <a:ext cx="227013" cy="458788"/>
          </a:xfrm>
          <a:custGeom>
            <a:avLst/>
            <a:gdLst>
              <a:gd name="T0" fmla="*/ 2147483646 w 76"/>
              <a:gd name="T1" fmla="*/ 2147483646 h 154"/>
              <a:gd name="T2" fmla="*/ 0 w 76"/>
              <a:gd name="T3" fmla="*/ 2147483646 h 154"/>
              <a:gd name="T4" fmla="*/ 2147483646 w 76"/>
              <a:gd name="T5" fmla="*/ 0 h 154"/>
              <a:gd name="T6" fmla="*/ 2147483646 w 76"/>
              <a:gd name="T7" fmla="*/ 2147483646 h 154"/>
              <a:gd name="T8" fmla="*/ 2147483646 w 76"/>
              <a:gd name="T9" fmla="*/ 2147483646 h 1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6" h="154">
                <a:moveTo>
                  <a:pt x="74" y="154"/>
                </a:moveTo>
                <a:lnTo>
                  <a:pt x="0" y="3"/>
                </a:lnTo>
                <a:lnTo>
                  <a:pt x="3" y="0"/>
                </a:lnTo>
                <a:lnTo>
                  <a:pt x="76" y="154"/>
                </a:lnTo>
                <a:lnTo>
                  <a:pt x="74" y="154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8" name="Freeform 490"/>
          <p:cNvSpPr/>
          <p:nvPr/>
        </p:nvSpPr>
        <p:spPr bwMode="auto">
          <a:xfrm>
            <a:off x="4668838" y="3024188"/>
            <a:ext cx="568325" cy="239712"/>
          </a:xfrm>
          <a:custGeom>
            <a:avLst/>
            <a:gdLst>
              <a:gd name="T0" fmla="*/ 0 w 191"/>
              <a:gd name="T1" fmla="*/ 2147483646 h 80"/>
              <a:gd name="T2" fmla="*/ 0 w 191"/>
              <a:gd name="T3" fmla="*/ 2147483646 h 80"/>
              <a:gd name="T4" fmla="*/ 2147483646 w 191"/>
              <a:gd name="T5" fmla="*/ 0 h 80"/>
              <a:gd name="T6" fmla="*/ 2147483646 w 191"/>
              <a:gd name="T7" fmla="*/ 2147483646 h 80"/>
              <a:gd name="T8" fmla="*/ 0 w 191"/>
              <a:gd name="T9" fmla="*/ 2147483646 h 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1" h="80">
                <a:moveTo>
                  <a:pt x="0" y="80"/>
                </a:moveTo>
                <a:lnTo>
                  <a:pt x="0" y="78"/>
                </a:lnTo>
                <a:lnTo>
                  <a:pt x="191" y="0"/>
                </a:lnTo>
                <a:lnTo>
                  <a:pt x="191" y="2"/>
                </a:lnTo>
                <a:lnTo>
                  <a:pt x="0" y="8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7" name="Freeform 507"/>
          <p:cNvSpPr/>
          <p:nvPr/>
        </p:nvSpPr>
        <p:spPr bwMode="auto">
          <a:xfrm>
            <a:off x="4968875" y="1933575"/>
            <a:ext cx="542925" cy="71438"/>
          </a:xfrm>
          <a:custGeom>
            <a:avLst/>
            <a:gdLst>
              <a:gd name="T0" fmla="*/ 2147483646 w 182"/>
              <a:gd name="T1" fmla="*/ 2147483646 h 24"/>
              <a:gd name="T2" fmla="*/ 0 w 182"/>
              <a:gd name="T3" fmla="*/ 2147483646 h 24"/>
              <a:gd name="T4" fmla="*/ 2147483646 w 182"/>
              <a:gd name="T5" fmla="*/ 0 h 24"/>
              <a:gd name="T6" fmla="*/ 2147483646 w 182"/>
              <a:gd name="T7" fmla="*/ 2147483646 h 24"/>
              <a:gd name="T8" fmla="*/ 2147483646 w 182"/>
              <a:gd name="T9" fmla="*/ 2147483646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82" h="24">
                <a:moveTo>
                  <a:pt x="182" y="24"/>
                </a:moveTo>
                <a:lnTo>
                  <a:pt x="0" y="2"/>
                </a:lnTo>
                <a:lnTo>
                  <a:pt x="3" y="0"/>
                </a:lnTo>
                <a:lnTo>
                  <a:pt x="182" y="21"/>
                </a:lnTo>
                <a:lnTo>
                  <a:pt x="182" y="24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8" name="Freeform 508"/>
          <p:cNvSpPr/>
          <p:nvPr/>
        </p:nvSpPr>
        <p:spPr bwMode="auto">
          <a:xfrm>
            <a:off x="5237163" y="2687638"/>
            <a:ext cx="625475" cy="342900"/>
          </a:xfrm>
          <a:custGeom>
            <a:avLst/>
            <a:gdLst>
              <a:gd name="T0" fmla="*/ 0 w 210"/>
              <a:gd name="T1" fmla="*/ 2147483646 h 115"/>
              <a:gd name="T2" fmla="*/ 0 w 210"/>
              <a:gd name="T3" fmla="*/ 2147483646 h 115"/>
              <a:gd name="T4" fmla="*/ 2147483646 w 210"/>
              <a:gd name="T5" fmla="*/ 0 h 115"/>
              <a:gd name="T6" fmla="*/ 2147483646 w 210"/>
              <a:gd name="T7" fmla="*/ 2147483646 h 115"/>
              <a:gd name="T8" fmla="*/ 0 w 210"/>
              <a:gd name="T9" fmla="*/ 2147483646 h 1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0" h="115">
                <a:moveTo>
                  <a:pt x="0" y="115"/>
                </a:moveTo>
                <a:lnTo>
                  <a:pt x="0" y="113"/>
                </a:lnTo>
                <a:lnTo>
                  <a:pt x="210" y="0"/>
                </a:lnTo>
                <a:lnTo>
                  <a:pt x="210" y="2"/>
                </a:lnTo>
                <a:lnTo>
                  <a:pt x="0" y="115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9" name="Freeform 509"/>
          <p:cNvSpPr/>
          <p:nvPr/>
        </p:nvSpPr>
        <p:spPr bwMode="auto">
          <a:xfrm>
            <a:off x="4668838" y="2533650"/>
            <a:ext cx="330200" cy="730250"/>
          </a:xfrm>
          <a:custGeom>
            <a:avLst/>
            <a:gdLst>
              <a:gd name="T0" fmla="*/ 2147483646 w 111"/>
              <a:gd name="T1" fmla="*/ 2147483646 h 245"/>
              <a:gd name="T2" fmla="*/ 0 w 111"/>
              <a:gd name="T3" fmla="*/ 2147483646 h 245"/>
              <a:gd name="T4" fmla="*/ 2147483646 w 111"/>
              <a:gd name="T5" fmla="*/ 0 h 245"/>
              <a:gd name="T6" fmla="*/ 2147483646 w 111"/>
              <a:gd name="T7" fmla="*/ 2147483646 h 245"/>
              <a:gd name="T8" fmla="*/ 2147483646 w 111"/>
              <a:gd name="T9" fmla="*/ 2147483646 h 2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11" h="245">
                <a:moveTo>
                  <a:pt x="2" y="245"/>
                </a:moveTo>
                <a:lnTo>
                  <a:pt x="0" y="243"/>
                </a:lnTo>
                <a:lnTo>
                  <a:pt x="108" y="0"/>
                </a:lnTo>
                <a:lnTo>
                  <a:pt x="111" y="2"/>
                </a:lnTo>
                <a:lnTo>
                  <a:pt x="2" y="245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0" name="Freeform 510"/>
          <p:cNvSpPr/>
          <p:nvPr/>
        </p:nvSpPr>
        <p:spPr bwMode="auto">
          <a:xfrm>
            <a:off x="6038850" y="2609850"/>
            <a:ext cx="211138" cy="793750"/>
          </a:xfrm>
          <a:custGeom>
            <a:avLst/>
            <a:gdLst>
              <a:gd name="T0" fmla="*/ 2147483646 w 71"/>
              <a:gd name="T1" fmla="*/ 2147483646 h 266"/>
              <a:gd name="T2" fmla="*/ 0 w 71"/>
              <a:gd name="T3" fmla="*/ 0 h 266"/>
              <a:gd name="T4" fmla="*/ 2147483646 w 71"/>
              <a:gd name="T5" fmla="*/ 0 h 266"/>
              <a:gd name="T6" fmla="*/ 2147483646 w 71"/>
              <a:gd name="T7" fmla="*/ 2147483646 h 266"/>
              <a:gd name="T8" fmla="*/ 2147483646 w 71"/>
              <a:gd name="T9" fmla="*/ 2147483646 h 2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1" h="266">
                <a:moveTo>
                  <a:pt x="69" y="266"/>
                </a:moveTo>
                <a:lnTo>
                  <a:pt x="0" y="0"/>
                </a:lnTo>
                <a:lnTo>
                  <a:pt x="3" y="0"/>
                </a:lnTo>
                <a:lnTo>
                  <a:pt x="71" y="266"/>
                </a:lnTo>
                <a:lnTo>
                  <a:pt x="69" y="266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1" name="Freeform 511"/>
          <p:cNvSpPr/>
          <p:nvPr/>
        </p:nvSpPr>
        <p:spPr bwMode="auto">
          <a:xfrm>
            <a:off x="6778625" y="2533650"/>
            <a:ext cx="731838" cy="160338"/>
          </a:xfrm>
          <a:custGeom>
            <a:avLst/>
            <a:gdLst>
              <a:gd name="T0" fmla="*/ 0 w 246"/>
              <a:gd name="T1" fmla="*/ 2147483646 h 54"/>
              <a:gd name="T2" fmla="*/ 0 w 246"/>
              <a:gd name="T3" fmla="*/ 2147483646 h 54"/>
              <a:gd name="T4" fmla="*/ 2147483646 w 246"/>
              <a:gd name="T5" fmla="*/ 0 h 54"/>
              <a:gd name="T6" fmla="*/ 2147483646 w 246"/>
              <a:gd name="T7" fmla="*/ 2147483646 h 54"/>
              <a:gd name="T8" fmla="*/ 0 w 246"/>
              <a:gd name="T9" fmla="*/ 2147483646 h 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6" h="54">
                <a:moveTo>
                  <a:pt x="0" y="54"/>
                </a:moveTo>
                <a:lnTo>
                  <a:pt x="0" y="52"/>
                </a:lnTo>
                <a:lnTo>
                  <a:pt x="246" y="0"/>
                </a:lnTo>
                <a:lnTo>
                  <a:pt x="246" y="2"/>
                </a:lnTo>
                <a:lnTo>
                  <a:pt x="0" y="54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6" name="矩形 1"/>
          <p:cNvSpPr>
            <a:spLocks noChangeArrowheads="1"/>
          </p:cNvSpPr>
          <p:nvPr/>
        </p:nvSpPr>
        <p:spPr bwMode="auto">
          <a:xfrm>
            <a:off x="900113" y="1354138"/>
            <a:ext cx="30543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5" name="组合 134"/>
          <p:cNvGrpSpPr/>
          <p:nvPr/>
        </p:nvGrpSpPr>
        <p:grpSpPr bwMode="auto">
          <a:xfrm>
            <a:off x="5691188" y="2306638"/>
            <a:ext cx="693737" cy="577850"/>
            <a:chOff x="5690466" y="2065428"/>
            <a:chExt cx="694664" cy="578025"/>
          </a:xfrm>
        </p:grpSpPr>
        <p:sp>
          <p:nvSpPr>
            <p:cNvPr id="12443" name="Oval 498"/>
            <p:cNvSpPr>
              <a:spLocks noChangeArrowheads="1"/>
            </p:cNvSpPr>
            <p:nvPr/>
          </p:nvSpPr>
          <p:spPr bwMode="auto">
            <a:xfrm>
              <a:off x="5743966" y="2065428"/>
              <a:ext cx="578087" cy="57802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44" name="TextBox 86"/>
            <p:cNvSpPr txBox="1">
              <a:spLocks noChangeArrowheads="1"/>
            </p:cNvSpPr>
            <p:nvPr/>
          </p:nvSpPr>
          <p:spPr bwMode="auto">
            <a:xfrm>
              <a:off x="5690466" y="2165964"/>
              <a:ext cx="694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5%</a:t>
              </a:r>
              <a:endParaRPr lang="zh-CN" altLang="en-US"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8" name="组合 137"/>
          <p:cNvGrpSpPr/>
          <p:nvPr/>
        </p:nvGrpSpPr>
        <p:grpSpPr bwMode="auto">
          <a:xfrm>
            <a:off x="4497388" y="1758950"/>
            <a:ext cx="693737" cy="295275"/>
            <a:chOff x="4496725" y="1517198"/>
            <a:chExt cx="694664" cy="294972"/>
          </a:xfrm>
        </p:grpSpPr>
        <p:sp>
          <p:nvSpPr>
            <p:cNvPr id="12441" name="Oval 499"/>
            <p:cNvSpPr>
              <a:spLocks noChangeArrowheads="1"/>
            </p:cNvSpPr>
            <p:nvPr/>
          </p:nvSpPr>
          <p:spPr bwMode="auto">
            <a:xfrm>
              <a:off x="4689105" y="1517198"/>
              <a:ext cx="289044" cy="29497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42" name="TextBox 88"/>
            <p:cNvSpPr txBox="1">
              <a:spLocks noChangeArrowheads="1"/>
            </p:cNvSpPr>
            <p:nvPr/>
          </p:nvSpPr>
          <p:spPr bwMode="auto">
            <a:xfrm>
              <a:off x="4496725" y="1531888"/>
              <a:ext cx="69466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8%</a:t>
              </a:r>
              <a:endPara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0" name="组合 139"/>
          <p:cNvGrpSpPr/>
          <p:nvPr/>
        </p:nvGrpSpPr>
        <p:grpSpPr bwMode="auto">
          <a:xfrm>
            <a:off x="4322763" y="3117850"/>
            <a:ext cx="693737" cy="293688"/>
            <a:chOff x="4322068" y="2875855"/>
            <a:chExt cx="694664" cy="294972"/>
          </a:xfrm>
        </p:grpSpPr>
        <p:sp>
          <p:nvSpPr>
            <p:cNvPr id="12439" name="Oval 500"/>
            <p:cNvSpPr>
              <a:spLocks noChangeArrowheads="1"/>
            </p:cNvSpPr>
            <p:nvPr/>
          </p:nvSpPr>
          <p:spPr bwMode="auto">
            <a:xfrm>
              <a:off x="4519255" y="2875855"/>
              <a:ext cx="295003" cy="294972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40" name="TextBox 89"/>
            <p:cNvSpPr txBox="1">
              <a:spLocks noChangeArrowheads="1"/>
            </p:cNvSpPr>
            <p:nvPr/>
          </p:nvSpPr>
          <p:spPr bwMode="auto">
            <a:xfrm>
              <a:off x="4322068" y="2899678"/>
              <a:ext cx="69466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5%</a:t>
              </a:r>
              <a:endPara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6" name="组合 135"/>
          <p:cNvGrpSpPr/>
          <p:nvPr/>
        </p:nvGrpSpPr>
        <p:grpSpPr bwMode="auto">
          <a:xfrm>
            <a:off x="7169150" y="2384425"/>
            <a:ext cx="695325" cy="303213"/>
            <a:chOff x="7169887" y="2142896"/>
            <a:chExt cx="694664" cy="303910"/>
          </a:xfrm>
        </p:grpSpPr>
        <p:sp>
          <p:nvSpPr>
            <p:cNvPr id="12437" name="Oval 642"/>
            <p:cNvSpPr>
              <a:spLocks noChangeArrowheads="1"/>
            </p:cNvSpPr>
            <p:nvPr/>
          </p:nvSpPr>
          <p:spPr bwMode="auto">
            <a:xfrm>
              <a:off x="7350095" y="2142896"/>
              <a:ext cx="309903" cy="303910"/>
            </a:xfrm>
            <a:prstGeom prst="ellipse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8" name="TextBox 90"/>
            <p:cNvSpPr txBox="1">
              <a:spLocks noChangeArrowheads="1"/>
            </p:cNvSpPr>
            <p:nvPr/>
          </p:nvSpPr>
          <p:spPr bwMode="auto">
            <a:xfrm>
              <a:off x="7169887" y="2170836"/>
              <a:ext cx="69466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6%</a:t>
              </a:r>
              <a:endPara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2" name="组合 141"/>
          <p:cNvGrpSpPr/>
          <p:nvPr/>
        </p:nvGrpSpPr>
        <p:grpSpPr bwMode="auto">
          <a:xfrm>
            <a:off x="5911850" y="1716088"/>
            <a:ext cx="527050" cy="223837"/>
            <a:chOff x="5911536" y="1475485"/>
            <a:chExt cx="527364" cy="223463"/>
          </a:xfrm>
        </p:grpSpPr>
        <p:sp>
          <p:nvSpPr>
            <p:cNvPr id="12435" name="Oval 501"/>
            <p:cNvSpPr>
              <a:spLocks noChangeArrowheads="1"/>
            </p:cNvSpPr>
            <p:nvPr/>
          </p:nvSpPr>
          <p:spPr bwMode="auto">
            <a:xfrm>
              <a:off x="6059828" y="1475485"/>
              <a:ext cx="226467" cy="223463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6" name="TextBox 91"/>
            <p:cNvSpPr txBox="1">
              <a:spLocks noChangeArrowheads="1"/>
            </p:cNvSpPr>
            <p:nvPr/>
          </p:nvSpPr>
          <p:spPr bwMode="auto">
            <a:xfrm>
              <a:off x="5911536" y="1480582"/>
              <a:ext cx="527364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7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8%</a:t>
              </a:r>
              <a:endParaRPr lang="zh-CN" altLang="en-US" sz="7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7" name="组合 136"/>
          <p:cNvGrpSpPr/>
          <p:nvPr/>
        </p:nvGrpSpPr>
        <p:grpSpPr bwMode="auto">
          <a:xfrm>
            <a:off x="6667500" y="1800225"/>
            <a:ext cx="527050" cy="196850"/>
            <a:chOff x="6667404" y="1558911"/>
            <a:chExt cx="527364" cy="196648"/>
          </a:xfrm>
        </p:grpSpPr>
        <p:sp>
          <p:nvSpPr>
            <p:cNvPr id="12433" name="Oval 504"/>
            <p:cNvSpPr>
              <a:spLocks noChangeArrowheads="1"/>
            </p:cNvSpPr>
            <p:nvPr/>
          </p:nvSpPr>
          <p:spPr bwMode="auto">
            <a:xfrm>
              <a:off x="6828625" y="1558911"/>
              <a:ext cx="196669" cy="196648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4" name="TextBox 92"/>
            <p:cNvSpPr txBox="1">
              <a:spLocks noChangeArrowheads="1"/>
            </p:cNvSpPr>
            <p:nvPr/>
          </p:nvSpPr>
          <p:spPr bwMode="auto">
            <a:xfrm>
              <a:off x="6667404" y="1564969"/>
              <a:ext cx="52736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6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2%</a:t>
              </a:r>
              <a:endParaRPr lang="zh-CN" altLang="en-US" sz="6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1" name="组合 140"/>
          <p:cNvGrpSpPr/>
          <p:nvPr/>
        </p:nvGrpSpPr>
        <p:grpSpPr bwMode="auto">
          <a:xfrm>
            <a:off x="5988050" y="3303588"/>
            <a:ext cx="528638" cy="192087"/>
            <a:chOff x="5988833" y="3062208"/>
            <a:chExt cx="527364" cy="192045"/>
          </a:xfrm>
        </p:grpSpPr>
        <p:sp>
          <p:nvSpPr>
            <p:cNvPr id="12431" name="Oval 502"/>
            <p:cNvSpPr>
              <a:spLocks noChangeArrowheads="1"/>
            </p:cNvSpPr>
            <p:nvPr/>
          </p:nvSpPr>
          <p:spPr bwMode="auto">
            <a:xfrm>
              <a:off x="6152203" y="3063564"/>
              <a:ext cx="190709" cy="190689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2" name="TextBox 93"/>
            <p:cNvSpPr txBox="1">
              <a:spLocks noChangeArrowheads="1"/>
            </p:cNvSpPr>
            <p:nvPr/>
          </p:nvSpPr>
          <p:spPr bwMode="auto">
            <a:xfrm>
              <a:off x="5988833" y="3062208"/>
              <a:ext cx="52736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6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1%</a:t>
              </a:r>
              <a:endParaRPr lang="zh-CN" altLang="en-US" sz="6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" name="组合 4"/>
          <p:cNvGrpSpPr/>
          <p:nvPr/>
        </p:nvGrpSpPr>
        <p:grpSpPr bwMode="auto">
          <a:xfrm>
            <a:off x="5073650" y="2943225"/>
            <a:ext cx="331788" cy="158750"/>
            <a:chOff x="5073489" y="2943030"/>
            <a:chExt cx="331950" cy="159228"/>
          </a:xfrm>
        </p:grpSpPr>
        <p:sp>
          <p:nvSpPr>
            <p:cNvPr id="12429" name="Oval 503"/>
            <p:cNvSpPr>
              <a:spLocks noChangeArrowheads="1"/>
            </p:cNvSpPr>
            <p:nvPr/>
          </p:nvSpPr>
          <p:spPr bwMode="auto">
            <a:xfrm>
              <a:off x="5159919" y="2947323"/>
              <a:ext cx="154951" cy="154935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0" name="TextBox 94"/>
            <p:cNvSpPr txBox="1">
              <a:spLocks noChangeArrowheads="1"/>
            </p:cNvSpPr>
            <p:nvPr/>
          </p:nvSpPr>
          <p:spPr bwMode="auto">
            <a:xfrm>
              <a:off x="5073489" y="2943030"/>
              <a:ext cx="3319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5%</a:t>
              </a:r>
              <a:endParaRPr lang="zh-CN" altLang="en-US" sz="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9" name="组合 138"/>
          <p:cNvGrpSpPr/>
          <p:nvPr/>
        </p:nvGrpSpPr>
        <p:grpSpPr bwMode="auto">
          <a:xfrm>
            <a:off x="4829175" y="2459038"/>
            <a:ext cx="333375" cy="153987"/>
            <a:chOff x="4829857" y="2217078"/>
            <a:chExt cx="331950" cy="153888"/>
          </a:xfrm>
        </p:grpSpPr>
        <p:sp>
          <p:nvSpPr>
            <p:cNvPr id="12427" name="Oval 506"/>
            <p:cNvSpPr>
              <a:spLocks noChangeArrowheads="1"/>
            </p:cNvSpPr>
            <p:nvPr/>
          </p:nvSpPr>
          <p:spPr bwMode="auto">
            <a:xfrm>
              <a:off x="4921532" y="2220363"/>
              <a:ext cx="146012" cy="148976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28" name="TextBox 95"/>
            <p:cNvSpPr txBox="1">
              <a:spLocks noChangeArrowheads="1"/>
            </p:cNvSpPr>
            <p:nvPr/>
          </p:nvSpPr>
          <p:spPr bwMode="auto">
            <a:xfrm>
              <a:off x="4829857" y="2217078"/>
              <a:ext cx="3319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%</a:t>
              </a:r>
              <a:endParaRPr lang="zh-CN" altLang="en-US" sz="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3" name="组合 142"/>
          <p:cNvGrpSpPr/>
          <p:nvPr/>
        </p:nvGrpSpPr>
        <p:grpSpPr bwMode="auto">
          <a:xfrm>
            <a:off x="5378450" y="1928813"/>
            <a:ext cx="331788" cy="139700"/>
            <a:chOff x="5377743" y="1687990"/>
            <a:chExt cx="331950" cy="138499"/>
          </a:xfrm>
        </p:grpSpPr>
        <p:sp>
          <p:nvSpPr>
            <p:cNvPr id="12425" name="Oval 634"/>
            <p:cNvSpPr>
              <a:spLocks noChangeArrowheads="1"/>
            </p:cNvSpPr>
            <p:nvPr/>
          </p:nvSpPr>
          <p:spPr bwMode="auto">
            <a:xfrm>
              <a:off x="5484720" y="1698949"/>
              <a:ext cx="119193" cy="119180"/>
            </a:xfrm>
            <a:prstGeom prst="ellipse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26" name="TextBox 96"/>
            <p:cNvSpPr txBox="1">
              <a:spLocks noChangeArrowheads="1"/>
            </p:cNvSpPr>
            <p:nvPr/>
          </p:nvSpPr>
          <p:spPr bwMode="auto">
            <a:xfrm>
              <a:off x="5377743" y="1687990"/>
              <a:ext cx="331950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3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%</a:t>
              </a:r>
              <a:endParaRPr lang="zh-CN" altLang="en-US" sz="3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" name="组合 6"/>
          <p:cNvGrpSpPr/>
          <p:nvPr/>
        </p:nvGrpSpPr>
        <p:grpSpPr bwMode="auto">
          <a:xfrm>
            <a:off x="6605588" y="2609850"/>
            <a:ext cx="331787" cy="155575"/>
            <a:chOff x="6606033" y="2610639"/>
            <a:chExt cx="331950" cy="154935"/>
          </a:xfrm>
        </p:grpSpPr>
        <p:sp>
          <p:nvSpPr>
            <p:cNvPr id="12422" name="Oval 638"/>
            <p:cNvSpPr>
              <a:spLocks noChangeArrowheads="1"/>
            </p:cNvSpPr>
            <p:nvPr/>
          </p:nvSpPr>
          <p:spPr bwMode="auto">
            <a:xfrm>
              <a:off x="6700492" y="2610639"/>
              <a:ext cx="154951" cy="154935"/>
            </a:xfrm>
            <a:prstGeom prst="ellipse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23" name="Freeform 639"/>
            <p:cNvSpPr/>
            <p:nvPr/>
          </p:nvSpPr>
          <p:spPr bwMode="auto">
            <a:xfrm>
              <a:off x="6736250" y="2658311"/>
              <a:ext cx="14899" cy="50652"/>
            </a:xfrm>
            <a:custGeom>
              <a:avLst/>
              <a:gdLst>
                <a:gd name="T0" fmla="*/ 2147483646 w 5"/>
                <a:gd name="T1" fmla="*/ 2147483646 h 17"/>
                <a:gd name="T2" fmla="*/ 2147483646 w 5"/>
                <a:gd name="T3" fmla="*/ 0 h 17"/>
                <a:gd name="T4" fmla="*/ 0 w 5"/>
                <a:gd name="T5" fmla="*/ 0 h 17"/>
                <a:gd name="T6" fmla="*/ 2147483646 w 5"/>
                <a:gd name="T7" fmla="*/ 0 h 17"/>
                <a:gd name="T8" fmla="*/ 2147483646 w 5"/>
                <a:gd name="T9" fmla="*/ 0 h 17"/>
                <a:gd name="T10" fmla="*/ 2147483646 w 5"/>
                <a:gd name="T11" fmla="*/ 2147483646 h 17"/>
                <a:gd name="T12" fmla="*/ 2147483646 w 5"/>
                <a:gd name="T13" fmla="*/ 2147483646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17">
                  <a:moveTo>
                    <a:pt x="5" y="17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424" name="TextBox 97"/>
            <p:cNvSpPr txBox="1">
              <a:spLocks noChangeArrowheads="1"/>
            </p:cNvSpPr>
            <p:nvPr/>
          </p:nvSpPr>
          <p:spPr bwMode="auto">
            <a:xfrm>
              <a:off x="6606033" y="2622116"/>
              <a:ext cx="331950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3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%</a:t>
              </a:r>
              <a:endParaRPr lang="zh-CN" altLang="en-US" sz="3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 bwMode="auto">
          <a:xfrm>
            <a:off x="6826250" y="3197225"/>
            <a:ext cx="331788" cy="163513"/>
            <a:chOff x="6826826" y="3197122"/>
            <a:chExt cx="331950" cy="164354"/>
          </a:xfrm>
        </p:grpSpPr>
        <p:sp>
          <p:nvSpPr>
            <p:cNvPr id="12420" name="Oval 505"/>
            <p:cNvSpPr>
              <a:spLocks noChangeArrowheads="1"/>
            </p:cNvSpPr>
            <p:nvPr/>
          </p:nvSpPr>
          <p:spPr bwMode="auto">
            <a:xfrm>
              <a:off x="6912060" y="3200582"/>
              <a:ext cx="163891" cy="160894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21" name="TextBox 98"/>
            <p:cNvSpPr txBox="1">
              <a:spLocks noChangeArrowheads="1"/>
            </p:cNvSpPr>
            <p:nvPr/>
          </p:nvSpPr>
          <p:spPr bwMode="auto">
            <a:xfrm>
              <a:off x="6826826" y="3197122"/>
              <a:ext cx="3319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9%</a:t>
              </a:r>
              <a:endParaRPr lang="zh-CN" altLang="en-US" sz="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31" name="TextBox 130"/>
          <p:cNvSpPr txBox="1"/>
          <p:nvPr/>
        </p:nvSpPr>
        <p:spPr bwMode="auto">
          <a:xfrm>
            <a:off x="4926013" y="3124200"/>
            <a:ext cx="646112" cy="184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6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6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4" name="组合 3"/>
          <p:cNvGrpSpPr/>
          <p:nvPr/>
        </p:nvGrpSpPr>
        <p:grpSpPr bwMode="auto">
          <a:xfrm>
            <a:off x="1116013" y="2730500"/>
            <a:ext cx="852487" cy="1489075"/>
            <a:chOff x="1115616" y="2729819"/>
            <a:chExt cx="852232" cy="1489756"/>
          </a:xfrm>
        </p:grpSpPr>
        <p:sp>
          <p:nvSpPr>
            <p:cNvPr id="34" name="Freeform 305"/>
            <p:cNvSpPr>
              <a:spLocks noEditPoints="1"/>
            </p:cNvSpPr>
            <p:nvPr/>
          </p:nvSpPr>
          <p:spPr bwMode="auto">
            <a:xfrm>
              <a:off x="1115616" y="2729819"/>
              <a:ext cx="852232" cy="1489756"/>
            </a:xfrm>
            <a:custGeom>
              <a:avLst/>
              <a:gdLst>
                <a:gd name="T0" fmla="*/ 3368 w 121"/>
                <a:gd name="T1" fmla="*/ 0 h 212"/>
                <a:gd name="T2" fmla="*/ 435 w 121"/>
                <a:gd name="T3" fmla="*/ 0 h 212"/>
                <a:gd name="T4" fmla="*/ 0 w 121"/>
                <a:gd name="T5" fmla="*/ 406 h 212"/>
                <a:gd name="T6" fmla="*/ 0 w 121"/>
                <a:gd name="T7" fmla="*/ 6125 h 212"/>
                <a:gd name="T8" fmla="*/ 435 w 121"/>
                <a:gd name="T9" fmla="*/ 6559 h 212"/>
                <a:gd name="T10" fmla="*/ 3368 w 121"/>
                <a:gd name="T11" fmla="*/ 6559 h 212"/>
                <a:gd name="T12" fmla="*/ 3777 w 121"/>
                <a:gd name="T13" fmla="*/ 6125 h 212"/>
                <a:gd name="T14" fmla="*/ 3777 w 121"/>
                <a:gd name="T15" fmla="*/ 406 h 212"/>
                <a:gd name="T16" fmla="*/ 3368 w 121"/>
                <a:gd name="T17" fmla="*/ 0 h 212"/>
                <a:gd name="T18" fmla="*/ 1279 w 121"/>
                <a:gd name="T19" fmla="*/ 462 h 212"/>
                <a:gd name="T20" fmla="*/ 2520 w 121"/>
                <a:gd name="T21" fmla="*/ 462 h 212"/>
                <a:gd name="T22" fmla="*/ 2520 w 121"/>
                <a:gd name="T23" fmla="*/ 590 h 212"/>
                <a:gd name="T24" fmla="*/ 1279 w 121"/>
                <a:gd name="T25" fmla="*/ 590 h 212"/>
                <a:gd name="T26" fmla="*/ 1279 w 121"/>
                <a:gd name="T27" fmla="*/ 462 h 212"/>
                <a:gd name="T28" fmla="*/ 1900 w 121"/>
                <a:gd name="T29" fmla="*/ 6285 h 212"/>
                <a:gd name="T30" fmla="*/ 1647 w 121"/>
                <a:gd name="T31" fmla="*/ 6064 h 212"/>
                <a:gd name="T32" fmla="*/ 1900 w 121"/>
                <a:gd name="T33" fmla="*/ 5814 h 212"/>
                <a:gd name="T34" fmla="*/ 2151 w 121"/>
                <a:gd name="T35" fmla="*/ 6064 h 212"/>
                <a:gd name="T36" fmla="*/ 1900 w 121"/>
                <a:gd name="T37" fmla="*/ 6285 h 212"/>
                <a:gd name="T38" fmla="*/ 3498 w 121"/>
                <a:gd name="T39" fmla="*/ 5467 h 212"/>
                <a:gd name="T40" fmla="*/ 319 w 121"/>
                <a:gd name="T41" fmla="*/ 5467 h 212"/>
                <a:gd name="T42" fmla="*/ 319 w 121"/>
                <a:gd name="T43" fmla="*/ 1024 h 212"/>
                <a:gd name="T44" fmla="*/ 3498 w 121"/>
                <a:gd name="T45" fmla="*/ 1024 h 212"/>
                <a:gd name="T46" fmla="*/ 3498 w 121"/>
                <a:gd name="T47" fmla="*/ 5467 h 2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21" h="212">
                  <a:moveTo>
                    <a:pt x="10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206"/>
                    <a:pt x="6" y="212"/>
                    <a:pt x="14" y="212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15" y="212"/>
                    <a:pt x="121" y="206"/>
                    <a:pt x="121" y="198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1" y="6"/>
                    <a:pt x="115" y="0"/>
                    <a:pt x="108" y="0"/>
                  </a:cubicBezTo>
                  <a:close/>
                  <a:moveTo>
                    <a:pt x="41" y="15"/>
                  </a:moveTo>
                  <a:cubicBezTo>
                    <a:pt x="81" y="15"/>
                    <a:pt x="81" y="15"/>
                    <a:pt x="81" y="15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41" y="19"/>
                    <a:pt x="41" y="19"/>
                    <a:pt x="41" y="19"/>
                  </a:cubicBezTo>
                  <a:lnTo>
                    <a:pt x="41" y="15"/>
                  </a:lnTo>
                  <a:close/>
                  <a:moveTo>
                    <a:pt x="61" y="203"/>
                  </a:moveTo>
                  <a:cubicBezTo>
                    <a:pt x="57" y="203"/>
                    <a:pt x="53" y="200"/>
                    <a:pt x="53" y="196"/>
                  </a:cubicBezTo>
                  <a:cubicBezTo>
                    <a:pt x="53" y="192"/>
                    <a:pt x="57" y="188"/>
                    <a:pt x="61" y="188"/>
                  </a:cubicBezTo>
                  <a:cubicBezTo>
                    <a:pt x="65" y="188"/>
                    <a:pt x="69" y="192"/>
                    <a:pt x="69" y="196"/>
                  </a:cubicBezTo>
                  <a:cubicBezTo>
                    <a:pt x="69" y="200"/>
                    <a:pt x="65" y="203"/>
                    <a:pt x="61" y="203"/>
                  </a:cubicBezTo>
                  <a:close/>
                  <a:moveTo>
                    <a:pt x="112" y="177"/>
                  </a:moveTo>
                  <a:cubicBezTo>
                    <a:pt x="10" y="177"/>
                    <a:pt x="10" y="177"/>
                    <a:pt x="10" y="177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12" y="33"/>
                    <a:pt x="112" y="33"/>
                    <a:pt x="112" y="33"/>
                  </a:cubicBezTo>
                  <a:lnTo>
                    <a:pt x="112" y="17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12400" name="组合 99"/>
            <p:cNvGrpSpPr/>
            <p:nvPr/>
          </p:nvGrpSpPr>
          <p:grpSpPr bwMode="auto">
            <a:xfrm>
              <a:off x="1425543" y="3284541"/>
              <a:ext cx="128588" cy="128588"/>
              <a:chOff x="1562101" y="3038479"/>
              <a:chExt cx="157162" cy="157162"/>
            </a:xfrm>
          </p:grpSpPr>
          <p:sp>
            <p:nvSpPr>
              <p:cNvPr id="12418" name="椭圆 100"/>
              <p:cNvSpPr>
                <a:spLocks noChangeArrowheads="1"/>
              </p:cNvSpPr>
              <p:nvPr/>
            </p:nvSpPr>
            <p:spPr bwMode="auto">
              <a:xfrm>
                <a:off x="1573268" y="3049643"/>
                <a:ext cx="134826" cy="134826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/>
              </a:p>
            </p:txBody>
          </p:sp>
          <p:sp>
            <p:nvSpPr>
              <p:cNvPr id="102" name="椭圆 101"/>
              <p:cNvSpPr>
                <a:spLocks noChangeAspect="1"/>
              </p:cNvSpPr>
              <p:nvPr/>
            </p:nvSpPr>
            <p:spPr>
              <a:xfrm>
                <a:off x="1561541" y="3037953"/>
                <a:ext cx="157116" cy="157233"/>
              </a:xfrm>
              <a:prstGeom prst="ellipse">
                <a:avLst/>
              </a:prstGeom>
              <a:noFill/>
              <a:ln w="5080">
                <a:solidFill>
                  <a:srgbClr val="EBAC0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grpSp>
          <p:nvGrpSpPr>
            <p:cNvPr id="12401" name="组合 102"/>
            <p:cNvGrpSpPr/>
            <p:nvPr/>
          </p:nvGrpSpPr>
          <p:grpSpPr bwMode="auto">
            <a:xfrm>
              <a:off x="1425542" y="3536885"/>
              <a:ext cx="128588" cy="128588"/>
              <a:chOff x="1562100" y="3240821"/>
              <a:chExt cx="157162" cy="157162"/>
            </a:xfrm>
          </p:grpSpPr>
          <p:sp>
            <p:nvSpPr>
              <p:cNvPr id="12416" name="椭圆 103"/>
              <p:cNvSpPr>
                <a:spLocks noChangeArrowheads="1"/>
              </p:cNvSpPr>
              <p:nvPr/>
            </p:nvSpPr>
            <p:spPr bwMode="auto">
              <a:xfrm>
                <a:off x="1573268" y="3251989"/>
                <a:ext cx="134826" cy="134826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/>
              </a:p>
            </p:txBody>
          </p:sp>
          <p:sp>
            <p:nvSpPr>
              <p:cNvPr id="105" name="椭圆 104"/>
              <p:cNvSpPr/>
              <p:nvPr/>
            </p:nvSpPr>
            <p:spPr>
              <a:xfrm>
                <a:off x="1561542" y="3240519"/>
                <a:ext cx="157116" cy="157234"/>
              </a:xfrm>
              <a:prstGeom prst="ellipse">
                <a:avLst/>
              </a:prstGeom>
              <a:noFill/>
              <a:ln w="5080">
                <a:solidFill>
                  <a:srgbClr val="EBAC0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grpSp>
          <p:nvGrpSpPr>
            <p:cNvPr id="12402" name="组合 108"/>
            <p:cNvGrpSpPr/>
            <p:nvPr/>
          </p:nvGrpSpPr>
          <p:grpSpPr bwMode="auto">
            <a:xfrm>
              <a:off x="1224152" y="3410403"/>
              <a:ext cx="128588" cy="128588"/>
              <a:chOff x="1562100" y="3240821"/>
              <a:chExt cx="157162" cy="157162"/>
            </a:xfrm>
          </p:grpSpPr>
          <p:sp>
            <p:nvSpPr>
              <p:cNvPr id="12414" name="椭圆 109"/>
              <p:cNvSpPr>
                <a:spLocks noChangeArrowheads="1"/>
              </p:cNvSpPr>
              <p:nvPr/>
            </p:nvSpPr>
            <p:spPr bwMode="auto">
              <a:xfrm>
                <a:off x="1573268" y="3251989"/>
                <a:ext cx="134826" cy="134826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/>
              </a:p>
            </p:txBody>
          </p:sp>
          <p:sp>
            <p:nvSpPr>
              <p:cNvPr id="111" name="椭圆 110"/>
              <p:cNvSpPr/>
              <p:nvPr/>
            </p:nvSpPr>
            <p:spPr>
              <a:xfrm>
                <a:off x="1561345" y="3241756"/>
                <a:ext cx="157114" cy="155292"/>
              </a:xfrm>
              <a:prstGeom prst="ellipse">
                <a:avLst/>
              </a:prstGeom>
              <a:noFill/>
              <a:ln w="5080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cxnSp>
          <p:nvCxnSpPr>
            <p:cNvPr id="112" name="直接连接符 111"/>
            <p:cNvCxnSpPr/>
            <p:nvPr/>
          </p:nvCxnSpPr>
          <p:spPr>
            <a:xfrm flipV="1">
              <a:off x="1345734" y="3387345"/>
              <a:ext cx="87287" cy="55588"/>
            </a:xfrm>
            <a:prstGeom prst="line">
              <a:avLst/>
            </a:pr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3" name="直接连接符 112"/>
            <p:cNvCxnSpPr/>
            <p:nvPr/>
          </p:nvCxnSpPr>
          <p:spPr>
            <a:xfrm flipV="1">
              <a:off x="1552047" y="3245993"/>
              <a:ext cx="106331" cy="71470"/>
            </a:xfrm>
            <a:prstGeom prst="line">
              <a:avLst/>
            </a:prstGeom>
            <a:noFill/>
            <a:ln w="9525">
              <a:solidFill>
                <a:srgbClr val="EBAC0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15" name="椭圆 114"/>
            <p:cNvSpPr/>
            <p:nvPr/>
          </p:nvSpPr>
          <p:spPr>
            <a:xfrm>
              <a:off x="1664727" y="3157052"/>
              <a:ext cx="111092" cy="109587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16" name="椭圆 115"/>
            <p:cNvSpPr/>
            <p:nvPr/>
          </p:nvSpPr>
          <p:spPr>
            <a:xfrm>
              <a:off x="1656791" y="3147523"/>
              <a:ext cx="128550" cy="128646"/>
            </a:xfrm>
            <a:prstGeom prst="ellipse">
              <a:avLst/>
            </a:prstGeom>
            <a:noFill/>
            <a:ln w="508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cxnSp>
          <p:nvCxnSpPr>
            <p:cNvPr id="117" name="直接连接符 116"/>
            <p:cNvCxnSpPr/>
            <p:nvPr/>
          </p:nvCxnSpPr>
          <p:spPr>
            <a:xfrm>
              <a:off x="1340974" y="3517579"/>
              <a:ext cx="87286" cy="54000"/>
            </a:xfrm>
            <a:prstGeom prst="line">
              <a:avLst/>
            </a:pr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8" name="直接连接符 117"/>
            <p:cNvCxnSpPr/>
            <p:nvPr/>
          </p:nvCxnSpPr>
          <p:spPr>
            <a:xfrm>
              <a:off x="1547287" y="3643049"/>
              <a:ext cx="106330" cy="69882"/>
            </a:xfrm>
            <a:prstGeom prst="line">
              <a:avLst/>
            </a:prstGeom>
            <a:noFill/>
            <a:ln w="9525">
              <a:solidFill>
                <a:srgbClr val="EBAC0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直接连接符 133"/>
            <p:cNvCxnSpPr/>
            <p:nvPr/>
          </p:nvCxnSpPr>
          <p:spPr>
            <a:xfrm>
              <a:off x="1352082" y="3474698"/>
              <a:ext cx="304709" cy="0"/>
            </a:xfrm>
            <a:prstGeom prst="line">
              <a:avLst/>
            </a:pr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4" name="椭圆 153"/>
            <p:cNvSpPr/>
            <p:nvPr/>
          </p:nvSpPr>
          <p:spPr>
            <a:xfrm>
              <a:off x="1664727" y="3420698"/>
              <a:ext cx="111092" cy="11117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55" name="椭圆 154"/>
            <p:cNvSpPr/>
            <p:nvPr/>
          </p:nvSpPr>
          <p:spPr>
            <a:xfrm>
              <a:off x="1656791" y="3411168"/>
              <a:ext cx="128550" cy="128646"/>
            </a:xfrm>
            <a:prstGeom prst="ellipse">
              <a:avLst/>
            </a:prstGeom>
            <a:noFill/>
            <a:ln w="508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56" name="椭圆 155"/>
            <p:cNvSpPr/>
            <p:nvPr/>
          </p:nvSpPr>
          <p:spPr>
            <a:xfrm>
              <a:off x="1664727" y="3657343"/>
              <a:ext cx="111092" cy="11117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57" name="椭圆 156"/>
            <p:cNvSpPr/>
            <p:nvPr/>
          </p:nvSpPr>
          <p:spPr>
            <a:xfrm>
              <a:off x="1656791" y="3647814"/>
              <a:ext cx="128550" cy="128647"/>
            </a:xfrm>
            <a:prstGeom prst="ellipse">
              <a:avLst/>
            </a:prstGeom>
            <a:noFill/>
            <a:ln w="508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3" name="组合 2"/>
          <p:cNvGrpSpPr/>
          <p:nvPr/>
        </p:nvGrpSpPr>
        <p:grpSpPr bwMode="auto">
          <a:xfrm>
            <a:off x="1009650" y="1031875"/>
            <a:ext cx="2816225" cy="323850"/>
            <a:chOff x="1009700" y="1031498"/>
            <a:chExt cx="2815721" cy="323627"/>
          </a:xfrm>
        </p:grpSpPr>
        <p:cxnSp>
          <p:nvCxnSpPr>
            <p:cNvPr id="145" name="直接连接符 144"/>
            <p:cNvCxnSpPr/>
            <p:nvPr/>
          </p:nvCxnSpPr>
          <p:spPr>
            <a:xfrm>
              <a:off x="1009700" y="1355125"/>
              <a:ext cx="2815721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92" name="组合 174"/>
            <p:cNvGrpSpPr/>
            <p:nvPr/>
          </p:nvGrpSpPr>
          <p:grpSpPr bwMode="auto">
            <a:xfrm>
              <a:off x="1015045" y="1031498"/>
              <a:ext cx="2076537" cy="322262"/>
              <a:chOff x="957895" y="1031498"/>
              <a:chExt cx="2076537" cy="322262"/>
            </a:xfrm>
          </p:grpSpPr>
          <p:sp>
            <p:nvSpPr>
              <p:cNvPr id="161" name="TextBox 265"/>
              <p:cNvSpPr txBox="1"/>
              <p:nvPr/>
            </p:nvSpPr>
            <p:spPr bwMode="auto">
              <a:xfrm>
                <a:off x="1155714" y="1031498"/>
                <a:ext cx="1103115" cy="322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2394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2395" name="组合 171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167" name="流程图: 决策 166"/>
                <p:cNvSpPr/>
                <p:nvPr/>
              </p:nvSpPr>
              <p:spPr>
                <a:xfrm>
                  <a:off x="957312" y="1125096"/>
                  <a:ext cx="125390" cy="1713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169" name="流程图: 决策 166"/>
                <p:cNvSpPr/>
                <p:nvPr/>
              </p:nvSpPr>
              <p:spPr>
                <a:xfrm>
                  <a:off x="1095399" y="1126682"/>
                  <a:ext cx="90472" cy="168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174" name="直接连接符 173"/>
              <p:cNvCxnSpPr/>
              <p:nvPr/>
            </p:nvCxnSpPr>
            <p:spPr>
              <a:xfrm>
                <a:off x="2263590" y="1137788"/>
                <a:ext cx="0" cy="14436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7" name="矩形 176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78" name="矩形 177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79" name="矩形 178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80" name="矩形 179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150" name="组合 149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2389" name="矩形 150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2" name="任意多边形 151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53" name="组合 152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158" name="任意多边形 157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59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0" name="组合 159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63" name="任意多边形 162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386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5" name="组合 16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66" name="任意多边形 16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384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0" name="组合 169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71" name="任意多边形 170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382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6" name="组合 175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81" name="任意多边形 180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82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3" name="组合 182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84" name="任意多边形 183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85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6" name="组合 185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87" name="任意多边形 186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88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9" name="组合 188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90" name="任意多边形 189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1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2" name="组合 191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93" name="任意多边形 192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372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2" name="TextBox 121"/>
          <p:cNvSpPr txBox="1"/>
          <p:nvPr/>
        </p:nvSpPr>
        <p:spPr bwMode="auto">
          <a:xfrm>
            <a:off x="4486275" y="1566863"/>
            <a:ext cx="696913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 bwMode="auto">
          <a:xfrm>
            <a:off x="4349750" y="3433763"/>
            <a:ext cx="696913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 bwMode="auto">
          <a:xfrm>
            <a:off x="5902325" y="3500438"/>
            <a:ext cx="696913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5" name="TextBox 124"/>
          <p:cNvSpPr txBox="1"/>
          <p:nvPr/>
        </p:nvSpPr>
        <p:spPr bwMode="auto">
          <a:xfrm>
            <a:off x="6653213" y="3386138"/>
            <a:ext cx="696912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6" name="TextBox 125"/>
          <p:cNvSpPr txBox="1"/>
          <p:nvPr/>
        </p:nvSpPr>
        <p:spPr bwMode="auto">
          <a:xfrm>
            <a:off x="7175500" y="2700338"/>
            <a:ext cx="698500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7" name="TextBox 126"/>
          <p:cNvSpPr txBox="1"/>
          <p:nvPr/>
        </p:nvSpPr>
        <p:spPr bwMode="auto">
          <a:xfrm>
            <a:off x="6985000" y="1785938"/>
            <a:ext cx="698500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 bwMode="auto">
          <a:xfrm>
            <a:off x="5853113" y="1520825"/>
            <a:ext cx="696912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 bwMode="auto">
          <a:xfrm>
            <a:off x="5651500" y="2101850"/>
            <a:ext cx="800100" cy="231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0" name="TextBox 129"/>
          <p:cNvSpPr txBox="1"/>
          <p:nvPr/>
        </p:nvSpPr>
        <p:spPr bwMode="auto">
          <a:xfrm>
            <a:off x="4367213" y="2433638"/>
            <a:ext cx="646112" cy="1857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6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6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2" name="TextBox 131"/>
          <p:cNvSpPr txBox="1"/>
          <p:nvPr/>
        </p:nvSpPr>
        <p:spPr bwMode="auto">
          <a:xfrm>
            <a:off x="5232400" y="1736725"/>
            <a:ext cx="646113" cy="184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6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6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3" name="TextBox 132"/>
          <p:cNvSpPr txBox="1"/>
          <p:nvPr/>
        </p:nvSpPr>
        <p:spPr bwMode="auto">
          <a:xfrm>
            <a:off x="6456363" y="2408238"/>
            <a:ext cx="646112" cy="184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6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6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xit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300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7" dur="3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3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xit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300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15" dur="3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300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3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xit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300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23" dur="3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300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8" dur="3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xit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300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31" dur="3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300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6" dur="3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8" dur="400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39" dur="4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399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4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4" dur="4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2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120000">
                                      <p:cBhvr>
                                        <p:cTn id="46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7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48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9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0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26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250" tmFilter="0, 0; .2, .5; .8, .5; 1, 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3" dur="125" autoRev="1" fill="hold"/>
                                        <p:tgtEl>
                                          <p:spTgt spid="1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3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3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3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3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3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3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6" presetClass="emph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 tmFilter="0, 0; .2, .5; .8, .5; 1, 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2" dur="250" autoRev="1" fill="hold"/>
                                        <p:tgtEl>
                                          <p:spTgt spid="1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3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3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3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3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3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3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3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3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3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3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3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3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3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3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3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3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3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3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3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3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3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3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0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3" dur="3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6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9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2" dur="3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5" dur="3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8" dur="3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1" dur="3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4" dur="3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7" dur="3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0" dur="3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3" dur="3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6" dur="3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9" dur="3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2" dur="3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5" dur="3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8" dur="3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1" dur="3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4" dur="3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7" dur="3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0" dur="3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3" dur="3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6" dur="3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9" dur="3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2" dur="3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5" dur="3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8" dur="3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1" dur="3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4" dur="3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7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0" dur="3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3" dur="3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22" presetClass="entr" presetSubtype="1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6" dur="3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9" dur="3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0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2" dur="3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5" dur="3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8" dur="3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3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0" dur="3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1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3" dur="3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4" dur="3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5" dur="3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8" dur="3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9" dur="3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0" dur="3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1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3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4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5" dur="3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6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8" dur="3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9" dur="3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0" dur="3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1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3" dur="3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3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5" dur="3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6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8" dur="3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9" dur="3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0" dur="3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1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3" dur="3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4" dur="3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5" dur="3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6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8" dur="3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3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0" dur="3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3" dur="3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4" dur="3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5" dur="3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6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8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9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0" dur="3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1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3" dur="3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3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5" dur="3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6" presetID="53" presetClass="entr" presetSubtype="16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1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3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4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6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  <p:bldP spid="131" grpId="0"/>
      <p:bldP spid="122" grpId="0"/>
      <p:bldP spid="123" grpId="0"/>
      <p:bldP spid="124" grpId="0"/>
      <p:bldP spid="125" grpId="0"/>
      <p:bldP spid="126" grpId="0"/>
      <p:bldP spid="127" grpId="0"/>
      <p:bldP spid="128" grpId="0"/>
      <p:bldP spid="129" grpId="0"/>
      <p:bldP spid="130" grpId="0"/>
      <p:bldP spid="132" grpId="0"/>
      <p:bldP spid="13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4" name="组合 26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8" name="任意多边形 27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315" name="组合 2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4100" name="矩形 3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任意多边形 4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3316" name="组合 1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9" name="任意多边形 1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317" name="组合 2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22" name="任意多边形 2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3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318" name="组合 2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5" name="任意多边形 2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781" name="组合 780"/>
          <p:cNvGrpSpPr/>
          <p:nvPr/>
        </p:nvGrpSpPr>
        <p:grpSpPr bwMode="auto">
          <a:xfrm>
            <a:off x="1187450" y="771525"/>
            <a:ext cx="6964363" cy="3111500"/>
            <a:chOff x="1417950" y="915566"/>
            <a:chExt cx="6964100" cy="3422649"/>
          </a:xfrm>
        </p:grpSpPr>
        <p:sp>
          <p:nvSpPr>
            <p:cNvPr id="13364" name="Freeform 6"/>
            <p:cNvSpPr/>
            <p:nvPr/>
          </p:nvSpPr>
          <p:spPr bwMode="auto">
            <a:xfrm>
              <a:off x="7303204" y="4316181"/>
              <a:ext cx="15741" cy="6295"/>
            </a:xfrm>
            <a:custGeom>
              <a:avLst/>
              <a:gdLst>
                <a:gd name="T0" fmla="*/ 0 w 2"/>
                <a:gd name="T1" fmla="*/ 0 h 1"/>
                <a:gd name="T2" fmla="*/ 2147483646 w 2"/>
                <a:gd name="T3" fmla="*/ 0 h 1"/>
                <a:gd name="T4" fmla="*/ 0 w 2"/>
                <a:gd name="T5" fmla="*/ 2147483646 h 1"/>
                <a:gd name="T6" fmla="*/ 0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5" name="Freeform 7"/>
            <p:cNvSpPr/>
            <p:nvPr/>
          </p:nvSpPr>
          <p:spPr bwMode="auto">
            <a:xfrm>
              <a:off x="7296907" y="4306739"/>
              <a:ext cx="44075" cy="15738"/>
            </a:xfrm>
            <a:custGeom>
              <a:avLst/>
              <a:gdLst>
                <a:gd name="T0" fmla="*/ 0 w 6"/>
                <a:gd name="T1" fmla="*/ 2147483646 h 2"/>
                <a:gd name="T2" fmla="*/ 0 w 6"/>
                <a:gd name="T3" fmla="*/ 2147483646 h 2"/>
                <a:gd name="T4" fmla="*/ 2147483646 w 6"/>
                <a:gd name="T5" fmla="*/ 2147483646 h 2"/>
                <a:gd name="T6" fmla="*/ 2147483646 w 6"/>
                <a:gd name="T7" fmla="*/ 2147483646 h 2"/>
                <a:gd name="T8" fmla="*/ 2147483646 w 6"/>
                <a:gd name="T9" fmla="*/ 0 h 2"/>
                <a:gd name="T10" fmla="*/ 2147483646 w 6"/>
                <a:gd name="T11" fmla="*/ 0 h 2"/>
                <a:gd name="T12" fmla="*/ 2147483646 w 6"/>
                <a:gd name="T13" fmla="*/ 0 h 2"/>
                <a:gd name="T14" fmla="*/ 2147483646 w 6"/>
                <a:gd name="T15" fmla="*/ 0 h 2"/>
                <a:gd name="T16" fmla="*/ 2147483646 w 6"/>
                <a:gd name="T17" fmla="*/ 2147483646 h 2"/>
                <a:gd name="T18" fmla="*/ 2147483646 w 6"/>
                <a:gd name="T19" fmla="*/ 2147483646 h 2"/>
                <a:gd name="T20" fmla="*/ 0 w 6"/>
                <a:gd name="T21" fmla="*/ 2147483646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6" name="Freeform 8"/>
            <p:cNvSpPr/>
            <p:nvPr/>
          </p:nvSpPr>
          <p:spPr bwMode="auto">
            <a:xfrm>
              <a:off x="7230794" y="4256379"/>
              <a:ext cx="66113" cy="81836"/>
            </a:xfrm>
            <a:custGeom>
              <a:avLst/>
              <a:gdLst>
                <a:gd name="T0" fmla="*/ 0 w 9"/>
                <a:gd name="T1" fmla="*/ 0 h 11"/>
                <a:gd name="T2" fmla="*/ 2147483646 w 9"/>
                <a:gd name="T3" fmla="*/ 2147483646 h 11"/>
                <a:gd name="T4" fmla="*/ 2147483646 w 9"/>
                <a:gd name="T5" fmla="*/ 2147483646 h 11"/>
                <a:gd name="T6" fmla="*/ 2147483646 w 9"/>
                <a:gd name="T7" fmla="*/ 2147483646 h 11"/>
                <a:gd name="T8" fmla="*/ 2147483646 w 9"/>
                <a:gd name="T9" fmla="*/ 2147483646 h 11"/>
                <a:gd name="T10" fmla="*/ 0 w 9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11">
                  <a:moveTo>
                    <a:pt x="0" y="0"/>
                  </a:moveTo>
                  <a:cubicBezTo>
                    <a:pt x="1" y="3"/>
                    <a:pt x="1" y="6"/>
                    <a:pt x="1" y="9"/>
                  </a:cubicBezTo>
                  <a:cubicBezTo>
                    <a:pt x="3" y="7"/>
                    <a:pt x="7" y="11"/>
                    <a:pt x="9" y="8"/>
                  </a:cubicBezTo>
                  <a:cubicBezTo>
                    <a:pt x="5" y="7"/>
                    <a:pt x="3" y="5"/>
                    <a:pt x="1" y="2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7" name="Freeform 9"/>
            <p:cNvSpPr>
              <a:spLocks noEditPoints="1"/>
            </p:cNvSpPr>
            <p:nvPr/>
          </p:nvSpPr>
          <p:spPr bwMode="auto">
            <a:xfrm>
              <a:off x="7230794" y="4240640"/>
              <a:ext cx="72410" cy="88131"/>
            </a:xfrm>
            <a:custGeom>
              <a:avLst/>
              <a:gdLst>
                <a:gd name="T0" fmla="*/ 2147483646 w 10"/>
                <a:gd name="T1" fmla="*/ 2147483646 h 12"/>
                <a:gd name="T2" fmla="*/ 2147483646 w 10"/>
                <a:gd name="T3" fmla="*/ 2147483646 h 12"/>
                <a:gd name="T4" fmla="*/ 2147483646 w 10"/>
                <a:gd name="T5" fmla="*/ 2147483646 h 12"/>
                <a:gd name="T6" fmla="*/ 2147483646 w 10"/>
                <a:gd name="T7" fmla="*/ 2147483646 h 12"/>
                <a:gd name="T8" fmla="*/ 0 w 10"/>
                <a:gd name="T9" fmla="*/ 2147483646 h 12"/>
                <a:gd name="T10" fmla="*/ 0 w 10"/>
                <a:gd name="T11" fmla="*/ 2147483646 h 12"/>
                <a:gd name="T12" fmla="*/ 0 w 10"/>
                <a:gd name="T13" fmla="*/ 2147483646 h 12"/>
                <a:gd name="T14" fmla="*/ 0 w 10"/>
                <a:gd name="T15" fmla="*/ 2147483646 h 12"/>
                <a:gd name="T16" fmla="*/ 0 w 10"/>
                <a:gd name="T17" fmla="*/ 2147483646 h 12"/>
                <a:gd name="T18" fmla="*/ 0 w 10"/>
                <a:gd name="T19" fmla="*/ 2147483646 h 12"/>
                <a:gd name="T20" fmla="*/ 0 w 10"/>
                <a:gd name="T21" fmla="*/ 0 h 12"/>
                <a:gd name="T22" fmla="*/ 2147483646 w 10"/>
                <a:gd name="T23" fmla="*/ 2147483646 h 12"/>
                <a:gd name="T24" fmla="*/ 2147483646 w 10"/>
                <a:gd name="T25" fmla="*/ 2147483646 h 12"/>
                <a:gd name="T26" fmla="*/ 2147483646 w 10"/>
                <a:gd name="T27" fmla="*/ 2147483646 h 12"/>
                <a:gd name="T28" fmla="*/ 2147483646 w 10"/>
                <a:gd name="T29" fmla="*/ 2147483646 h 12"/>
                <a:gd name="T30" fmla="*/ 2147483646 w 10"/>
                <a:gd name="T31" fmla="*/ 2147483646 h 12"/>
                <a:gd name="T32" fmla="*/ 2147483646 w 10"/>
                <a:gd name="T33" fmla="*/ 2147483646 h 12"/>
                <a:gd name="T34" fmla="*/ 2147483646 w 10"/>
                <a:gd name="T35" fmla="*/ 2147483646 h 12"/>
                <a:gd name="T36" fmla="*/ 2147483646 w 10"/>
                <a:gd name="T37" fmla="*/ 2147483646 h 12"/>
                <a:gd name="T38" fmla="*/ 2147483646 w 10"/>
                <a:gd name="T39" fmla="*/ 2147483646 h 12"/>
                <a:gd name="T40" fmla="*/ 2147483646 w 10"/>
                <a:gd name="T41" fmla="*/ 2147483646 h 12"/>
                <a:gd name="T42" fmla="*/ 2147483646 w 10"/>
                <a:gd name="T43" fmla="*/ 2147483646 h 12"/>
                <a:gd name="T44" fmla="*/ 2147483646 w 10"/>
                <a:gd name="T45" fmla="*/ 2147483646 h 12"/>
                <a:gd name="T46" fmla="*/ 2147483646 w 10"/>
                <a:gd name="T47" fmla="*/ 2147483646 h 12"/>
                <a:gd name="T48" fmla="*/ 2147483646 w 10"/>
                <a:gd name="T49" fmla="*/ 2147483646 h 12"/>
                <a:gd name="T50" fmla="*/ 2147483646 w 10"/>
                <a:gd name="T51" fmla="*/ 2147483646 h 12"/>
                <a:gd name="T52" fmla="*/ 2147483646 w 10"/>
                <a:gd name="T53" fmla="*/ 2147483646 h 12"/>
                <a:gd name="T54" fmla="*/ 2147483646 w 10"/>
                <a:gd name="T55" fmla="*/ 2147483646 h 12"/>
                <a:gd name="T56" fmla="*/ 2147483646 w 10"/>
                <a:gd name="T57" fmla="*/ 2147483646 h 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" h="12">
                  <a:moveTo>
                    <a:pt x="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5" y="11"/>
                    <a:pt x="4" y="11"/>
                  </a:cubicBezTo>
                  <a:cubicBezTo>
                    <a:pt x="3" y="11"/>
                    <a:pt x="2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0" y="6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4" y="7"/>
                    <a:pt x="6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8" y="12"/>
                    <a:pt x="6" y="12"/>
                  </a:cubicBezTo>
                  <a:close/>
                  <a:moveTo>
                    <a:pt x="2" y="10"/>
                  </a:moveTo>
                  <a:cubicBezTo>
                    <a:pt x="3" y="10"/>
                    <a:pt x="4" y="10"/>
                    <a:pt x="4" y="10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5" y="9"/>
                    <a:pt x="3" y="8"/>
                    <a:pt x="1" y="5"/>
                  </a:cubicBezTo>
                  <a:cubicBezTo>
                    <a:pt x="1" y="7"/>
                    <a:pt x="1" y="8"/>
                    <a:pt x="1" y="10"/>
                  </a:cubicBezTo>
                  <a:cubicBezTo>
                    <a:pt x="1" y="10"/>
                    <a:pt x="2" y="10"/>
                    <a:pt x="2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8" name="Freeform 10"/>
            <p:cNvSpPr/>
            <p:nvPr/>
          </p:nvSpPr>
          <p:spPr bwMode="auto">
            <a:xfrm>
              <a:off x="7177274" y="4246936"/>
              <a:ext cx="59817" cy="81836"/>
            </a:xfrm>
            <a:custGeom>
              <a:avLst/>
              <a:gdLst>
                <a:gd name="T0" fmla="*/ 2147483646 w 8"/>
                <a:gd name="T1" fmla="*/ 2147483646 h 11"/>
                <a:gd name="T2" fmla="*/ 2147483646 w 8"/>
                <a:gd name="T3" fmla="*/ 0 h 11"/>
                <a:gd name="T4" fmla="*/ 2147483646 w 8"/>
                <a:gd name="T5" fmla="*/ 2147483646 h 11"/>
                <a:gd name="T6" fmla="*/ 2147483646 w 8"/>
                <a:gd name="T7" fmla="*/ 2147483646 h 11"/>
                <a:gd name="T8" fmla="*/ 2147483646 w 8"/>
                <a:gd name="T9" fmla="*/ 2147483646 h 11"/>
                <a:gd name="T10" fmla="*/ 2147483646 w 8"/>
                <a:gd name="T11" fmla="*/ 2147483646 h 11"/>
                <a:gd name="T12" fmla="*/ 2147483646 w 8"/>
                <a:gd name="T13" fmla="*/ 2147483646 h 11"/>
                <a:gd name="T14" fmla="*/ 2147483646 w 8"/>
                <a:gd name="T15" fmla="*/ 2147483646 h 11"/>
                <a:gd name="T16" fmla="*/ 2147483646 w 8"/>
                <a:gd name="T17" fmla="*/ 2147483646 h 11"/>
                <a:gd name="T18" fmla="*/ 2147483646 w 8"/>
                <a:gd name="T19" fmla="*/ 2147483646 h 11"/>
                <a:gd name="T20" fmla="*/ 2147483646 w 8"/>
                <a:gd name="T21" fmla="*/ 2147483646 h 11"/>
                <a:gd name="T22" fmla="*/ 2147483646 w 8"/>
                <a:gd name="T23" fmla="*/ 2147483646 h 11"/>
                <a:gd name="T24" fmla="*/ 2147483646 w 8"/>
                <a:gd name="T25" fmla="*/ 2147483646 h 11"/>
                <a:gd name="T26" fmla="*/ 2147483646 w 8"/>
                <a:gd name="T27" fmla="*/ 2147483646 h 11"/>
                <a:gd name="T28" fmla="*/ 2147483646 w 8"/>
                <a:gd name="T29" fmla="*/ 2147483646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" h="11">
                  <a:moveTo>
                    <a:pt x="7" y="1"/>
                  </a:moveTo>
                  <a:cubicBezTo>
                    <a:pt x="7" y="1"/>
                    <a:pt x="6" y="1"/>
                    <a:pt x="6" y="0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2" y="3"/>
                    <a:pt x="5" y="4"/>
                    <a:pt x="6" y="4"/>
                  </a:cubicBezTo>
                  <a:cubicBezTo>
                    <a:pt x="5" y="5"/>
                    <a:pt x="3" y="7"/>
                    <a:pt x="6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7"/>
                    <a:pt x="3" y="7"/>
                    <a:pt x="2" y="6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1" y="7"/>
                    <a:pt x="0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4" y="9"/>
                    <a:pt x="8" y="11"/>
                    <a:pt x="8" y="9"/>
                  </a:cubicBezTo>
                  <a:cubicBezTo>
                    <a:pt x="8" y="6"/>
                    <a:pt x="8" y="3"/>
                    <a:pt x="7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9" name="Freeform 11"/>
            <p:cNvSpPr>
              <a:spLocks noEditPoints="1"/>
            </p:cNvSpPr>
            <p:nvPr/>
          </p:nvSpPr>
          <p:spPr bwMode="auto">
            <a:xfrm>
              <a:off x="7177274" y="4240640"/>
              <a:ext cx="75558" cy="81836"/>
            </a:xfrm>
            <a:custGeom>
              <a:avLst/>
              <a:gdLst>
                <a:gd name="T0" fmla="*/ 2147483646 w 10"/>
                <a:gd name="T1" fmla="*/ 2147483646 h 11"/>
                <a:gd name="T2" fmla="*/ 2147483646 w 10"/>
                <a:gd name="T3" fmla="*/ 2147483646 h 11"/>
                <a:gd name="T4" fmla="*/ 2147483646 w 10"/>
                <a:gd name="T5" fmla="*/ 2147483646 h 11"/>
                <a:gd name="T6" fmla="*/ 2147483646 w 10"/>
                <a:gd name="T7" fmla="*/ 2147483646 h 11"/>
                <a:gd name="T8" fmla="*/ 2147483646 w 10"/>
                <a:gd name="T9" fmla="*/ 2147483646 h 11"/>
                <a:gd name="T10" fmla="*/ 2147483646 w 10"/>
                <a:gd name="T11" fmla="*/ 2147483646 h 11"/>
                <a:gd name="T12" fmla="*/ 2147483646 w 10"/>
                <a:gd name="T13" fmla="*/ 2147483646 h 11"/>
                <a:gd name="T14" fmla="*/ 2147483646 w 10"/>
                <a:gd name="T15" fmla="*/ 2147483646 h 11"/>
                <a:gd name="T16" fmla="*/ 0 w 10"/>
                <a:gd name="T17" fmla="*/ 2147483646 h 11"/>
                <a:gd name="T18" fmla="*/ 2147483646 w 10"/>
                <a:gd name="T19" fmla="*/ 2147483646 h 11"/>
                <a:gd name="T20" fmla="*/ 2147483646 w 10"/>
                <a:gd name="T21" fmla="*/ 2147483646 h 11"/>
                <a:gd name="T22" fmla="*/ 2147483646 w 10"/>
                <a:gd name="T23" fmla="*/ 2147483646 h 11"/>
                <a:gd name="T24" fmla="*/ 2147483646 w 10"/>
                <a:gd name="T25" fmla="*/ 2147483646 h 11"/>
                <a:gd name="T26" fmla="*/ 2147483646 w 10"/>
                <a:gd name="T27" fmla="*/ 2147483646 h 11"/>
                <a:gd name="T28" fmla="*/ 2147483646 w 10"/>
                <a:gd name="T29" fmla="*/ 2147483646 h 11"/>
                <a:gd name="T30" fmla="*/ 2147483646 w 10"/>
                <a:gd name="T31" fmla="*/ 2147483646 h 11"/>
                <a:gd name="T32" fmla="*/ 2147483646 w 10"/>
                <a:gd name="T33" fmla="*/ 2147483646 h 11"/>
                <a:gd name="T34" fmla="*/ 2147483646 w 10"/>
                <a:gd name="T35" fmla="*/ 2147483646 h 11"/>
                <a:gd name="T36" fmla="*/ 2147483646 w 10"/>
                <a:gd name="T37" fmla="*/ 0 h 11"/>
                <a:gd name="T38" fmla="*/ 2147483646 w 10"/>
                <a:gd name="T39" fmla="*/ 2147483646 h 11"/>
                <a:gd name="T40" fmla="*/ 2147483646 w 10"/>
                <a:gd name="T41" fmla="*/ 2147483646 h 11"/>
                <a:gd name="T42" fmla="*/ 2147483646 w 10"/>
                <a:gd name="T43" fmla="*/ 2147483646 h 11"/>
                <a:gd name="T44" fmla="*/ 2147483646 w 10"/>
                <a:gd name="T45" fmla="*/ 2147483646 h 11"/>
                <a:gd name="T46" fmla="*/ 2147483646 w 10"/>
                <a:gd name="T47" fmla="*/ 2147483646 h 11"/>
                <a:gd name="T48" fmla="*/ 2147483646 w 10"/>
                <a:gd name="T49" fmla="*/ 2147483646 h 11"/>
                <a:gd name="T50" fmla="*/ 2147483646 w 10"/>
                <a:gd name="T51" fmla="*/ 2147483646 h 11"/>
                <a:gd name="T52" fmla="*/ 2147483646 w 10"/>
                <a:gd name="T53" fmla="*/ 2147483646 h 11"/>
                <a:gd name="T54" fmla="*/ 2147483646 w 10"/>
                <a:gd name="T55" fmla="*/ 2147483646 h 11"/>
                <a:gd name="T56" fmla="*/ 2147483646 w 10"/>
                <a:gd name="T57" fmla="*/ 2147483646 h 11"/>
                <a:gd name="T58" fmla="*/ 2147483646 w 10"/>
                <a:gd name="T59" fmla="*/ 2147483646 h 11"/>
                <a:gd name="T60" fmla="*/ 2147483646 w 10"/>
                <a:gd name="T61" fmla="*/ 2147483646 h 11"/>
                <a:gd name="T62" fmla="*/ 2147483646 w 10"/>
                <a:gd name="T63" fmla="*/ 2147483646 h 11"/>
                <a:gd name="T64" fmla="*/ 2147483646 w 10"/>
                <a:gd name="T65" fmla="*/ 2147483646 h 11"/>
                <a:gd name="T66" fmla="*/ 2147483646 w 10"/>
                <a:gd name="T67" fmla="*/ 2147483646 h 11"/>
                <a:gd name="T68" fmla="*/ 2147483646 w 10"/>
                <a:gd name="T69" fmla="*/ 2147483646 h 11"/>
                <a:gd name="T70" fmla="*/ 2147483646 w 10"/>
                <a:gd name="T71" fmla="*/ 2147483646 h 11"/>
                <a:gd name="T72" fmla="*/ 2147483646 w 10"/>
                <a:gd name="T73" fmla="*/ 2147483646 h 11"/>
                <a:gd name="T74" fmla="*/ 2147483646 w 10"/>
                <a:gd name="T75" fmla="*/ 2147483646 h 11"/>
                <a:gd name="T76" fmla="*/ 2147483646 w 10"/>
                <a:gd name="T77" fmla="*/ 2147483646 h 11"/>
                <a:gd name="T78" fmla="*/ 2147483646 w 10"/>
                <a:gd name="T79" fmla="*/ 2147483646 h 11"/>
                <a:gd name="T80" fmla="*/ 2147483646 w 10"/>
                <a:gd name="T81" fmla="*/ 2147483646 h 11"/>
                <a:gd name="T82" fmla="*/ 2147483646 w 10"/>
                <a:gd name="T83" fmla="*/ 2147483646 h 11"/>
                <a:gd name="T84" fmla="*/ 2147483646 w 10"/>
                <a:gd name="T85" fmla="*/ 2147483646 h 11"/>
                <a:gd name="T86" fmla="*/ 2147483646 w 10"/>
                <a:gd name="T87" fmla="*/ 2147483646 h 11"/>
                <a:gd name="T88" fmla="*/ 2147483646 w 10"/>
                <a:gd name="T89" fmla="*/ 2147483646 h 11"/>
                <a:gd name="T90" fmla="*/ 2147483646 w 10"/>
                <a:gd name="T91" fmla="*/ 2147483646 h 11"/>
                <a:gd name="T92" fmla="*/ 2147483646 w 10"/>
                <a:gd name="T93" fmla="*/ 2147483646 h 11"/>
                <a:gd name="T94" fmla="*/ 2147483646 w 10"/>
                <a:gd name="T95" fmla="*/ 2147483646 h 11"/>
                <a:gd name="T96" fmla="*/ 2147483646 w 10"/>
                <a:gd name="T97" fmla="*/ 2147483646 h 11"/>
                <a:gd name="T98" fmla="*/ 2147483646 w 10"/>
                <a:gd name="T99" fmla="*/ 2147483646 h 11"/>
                <a:gd name="T100" fmla="*/ 2147483646 w 10"/>
                <a:gd name="T101" fmla="*/ 2147483646 h 11"/>
                <a:gd name="T102" fmla="*/ 2147483646 w 10"/>
                <a:gd name="T103" fmla="*/ 2147483646 h 11"/>
                <a:gd name="T104" fmla="*/ 2147483646 w 10"/>
                <a:gd name="T105" fmla="*/ 2147483646 h 11"/>
                <a:gd name="T106" fmla="*/ 2147483646 w 10"/>
                <a:gd name="T107" fmla="*/ 2147483646 h 11"/>
                <a:gd name="T108" fmla="*/ 2147483646 w 10"/>
                <a:gd name="T109" fmla="*/ 2147483646 h 11"/>
                <a:gd name="T110" fmla="*/ 2147483646 w 10"/>
                <a:gd name="T111" fmla="*/ 2147483646 h 11"/>
                <a:gd name="T112" fmla="*/ 2147483646 w 10"/>
                <a:gd name="T113" fmla="*/ 2147483646 h 11"/>
                <a:gd name="T114" fmla="*/ 2147483646 w 10"/>
                <a:gd name="T115" fmla="*/ 2147483646 h 11"/>
                <a:gd name="T116" fmla="*/ 2147483646 w 10"/>
                <a:gd name="T117" fmla="*/ 2147483646 h 11"/>
                <a:gd name="T118" fmla="*/ 2147483646 w 10"/>
                <a:gd name="T119" fmla="*/ 2147483646 h 11"/>
                <a:gd name="T120" fmla="*/ 2147483646 w 10"/>
                <a:gd name="T121" fmla="*/ 2147483646 h 11"/>
                <a:gd name="T122" fmla="*/ 2147483646 w 10"/>
                <a:gd name="T123" fmla="*/ 2147483646 h 11"/>
                <a:gd name="T124" fmla="*/ 2147483646 w 10"/>
                <a:gd name="T125" fmla="*/ 2147483646 h 1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" h="11">
                  <a:moveTo>
                    <a:pt x="6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4" y="11"/>
                    <a:pt x="3" y="11"/>
                  </a:cubicBezTo>
                  <a:cubicBezTo>
                    <a:pt x="3" y="11"/>
                    <a:pt x="3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1" y="9"/>
                    <a:pt x="1" y="8"/>
                    <a:pt x="2" y="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4" y="6"/>
                    <a:pt x="5" y="5"/>
                  </a:cubicBezTo>
                  <a:cubicBezTo>
                    <a:pt x="4" y="5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7" y="1"/>
                    <a:pt x="7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7" y="11"/>
                    <a:pt x="7" y="11"/>
                    <a:pt x="6" y="11"/>
                  </a:cubicBezTo>
                  <a:close/>
                  <a:moveTo>
                    <a:pt x="3" y="10"/>
                  </a:moveTo>
                  <a:cubicBezTo>
                    <a:pt x="3" y="10"/>
                    <a:pt x="3" y="10"/>
                    <a:pt x="4" y="10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lose/>
                  <a:moveTo>
                    <a:pt x="5" y="7"/>
                  </a:moveTo>
                  <a:cubicBezTo>
                    <a:pt x="5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lose/>
                  <a:moveTo>
                    <a:pt x="4" y="3"/>
                  </a:moveTo>
                  <a:cubicBezTo>
                    <a:pt x="4" y="4"/>
                    <a:pt x="5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2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0" name="Freeform 12"/>
            <p:cNvSpPr/>
            <p:nvPr/>
          </p:nvSpPr>
          <p:spPr bwMode="auto">
            <a:xfrm>
              <a:off x="7193015" y="4278412"/>
              <a:ext cx="6296" cy="22033"/>
            </a:xfrm>
            <a:custGeom>
              <a:avLst/>
              <a:gdLst>
                <a:gd name="T0" fmla="*/ 2147483646 w 1"/>
                <a:gd name="T1" fmla="*/ 0 h 3"/>
                <a:gd name="T2" fmla="*/ 2147483646 w 1"/>
                <a:gd name="T3" fmla="*/ 2147483646 h 3"/>
                <a:gd name="T4" fmla="*/ 2147483646 w 1"/>
                <a:gd name="T5" fmla="*/ 2147483646 h 3"/>
                <a:gd name="T6" fmla="*/ 2147483646 w 1"/>
                <a:gd name="T7" fmla="*/ 2147483646 h 3"/>
                <a:gd name="T8" fmla="*/ 2147483646 w 1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1" name="Freeform 13"/>
            <p:cNvSpPr/>
            <p:nvPr/>
          </p:nvSpPr>
          <p:spPr bwMode="auto">
            <a:xfrm>
              <a:off x="7193015" y="4268968"/>
              <a:ext cx="28334" cy="37771"/>
            </a:xfrm>
            <a:custGeom>
              <a:avLst/>
              <a:gdLst>
                <a:gd name="T0" fmla="*/ 2147483646 w 4"/>
                <a:gd name="T1" fmla="*/ 2147483646 h 5"/>
                <a:gd name="T2" fmla="*/ 2147483646 w 4"/>
                <a:gd name="T3" fmla="*/ 2147483646 h 5"/>
                <a:gd name="T4" fmla="*/ 0 w 4"/>
                <a:gd name="T5" fmla="*/ 2147483646 h 5"/>
                <a:gd name="T6" fmla="*/ 0 w 4"/>
                <a:gd name="T7" fmla="*/ 2147483646 h 5"/>
                <a:gd name="T8" fmla="*/ 0 w 4"/>
                <a:gd name="T9" fmla="*/ 2147483646 h 5"/>
                <a:gd name="T10" fmla="*/ 2147483646 w 4"/>
                <a:gd name="T11" fmla="*/ 2147483646 h 5"/>
                <a:gd name="T12" fmla="*/ 2147483646 w 4"/>
                <a:gd name="T13" fmla="*/ 0 h 5"/>
                <a:gd name="T14" fmla="*/ 2147483646 w 4"/>
                <a:gd name="T15" fmla="*/ 2147483646 h 5"/>
                <a:gd name="T16" fmla="*/ 2147483646 w 4"/>
                <a:gd name="T17" fmla="*/ 2147483646 h 5"/>
                <a:gd name="T18" fmla="*/ 2147483646 w 4"/>
                <a:gd name="T19" fmla="*/ 2147483646 h 5"/>
                <a:gd name="T20" fmla="*/ 2147483646 w 4"/>
                <a:gd name="T21" fmla="*/ 2147483646 h 5"/>
                <a:gd name="T22" fmla="*/ 2147483646 w 4"/>
                <a:gd name="T23" fmla="*/ 2147483646 h 5"/>
                <a:gd name="T24" fmla="*/ 2147483646 w 4"/>
                <a:gd name="T25" fmla="*/ 2147483646 h 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2" name="Freeform 14"/>
            <p:cNvSpPr/>
            <p:nvPr/>
          </p:nvSpPr>
          <p:spPr bwMode="auto">
            <a:xfrm>
              <a:off x="7161533" y="4284706"/>
              <a:ext cx="31482" cy="15738"/>
            </a:xfrm>
            <a:custGeom>
              <a:avLst/>
              <a:gdLst>
                <a:gd name="T0" fmla="*/ 2147483646 w 4"/>
                <a:gd name="T1" fmla="*/ 0 h 2"/>
                <a:gd name="T2" fmla="*/ 2147483646 w 4"/>
                <a:gd name="T3" fmla="*/ 2147483646 h 2"/>
                <a:gd name="T4" fmla="*/ 2147483646 w 4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cubicBezTo>
                    <a:pt x="3" y="1"/>
                    <a:pt x="3" y="2"/>
                    <a:pt x="4" y="2"/>
                  </a:cubicBezTo>
                  <a:cubicBezTo>
                    <a:pt x="3" y="2"/>
                    <a:pt x="0" y="2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3" name="Freeform 15"/>
            <p:cNvSpPr/>
            <p:nvPr/>
          </p:nvSpPr>
          <p:spPr bwMode="auto">
            <a:xfrm>
              <a:off x="7170977" y="4284706"/>
              <a:ext cx="37779" cy="22033"/>
            </a:xfrm>
            <a:custGeom>
              <a:avLst/>
              <a:gdLst>
                <a:gd name="T0" fmla="*/ 2147483646 w 5"/>
                <a:gd name="T1" fmla="*/ 2147483646 h 3"/>
                <a:gd name="T2" fmla="*/ 2147483646 w 5"/>
                <a:gd name="T3" fmla="*/ 2147483646 h 3"/>
                <a:gd name="T4" fmla="*/ 0 w 5"/>
                <a:gd name="T5" fmla="*/ 2147483646 h 3"/>
                <a:gd name="T6" fmla="*/ 2147483646 w 5"/>
                <a:gd name="T7" fmla="*/ 0 h 3"/>
                <a:gd name="T8" fmla="*/ 2147483646 w 5"/>
                <a:gd name="T9" fmla="*/ 0 h 3"/>
                <a:gd name="T10" fmla="*/ 2147483646 w 5"/>
                <a:gd name="T11" fmla="*/ 0 h 3"/>
                <a:gd name="T12" fmla="*/ 2147483646 w 5"/>
                <a:gd name="T13" fmla="*/ 2147483646 h 3"/>
                <a:gd name="T14" fmla="*/ 2147483646 w 5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4" name="Freeform 16"/>
            <p:cNvSpPr/>
            <p:nvPr/>
          </p:nvSpPr>
          <p:spPr bwMode="auto">
            <a:xfrm>
              <a:off x="7148940" y="4268969"/>
              <a:ext cx="28334" cy="37771"/>
            </a:xfrm>
            <a:custGeom>
              <a:avLst/>
              <a:gdLst>
                <a:gd name="T0" fmla="*/ 0 w 4"/>
                <a:gd name="T1" fmla="*/ 2147483646 h 5"/>
                <a:gd name="T2" fmla="*/ 2147483646 w 4"/>
                <a:gd name="T3" fmla="*/ 2147483646 h 5"/>
                <a:gd name="T4" fmla="*/ 0 w 4"/>
                <a:gd name="T5" fmla="*/ 2147483646 h 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5">
                  <a:moveTo>
                    <a:pt x="0" y="1"/>
                  </a:moveTo>
                  <a:cubicBezTo>
                    <a:pt x="1" y="0"/>
                    <a:pt x="4" y="1"/>
                    <a:pt x="3" y="3"/>
                  </a:cubicBezTo>
                  <a:cubicBezTo>
                    <a:pt x="2" y="5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5" name="Freeform 17"/>
            <p:cNvSpPr>
              <a:spLocks noEditPoints="1"/>
            </p:cNvSpPr>
            <p:nvPr/>
          </p:nvSpPr>
          <p:spPr bwMode="auto">
            <a:xfrm>
              <a:off x="7139495" y="4268969"/>
              <a:ext cx="37779" cy="31475"/>
            </a:xfrm>
            <a:custGeom>
              <a:avLst/>
              <a:gdLst>
                <a:gd name="T0" fmla="*/ 2147483646 w 5"/>
                <a:gd name="T1" fmla="*/ 2147483646 h 4"/>
                <a:gd name="T2" fmla="*/ 0 w 5"/>
                <a:gd name="T3" fmla="*/ 2147483646 h 4"/>
                <a:gd name="T4" fmla="*/ 0 w 5"/>
                <a:gd name="T5" fmla="*/ 0 h 4"/>
                <a:gd name="T6" fmla="*/ 2147483646 w 5"/>
                <a:gd name="T7" fmla="*/ 0 h 4"/>
                <a:gd name="T8" fmla="*/ 2147483646 w 5"/>
                <a:gd name="T9" fmla="*/ 2147483646 h 4"/>
                <a:gd name="T10" fmla="*/ 2147483646 w 5"/>
                <a:gd name="T11" fmla="*/ 2147483646 h 4"/>
                <a:gd name="T12" fmla="*/ 2147483646 w 5"/>
                <a:gd name="T13" fmla="*/ 2147483646 h 4"/>
                <a:gd name="T14" fmla="*/ 2147483646 w 5"/>
                <a:gd name="T15" fmla="*/ 2147483646 h 4"/>
                <a:gd name="T16" fmla="*/ 2147483646 w 5"/>
                <a:gd name="T17" fmla="*/ 2147483646 h 4"/>
                <a:gd name="T18" fmla="*/ 2147483646 w 5"/>
                <a:gd name="T19" fmla="*/ 2147483646 h 4"/>
                <a:gd name="T20" fmla="*/ 2147483646 w 5"/>
                <a:gd name="T21" fmla="*/ 2147483646 h 4"/>
                <a:gd name="T22" fmla="*/ 2147483646 w 5"/>
                <a:gd name="T23" fmla="*/ 2147483646 h 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" h="4">
                  <a:moveTo>
                    <a:pt x="3" y="4"/>
                  </a:moveTo>
                  <a:cubicBezTo>
                    <a:pt x="2" y="4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4" y="0"/>
                    <a:pt x="4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4" y="4"/>
                    <a:pt x="4" y="4"/>
                    <a:pt x="3" y="4"/>
                  </a:cubicBezTo>
                  <a:close/>
                  <a:moveTo>
                    <a:pt x="2" y="1"/>
                  </a:moveTo>
                  <a:cubicBezTo>
                    <a:pt x="2" y="2"/>
                    <a:pt x="3" y="3"/>
                    <a:pt x="3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6" name="Freeform 18"/>
            <p:cNvSpPr/>
            <p:nvPr/>
          </p:nvSpPr>
          <p:spPr bwMode="auto">
            <a:xfrm>
              <a:off x="7133198" y="4256379"/>
              <a:ext cx="22038" cy="22033"/>
            </a:xfrm>
            <a:custGeom>
              <a:avLst/>
              <a:gdLst>
                <a:gd name="T0" fmla="*/ 0 w 3"/>
                <a:gd name="T1" fmla="*/ 0 h 3"/>
                <a:gd name="T2" fmla="*/ 2147483646 w 3"/>
                <a:gd name="T3" fmla="*/ 2147483646 h 3"/>
                <a:gd name="T4" fmla="*/ 0 w 3"/>
                <a:gd name="T5" fmla="*/ 0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2" y="2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7" name="Freeform 19"/>
            <p:cNvSpPr/>
            <p:nvPr/>
          </p:nvSpPr>
          <p:spPr bwMode="auto">
            <a:xfrm>
              <a:off x="7117457" y="4246936"/>
              <a:ext cx="37779" cy="31475"/>
            </a:xfrm>
            <a:custGeom>
              <a:avLst/>
              <a:gdLst>
                <a:gd name="T0" fmla="*/ 2147483646 w 5"/>
                <a:gd name="T1" fmla="*/ 2147483646 h 4"/>
                <a:gd name="T2" fmla="*/ 2147483646 w 5"/>
                <a:gd name="T3" fmla="*/ 2147483646 h 4"/>
                <a:gd name="T4" fmla="*/ 2147483646 w 5"/>
                <a:gd name="T5" fmla="*/ 2147483646 h 4"/>
                <a:gd name="T6" fmla="*/ 0 w 5"/>
                <a:gd name="T7" fmla="*/ 0 h 4"/>
                <a:gd name="T8" fmla="*/ 2147483646 w 5"/>
                <a:gd name="T9" fmla="*/ 2147483646 h 4"/>
                <a:gd name="T10" fmla="*/ 2147483646 w 5"/>
                <a:gd name="T11" fmla="*/ 2147483646 h 4"/>
                <a:gd name="T12" fmla="*/ 2147483646 w 5"/>
                <a:gd name="T13" fmla="*/ 2147483646 h 4"/>
                <a:gd name="T14" fmla="*/ 2147483646 w 5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" h="4">
                  <a:moveTo>
                    <a:pt x="5" y="4"/>
                  </a:moveTo>
                  <a:cubicBezTo>
                    <a:pt x="5" y="4"/>
                    <a:pt x="4" y="4"/>
                    <a:pt x="4" y="4"/>
                  </a:cubicBezTo>
                  <a:cubicBezTo>
                    <a:pt x="3" y="3"/>
                    <a:pt x="2" y="3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4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lnTo>
                    <a:pt x="5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8" name="Freeform 20"/>
            <p:cNvSpPr/>
            <p:nvPr/>
          </p:nvSpPr>
          <p:spPr bwMode="auto">
            <a:xfrm>
              <a:off x="4705341" y="3815722"/>
              <a:ext cx="103892" cy="163672"/>
            </a:xfrm>
            <a:custGeom>
              <a:avLst/>
              <a:gdLst>
                <a:gd name="T0" fmla="*/ 2147483646 w 14"/>
                <a:gd name="T1" fmla="*/ 0 h 22"/>
                <a:gd name="T2" fmla="*/ 2147483646 w 14"/>
                <a:gd name="T3" fmla="*/ 2147483646 h 22"/>
                <a:gd name="T4" fmla="*/ 2147483646 w 14"/>
                <a:gd name="T5" fmla="*/ 2147483646 h 22"/>
                <a:gd name="T6" fmla="*/ 2147483646 w 14"/>
                <a:gd name="T7" fmla="*/ 2147483646 h 22"/>
                <a:gd name="T8" fmla="*/ 2147483646 w 14"/>
                <a:gd name="T9" fmla="*/ 2147483646 h 22"/>
                <a:gd name="T10" fmla="*/ 2147483646 w 14"/>
                <a:gd name="T11" fmla="*/ 2147483646 h 22"/>
                <a:gd name="T12" fmla="*/ 2147483646 w 14"/>
                <a:gd name="T13" fmla="*/ 2147483646 h 22"/>
                <a:gd name="T14" fmla="*/ 2147483646 w 14"/>
                <a:gd name="T15" fmla="*/ 2147483646 h 22"/>
                <a:gd name="T16" fmla="*/ 2147483646 w 14"/>
                <a:gd name="T17" fmla="*/ 2147483646 h 22"/>
                <a:gd name="T18" fmla="*/ 2147483646 w 14"/>
                <a:gd name="T19" fmla="*/ 2147483646 h 22"/>
                <a:gd name="T20" fmla="*/ 2147483646 w 14"/>
                <a:gd name="T21" fmla="*/ 2147483646 h 22"/>
                <a:gd name="T22" fmla="*/ 2147483646 w 14"/>
                <a:gd name="T23" fmla="*/ 2147483646 h 22"/>
                <a:gd name="T24" fmla="*/ 2147483646 w 14"/>
                <a:gd name="T25" fmla="*/ 2147483646 h 22"/>
                <a:gd name="T26" fmla="*/ 2147483646 w 14"/>
                <a:gd name="T27" fmla="*/ 2147483646 h 22"/>
                <a:gd name="T28" fmla="*/ 2147483646 w 14"/>
                <a:gd name="T29" fmla="*/ 2147483646 h 22"/>
                <a:gd name="T30" fmla="*/ 2147483646 w 14"/>
                <a:gd name="T31" fmla="*/ 2147483646 h 22"/>
                <a:gd name="T32" fmla="*/ 2147483646 w 14"/>
                <a:gd name="T33" fmla="*/ 2147483646 h 22"/>
                <a:gd name="T34" fmla="*/ 2147483646 w 14"/>
                <a:gd name="T35" fmla="*/ 2147483646 h 22"/>
                <a:gd name="T36" fmla="*/ 2147483646 w 14"/>
                <a:gd name="T37" fmla="*/ 2147483646 h 22"/>
                <a:gd name="T38" fmla="*/ 2147483646 w 14"/>
                <a:gd name="T39" fmla="*/ 0 h 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" h="22">
                  <a:moveTo>
                    <a:pt x="1" y="0"/>
                  </a:moveTo>
                  <a:cubicBezTo>
                    <a:pt x="1" y="2"/>
                    <a:pt x="4" y="1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6" y="6"/>
                    <a:pt x="5" y="7"/>
                  </a:cubicBezTo>
                  <a:cubicBezTo>
                    <a:pt x="6" y="7"/>
                    <a:pt x="6" y="7"/>
                    <a:pt x="6" y="8"/>
                  </a:cubicBezTo>
                  <a:cubicBezTo>
                    <a:pt x="6" y="7"/>
                    <a:pt x="7" y="7"/>
                    <a:pt x="6" y="6"/>
                  </a:cubicBezTo>
                  <a:cubicBezTo>
                    <a:pt x="8" y="7"/>
                    <a:pt x="8" y="11"/>
                    <a:pt x="10" y="10"/>
                  </a:cubicBezTo>
                  <a:cubicBezTo>
                    <a:pt x="11" y="10"/>
                    <a:pt x="14" y="8"/>
                    <a:pt x="13" y="10"/>
                  </a:cubicBezTo>
                  <a:cubicBezTo>
                    <a:pt x="13" y="10"/>
                    <a:pt x="12" y="12"/>
                    <a:pt x="12" y="13"/>
                  </a:cubicBezTo>
                  <a:cubicBezTo>
                    <a:pt x="12" y="15"/>
                    <a:pt x="11" y="13"/>
                    <a:pt x="10" y="14"/>
                  </a:cubicBezTo>
                  <a:cubicBezTo>
                    <a:pt x="9" y="15"/>
                    <a:pt x="10" y="15"/>
                    <a:pt x="10" y="16"/>
                  </a:cubicBezTo>
                  <a:cubicBezTo>
                    <a:pt x="9" y="18"/>
                    <a:pt x="7" y="22"/>
                    <a:pt x="5" y="20"/>
                  </a:cubicBezTo>
                  <a:cubicBezTo>
                    <a:pt x="8" y="16"/>
                    <a:pt x="3" y="16"/>
                    <a:pt x="3" y="13"/>
                  </a:cubicBezTo>
                  <a:cubicBezTo>
                    <a:pt x="3" y="14"/>
                    <a:pt x="6" y="10"/>
                    <a:pt x="5" y="11"/>
                  </a:cubicBezTo>
                  <a:cubicBezTo>
                    <a:pt x="6" y="10"/>
                    <a:pt x="5" y="8"/>
                    <a:pt x="5" y="7"/>
                  </a:cubicBezTo>
                  <a:cubicBezTo>
                    <a:pt x="3" y="7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2" y="4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9" name="Freeform 21"/>
            <p:cNvSpPr>
              <a:spLocks noEditPoints="1"/>
            </p:cNvSpPr>
            <p:nvPr/>
          </p:nvSpPr>
          <p:spPr bwMode="auto">
            <a:xfrm>
              <a:off x="4699044" y="3809428"/>
              <a:ext cx="110189" cy="163672"/>
            </a:xfrm>
            <a:custGeom>
              <a:avLst/>
              <a:gdLst>
                <a:gd name="T0" fmla="*/ 2147483646 w 15"/>
                <a:gd name="T1" fmla="*/ 2147483646 h 22"/>
                <a:gd name="T2" fmla="*/ 2147483646 w 15"/>
                <a:gd name="T3" fmla="*/ 2147483646 h 22"/>
                <a:gd name="T4" fmla="*/ 2147483646 w 15"/>
                <a:gd name="T5" fmla="*/ 2147483646 h 22"/>
                <a:gd name="T6" fmla="*/ 2147483646 w 15"/>
                <a:gd name="T7" fmla="*/ 2147483646 h 22"/>
                <a:gd name="T8" fmla="*/ 2147483646 w 15"/>
                <a:gd name="T9" fmla="*/ 2147483646 h 22"/>
                <a:gd name="T10" fmla="*/ 2147483646 w 15"/>
                <a:gd name="T11" fmla="*/ 2147483646 h 22"/>
                <a:gd name="T12" fmla="*/ 2147483646 w 15"/>
                <a:gd name="T13" fmla="*/ 2147483646 h 22"/>
                <a:gd name="T14" fmla="*/ 2147483646 w 15"/>
                <a:gd name="T15" fmla="*/ 2147483646 h 22"/>
                <a:gd name="T16" fmla="*/ 2147483646 w 15"/>
                <a:gd name="T17" fmla="*/ 2147483646 h 22"/>
                <a:gd name="T18" fmla="*/ 2147483646 w 15"/>
                <a:gd name="T19" fmla="*/ 2147483646 h 22"/>
                <a:gd name="T20" fmla="*/ 2147483646 w 15"/>
                <a:gd name="T21" fmla="*/ 2147483646 h 22"/>
                <a:gd name="T22" fmla="*/ 2147483646 w 15"/>
                <a:gd name="T23" fmla="*/ 2147483646 h 22"/>
                <a:gd name="T24" fmla="*/ 2147483646 w 15"/>
                <a:gd name="T25" fmla="*/ 2147483646 h 22"/>
                <a:gd name="T26" fmla="*/ 2147483646 w 15"/>
                <a:gd name="T27" fmla="*/ 2147483646 h 22"/>
                <a:gd name="T28" fmla="*/ 2147483646 w 15"/>
                <a:gd name="T29" fmla="*/ 2147483646 h 22"/>
                <a:gd name="T30" fmla="*/ 2147483646 w 15"/>
                <a:gd name="T31" fmla="*/ 0 h 22"/>
                <a:gd name="T32" fmla="*/ 2147483646 w 15"/>
                <a:gd name="T33" fmla="*/ 2147483646 h 22"/>
                <a:gd name="T34" fmla="*/ 2147483646 w 15"/>
                <a:gd name="T35" fmla="*/ 2147483646 h 22"/>
                <a:gd name="T36" fmla="*/ 2147483646 w 15"/>
                <a:gd name="T37" fmla="*/ 2147483646 h 22"/>
                <a:gd name="T38" fmla="*/ 2147483646 w 15"/>
                <a:gd name="T39" fmla="*/ 2147483646 h 22"/>
                <a:gd name="T40" fmla="*/ 2147483646 w 15"/>
                <a:gd name="T41" fmla="*/ 2147483646 h 22"/>
                <a:gd name="T42" fmla="*/ 2147483646 w 15"/>
                <a:gd name="T43" fmla="*/ 2147483646 h 22"/>
                <a:gd name="T44" fmla="*/ 2147483646 w 15"/>
                <a:gd name="T45" fmla="*/ 2147483646 h 22"/>
                <a:gd name="T46" fmla="*/ 2147483646 w 15"/>
                <a:gd name="T47" fmla="*/ 2147483646 h 22"/>
                <a:gd name="T48" fmla="*/ 2147483646 w 15"/>
                <a:gd name="T49" fmla="*/ 2147483646 h 22"/>
                <a:gd name="T50" fmla="*/ 2147483646 w 15"/>
                <a:gd name="T51" fmla="*/ 2147483646 h 22"/>
                <a:gd name="T52" fmla="*/ 2147483646 w 15"/>
                <a:gd name="T53" fmla="*/ 2147483646 h 22"/>
                <a:gd name="T54" fmla="*/ 2147483646 w 15"/>
                <a:gd name="T55" fmla="*/ 2147483646 h 22"/>
                <a:gd name="T56" fmla="*/ 2147483646 w 15"/>
                <a:gd name="T57" fmla="*/ 2147483646 h 22"/>
                <a:gd name="T58" fmla="*/ 2147483646 w 15"/>
                <a:gd name="T59" fmla="*/ 2147483646 h 22"/>
                <a:gd name="T60" fmla="*/ 2147483646 w 15"/>
                <a:gd name="T61" fmla="*/ 2147483646 h 22"/>
                <a:gd name="T62" fmla="*/ 2147483646 w 15"/>
                <a:gd name="T63" fmla="*/ 2147483646 h 22"/>
                <a:gd name="T64" fmla="*/ 2147483646 w 15"/>
                <a:gd name="T65" fmla="*/ 2147483646 h 22"/>
                <a:gd name="T66" fmla="*/ 2147483646 w 15"/>
                <a:gd name="T67" fmla="*/ 2147483646 h 22"/>
                <a:gd name="T68" fmla="*/ 2147483646 w 15"/>
                <a:gd name="T69" fmla="*/ 2147483646 h 22"/>
                <a:gd name="T70" fmla="*/ 2147483646 w 15"/>
                <a:gd name="T71" fmla="*/ 2147483646 h 22"/>
                <a:gd name="T72" fmla="*/ 2147483646 w 15"/>
                <a:gd name="T73" fmla="*/ 2147483646 h 22"/>
                <a:gd name="T74" fmla="*/ 2147483646 w 15"/>
                <a:gd name="T75" fmla="*/ 2147483646 h 22"/>
                <a:gd name="T76" fmla="*/ 2147483646 w 15"/>
                <a:gd name="T77" fmla="*/ 2147483646 h 22"/>
                <a:gd name="T78" fmla="*/ 2147483646 w 15"/>
                <a:gd name="T79" fmla="*/ 2147483646 h 22"/>
                <a:gd name="T80" fmla="*/ 2147483646 w 15"/>
                <a:gd name="T81" fmla="*/ 2147483646 h 2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5" h="22">
                  <a:moveTo>
                    <a:pt x="7" y="22"/>
                  </a:moveTo>
                  <a:cubicBezTo>
                    <a:pt x="7" y="22"/>
                    <a:pt x="6" y="22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0"/>
                    <a:pt x="6" y="19"/>
                    <a:pt x="6" y="19"/>
                  </a:cubicBezTo>
                  <a:cubicBezTo>
                    <a:pt x="6" y="18"/>
                    <a:pt x="6" y="18"/>
                    <a:pt x="5" y="17"/>
                  </a:cubicBezTo>
                  <a:cubicBezTo>
                    <a:pt x="4" y="17"/>
                    <a:pt x="3" y="16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5" y="12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0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8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3" y="6"/>
                    <a:pt x="3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7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9" y="8"/>
                    <a:pt x="9" y="8"/>
                  </a:cubicBezTo>
                  <a:cubicBezTo>
                    <a:pt x="9" y="9"/>
                    <a:pt x="10" y="11"/>
                    <a:pt x="11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3" y="10"/>
                    <a:pt x="13" y="9"/>
                    <a:pt x="14" y="9"/>
                  </a:cubicBezTo>
                  <a:cubicBezTo>
                    <a:pt x="14" y="9"/>
                    <a:pt x="15" y="9"/>
                    <a:pt x="15" y="10"/>
                  </a:cubicBezTo>
                  <a:cubicBezTo>
                    <a:pt x="15" y="10"/>
                    <a:pt x="15" y="10"/>
                    <a:pt x="15" y="11"/>
                  </a:cubicBezTo>
                  <a:cubicBezTo>
                    <a:pt x="15" y="11"/>
                    <a:pt x="15" y="12"/>
                    <a:pt x="14" y="13"/>
                  </a:cubicBezTo>
                  <a:cubicBezTo>
                    <a:pt x="14" y="13"/>
                    <a:pt x="14" y="13"/>
                    <a:pt x="14" y="14"/>
                  </a:cubicBezTo>
                  <a:cubicBezTo>
                    <a:pt x="14" y="14"/>
                    <a:pt x="14" y="15"/>
                    <a:pt x="13" y="15"/>
                  </a:cubicBezTo>
                  <a:cubicBezTo>
                    <a:pt x="13" y="15"/>
                    <a:pt x="13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1" y="15"/>
                    <a:pt x="11" y="16"/>
                    <a:pt x="11" y="16"/>
                  </a:cubicBezTo>
                  <a:cubicBezTo>
                    <a:pt x="11" y="17"/>
                    <a:pt x="12" y="17"/>
                    <a:pt x="11" y="18"/>
                  </a:cubicBezTo>
                  <a:cubicBezTo>
                    <a:pt x="10" y="20"/>
                    <a:pt x="9" y="22"/>
                    <a:pt x="7" y="22"/>
                  </a:cubicBezTo>
                  <a:close/>
                  <a:moveTo>
                    <a:pt x="7" y="21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8" y="21"/>
                    <a:pt x="9" y="20"/>
                    <a:pt x="10" y="17"/>
                  </a:cubicBezTo>
                  <a:cubicBezTo>
                    <a:pt x="10" y="17"/>
                    <a:pt x="10" y="17"/>
                    <a:pt x="10" y="16"/>
                  </a:cubicBezTo>
                  <a:cubicBezTo>
                    <a:pt x="10" y="16"/>
                    <a:pt x="10" y="15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3"/>
                    <a:pt x="13" y="13"/>
                    <a:pt x="13" y="12"/>
                  </a:cubicBezTo>
                  <a:cubicBezTo>
                    <a:pt x="14" y="12"/>
                    <a:pt x="14" y="11"/>
                    <a:pt x="14" y="10"/>
                  </a:cubicBezTo>
                  <a:cubicBezTo>
                    <a:pt x="14" y="11"/>
                    <a:pt x="13" y="11"/>
                    <a:pt x="12" y="11"/>
                  </a:cubicBezTo>
                  <a:cubicBezTo>
                    <a:pt x="10" y="13"/>
                    <a:pt x="9" y="11"/>
                    <a:pt x="8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2"/>
                  </a:cubicBezTo>
                  <a:cubicBezTo>
                    <a:pt x="7" y="12"/>
                    <a:pt x="5" y="14"/>
                    <a:pt x="5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7" y="17"/>
                    <a:pt x="7" y="18"/>
                    <a:pt x="7" y="19"/>
                  </a:cubicBezTo>
                  <a:cubicBezTo>
                    <a:pt x="7" y="19"/>
                    <a:pt x="7" y="20"/>
                    <a:pt x="7" y="21"/>
                  </a:cubicBezTo>
                  <a:close/>
                  <a:moveTo>
                    <a:pt x="4" y="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4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0" name="Freeform 22"/>
            <p:cNvSpPr/>
            <p:nvPr/>
          </p:nvSpPr>
          <p:spPr bwMode="auto">
            <a:xfrm>
              <a:off x="4601449" y="3951067"/>
              <a:ext cx="135375" cy="154230"/>
            </a:xfrm>
            <a:custGeom>
              <a:avLst/>
              <a:gdLst>
                <a:gd name="T0" fmla="*/ 2147483646 w 18"/>
                <a:gd name="T1" fmla="*/ 2147483646 h 21"/>
                <a:gd name="T2" fmla="*/ 2147483646 w 18"/>
                <a:gd name="T3" fmla="*/ 0 h 21"/>
                <a:gd name="T4" fmla="*/ 2147483646 w 18"/>
                <a:gd name="T5" fmla="*/ 2147483646 h 21"/>
                <a:gd name="T6" fmla="*/ 2147483646 w 18"/>
                <a:gd name="T7" fmla="*/ 2147483646 h 21"/>
                <a:gd name="T8" fmla="*/ 2147483646 w 18"/>
                <a:gd name="T9" fmla="*/ 2147483646 h 21"/>
                <a:gd name="T10" fmla="*/ 2147483646 w 18"/>
                <a:gd name="T11" fmla="*/ 2147483646 h 21"/>
                <a:gd name="T12" fmla="*/ 2147483646 w 18"/>
                <a:gd name="T13" fmla="*/ 2147483646 h 21"/>
                <a:gd name="T14" fmla="*/ 2147483646 w 18"/>
                <a:gd name="T15" fmla="*/ 2147483646 h 21"/>
                <a:gd name="T16" fmla="*/ 2147483646 w 18"/>
                <a:gd name="T17" fmla="*/ 2147483646 h 21"/>
                <a:gd name="T18" fmla="*/ 2147483646 w 18"/>
                <a:gd name="T19" fmla="*/ 2147483646 h 21"/>
                <a:gd name="T20" fmla="*/ 2147483646 w 18"/>
                <a:gd name="T21" fmla="*/ 2147483646 h 21"/>
                <a:gd name="T22" fmla="*/ 2147483646 w 18"/>
                <a:gd name="T23" fmla="*/ 2147483646 h 21"/>
                <a:gd name="T24" fmla="*/ 0 w 18"/>
                <a:gd name="T25" fmla="*/ 2147483646 h 21"/>
                <a:gd name="T26" fmla="*/ 2147483646 w 18"/>
                <a:gd name="T27" fmla="*/ 2147483646 h 21"/>
                <a:gd name="T28" fmla="*/ 0 w 18"/>
                <a:gd name="T29" fmla="*/ 2147483646 h 21"/>
                <a:gd name="T30" fmla="*/ 0 w 18"/>
                <a:gd name="T31" fmla="*/ 2147483646 h 21"/>
                <a:gd name="T32" fmla="*/ 2147483646 w 18"/>
                <a:gd name="T33" fmla="*/ 2147483646 h 21"/>
                <a:gd name="T34" fmla="*/ 2147483646 w 18"/>
                <a:gd name="T35" fmla="*/ 2147483646 h 21"/>
                <a:gd name="T36" fmla="*/ 2147483646 w 18"/>
                <a:gd name="T37" fmla="*/ 2147483646 h 21"/>
                <a:gd name="T38" fmla="*/ 2147483646 w 18"/>
                <a:gd name="T39" fmla="*/ 2147483646 h 21"/>
                <a:gd name="T40" fmla="*/ 2147483646 w 18"/>
                <a:gd name="T41" fmla="*/ 2147483646 h 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8" h="21">
                  <a:moveTo>
                    <a:pt x="13" y="1"/>
                  </a:moveTo>
                  <a:cubicBezTo>
                    <a:pt x="13" y="1"/>
                    <a:pt x="14" y="0"/>
                    <a:pt x="14" y="0"/>
                  </a:cubicBezTo>
                  <a:cubicBezTo>
                    <a:pt x="14" y="1"/>
                    <a:pt x="15" y="1"/>
                    <a:pt x="15" y="2"/>
                  </a:cubicBezTo>
                  <a:cubicBezTo>
                    <a:pt x="16" y="2"/>
                    <a:pt x="17" y="1"/>
                    <a:pt x="17" y="1"/>
                  </a:cubicBezTo>
                  <a:cubicBezTo>
                    <a:pt x="17" y="1"/>
                    <a:pt x="17" y="2"/>
                    <a:pt x="17" y="2"/>
                  </a:cubicBezTo>
                  <a:cubicBezTo>
                    <a:pt x="17" y="2"/>
                    <a:pt x="17" y="2"/>
                    <a:pt x="17" y="1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7" y="2"/>
                    <a:pt x="18" y="3"/>
                    <a:pt x="18" y="4"/>
                  </a:cubicBezTo>
                  <a:cubicBezTo>
                    <a:pt x="17" y="5"/>
                    <a:pt x="17" y="6"/>
                    <a:pt x="16" y="6"/>
                  </a:cubicBezTo>
                  <a:cubicBezTo>
                    <a:pt x="15" y="7"/>
                    <a:pt x="13" y="9"/>
                    <a:pt x="15" y="10"/>
                  </a:cubicBezTo>
                  <a:cubicBezTo>
                    <a:pt x="13" y="9"/>
                    <a:pt x="13" y="11"/>
                    <a:pt x="11" y="11"/>
                  </a:cubicBezTo>
                  <a:cubicBezTo>
                    <a:pt x="10" y="14"/>
                    <a:pt x="10" y="17"/>
                    <a:pt x="8" y="19"/>
                  </a:cubicBezTo>
                  <a:cubicBezTo>
                    <a:pt x="5" y="21"/>
                    <a:pt x="3" y="17"/>
                    <a:pt x="0" y="1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0" y="17"/>
                    <a:pt x="0" y="17"/>
                  </a:cubicBezTo>
                  <a:cubicBezTo>
                    <a:pt x="0" y="17"/>
                    <a:pt x="1" y="17"/>
                    <a:pt x="0" y="17"/>
                  </a:cubicBezTo>
                  <a:cubicBezTo>
                    <a:pt x="2" y="16"/>
                    <a:pt x="0" y="15"/>
                    <a:pt x="2" y="15"/>
                  </a:cubicBezTo>
                  <a:cubicBezTo>
                    <a:pt x="1" y="14"/>
                    <a:pt x="1" y="13"/>
                    <a:pt x="2" y="14"/>
                  </a:cubicBezTo>
                  <a:cubicBezTo>
                    <a:pt x="2" y="11"/>
                    <a:pt x="6" y="10"/>
                    <a:pt x="8" y="8"/>
                  </a:cubicBezTo>
                  <a:cubicBezTo>
                    <a:pt x="10" y="7"/>
                    <a:pt x="10" y="6"/>
                    <a:pt x="11" y="5"/>
                  </a:cubicBezTo>
                  <a:cubicBezTo>
                    <a:pt x="11" y="3"/>
                    <a:pt x="13" y="3"/>
                    <a:pt x="13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1" name="Freeform 23"/>
            <p:cNvSpPr>
              <a:spLocks noEditPoints="1"/>
            </p:cNvSpPr>
            <p:nvPr/>
          </p:nvSpPr>
          <p:spPr bwMode="auto">
            <a:xfrm>
              <a:off x="4595152" y="3941624"/>
              <a:ext cx="141671" cy="157377"/>
            </a:xfrm>
            <a:custGeom>
              <a:avLst/>
              <a:gdLst>
                <a:gd name="T0" fmla="*/ 2147483646 w 19"/>
                <a:gd name="T1" fmla="*/ 2147483646 h 21"/>
                <a:gd name="T2" fmla="*/ 2147483646 w 19"/>
                <a:gd name="T3" fmla="*/ 2147483646 h 21"/>
                <a:gd name="T4" fmla="*/ 0 w 19"/>
                <a:gd name="T5" fmla="*/ 2147483646 h 21"/>
                <a:gd name="T6" fmla="*/ 2147483646 w 19"/>
                <a:gd name="T7" fmla="*/ 2147483646 h 21"/>
                <a:gd name="T8" fmla="*/ 0 w 19"/>
                <a:gd name="T9" fmla="*/ 2147483646 h 21"/>
                <a:gd name="T10" fmla="*/ 2147483646 w 19"/>
                <a:gd name="T11" fmla="*/ 2147483646 h 21"/>
                <a:gd name="T12" fmla="*/ 2147483646 w 19"/>
                <a:gd name="T13" fmla="*/ 2147483646 h 21"/>
                <a:gd name="T14" fmla="*/ 2147483646 w 19"/>
                <a:gd name="T15" fmla="*/ 2147483646 h 21"/>
                <a:gd name="T16" fmla="*/ 2147483646 w 19"/>
                <a:gd name="T17" fmla="*/ 2147483646 h 21"/>
                <a:gd name="T18" fmla="*/ 2147483646 w 19"/>
                <a:gd name="T19" fmla="*/ 2147483646 h 21"/>
                <a:gd name="T20" fmla="*/ 2147483646 w 19"/>
                <a:gd name="T21" fmla="*/ 2147483646 h 21"/>
                <a:gd name="T22" fmla="*/ 2147483646 w 19"/>
                <a:gd name="T23" fmla="*/ 0 h 21"/>
                <a:gd name="T24" fmla="*/ 2147483646 w 19"/>
                <a:gd name="T25" fmla="*/ 2147483646 h 21"/>
                <a:gd name="T26" fmla="*/ 2147483646 w 19"/>
                <a:gd name="T27" fmla="*/ 2147483646 h 21"/>
                <a:gd name="T28" fmla="*/ 2147483646 w 19"/>
                <a:gd name="T29" fmla="*/ 2147483646 h 21"/>
                <a:gd name="T30" fmla="*/ 2147483646 w 19"/>
                <a:gd name="T31" fmla="*/ 2147483646 h 21"/>
                <a:gd name="T32" fmla="*/ 2147483646 w 19"/>
                <a:gd name="T33" fmla="*/ 2147483646 h 21"/>
                <a:gd name="T34" fmla="*/ 2147483646 w 19"/>
                <a:gd name="T35" fmla="*/ 2147483646 h 21"/>
                <a:gd name="T36" fmla="*/ 2147483646 w 19"/>
                <a:gd name="T37" fmla="*/ 2147483646 h 21"/>
                <a:gd name="T38" fmla="*/ 2147483646 w 19"/>
                <a:gd name="T39" fmla="*/ 2147483646 h 21"/>
                <a:gd name="T40" fmla="*/ 2147483646 w 19"/>
                <a:gd name="T41" fmla="*/ 2147483646 h 21"/>
                <a:gd name="T42" fmla="*/ 2147483646 w 19"/>
                <a:gd name="T43" fmla="*/ 2147483646 h 21"/>
                <a:gd name="T44" fmla="*/ 2147483646 w 19"/>
                <a:gd name="T45" fmla="*/ 2147483646 h 21"/>
                <a:gd name="T46" fmla="*/ 2147483646 w 19"/>
                <a:gd name="T47" fmla="*/ 2147483646 h 21"/>
                <a:gd name="T48" fmla="*/ 2147483646 w 19"/>
                <a:gd name="T49" fmla="*/ 2147483646 h 21"/>
                <a:gd name="T50" fmla="*/ 2147483646 w 19"/>
                <a:gd name="T51" fmla="*/ 2147483646 h 21"/>
                <a:gd name="T52" fmla="*/ 2147483646 w 19"/>
                <a:gd name="T53" fmla="*/ 2147483646 h 21"/>
                <a:gd name="T54" fmla="*/ 2147483646 w 19"/>
                <a:gd name="T55" fmla="*/ 2147483646 h 21"/>
                <a:gd name="T56" fmla="*/ 2147483646 w 19"/>
                <a:gd name="T57" fmla="*/ 2147483646 h 21"/>
                <a:gd name="T58" fmla="*/ 2147483646 w 19"/>
                <a:gd name="T59" fmla="*/ 2147483646 h 21"/>
                <a:gd name="T60" fmla="*/ 2147483646 w 19"/>
                <a:gd name="T61" fmla="*/ 2147483646 h 21"/>
                <a:gd name="T62" fmla="*/ 2147483646 w 19"/>
                <a:gd name="T63" fmla="*/ 2147483646 h 21"/>
                <a:gd name="T64" fmla="*/ 2147483646 w 19"/>
                <a:gd name="T65" fmla="*/ 2147483646 h 21"/>
                <a:gd name="T66" fmla="*/ 2147483646 w 19"/>
                <a:gd name="T67" fmla="*/ 2147483646 h 21"/>
                <a:gd name="T68" fmla="*/ 2147483646 w 19"/>
                <a:gd name="T69" fmla="*/ 2147483646 h 21"/>
                <a:gd name="T70" fmla="*/ 2147483646 w 19"/>
                <a:gd name="T71" fmla="*/ 2147483646 h 21"/>
                <a:gd name="T72" fmla="*/ 2147483646 w 19"/>
                <a:gd name="T73" fmla="*/ 2147483646 h 21"/>
                <a:gd name="T74" fmla="*/ 2147483646 w 19"/>
                <a:gd name="T75" fmla="*/ 2147483646 h 21"/>
                <a:gd name="T76" fmla="*/ 2147483646 w 19"/>
                <a:gd name="T77" fmla="*/ 2147483646 h 21"/>
                <a:gd name="T78" fmla="*/ 2147483646 w 19"/>
                <a:gd name="T79" fmla="*/ 2147483646 h 21"/>
                <a:gd name="T80" fmla="*/ 2147483646 w 19"/>
                <a:gd name="T81" fmla="*/ 2147483646 h 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9" h="21">
                  <a:moveTo>
                    <a:pt x="7" y="21"/>
                  </a:moveTo>
                  <a:cubicBezTo>
                    <a:pt x="6" y="21"/>
                    <a:pt x="5" y="20"/>
                    <a:pt x="4" y="20"/>
                  </a:cubicBezTo>
                  <a:cubicBezTo>
                    <a:pt x="3" y="19"/>
                    <a:pt x="2" y="19"/>
                    <a:pt x="2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1" y="17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3" y="12"/>
                    <a:pt x="5" y="11"/>
                    <a:pt x="7" y="10"/>
                  </a:cubicBezTo>
                  <a:cubicBezTo>
                    <a:pt x="8" y="10"/>
                    <a:pt x="8" y="9"/>
                    <a:pt x="9" y="9"/>
                  </a:cubicBezTo>
                  <a:cubicBezTo>
                    <a:pt x="10" y="8"/>
                    <a:pt x="11" y="7"/>
                    <a:pt x="11" y="5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4" y="1"/>
                    <a:pt x="14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8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19" y="6"/>
                    <a:pt x="19" y="6"/>
                    <a:pt x="18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17" y="8"/>
                    <a:pt x="17" y="8"/>
                    <a:pt x="17" y="9"/>
                  </a:cubicBezTo>
                  <a:cubicBezTo>
                    <a:pt x="16" y="9"/>
                    <a:pt x="16" y="10"/>
                    <a:pt x="16" y="10"/>
                  </a:cubicBezTo>
                  <a:cubicBezTo>
                    <a:pt x="16" y="10"/>
                    <a:pt x="16" y="10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5" y="12"/>
                  </a:cubicBezTo>
                  <a:cubicBezTo>
                    <a:pt x="15" y="11"/>
                    <a:pt x="15" y="11"/>
                    <a:pt x="14" y="12"/>
                  </a:cubicBezTo>
                  <a:cubicBezTo>
                    <a:pt x="14" y="12"/>
                    <a:pt x="13" y="12"/>
                    <a:pt x="13" y="12"/>
                  </a:cubicBezTo>
                  <a:cubicBezTo>
                    <a:pt x="13" y="13"/>
                    <a:pt x="13" y="13"/>
                    <a:pt x="12" y="14"/>
                  </a:cubicBezTo>
                  <a:cubicBezTo>
                    <a:pt x="12" y="16"/>
                    <a:pt x="11" y="18"/>
                    <a:pt x="9" y="20"/>
                  </a:cubicBezTo>
                  <a:cubicBezTo>
                    <a:pt x="8" y="21"/>
                    <a:pt x="8" y="21"/>
                    <a:pt x="7" y="21"/>
                  </a:cubicBezTo>
                  <a:close/>
                  <a:moveTo>
                    <a:pt x="2" y="18"/>
                  </a:moveTo>
                  <a:cubicBezTo>
                    <a:pt x="3" y="18"/>
                    <a:pt x="4" y="19"/>
                    <a:pt x="5" y="19"/>
                  </a:cubicBezTo>
                  <a:cubicBezTo>
                    <a:pt x="6" y="20"/>
                    <a:pt x="7" y="20"/>
                    <a:pt x="8" y="19"/>
                  </a:cubicBezTo>
                  <a:cubicBezTo>
                    <a:pt x="10" y="18"/>
                    <a:pt x="11" y="16"/>
                    <a:pt x="11" y="13"/>
                  </a:cubicBezTo>
                  <a:cubicBezTo>
                    <a:pt x="11" y="13"/>
                    <a:pt x="12" y="12"/>
                    <a:pt x="12" y="12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4" y="11"/>
                  </a:cubicBezTo>
                  <a:cubicBezTo>
                    <a:pt x="14" y="11"/>
                    <a:pt x="14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9"/>
                    <a:pt x="15" y="8"/>
                    <a:pt x="16" y="8"/>
                  </a:cubicBezTo>
                  <a:cubicBezTo>
                    <a:pt x="16" y="7"/>
                    <a:pt x="16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4" y="2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3" y="5"/>
                    <a:pt x="13" y="5"/>
                    <a:pt x="12" y="6"/>
                  </a:cubicBezTo>
                  <a:cubicBezTo>
                    <a:pt x="12" y="8"/>
                    <a:pt x="11" y="8"/>
                    <a:pt x="10" y="10"/>
                  </a:cubicBezTo>
                  <a:cubicBezTo>
                    <a:pt x="9" y="10"/>
                    <a:pt x="8" y="11"/>
                    <a:pt x="7" y="11"/>
                  </a:cubicBezTo>
                  <a:cubicBezTo>
                    <a:pt x="6" y="12"/>
                    <a:pt x="4" y="13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lnTo>
                    <a:pt x="2" y="18"/>
                  </a:lnTo>
                  <a:close/>
                  <a:moveTo>
                    <a:pt x="18" y="4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4"/>
                    <a:pt x="18" y="4"/>
                    <a:pt x="18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2" name="Freeform 24"/>
            <p:cNvSpPr/>
            <p:nvPr/>
          </p:nvSpPr>
          <p:spPr bwMode="auto">
            <a:xfrm>
              <a:off x="4617190" y="4099002"/>
              <a:ext cx="12593" cy="6295"/>
            </a:xfrm>
            <a:custGeom>
              <a:avLst/>
              <a:gdLst>
                <a:gd name="T0" fmla="*/ 2147483646 w 2"/>
                <a:gd name="T1" fmla="*/ 0 h 1"/>
                <a:gd name="T2" fmla="*/ 0 w 2"/>
                <a:gd name="T3" fmla="*/ 2147483646 h 1"/>
                <a:gd name="T4" fmla="*/ 2147483646 w 2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3" name="Freeform 25"/>
            <p:cNvSpPr/>
            <p:nvPr/>
          </p:nvSpPr>
          <p:spPr bwMode="auto">
            <a:xfrm>
              <a:off x="4617190" y="4092706"/>
              <a:ext cx="12593" cy="22033"/>
            </a:xfrm>
            <a:custGeom>
              <a:avLst/>
              <a:gdLst>
                <a:gd name="T0" fmla="*/ 0 w 2"/>
                <a:gd name="T1" fmla="*/ 2147483646 h 3"/>
                <a:gd name="T2" fmla="*/ 0 w 2"/>
                <a:gd name="T3" fmla="*/ 2147483646 h 3"/>
                <a:gd name="T4" fmla="*/ 2147483646 w 2"/>
                <a:gd name="T5" fmla="*/ 0 h 3"/>
                <a:gd name="T6" fmla="*/ 2147483646 w 2"/>
                <a:gd name="T7" fmla="*/ 0 h 3"/>
                <a:gd name="T8" fmla="*/ 2147483646 w 2"/>
                <a:gd name="T9" fmla="*/ 0 h 3"/>
                <a:gd name="T10" fmla="*/ 2147483646 w 2"/>
                <a:gd name="T11" fmla="*/ 2147483646 h 3"/>
                <a:gd name="T12" fmla="*/ 0 w 2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1" y="3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4" name="Freeform 26"/>
            <p:cNvSpPr/>
            <p:nvPr/>
          </p:nvSpPr>
          <p:spPr bwMode="auto">
            <a:xfrm>
              <a:off x="3099734" y="3022542"/>
              <a:ext cx="66113" cy="66098"/>
            </a:xfrm>
            <a:custGeom>
              <a:avLst/>
              <a:gdLst>
                <a:gd name="T0" fmla="*/ 2147483646 w 9"/>
                <a:gd name="T1" fmla="*/ 0 h 9"/>
                <a:gd name="T2" fmla="*/ 2147483646 w 9"/>
                <a:gd name="T3" fmla="*/ 2147483646 h 9"/>
                <a:gd name="T4" fmla="*/ 2147483646 w 9"/>
                <a:gd name="T5" fmla="*/ 2147483646 h 9"/>
                <a:gd name="T6" fmla="*/ 2147483646 w 9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2" y="0"/>
                    <a:pt x="2" y="0"/>
                    <a:pt x="2" y="1"/>
                  </a:cubicBezTo>
                  <a:cubicBezTo>
                    <a:pt x="0" y="2"/>
                    <a:pt x="0" y="9"/>
                    <a:pt x="3" y="9"/>
                  </a:cubicBezTo>
                  <a:cubicBezTo>
                    <a:pt x="9" y="8"/>
                    <a:pt x="4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5" name="Freeform 27"/>
            <p:cNvSpPr>
              <a:spLocks noEditPoints="1"/>
            </p:cNvSpPr>
            <p:nvPr/>
          </p:nvSpPr>
          <p:spPr bwMode="auto">
            <a:xfrm>
              <a:off x="3099734" y="3006803"/>
              <a:ext cx="50372" cy="81836"/>
            </a:xfrm>
            <a:custGeom>
              <a:avLst/>
              <a:gdLst>
                <a:gd name="T0" fmla="*/ 2147483646 w 7"/>
                <a:gd name="T1" fmla="*/ 2147483646 h 11"/>
                <a:gd name="T2" fmla="*/ 2147483646 w 7"/>
                <a:gd name="T3" fmla="*/ 2147483646 h 11"/>
                <a:gd name="T4" fmla="*/ 2147483646 w 7"/>
                <a:gd name="T5" fmla="*/ 2147483646 h 11"/>
                <a:gd name="T6" fmla="*/ 2147483646 w 7"/>
                <a:gd name="T7" fmla="*/ 2147483646 h 11"/>
                <a:gd name="T8" fmla="*/ 0 w 7"/>
                <a:gd name="T9" fmla="*/ 0 h 11"/>
                <a:gd name="T10" fmla="*/ 2147483646 w 7"/>
                <a:gd name="T11" fmla="*/ 2147483646 h 11"/>
                <a:gd name="T12" fmla="*/ 2147483646 w 7"/>
                <a:gd name="T13" fmla="*/ 2147483646 h 11"/>
                <a:gd name="T14" fmla="*/ 2147483646 w 7"/>
                <a:gd name="T15" fmla="*/ 2147483646 h 11"/>
                <a:gd name="T16" fmla="*/ 2147483646 w 7"/>
                <a:gd name="T17" fmla="*/ 2147483646 h 11"/>
                <a:gd name="T18" fmla="*/ 2147483646 w 7"/>
                <a:gd name="T19" fmla="*/ 2147483646 h 11"/>
                <a:gd name="T20" fmla="*/ 2147483646 w 7"/>
                <a:gd name="T21" fmla="*/ 2147483646 h 11"/>
                <a:gd name="T22" fmla="*/ 2147483646 w 7"/>
                <a:gd name="T23" fmla="*/ 2147483646 h 11"/>
                <a:gd name="T24" fmla="*/ 2147483646 w 7"/>
                <a:gd name="T25" fmla="*/ 2147483646 h 11"/>
                <a:gd name="T26" fmla="*/ 2147483646 w 7"/>
                <a:gd name="T27" fmla="*/ 2147483646 h 11"/>
                <a:gd name="T28" fmla="*/ 2147483646 w 7"/>
                <a:gd name="T29" fmla="*/ 2147483646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" h="11">
                  <a:moveTo>
                    <a:pt x="3" y="11"/>
                  </a:moveTo>
                  <a:cubicBezTo>
                    <a:pt x="2" y="11"/>
                    <a:pt x="1" y="11"/>
                    <a:pt x="1" y="9"/>
                  </a:cubicBezTo>
                  <a:cubicBezTo>
                    <a:pt x="0" y="7"/>
                    <a:pt x="0" y="4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4" y="2"/>
                    <a:pt x="7" y="6"/>
                    <a:pt x="6" y="9"/>
                  </a:cubicBezTo>
                  <a:cubicBezTo>
                    <a:pt x="6" y="10"/>
                    <a:pt x="6" y="11"/>
                    <a:pt x="3" y="11"/>
                  </a:cubicBezTo>
                  <a:close/>
                  <a:moveTo>
                    <a:pt x="3" y="3"/>
                  </a:moveTo>
                  <a:cubicBezTo>
                    <a:pt x="2" y="4"/>
                    <a:pt x="1" y="7"/>
                    <a:pt x="2" y="9"/>
                  </a:cubicBezTo>
                  <a:cubicBezTo>
                    <a:pt x="2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5" y="10"/>
                    <a:pt x="5" y="9"/>
                    <a:pt x="5" y="9"/>
                  </a:cubicBezTo>
                  <a:cubicBezTo>
                    <a:pt x="6" y="7"/>
                    <a:pt x="4" y="4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6" name="Freeform 28"/>
            <p:cNvSpPr/>
            <p:nvPr/>
          </p:nvSpPr>
          <p:spPr bwMode="auto">
            <a:xfrm>
              <a:off x="7230794" y="2865165"/>
              <a:ext cx="50372" cy="15738"/>
            </a:xfrm>
            <a:custGeom>
              <a:avLst/>
              <a:gdLst>
                <a:gd name="T0" fmla="*/ 2147483646 w 7"/>
                <a:gd name="T1" fmla="*/ 0 h 2"/>
                <a:gd name="T2" fmla="*/ 2147483646 w 7"/>
                <a:gd name="T3" fmla="*/ 0 h 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cubicBezTo>
                    <a:pt x="7" y="2"/>
                    <a:pt x="0" y="0"/>
                    <a:pt x="7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7" name="Freeform 29"/>
            <p:cNvSpPr/>
            <p:nvPr/>
          </p:nvSpPr>
          <p:spPr bwMode="auto">
            <a:xfrm>
              <a:off x="7252832" y="2865165"/>
              <a:ext cx="22038" cy="15738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2147483646 w 3"/>
                <a:gd name="T9" fmla="*/ 2147483646 h 2"/>
                <a:gd name="T10" fmla="*/ 2147483646 w 3"/>
                <a:gd name="T11" fmla="*/ 2147483646 h 2"/>
                <a:gd name="T12" fmla="*/ 2147483646 w 3"/>
                <a:gd name="T13" fmla="*/ 2147483646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2"/>
                    <a:pt x="2" y="2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8" name="Freeform 30"/>
            <p:cNvSpPr/>
            <p:nvPr/>
          </p:nvSpPr>
          <p:spPr bwMode="auto">
            <a:xfrm>
              <a:off x="6261133" y="2202855"/>
              <a:ext cx="997995" cy="535083"/>
            </a:xfrm>
            <a:custGeom>
              <a:avLst/>
              <a:gdLst>
                <a:gd name="T0" fmla="*/ 2147483646 w 134"/>
                <a:gd name="T1" fmla="*/ 2147483646 h 72"/>
                <a:gd name="T2" fmla="*/ 2147483646 w 134"/>
                <a:gd name="T3" fmla="*/ 2147483646 h 72"/>
                <a:gd name="T4" fmla="*/ 2147483646 w 134"/>
                <a:gd name="T5" fmla="*/ 2147483646 h 72"/>
                <a:gd name="T6" fmla="*/ 2147483646 w 134"/>
                <a:gd name="T7" fmla="*/ 2147483646 h 72"/>
                <a:gd name="T8" fmla="*/ 2147483646 w 134"/>
                <a:gd name="T9" fmla="*/ 0 h 72"/>
                <a:gd name="T10" fmla="*/ 2147483646 w 134"/>
                <a:gd name="T11" fmla="*/ 2147483646 h 72"/>
                <a:gd name="T12" fmla="*/ 2147483646 w 134"/>
                <a:gd name="T13" fmla="*/ 2147483646 h 72"/>
                <a:gd name="T14" fmla="*/ 2147483646 w 134"/>
                <a:gd name="T15" fmla="*/ 2147483646 h 72"/>
                <a:gd name="T16" fmla="*/ 2147483646 w 134"/>
                <a:gd name="T17" fmla="*/ 2147483646 h 72"/>
                <a:gd name="T18" fmla="*/ 2147483646 w 134"/>
                <a:gd name="T19" fmla="*/ 2147483646 h 72"/>
                <a:gd name="T20" fmla="*/ 2147483646 w 134"/>
                <a:gd name="T21" fmla="*/ 2147483646 h 72"/>
                <a:gd name="T22" fmla="*/ 2147483646 w 134"/>
                <a:gd name="T23" fmla="*/ 2147483646 h 72"/>
                <a:gd name="T24" fmla="*/ 2147483646 w 134"/>
                <a:gd name="T25" fmla="*/ 2147483646 h 72"/>
                <a:gd name="T26" fmla="*/ 2147483646 w 134"/>
                <a:gd name="T27" fmla="*/ 2147483646 h 72"/>
                <a:gd name="T28" fmla="*/ 2147483646 w 134"/>
                <a:gd name="T29" fmla="*/ 2147483646 h 72"/>
                <a:gd name="T30" fmla="*/ 2147483646 w 134"/>
                <a:gd name="T31" fmla="*/ 2147483646 h 72"/>
                <a:gd name="T32" fmla="*/ 2147483646 w 134"/>
                <a:gd name="T33" fmla="*/ 2147483646 h 72"/>
                <a:gd name="T34" fmla="*/ 2147483646 w 134"/>
                <a:gd name="T35" fmla="*/ 2147483646 h 72"/>
                <a:gd name="T36" fmla="*/ 2147483646 w 134"/>
                <a:gd name="T37" fmla="*/ 2147483646 h 72"/>
                <a:gd name="T38" fmla="*/ 2147483646 w 134"/>
                <a:gd name="T39" fmla="*/ 2147483646 h 72"/>
                <a:gd name="T40" fmla="*/ 2147483646 w 134"/>
                <a:gd name="T41" fmla="*/ 2147483646 h 72"/>
                <a:gd name="T42" fmla="*/ 2147483646 w 134"/>
                <a:gd name="T43" fmla="*/ 2147483646 h 72"/>
                <a:gd name="T44" fmla="*/ 2147483646 w 134"/>
                <a:gd name="T45" fmla="*/ 2147483646 h 72"/>
                <a:gd name="T46" fmla="*/ 2147483646 w 134"/>
                <a:gd name="T47" fmla="*/ 2147483646 h 72"/>
                <a:gd name="T48" fmla="*/ 2147483646 w 134"/>
                <a:gd name="T49" fmla="*/ 2147483646 h 72"/>
                <a:gd name="T50" fmla="*/ 2147483646 w 134"/>
                <a:gd name="T51" fmla="*/ 2147483646 h 72"/>
                <a:gd name="T52" fmla="*/ 2147483646 w 134"/>
                <a:gd name="T53" fmla="*/ 2147483646 h 72"/>
                <a:gd name="T54" fmla="*/ 2147483646 w 134"/>
                <a:gd name="T55" fmla="*/ 2147483646 h 72"/>
                <a:gd name="T56" fmla="*/ 2147483646 w 134"/>
                <a:gd name="T57" fmla="*/ 2147483646 h 72"/>
                <a:gd name="T58" fmla="*/ 2147483646 w 134"/>
                <a:gd name="T59" fmla="*/ 2147483646 h 72"/>
                <a:gd name="T60" fmla="*/ 2147483646 w 134"/>
                <a:gd name="T61" fmla="*/ 2147483646 h 72"/>
                <a:gd name="T62" fmla="*/ 2147483646 w 134"/>
                <a:gd name="T63" fmla="*/ 2147483646 h 72"/>
                <a:gd name="T64" fmla="*/ 2147483646 w 134"/>
                <a:gd name="T65" fmla="*/ 2147483646 h 72"/>
                <a:gd name="T66" fmla="*/ 2147483646 w 134"/>
                <a:gd name="T67" fmla="*/ 2147483646 h 72"/>
                <a:gd name="T68" fmla="*/ 2147483646 w 134"/>
                <a:gd name="T69" fmla="*/ 2147483646 h 72"/>
                <a:gd name="T70" fmla="*/ 2147483646 w 134"/>
                <a:gd name="T71" fmla="*/ 2147483646 h 72"/>
                <a:gd name="T72" fmla="*/ 2147483646 w 134"/>
                <a:gd name="T73" fmla="*/ 2147483646 h 72"/>
                <a:gd name="T74" fmla="*/ 2147483646 w 134"/>
                <a:gd name="T75" fmla="*/ 2147483646 h 72"/>
                <a:gd name="T76" fmla="*/ 2147483646 w 134"/>
                <a:gd name="T77" fmla="*/ 2147483646 h 72"/>
                <a:gd name="T78" fmla="*/ 2147483646 w 134"/>
                <a:gd name="T79" fmla="*/ 2147483646 h 72"/>
                <a:gd name="T80" fmla="*/ 2147483646 w 134"/>
                <a:gd name="T81" fmla="*/ 2147483646 h 72"/>
                <a:gd name="T82" fmla="*/ 2147483646 w 134"/>
                <a:gd name="T83" fmla="*/ 2147483646 h 72"/>
                <a:gd name="T84" fmla="*/ 2147483646 w 134"/>
                <a:gd name="T85" fmla="*/ 2147483646 h 72"/>
                <a:gd name="T86" fmla="*/ 2147483646 w 134"/>
                <a:gd name="T87" fmla="*/ 2147483646 h 72"/>
                <a:gd name="T88" fmla="*/ 2147483646 w 134"/>
                <a:gd name="T89" fmla="*/ 2147483646 h 72"/>
                <a:gd name="T90" fmla="*/ 2147483646 w 134"/>
                <a:gd name="T91" fmla="*/ 2147483646 h 72"/>
                <a:gd name="T92" fmla="*/ 2147483646 w 134"/>
                <a:gd name="T93" fmla="*/ 2147483646 h 72"/>
                <a:gd name="T94" fmla="*/ 2147483646 w 134"/>
                <a:gd name="T95" fmla="*/ 2147483646 h 72"/>
                <a:gd name="T96" fmla="*/ 2147483646 w 134"/>
                <a:gd name="T97" fmla="*/ 2147483646 h 72"/>
                <a:gd name="T98" fmla="*/ 2147483646 w 134"/>
                <a:gd name="T99" fmla="*/ 2147483646 h 72"/>
                <a:gd name="T100" fmla="*/ 2147483646 w 134"/>
                <a:gd name="T101" fmla="*/ 2147483646 h 72"/>
                <a:gd name="T102" fmla="*/ 2147483646 w 134"/>
                <a:gd name="T103" fmla="*/ 2147483646 h 72"/>
                <a:gd name="T104" fmla="*/ 2147483646 w 134"/>
                <a:gd name="T105" fmla="*/ 2147483646 h 72"/>
                <a:gd name="T106" fmla="*/ 2147483646 w 134"/>
                <a:gd name="T107" fmla="*/ 2147483646 h 72"/>
                <a:gd name="T108" fmla="*/ 2147483646 w 134"/>
                <a:gd name="T109" fmla="*/ 2147483646 h 72"/>
                <a:gd name="T110" fmla="*/ 2147483646 w 134"/>
                <a:gd name="T111" fmla="*/ 2147483646 h 72"/>
                <a:gd name="T112" fmla="*/ 2147483646 w 134"/>
                <a:gd name="T113" fmla="*/ 2147483646 h 72"/>
                <a:gd name="T114" fmla="*/ 2147483646 w 134"/>
                <a:gd name="T115" fmla="*/ 2147483646 h 72"/>
                <a:gd name="T116" fmla="*/ 2147483646 w 134"/>
                <a:gd name="T117" fmla="*/ 2147483646 h 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34" h="72">
                  <a:moveTo>
                    <a:pt x="94" y="10"/>
                  </a:moveTo>
                  <a:cubicBezTo>
                    <a:pt x="92" y="10"/>
                    <a:pt x="91" y="9"/>
                    <a:pt x="89" y="10"/>
                  </a:cubicBezTo>
                  <a:cubicBezTo>
                    <a:pt x="87" y="12"/>
                    <a:pt x="86" y="8"/>
                    <a:pt x="84" y="9"/>
                  </a:cubicBezTo>
                  <a:cubicBezTo>
                    <a:pt x="85" y="8"/>
                    <a:pt x="85" y="8"/>
                    <a:pt x="86" y="7"/>
                  </a:cubicBezTo>
                  <a:cubicBezTo>
                    <a:pt x="85" y="7"/>
                    <a:pt x="78" y="12"/>
                    <a:pt x="79" y="9"/>
                  </a:cubicBezTo>
                  <a:cubicBezTo>
                    <a:pt x="78" y="9"/>
                    <a:pt x="77" y="9"/>
                    <a:pt x="76" y="10"/>
                  </a:cubicBezTo>
                  <a:cubicBezTo>
                    <a:pt x="78" y="8"/>
                    <a:pt x="79" y="7"/>
                    <a:pt x="82" y="5"/>
                  </a:cubicBezTo>
                  <a:cubicBezTo>
                    <a:pt x="79" y="5"/>
                    <a:pt x="78" y="5"/>
                    <a:pt x="75" y="3"/>
                  </a:cubicBezTo>
                  <a:cubicBezTo>
                    <a:pt x="74" y="3"/>
                    <a:pt x="73" y="3"/>
                    <a:pt x="71" y="3"/>
                  </a:cubicBezTo>
                  <a:cubicBezTo>
                    <a:pt x="70" y="3"/>
                    <a:pt x="70" y="1"/>
                    <a:pt x="69" y="0"/>
                  </a:cubicBezTo>
                  <a:cubicBezTo>
                    <a:pt x="70" y="3"/>
                    <a:pt x="62" y="2"/>
                    <a:pt x="61" y="2"/>
                  </a:cubicBezTo>
                  <a:cubicBezTo>
                    <a:pt x="53" y="2"/>
                    <a:pt x="46" y="2"/>
                    <a:pt x="38" y="2"/>
                  </a:cubicBezTo>
                  <a:cubicBezTo>
                    <a:pt x="27" y="2"/>
                    <a:pt x="16" y="2"/>
                    <a:pt x="5" y="2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6" y="5"/>
                    <a:pt x="6" y="6"/>
                    <a:pt x="5" y="7"/>
                  </a:cubicBezTo>
                  <a:cubicBezTo>
                    <a:pt x="5" y="7"/>
                    <a:pt x="6" y="5"/>
                    <a:pt x="5" y="4"/>
                  </a:cubicBezTo>
                  <a:cubicBezTo>
                    <a:pt x="4" y="4"/>
                    <a:pt x="1" y="3"/>
                    <a:pt x="1" y="4"/>
                  </a:cubicBezTo>
                  <a:cubicBezTo>
                    <a:pt x="0" y="5"/>
                    <a:pt x="2" y="9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1"/>
                    <a:pt x="3" y="11"/>
                    <a:pt x="4" y="11"/>
                  </a:cubicBezTo>
                  <a:cubicBezTo>
                    <a:pt x="1" y="11"/>
                    <a:pt x="2" y="22"/>
                    <a:pt x="2" y="25"/>
                  </a:cubicBezTo>
                  <a:cubicBezTo>
                    <a:pt x="2" y="27"/>
                    <a:pt x="1" y="29"/>
                    <a:pt x="3" y="31"/>
                  </a:cubicBezTo>
                  <a:cubicBezTo>
                    <a:pt x="4" y="33"/>
                    <a:pt x="3" y="35"/>
                    <a:pt x="6" y="37"/>
                  </a:cubicBezTo>
                  <a:cubicBezTo>
                    <a:pt x="6" y="36"/>
                    <a:pt x="6" y="36"/>
                    <a:pt x="7" y="36"/>
                  </a:cubicBezTo>
                  <a:cubicBezTo>
                    <a:pt x="6" y="37"/>
                    <a:pt x="6" y="37"/>
                    <a:pt x="7" y="38"/>
                  </a:cubicBezTo>
                  <a:cubicBezTo>
                    <a:pt x="7" y="38"/>
                    <a:pt x="6" y="38"/>
                    <a:pt x="6" y="37"/>
                  </a:cubicBezTo>
                  <a:cubicBezTo>
                    <a:pt x="6" y="38"/>
                    <a:pt x="6" y="39"/>
                    <a:pt x="7" y="39"/>
                  </a:cubicBezTo>
                  <a:cubicBezTo>
                    <a:pt x="8" y="40"/>
                    <a:pt x="7" y="41"/>
                    <a:pt x="8" y="42"/>
                  </a:cubicBezTo>
                  <a:cubicBezTo>
                    <a:pt x="9" y="43"/>
                    <a:pt x="10" y="44"/>
                    <a:pt x="10" y="45"/>
                  </a:cubicBezTo>
                  <a:cubicBezTo>
                    <a:pt x="11" y="45"/>
                    <a:pt x="10" y="46"/>
                    <a:pt x="10" y="46"/>
                  </a:cubicBezTo>
                  <a:cubicBezTo>
                    <a:pt x="11" y="47"/>
                    <a:pt x="12" y="47"/>
                    <a:pt x="13" y="47"/>
                  </a:cubicBezTo>
                  <a:cubicBezTo>
                    <a:pt x="14" y="48"/>
                    <a:pt x="18" y="49"/>
                    <a:pt x="18" y="51"/>
                  </a:cubicBezTo>
                  <a:cubicBezTo>
                    <a:pt x="19" y="54"/>
                    <a:pt x="22" y="51"/>
                    <a:pt x="24" y="52"/>
                  </a:cubicBezTo>
                  <a:cubicBezTo>
                    <a:pt x="27" y="53"/>
                    <a:pt x="29" y="54"/>
                    <a:pt x="32" y="56"/>
                  </a:cubicBezTo>
                  <a:cubicBezTo>
                    <a:pt x="33" y="56"/>
                    <a:pt x="39" y="56"/>
                    <a:pt x="39" y="55"/>
                  </a:cubicBezTo>
                  <a:cubicBezTo>
                    <a:pt x="39" y="54"/>
                    <a:pt x="41" y="54"/>
                    <a:pt x="42" y="54"/>
                  </a:cubicBezTo>
                  <a:cubicBezTo>
                    <a:pt x="43" y="54"/>
                    <a:pt x="44" y="55"/>
                    <a:pt x="45" y="56"/>
                  </a:cubicBezTo>
                  <a:cubicBezTo>
                    <a:pt x="47" y="58"/>
                    <a:pt x="48" y="60"/>
                    <a:pt x="50" y="62"/>
                  </a:cubicBezTo>
                  <a:cubicBezTo>
                    <a:pt x="53" y="57"/>
                    <a:pt x="55" y="60"/>
                    <a:pt x="57" y="63"/>
                  </a:cubicBezTo>
                  <a:cubicBezTo>
                    <a:pt x="58" y="65"/>
                    <a:pt x="59" y="66"/>
                    <a:pt x="60" y="68"/>
                  </a:cubicBezTo>
                  <a:cubicBezTo>
                    <a:pt x="60" y="69"/>
                    <a:pt x="64" y="69"/>
                    <a:pt x="65" y="70"/>
                  </a:cubicBezTo>
                  <a:cubicBezTo>
                    <a:pt x="64" y="69"/>
                    <a:pt x="64" y="67"/>
                    <a:pt x="64" y="66"/>
                  </a:cubicBezTo>
                  <a:cubicBezTo>
                    <a:pt x="65" y="66"/>
                    <a:pt x="64" y="65"/>
                    <a:pt x="64" y="65"/>
                  </a:cubicBezTo>
                  <a:cubicBezTo>
                    <a:pt x="65" y="64"/>
                    <a:pt x="66" y="64"/>
                    <a:pt x="66" y="62"/>
                  </a:cubicBezTo>
                  <a:cubicBezTo>
                    <a:pt x="69" y="63"/>
                    <a:pt x="69" y="62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2" y="59"/>
                    <a:pt x="73" y="60"/>
                    <a:pt x="76" y="60"/>
                  </a:cubicBezTo>
                  <a:cubicBezTo>
                    <a:pt x="76" y="60"/>
                    <a:pt x="76" y="59"/>
                    <a:pt x="77" y="60"/>
                  </a:cubicBezTo>
                  <a:cubicBezTo>
                    <a:pt x="77" y="60"/>
                    <a:pt x="78" y="61"/>
                    <a:pt x="79" y="61"/>
                  </a:cubicBezTo>
                  <a:cubicBezTo>
                    <a:pt x="80" y="61"/>
                    <a:pt x="81" y="61"/>
                    <a:pt x="81" y="60"/>
                  </a:cubicBezTo>
                  <a:cubicBezTo>
                    <a:pt x="81" y="61"/>
                    <a:pt x="82" y="62"/>
                    <a:pt x="83" y="61"/>
                  </a:cubicBezTo>
                  <a:cubicBezTo>
                    <a:pt x="82" y="61"/>
                    <a:pt x="81" y="60"/>
                    <a:pt x="82" y="59"/>
                  </a:cubicBezTo>
                  <a:cubicBezTo>
                    <a:pt x="81" y="59"/>
                    <a:pt x="80" y="59"/>
                    <a:pt x="80" y="58"/>
                  </a:cubicBezTo>
                  <a:cubicBezTo>
                    <a:pt x="82" y="58"/>
                    <a:pt x="85" y="59"/>
                    <a:pt x="86" y="56"/>
                  </a:cubicBezTo>
                  <a:cubicBezTo>
                    <a:pt x="85" y="57"/>
                    <a:pt x="86" y="58"/>
                    <a:pt x="86" y="58"/>
                  </a:cubicBezTo>
                  <a:cubicBezTo>
                    <a:pt x="87" y="58"/>
                    <a:pt x="88" y="57"/>
                    <a:pt x="89" y="58"/>
                  </a:cubicBezTo>
                  <a:cubicBezTo>
                    <a:pt x="91" y="58"/>
                    <a:pt x="91" y="60"/>
                    <a:pt x="93" y="59"/>
                  </a:cubicBezTo>
                  <a:cubicBezTo>
                    <a:pt x="97" y="58"/>
                    <a:pt x="98" y="61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100" y="69"/>
                    <a:pt x="100" y="70"/>
                  </a:cubicBezTo>
                  <a:cubicBezTo>
                    <a:pt x="102" y="71"/>
                    <a:pt x="101" y="72"/>
                    <a:pt x="103" y="71"/>
                  </a:cubicBezTo>
                  <a:cubicBezTo>
                    <a:pt x="104" y="71"/>
                    <a:pt x="104" y="68"/>
                    <a:pt x="104" y="67"/>
                  </a:cubicBezTo>
                  <a:cubicBezTo>
                    <a:pt x="103" y="64"/>
                    <a:pt x="102" y="61"/>
                    <a:pt x="101" y="58"/>
                  </a:cubicBezTo>
                  <a:cubicBezTo>
                    <a:pt x="100" y="56"/>
                    <a:pt x="103" y="54"/>
                    <a:pt x="103" y="52"/>
                  </a:cubicBezTo>
                  <a:cubicBezTo>
                    <a:pt x="105" y="53"/>
                    <a:pt x="106" y="49"/>
                    <a:pt x="108" y="48"/>
                  </a:cubicBezTo>
                  <a:cubicBezTo>
                    <a:pt x="110" y="48"/>
                    <a:pt x="113" y="46"/>
                    <a:pt x="112" y="45"/>
                  </a:cubicBezTo>
                  <a:cubicBezTo>
                    <a:pt x="112" y="45"/>
                    <a:pt x="112" y="45"/>
                    <a:pt x="113" y="45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3" y="44"/>
                    <a:pt x="115" y="44"/>
                    <a:pt x="114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3" y="43"/>
                    <a:pt x="113" y="43"/>
                    <a:pt x="112" y="43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3" y="42"/>
                    <a:pt x="114" y="42"/>
                  </a:cubicBezTo>
                  <a:cubicBezTo>
                    <a:pt x="114" y="41"/>
                    <a:pt x="114" y="40"/>
                    <a:pt x="112" y="40"/>
                  </a:cubicBezTo>
                  <a:cubicBezTo>
                    <a:pt x="115" y="38"/>
                    <a:pt x="111" y="36"/>
                    <a:pt x="111" y="35"/>
                  </a:cubicBezTo>
                  <a:cubicBezTo>
                    <a:pt x="111" y="35"/>
                    <a:pt x="112" y="36"/>
                    <a:pt x="113" y="36"/>
                  </a:cubicBezTo>
                  <a:cubicBezTo>
                    <a:pt x="112" y="35"/>
                    <a:pt x="112" y="33"/>
                    <a:pt x="114" y="32"/>
                  </a:cubicBezTo>
                  <a:cubicBezTo>
                    <a:pt x="113" y="33"/>
                    <a:pt x="113" y="34"/>
                    <a:pt x="113" y="35"/>
                  </a:cubicBezTo>
                  <a:cubicBezTo>
                    <a:pt x="113" y="36"/>
                    <a:pt x="114" y="36"/>
                    <a:pt x="114" y="37"/>
                  </a:cubicBezTo>
                  <a:cubicBezTo>
                    <a:pt x="114" y="38"/>
                    <a:pt x="113" y="38"/>
                    <a:pt x="114" y="39"/>
                  </a:cubicBezTo>
                  <a:cubicBezTo>
                    <a:pt x="115" y="36"/>
                    <a:pt x="116" y="35"/>
                    <a:pt x="115" y="32"/>
                  </a:cubicBezTo>
                  <a:cubicBezTo>
                    <a:pt x="115" y="32"/>
                    <a:pt x="116" y="33"/>
                    <a:pt x="116" y="34"/>
                  </a:cubicBezTo>
                  <a:cubicBezTo>
                    <a:pt x="117" y="33"/>
                    <a:pt x="117" y="32"/>
                    <a:pt x="118" y="31"/>
                  </a:cubicBezTo>
                  <a:cubicBezTo>
                    <a:pt x="118" y="31"/>
                    <a:pt x="117" y="29"/>
                    <a:pt x="118" y="29"/>
                  </a:cubicBezTo>
                  <a:cubicBezTo>
                    <a:pt x="119" y="28"/>
                    <a:pt x="120" y="27"/>
                    <a:pt x="121" y="27"/>
                  </a:cubicBezTo>
                  <a:cubicBezTo>
                    <a:pt x="123" y="27"/>
                    <a:pt x="124" y="27"/>
                    <a:pt x="125" y="26"/>
                  </a:cubicBezTo>
                  <a:cubicBezTo>
                    <a:pt x="125" y="26"/>
                    <a:pt x="128" y="26"/>
                    <a:pt x="128" y="25"/>
                  </a:cubicBezTo>
                  <a:cubicBezTo>
                    <a:pt x="127" y="26"/>
                    <a:pt x="127" y="26"/>
                    <a:pt x="126" y="25"/>
                  </a:cubicBezTo>
                  <a:cubicBezTo>
                    <a:pt x="125" y="23"/>
                    <a:pt x="125" y="23"/>
                    <a:pt x="126" y="22"/>
                  </a:cubicBezTo>
                  <a:cubicBezTo>
                    <a:pt x="127" y="20"/>
                    <a:pt x="127" y="19"/>
                    <a:pt x="128" y="19"/>
                  </a:cubicBezTo>
                  <a:cubicBezTo>
                    <a:pt x="129" y="18"/>
                    <a:pt x="130" y="18"/>
                    <a:pt x="130" y="17"/>
                  </a:cubicBezTo>
                  <a:cubicBezTo>
                    <a:pt x="131" y="18"/>
                    <a:pt x="133" y="17"/>
                    <a:pt x="134" y="16"/>
                  </a:cubicBezTo>
                  <a:cubicBezTo>
                    <a:pt x="134" y="16"/>
                    <a:pt x="134" y="16"/>
                    <a:pt x="134" y="15"/>
                  </a:cubicBezTo>
                  <a:cubicBezTo>
                    <a:pt x="134" y="15"/>
                    <a:pt x="133" y="14"/>
                    <a:pt x="133" y="13"/>
                  </a:cubicBezTo>
                  <a:cubicBezTo>
                    <a:pt x="132" y="12"/>
                    <a:pt x="132" y="10"/>
                    <a:pt x="132" y="9"/>
                  </a:cubicBezTo>
                  <a:cubicBezTo>
                    <a:pt x="132" y="7"/>
                    <a:pt x="130" y="8"/>
                    <a:pt x="129" y="7"/>
                  </a:cubicBezTo>
                  <a:cubicBezTo>
                    <a:pt x="128" y="9"/>
                    <a:pt x="127" y="10"/>
                    <a:pt x="126" y="12"/>
                  </a:cubicBezTo>
                  <a:cubicBezTo>
                    <a:pt x="126" y="13"/>
                    <a:pt x="126" y="14"/>
                    <a:pt x="125" y="14"/>
                  </a:cubicBezTo>
                  <a:cubicBezTo>
                    <a:pt x="125" y="14"/>
                    <a:pt x="124" y="15"/>
                    <a:pt x="124" y="15"/>
                  </a:cubicBezTo>
                  <a:cubicBezTo>
                    <a:pt x="119" y="15"/>
                    <a:pt x="116" y="14"/>
                    <a:pt x="113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3" y="21"/>
                    <a:pt x="109" y="20"/>
                    <a:pt x="106" y="21"/>
                  </a:cubicBezTo>
                  <a:cubicBezTo>
                    <a:pt x="108" y="24"/>
                    <a:pt x="99" y="27"/>
                    <a:pt x="96" y="26"/>
                  </a:cubicBezTo>
                  <a:cubicBezTo>
                    <a:pt x="98" y="23"/>
                    <a:pt x="98" y="21"/>
                    <a:pt x="97" y="18"/>
                  </a:cubicBezTo>
                  <a:cubicBezTo>
                    <a:pt x="96" y="19"/>
                    <a:pt x="96" y="19"/>
                    <a:pt x="95" y="19"/>
                  </a:cubicBezTo>
                  <a:cubicBezTo>
                    <a:pt x="96" y="17"/>
                    <a:pt x="97" y="15"/>
                    <a:pt x="95" y="13"/>
                  </a:cubicBezTo>
                  <a:cubicBezTo>
                    <a:pt x="93" y="12"/>
                    <a:pt x="92" y="14"/>
                    <a:pt x="91" y="16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89" y="16"/>
                    <a:pt x="89" y="19"/>
                    <a:pt x="89" y="20"/>
                  </a:cubicBezTo>
                  <a:cubicBezTo>
                    <a:pt x="90" y="22"/>
                    <a:pt x="90" y="26"/>
                    <a:pt x="88" y="26"/>
                  </a:cubicBezTo>
                  <a:cubicBezTo>
                    <a:pt x="83" y="26"/>
                    <a:pt x="88" y="15"/>
                    <a:pt x="88" y="14"/>
                  </a:cubicBezTo>
                  <a:cubicBezTo>
                    <a:pt x="87" y="15"/>
                    <a:pt x="87" y="16"/>
                    <a:pt x="86" y="17"/>
                  </a:cubicBezTo>
                  <a:cubicBezTo>
                    <a:pt x="86" y="15"/>
                    <a:pt x="87" y="13"/>
                    <a:pt x="89" y="12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3"/>
                    <a:pt x="91" y="11"/>
                    <a:pt x="92" y="12"/>
                  </a:cubicBezTo>
                  <a:cubicBezTo>
                    <a:pt x="93" y="13"/>
                    <a:pt x="93" y="11"/>
                    <a:pt x="95" y="12"/>
                  </a:cubicBezTo>
                  <a:cubicBezTo>
                    <a:pt x="95" y="11"/>
                    <a:pt x="94" y="11"/>
                    <a:pt x="94" y="10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9" name="Freeform 31"/>
            <p:cNvSpPr>
              <a:spLocks noEditPoints="1"/>
            </p:cNvSpPr>
            <p:nvPr/>
          </p:nvSpPr>
          <p:spPr bwMode="auto">
            <a:xfrm>
              <a:off x="6261133" y="2210475"/>
              <a:ext cx="1004291" cy="535083"/>
            </a:xfrm>
            <a:custGeom>
              <a:avLst/>
              <a:gdLst>
                <a:gd name="T0" fmla="*/ 2147483646 w 135"/>
                <a:gd name="T1" fmla="*/ 2147483646 h 72"/>
                <a:gd name="T2" fmla="*/ 2147483646 w 135"/>
                <a:gd name="T3" fmla="*/ 2147483646 h 72"/>
                <a:gd name="T4" fmla="*/ 2147483646 w 135"/>
                <a:gd name="T5" fmla="*/ 2147483646 h 72"/>
                <a:gd name="T6" fmla="*/ 2147483646 w 135"/>
                <a:gd name="T7" fmla="*/ 2147483646 h 72"/>
                <a:gd name="T8" fmla="*/ 2147483646 w 135"/>
                <a:gd name="T9" fmla="*/ 2147483646 h 72"/>
                <a:gd name="T10" fmla="*/ 2147483646 w 135"/>
                <a:gd name="T11" fmla="*/ 2147483646 h 72"/>
                <a:gd name="T12" fmla="*/ 2147483646 w 135"/>
                <a:gd name="T13" fmla="*/ 2147483646 h 72"/>
                <a:gd name="T14" fmla="*/ 2147483646 w 135"/>
                <a:gd name="T15" fmla="*/ 2147483646 h 72"/>
                <a:gd name="T16" fmla="*/ 2147483646 w 135"/>
                <a:gd name="T17" fmla="*/ 2147483646 h 72"/>
                <a:gd name="T18" fmla="*/ 2147483646 w 135"/>
                <a:gd name="T19" fmla="*/ 2147483646 h 72"/>
                <a:gd name="T20" fmla="*/ 2147483646 w 135"/>
                <a:gd name="T21" fmla="*/ 2147483646 h 72"/>
                <a:gd name="T22" fmla="*/ 2147483646 w 135"/>
                <a:gd name="T23" fmla="*/ 2147483646 h 72"/>
                <a:gd name="T24" fmla="*/ 2147483646 w 135"/>
                <a:gd name="T25" fmla="*/ 2147483646 h 72"/>
                <a:gd name="T26" fmla="*/ 2147483646 w 135"/>
                <a:gd name="T27" fmla="*/ 2147483646 h 72"/>
                <a:gd name="T28" fmla="*/ 2147483646 w 135"/>
                <a:gd name="T29" fmla="*/ 2147483646 h 72"/>
                <a:gd name="T30" fmla="*/ 2147483646 w 135"/>
                <a:gd name="T31" fmla="*/ 2147483646 h 72"/>
                <a:gd name="T32" fmla="*/ 2147483646 w 135"/>
                <a:gd name="T33" fmla="*/ 2147483646 h 72"/>
                <a:gd name="T34" fmla="*/ 2147483646 w 135"/>
                <a:gd name="T35" fmla="*/ 2147483646 h 72"/>
                <a:gd name="T36" fmla="*/ 2147483646 w 135"/>
                <a:gd name="T37" fmla="*/ 2147483646 h 72"/>
                <a:gd name="T38" fmla="*/ 2147483646 w 135"/>
                <a:gd name="T39" fmla="*/ 2147483646 h 72"/>
                <a:gd name="T40" fmla="*/ 2147483646 w 135"/>
                <a:gd name="T41" fmla="*/ 2147483646 h 72"/>
                <a:gd name="T42" fmla="*/ 2147483646 w 135"/>
                <a:gd name="T43" fmla="*/ 2147483646 h 72"/>
                <a:gd name="T44" fmla="*/ 2147483646 w 135"/>
                <a:gd name="T45" fmla="*/ 2147483646 h 72"/>
                <a:gd name="T46" fmla="*/ 2147483646 w 135"/>
                <a:gd name="T47" fmla="*/ 2147483646 h 72"/>
                <a:gd name="T48" fmla="*/ 2147483646 w 135"/>
                <a:gd name="T49" fmla="*/ 2147483646 h 72"/>
                <a:gd name="T50" fmla="*/ 2147483646 w 135"/>
                <a:gd name="T51" fmla="*/ 2147483646 h 72"/>
                <a:gd name="T52" fmla="*/ 2147483646 w 135"/>
                <a:gd name="T53" fmla="*/ 2147483646 h 72"/>
                <a:gd name="T54" fmla="*/ 2147483646 w 135"/>
                <a:gd name="T55" fmla="*/ 2147483646 h 72"/>
                <a:gd name="T56" fmla="*/ 2147483646 w 135"/>
                <a:gd name="T57" fmla="*/ 2147483646 h 72"/>
                <a:gd name="T58" fmla="*/ 2147483646 w 135"/>
                <a:gd name="T59" fmla="*/ 2147483646 h 72"/>
                <a:gd name="T60" fmla="*/ 2147483646 w 135"/>
                <a:gd name="T61" fmla="*/ 2147483646 h 72"/>
                <a:gd name="T62" fmla="*/ 2147483646 w 135"/>
                <a:gd name="T63" fmla="*/ 2147483646 h 72"/>
                <a:gd name="T64" fmla="*/ 2147483646 w 135"/>
                <a:gd name="T65" fmla="*/ 2147483646 h 72"/>
                <a:gd name="T66" fmla="*/ 2147483646 w 135"/>
                <a:gd name="T67" fmla="*/ 2147483646 h 72"/>
                <a:gd name="T68" fmla="*/ 2147483646 w 135"/>
                <a:gd name="T69" fmla="*/ 2147483646 h 72"/>
                <a:gd name="T70" fmla="*/ 2147483646 w 135"/>
                <a:gd name="T71" fmla="*/ 2147483646 h 72"/>
                <a:gd name="T72" fmla="*/ 2147483646 w 135"/>
                <a:gd name="T73" fmla="*/ 2147483646 h 72"/>
                <a:gd name="T74" fmla="*/ 2147483646 w 135"/>
                <a:gd name="T75" fmla="*/ 2147483646 h 72"/>
                <a:gd name="T76" fmla="*/ 2147483646 w 135"/>
                <a:gd name="T77" fmla="*/ 2147483646 h 72"/>
                <a:gd name="T78" fmla="*/ 2147483646 w 135"/>
                <a:gd name="T79" fmla="*/ 2147483646 h 72"/>
                <a:gd name="T80" fmla="*/ 2147483646 w 135"/>
                <a:gd name="T81" fmla="*/ 2147483646 h 72"/>
                <a:gd name="T82" fmla="*/ 2147483646 w 135"/>
                <a:gd name="T83" fmla="*/ 2147483646 h 72"/>
                <a:gd name="T84" fmla="*/ 2147483646 w 135"/>
                <a:gd name="T85" fmla="*/ 2147483646 h 72"/>
                <a:gd name="T86" fmla="*/ 2147483646 w 135"/>
                <a:gd name="T87" fmla="*/ 2147483646 h 72"/>
                <a:gd name="T88" fmla="*/ 2147483646 w 135"/>
                <a:gd name="T89" fmla="*/ 2147483646 h 72"/>
                <a:gd name="T90" fmla="*/ 2147483646 w 135"/>
                <a:gd name="T91" fmla="*/ 2147483646 h 72"/>
                <a:gd name="T92" fmla="*/ 2147483646 w 135"/>
                <a:gd name="T93" fmla="*/ 2147483646 h 72"/>
                <a:gd name="T94" fmla="*/ 2147483646 w 135"/>
                <a:gd name="T95" fmla="*/ 2147483646 h 72"/>
                <a:gd name="T96" fmla="*/ 2147483646 w 135"/>
                <a:gd name="T97" fmla="*/ 2147483646 h 72"/>
                <a:gd name="T98" fmla="*/ 2147483646 w 135"/>
                <a:gd name="T99" fmla="*/ 2147483646 h 72"/>
                <a:gd name="T100" fmla="*/ 2147483646 w 135"/>
                <a:gd name="T101" fmla="*/ 2147483646 h 72"/>
                <a:gd name="T102" fmla="*/ 2147483646 w 135"/>
                <a:gd name="T103" fmla="*/ 2147483646 h 72"/>
                <a:gd name="T104" fmla="*/ 2147483646 w 135"/>
                <a:gd name="T105" fmla="*/ 2147483646 h 72"/>
                <a:gd name="T106" fmla="*/ 2147483646 w 135"/>
                <a:gd name="T107" fmla="*/ 2147483646 h 72"/>
                <a:gd name="T108" fmla="*/ 2147483646 w 135"/>
                <a:gd name="T109" fmla="*/ 2147483646 h 72"/>
                <a:gd name="T110" fmla="*/ 2147483646 w 135"/>
                <a:gd name="T111" fmla="*/ 2147483646 h 72"/>
                <a:gd name="T112" fmla="*/ 2147483646 w 135"/>
                <a:gd name="T113" fmla="*/ 2147483646 h 72"/>
                <a:gd name="T114" fmla="*/ 2147483646 w 135"/>
                <a:gd name="T115" fmla="*/ 2147483646 h 72"/>
                <a:gd name="T116" fmla="*/ 2147483646 w 135"/>
                <a:gd name="T117" fmla="*/ 2147483646 h 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35" h="72">
                  <a:moveTo>
                    <a:pt x="102" y="72"/>
                  </a:moveTo>
                  <a:cubicBezTo>
                    <a:pt x="101" y="72"/>
                    <a:pt x="101" y="71"/>
                    <a:pt x="101" y="71"/>
                  </a:cubicBezTo>
                  <a:cubicBezTo>
                    <a:pt x="101" y="71"/>
                    <a:pt x="101" y="70"/>
                    <a:pt x="100" y="70"/>
                  </a:cubicBezTo>
                  <a:cubicBezTo>
                    <a:pt x="99" y="70"/>
                    <a:pt x="98" y="67"/>
                    <a:pt x="98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97" y="60"/>
                    <a:pt x="95" y="60"/>
                    <a:pt x="94" y="60"/>
                  </a:cubicBezTo>
                  <a:cubicBezTo>
                    <a:pt x="94" y="60"/>
                    <a:pt x="93" y="60"/>
                    <a:pt x="93" y="60"/>
                  </a:cubicBezTo>
                  <a:cubicBezTo>
                    <a:pt x="93" y="60"/>
                    <a:pt x="92" y="60"/>
                    <a:pt x="92" y="60"/>
                  </a:cubicBezTo>
                  <a:cubicBezTo>
                    <a:pt x="91" y="60"/>
                    <a:pt x="91" y="60"/>
                    <a:pt x="90" y="59"/>
                  </a:cubicBezTo>
                  <a:cubicBezTo>
                    <a:pt x="90" y="59"/>
                    <a:pt x="90" y="58"/>
                    <a:pt x="89" y="58"/>
                  </a:cubicBezTo>
                  <a:cubicBezTo>
                    <a:pt x="88" y="58"/>
                    <a:pt x="87" y="58"/>
                    <a:pt x="86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4" y="59"/>
                    <a:pt x="84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2" y="60"/>
                    <a:pt x="82" y="60"/>
                  </a:cubicBezTo>
                  <a:cubicBezTo>
                    <a:pt x="82" y="60"/>
                    <a:pt x="83" y="60"/>
                    <a:pt x="83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2" y="62"/>
                  </a:cubicBezTo>
                  <a:cubicBezTo>
                    <a:pt x="82" y="62"/>
                    <a:pt x="81" y="62"/>
                    <a:pt x="81" y="61"/>
                  </a:cubicBezTo>
                  <a:cubicBezTo>
                    <a:pt x="80" y="62"/>
                    <a:pt x="79" y="62"/>
                    <a:pt x="79" y="61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6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3" y="60"/>
                    <a:pt x="72" y="60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69" y="62"/>
                    <a:pt x="69" y="63"/>
                    <a:pt x="67" y="63"/>
                  </a:cubicBezTo>
                  <a:cubicBezTo>
                    <a:pt x="66" y="64"/>
                    <a:pt x="66" y="64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6"/>
                    <a:pt x="65" y="66"/>
                    <a:pt x="64" y="67"/>
                  </a:cubicBezTo>
                  <a:cubicBezTo>
                    <a:pt x="64" y="67"/>
                    <a:pt x="65" y="67"/>
                    <a:pt x="65" y="68"/>
                  </a:cubicBezTo>
                  <a:cubicBezTo>
                    <a:pt x="65" y="68"/>
                    <a:pt x="65" y="69"/>
                    <a:pt x="65" y="70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4" y="70"/>
                    <a:pt x="64" y="70"/>
                    <a:pt x="63" y="70"/>
                  </a:cubicBezTo>
                  <a:cubicBezTo>
                    <a:pt x="61" y="70"/>
                    <a:pt x="60" y="69"/>
                    <a:pt x="59" y="68"/>
                  </a:cubicBezTo>
                  <a:cubicBezTo>
                    <a:pt x="59" y="67"/>
                    <a:pt x="58" y="66"/>
                    <a:pt x="58" y="65"/>
                  </a:cubicBezTo>
                  <a:cubicBezTo>
                    <a:pt x="57" y="65"/>
                    <a:pt x="57" y="64"/>
                    <a:pt x="56" y="64"/>
                  </a:cubicBezTo>
                  <a:cubicBezTo>
                    <a:pt x="55" y="62"/>
                    <a:pt x="54" y="60"/>
                    <a:pt x="53" y="60"/>
                  </a:cubicBezTo>
                  <a:cubicBezTo>
                    <a:pt x="52" y="60"/>
                    <a:pt x="51" y="61"/>
                    <a:pt x="51" y="62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8" y="61"/>
                    <a:pt x="47" y="60"/>
                    <a:pt x="47" y="59"/>
                  </a:cubicBezTo>
                  <a:cubicBezTo>
                    <a:pt x="46" y="58"/>
                    <a:pt x="46" y="57"/>
                    <a:pt x="45" y="57"/>
                  </a:cubicBezTo>
                  <a:cubicBezTo>
                    <a:pt x="45" y="57"/>
                    <a:pt x="44" y="56"/>
                    <a:pt x="44" y="56"/>
                  </a:cubicBezTo>
                  <a:cubicBezTo>
                    <a:pt x="43" y="55"/>
                    <a:pt x="43" y="55"/>
                    <a:pt x="42" y="55"/>
                  </a:cubicBezTo>
                  <a:cubicBezTo>
                    <a:pt x="42" y="55"/>
                    <a:pt x="42" y="55"/>
                    <a:pt x="41" y="55"/>
                  </a:cubicBezTo>
                  <a:cubicBezTo>
                    <a:pt x="41" y="55"/>
                    <a:pt x="40" y="55"/>
                    <a:pt x="40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5" y="56"/>
                    <a:pt x="34" y="56"/>
                  </a:cubicBezTo>
                  <a:cubicBezTo>
                    <a:pt x="33" y="56"/>
                    <a:pt x="32" y="56"/>
                    <a:pt x="32" y="56"/>
                  </a:cubicBezTo>
                  <a:cubicBezTo>
                    <a:pt x="29" y="55"/>
                    <a:pt x="27" y="54"/>
                    <a:pt x="24" y="52"/>
                  </a:cubicBezTo>
                  <a:cubicBezTo>
                    <a:pt x="23" y="52"/>
                    <a:pt x="22" y="52"/>
                    <a:pt x="21" y="53"/>
                  </a:cubicBezTo>
                  <a:cubicBezTo>
                    <a:pt x="21" y="53"/>
                    <a:pt x="20" y="53"/>
                    <a:pt x="19" y="53"/>
                  </a:cubicBezTo>
                  <a:cubicBezTo>
                    <a:pt x="18" y="53"/>
                    <a:pt x="18" y="52"/>
                    <a:pt x="17" y="51"/>
                  </a:cubicBezTo>
                  <a:cubicBezTo>
                    <a:pt x="17" y="50"/>
                    <a:pt x="15" y="49"/>
                    <a:pt x="13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1" y="47"/>
                    <a:pt x="11" y="47"/>
                    <a:pt x="10" y="47"/>
                  </a:cubicBezTo>
                  <a:cubicBezTo>
                    <a:pt x="10" y="47"/>
                    <a:pt x="10" y="46"/>
                    <a:pt x="10" y="46"/>
                  </a:cubicBezTo>
                  <a:cubicBezTo>
                    <a:pt x="10" y="46"/>
                    <a:pt x="10" y="45"/>
                    <a:pt x="10" y="45"/>
                  </a:cubicBezTo>
                  <a:cubicBezTo>
                    <a:pt x="9" y="45"/>
                    <a:pt x="9" y="44"/>
                    <a:pt x="8" y="43"/>
                  </a:cubicBezTo>
                  <a:cubicBezTo>
                    <a:pt x="8" y="43"/>
                    <a:pt x="8" y="43"/>
                    <a:pt x="7" y="42"/>
                  </a:cubicBezTo>
                  <a:cubicBezTo>
                    <a:pt x="7" y="42"/>
                    <a:pt x="7" y="41"/>
                    <a:pt x="7" y="41"/>
                  </a:cubicBezTo>
                  <a:cubicBezTo>
                    <a:pt x="7" y="40"/>
                    <a:pt x="7" y="40"/>
                    <a:pt x="6" y="40"/>
                  </a:cubicBezTo>
                  <a:cubicBezTo>
                    <a:pt x="6" y="39"/>
                    <a:pt x="5" y="38"/>
                    <a:pt x="6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4" y="36"/>
                    <a:pt x="3" y="35"/>
                    <a:pt x="3" y="34"/>
                  </a:cubicBezTo>
                  <a:cubicBezTo>
                    <a:pt x="3" y="33"/>
                    <a:pt x="3" y="32"/>
                    <a:pt x="2" y="32"/>
                  </a:cubicBezTo>
                  <a:cubicBezTo>
                    <a:pt x="1" y="30"/>
                    <a:pt x="1" y="29"/>
                    <a:pt x="1" y="27"/>
                  </a:cubicBezTo>
                  <a:cubicBezTo>
                    <a:pt x="2" y="27"/>
                    <a:pt x="2" y="26"/>
                    <a:pt x="1" y="25"/>
                  </a:cubicBezTo>
                  <a:cubicBezTo>
                    <a:pt x="1" y="23"/>
                    <a:pt x="1" y="14"/>
                    <a:pt x="3" y="11"/>
                  </a:cubicBezTo>
                  <a:cubicBezTo>
                    <a:pt x="2" y="11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4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5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6" y="1"/>
                    <a:pt x="27" y="1"/>
                    <a:pt x="38" y="1"/>
                  </a:cubicBezTo>
                  <a:cubicBezTo>
                    <a:pt x="46" y="1"/>
                    <a:pt x="53" y="1"/>
                    <a:pt x="61" y="1"/>
                  </a:cubicBezTo>
                  <a:cubicBezTo>
                    <a:pt x="61" y="1"/>
                    <a:pt x="61" y="1"/>
                    <a:pt x="62" y="1"/>
                  </a:cubicBezTo>
                  <a:cubicBezTo>
                    <a:pt x="63" y="1"/>
                    <a:pt x="64" y="1"/>
                    <a:pt x="66" y="1"/>
                  </a:cubicBezTo>
                  <a:cubicBezTo>
                    <a:pt x="68" y="1"/>
                    <a:pt x="68" y="1"/>
                    <a:pt x="69" y="1"/>
                  </a:cubicBezTo>
                  <a:cubicBezTo>
                    <a:pt x="69" y="1"/>
                    <a:pt x="69" y="1"/>
                    <a:pt x="69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1"/>
                  </a:cubicBezTo>
                  <a:cubicBezTo>
                    <a:pt x="70" y="2"/>
                    <a:pt x="71" y="2"/>
                    <a:pt x="71" y="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3" y="2"/>
                    <a:pt x="74" y="2"/>
                    <a:pt x="75" y="3"/>
                  </a:cubicBezTo>
                  <a:cubicBezTo>
                    <a:pt x="77" y="4"/>
                    <a:pt x="78" y="4"/>
                    <a:pt x="80" y="4"/>
                  </a:cubicBezTo>
                  <a:cubicBezTo>
                    <a:pt x="80" y="4"/>
                    <a:pt x="81" y="4"/>
                    <a:pt x="82" y="5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1" y="6"/>
                    <a:pt x="80" y="7"/>
                    <a:pt x="79" y="8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9"/>
                    <a:pt x="80" y="9"/>
                  </a:cubicBezTo>
                  <a:cubicBezTo>
                    <a:pt x="81" y="9"/>
                    <a:pt x="84" y="7"/>
                    <a:pt x="85" y="7"/>
                  </a:cubicBezTo>
                  <a:cubicBezTo>
                    <a:pt x="85" y="7"/>
                    <a:pt x="86" y="6"/>
                    <a:pt x="86" y="6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6" y="7"/>
                    <a:pt x="86" y="8"/>
                    <a:pt x="86" y="8"/>
                  </a:cubicBezTo>
                  <a:cubicBezTo>
                    <a:pt x="86" y="8"/>
                    <a:pt x="86" y="8"/>
                    <a:pt x="85" y="8"/>
                  </a:cubicBezTo>
                  <a:cubicBezTo>
                    <a:pt x="86" y="8"/>
                    <a:pt x="87" y="9"/>
                    <a:pt x="87" y="9"/>
                  </a:cubicBezTo>
                  <a:cubicBezTo>
                    <a:pt x="88" y="10"/>
                    <a:pt x="88" y="10"/>
                    <a:pt x="89" y="10"/>
                  </a:cubicBezTo>
                  <a:cubicBezTo>
                    <a:pt x="90" y="9"/>
                    <a:pt x="91" y="9"/>
                    <a:pt x="93" y="9"/>
                  </a:cubicBezTo>
                  <a:cubicBezTo>
                    <a:pt x="93" y="9"/>
                    <a:pt x="93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5" y="10"/>
                    <a:pt x="95" y="11"/>
                    <a:pt x="95" y="12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2"/>
                    <a:pt x="94" y="13"/>
                    <a:pt x="95" y="13"/>
                  </a:cubicBezTo>
                  <a:cubicBezTo>
                    <a:pt x="96" y="13"/>
                    <a:pt x="97" y="14"/>
                    <a:pt x="97" y="15"/>
                  </a:cubicBezTo>
                  <a:cubicBezTo>
                    <a:pt x="97" y="16"/>
                    <a:pt x="97" y="17"/>
                    <a:pt x="96" y="18"/>
                  </a:cubicBezTo>
                  <a:cubicBezTo>
                    <a:pt x="97" y="18"/>
                    <a:pt x="97" y="18"/>
                    <a:pt x="97" y="18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99" y="21"/>
                    <a:pt x="99" y="23"/>
                    <a:pt x="97" y="25"/>
                  </a:cubicBezTo>
                  <a:cubicBezTo>
                    <a:pt x="97" y="25"/>
                    <a:pt x="98" y="25"/>
                    <a:pt x="98" y="25"/>
                  </a:cubicBezTo>
                  <a:cubicBezTo>
                    <a:pt x="101" y="25"/>
                    <a:pt x="105" y="24"/>
                    <a:pt x="106" y="22"/>
                  </a:cubicBezTo>
                  <a:cubicBezTo>
                    <a:pt x="106" y="22"/>
                    <a:pt x="106" y="21"/>
                    <a:pt x="106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7" y="20"/>
                    <a:pt x="108" y="20"/>
                    <a:pt x="109" y="20"/>
                  </a:cubicBezTo>
                  <a:cubicBezTo>
                    <a:pt x="110" y="20"/>
                    <a:pt x="112" y="20"/>
                    <a:pt x="112" y="19"/>
                  </a:cubicBezTo>
                  <a:cubicBezTo>
                    <a:pt x="113" y="19"/>
                    <a:pt x="113" y="19"/>
                    <a:pt x="113" y="19"/>
                  </a:cubicBezTo>
                  <a:cubicBezTo>
                    <a:pt x="112" y="18"/>
                    <a:pt x="112" y="18"/>
                    <a:pt x="112" y="18"/>
                  </a:cubicBezTo>
                  <a:cubicBezTo>
                    <a:pt x="112" y="18"/>
                    <a:pt x="112" y="18"/>
                    <a:pt x="112" y="18"/>
                  </a:cubicBezTo>
                  <a:cubicBezTo>
                    <a:pt x="115" y="15"/>
                    <a:pt x="118" y="14"/>
                    <a:pt x="121" y="15"/>
                  </a:cubicBezTo>
                  <a:cubicBezTo>
                    <a:pt x="122" y="15"/>
                    <a:pt x="123" y="15"/>
                    <a:pt x="123" y="15"/>
                  </a:cubicBezTo>
                  <a:cubicBezTo>
                    <a:pt x="123" y="15"/>
                    <a:pt x="124" y="15"/>
                    <a:pt x="124" y="14"/>
                  </a:cubicBezTo>
                  <a:cubicBezTo>
                    <a:pt x="124" y="14"/>
                    <a:pt x="125" y="14"/>
                    <a:pt x="125" y="14"/>
                  </a:cubicBezTo>
                  <a:cubicBezTo>
                    <a:pt x="126" y="14"/>
                    <a:pt x="126" y="13"/>
                    <a:pt x="126" y="12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6" y="10"/>
                    <a:pt x="127" y="9"/>
                    <a:pt x="128" y="7"/>
                  </a:cubicBezTo>
                  <a:cubicBezTo>
                    <a:pt x="129" y="6"/>
                    <a:pt x="129" y="6"/>
                    <a:pt x="129" y="6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29" y="7"/>
                    <a:pt x="130" y="7"/>
                    <a:pt x="130" y="7"/>
                  </a:cubicBezTo>
                  <a:cubicBezTo>
                    <a:pt x="130" y="7"/>
                    <a:pt x="131" y="7"/>
                    <a:pt x="131" y="7"/>
                  </a:cubicBezTo>
                  <a:cubicBezTo>
                    <a:pt x="131" y="7"/>
                    <a:pt x="131" y="7"/>
                    <a:pt x="131" y="7"/>
                  </a:cubicBezTo>
                  <a:cubicBezTo>
                    <a:pt x="132" y="7"/>
                    <a:pt x="133" y="7"/>
                    <a:pt x="133" y="9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11"/>
                    <a:pt x="133" y="12"/>
                    <a:pt x="134" y="13"/>
                  </a:cubicBezTo>
                  <a:cubicBezTo>
                    <a:pt x="134" y="13"/>
                    <a:pt x="134" y="13"/>
                    <a:pt x="134" y="14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6"/>
                    <a:pt x="135" y="16"/>
                    <a:pt x="135" y="16"/>
                  </a:cubicBezTo>
                  <a:cubicBezTo>
                    <a:pt x="134" y="17"/>
                    <a:pt x="133" y="18"/>
                    <a:pt x="132" y="18"/>
                  </a:cubicBezTo>
                  <a:cubicBezTo>
                    <a:pt x="131" y="18"/>
                    <a:pt x="131" y="18"/>
                    <a:pt x="130" y="18"/>
                  </a:cubicBezTo>
                  <a:cubicBezTo>
                    <a:pt x="130" y="19"/>
                    <a:pt x="129" y="19"/>
                    <a:pt x="1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27" y="20"/>
                    <a:pt x="127" y="20"/>
                    <a:pt x="127" y="21"/>
                  </a:cubicBezTo>
                  <a:cubicBezTo>
                    <a:pt x="127" y="21"/>
                    <a:pt x="127" y="21"/>
                    <a:pt x="127" y="22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3"/>
                    <a:pt x="126" y="24"/>
                    <a:pt x="126" y="24"/>
                  </a:cubicBezTo>
                  <a:cubicBezTo>
                    <a:pt x="127" y="25"/>
                    <a:pt x="127" y="25"/>
                    <a:pt x="127" y="25"/>
                  </a:cubicBezTo>
                  <a:cubicBezTo>
                    <a:pt x="127" y="25"/>
                    <a:pt x="127" y="25"/>
                    <a:pt x="127" y="25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5"/>
                    <a:pt x="128" y="25"/>
                    <a:pt x="128" y="26"/>
                  </a:cubicBezTo>
                  <a:cubicBezTo>
                    <a:pt x="127" y="27"/>
                    <a:pt x="126" y="27"/>
                    <a:pt x="125" y="26"/>
                  </a:cubicBezTo>
                  <a:cubicBezTo>
                    <a:pt x="124" y="27"/>
                    <a:pt x="123" y="27"/>
                    <a:pt x="122" y="27"/>
                  </a:cubicBezTo>
                  <a:cubicBezTo>
                    <a:pt x="122" y="27"/>
                    <a:pt x="122" y="27"/>
                    <a:pt x="121" y="27"/>
                  </a:cubicBezTo>
                  <a:cubicBezTo>
                    <a:pt x="121" y="28"/>
                    <a:pt x="120" y="28"/>
                    <a:pt x="119" y="29"/>
                  </a:cubicBezTo>
                  <a:cubicBezTo>
                    <a:pt x="119" y="29"/>
                    <a:pt x="119" y="29"/>
                    <a:pt x="118" y="29"/>
                  </a:cubicBezTo>
                  <a:cubicBezTo>
                    <a:pt x="118" y="29"/>
                    <a:pt x="118" y="30"/>
                    <a:pt x="118" y="30"/>
                  </a:cubicBezTo>
                  <a:cubicBezTo>
                    <a:pt x="118" y="30"/>
                    <a:pt x="119" y="31"/>
                    <a:pt x="118" y="32"/>
                  </a:cubicBezTo>
                  <a:cubicBezTo>
                    <a:pt x="118" y="32"/>
                    <a:pt x="118" y="33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6"/>
                    <a:pt x="115" y="37"/>
                    <a:pt x="115" y="39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1"/>
                    <a:pt x="115" y="41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5" y="43"/>
                    <a:pt x="115" y="44"/>
                    <a:pt x="115" y="44"/>
                  </a:cubicBezTo>
                  <a:cubicBezTo>
                    <a:pt x="114" y="44"/>
                    <a:pt x="114" y="45"/>
                    <a:pt x="113" y="45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3" y="45"/>
                    <a:pt x="113" y="46"/>
                  </a:cubicBezTo>
                  <a:cubicBezTo>
                    <a:pt x="113" y="47"/>
                    <a:pt x="109" y="49"/>
                    <a:pt x="109" y="49"/>
                  </a:cubicBezTo>
                  <a:cubicBezTo>
                    <a:pt x="108" y="49"/>
                    <a:pt x="107" y="50"/>
                    <a:pt x="107" y="51"/>
                  </a:cubicBezTo>
                  <a:cubicBezTo>
                    <a:pt x="106" y="52"/>
                    <a:pt x="105" y="53"/>
                    <a:pt x="103" y="53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3" y="53"/>
                    <a:pt x="103" y="54"/>
                    <a:pt x="102" y="55"/>
                  </a:cubicBezTo>
                  <a:cubicBezTo>
                    <a:pt x="102" y="56"/>
                    <a:pt x="101" y="57"/>
                    <a:pt x="101" y="58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3" y="63"/>
                    <a:pt x="104" y="65"/>
                    <a:pt x="104" y="67"/>
                  </a:cubicBezTo>
                  <a:cubicBezTo>
                    <a:pt x="104" y="67"/>
                    <a:pt x="105" y="71"/>
                    <a:pt x="103" y="72"/>
                  </a:cubicBezTo>
                  <a:cubicBezTo>
                    <a:pt x="103" y="72"/>
                    <a:pt x="102" y="72"/>
                    <a:pt x="102" y="72"/>
                  </a:cubicBezTo>
                  <a:close/>
                  <a:moveTo>
                    <a:pt x="99" y="64"/>
                  </a:moveTo>
                  <a:cubicBezTo>
                    <a:pt x="99" y="65"/>
                    <a:pt x="99" y="65"/>
                    <a:pt x="99" y="65"/>
                  </a:cubicBezTo>
                  <a:cubicBezTo>
                    <a:pt x="99" y="65"/>
                    <a:pt x="100" y="69"/>
                    <a:pt x="101" y="69"/>
                  </a:cubicBezTo>
                  <a:cubicBezTo>
                    <a:pt x="102" y="70"/>
                    <a:pt x="102" y="70"/>
                    <a:pt x="102" y="71"/>
                  </a:cubicBezTo>
                  <a:cubicBezTo>
                    <a:pt x="102" y="71"/>
                    <a:pt x="102" y="71"/>
                    <a:pt x="102" y="71"/>
                  </a:cubicBezTo>
                  <a:cubicBezTo>
                    <a:pt x="102" y="71"/>
                    <a:pt x="102" y="71"/>
                    <a:pt x="103" y="71"/>
                  </a:cubicBezTo>
                  <a:cubicBezTo>
                    <a:pt x="103" y="70"/>
                    <a:pt x="103" y="68"/>
                    <a:pt x="103" y="67"/>
                  </a:cubicBezTo>
                  <a:cubicBezTo>
                    <a:pt x="103" y="65"/>
                    <a:pt x="102" y="63"/>
                    <a:pt x="101" y="61"/>
                  </a:cubicBezTo>
                  <a:cubicBezTo>
                    <a:pt x="101" y="60"/>
                    <a:pt x="100" y="59"/>
                    <a:pt x="100" y="58"/>
                  </a:cubicBezTo>
                  <a:cubicBezTo>
                    <a:pt x="100" y="57"/>
                    <a:pt x="100" y="55"/>
                    <a:pt x="101" y="54"/>
                  </a:cubicBezTo>
                  <a:cubicBezTo>
                    <a:pt x="102" y="53"/>
                    <a:pt x="102" y="53"/>
                    <a:pt x="102" y="52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2"/>
                    <a:pt x="105" y="51"/>
                    <a:pt x="106" y="50"/>
                  </a:cubicBezTo>
                  <a:cubicBezTo>
                    <a:pt x="107" y="49"/>
                    <a:pt x="107" y="48"/>
                    <a:pt x="108" y="48"/>
                  </a:cubicBezTo>
                  <a:cubicBezTo>
                    <a:pt x="109" y="47"/>
                    <a:pt x="111" y="46"/>
                    <a:pt x="111" y="46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1" y="45"/>
                    <a:pt x="111" y="45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2" y="43"/>
                    <a:pt x="112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3" y="39"/>
                    <a:pt x="113" y="39"/>
                  </a:cubicBezTo>
                  <a:cubicBezTo>
                    <a:pt x="113" y="38"/>
                    <a:pt x="112" y="37"/>
                    <a:pt x="111" y="37"/>
                  </a:cubicBezTo>
                  <a:cubicBezTo>
                    <a:pt x="111" y="36"/>
                    <a:pt x="110" y="36"/>
                    <a:pt x="110" y="35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1" y="34"/>
                    <a:pt x="111" y="34"/>
                    <a:pt x="112" y="33"/>
                  </a:cubicBezTo>
                  <a:cubicBezTo>
                    <a:pt x="112" y="32"/>
                    <a:pt x="113" y="32"/>
                    <a:pt x="114" y="32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6" y="32"/>
                    <a:pt x="116" y="32"/>
                    <a:pt x="116" y="33"/>
                  </a:cubicBezTo>
                  <a:cubicBezTo>
                    <a:pt x="117" y="32"/>
                    <a:pt x="117" y="32"/>
                    <a:pt x="117" y="31"/>
                  </a:cubicBezTo>
                  <a:cubicBezTo>
                    <a:pt x="117" y="31"/>
                    <a:pt x="117" y="30"/>
                    <a:pt x="117" y="30"/>
                  </a:cubicBezTo>
                  <a:cubicBezTo>
                    <a:pt x="117" y="29"/>
                    <a:pt x="117" y="29"/>
                    <a:pt x="118" y="28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9" y="27"/>
                    <a:pt x="120" y="26"/>
                    <a:pt x="121" y="26"/>
                  </a:cubicBezTo>
                  <a:cubicBezTo>
                    <a:pt x="122" y="26"/>
                    <a:pt x="122" y="26"/>
                    <a:pt x="122" y="26"/>
                  </a:cubicBezTo>
                  <a:cubicBezTo>
                    <a:pt x="123" y="26"/>
                    <a:pt x="124" y="26"/>
                    <a:pt x="124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6" y="25"/>
                  </a:cubicBezTo>
                  <a:cubicBezTo>
                    <a:pt x="126" y="25"/>
                    <a:pt x="126" y="25"/>
                    <a:pt x="125" y="25"/>
                  </a:cubicBezTo>
                  <a:cubicBezTo>
                    <a:pt x="125" y="24"/>
                    <a:pt x="125" y="23"/>
                    <a:pt x="125" y="22"/>
                  </a:cubicBezTo>
                  <a:cubicBezTo>
                    <a:pt x="125" y="22"/>
                    <a:pt x="125" y="22"/>
                    <a:pt x="126" y="21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6" y="20"/>
                    <a:pt x="126" y="19"/>
                    <a:pt x="128" y="18"/>
                  </a:cubicBezTo>
                  <a:cubicBezTo>
                    <a:pt x="128" y="18"/>
                    <a:pt x="128" y="18"/>
                    <a:pt x="128" y="18"/>
                  </a:cubicBezTo>
                  <a:cubicBezTo>
                    <a:pt x="129" y="18"/>
                    <a:pt x="129" y="18"/>
                    <a:pt x="130" y="17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1" y="16"/>
                    <a:pt x="131" y="16"/>
                    <a:pt x="131" y="16"/>
                  </a:cubicBezTo>
                  <a:cubicBezTo>
                    <a:pt x="131" y="17"/>
                    <a:pt x="131" y="17"/>
                    <a:pt x="132" y="17"/>
                  </a:cubicBezTo>
                  <a:cubicBezTo>
                    <a:pt x="132" y="17"/>
                    <a:pt x="133" y="16"/>
                    <a:pt x="134" y="16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134" y="16"/>
                    <a:pt x="134" y="15"/>
                    <a:pt x="134" y="15"/>
                  </a:cubicBezTo>
                  <a:cubicBezTo>
                    <a:pt x="133" y="15"/>
                    <a:pt x="133" y="14"/>
                    <a:pt x="133" y="14"/>
                  </a:cubicBezTo>
                  <a:cubicBezTo>
                    <a:pt x="133" y="14"/>
                    <a:pt x="133" y="14"/>
                    <a:pt x="133" y="13"/>
                  </a:cubicBezTo>
                  <a:cubicBezTo>
                    <a:pt x="132" y="12"/>
                    <a:pt x="132" y="11"/>
                    <a:pt x="132" y="9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2" y="8"/>
                    <a:pt x="132" y="8"/>
                    <a:pt x="131" y="8"/>
                  </a:cubicBezTo>
                  <a:cubicBezTo>
                    <a:pt x="131" y="8"/>
                    <a:pt x="131" y="8"/>
                    <a:pt x="131" y="8"/>
                  </a:cubicBezTo>
                  <a:cubicBezTo>
                    <a:pt x="130" y="8"/>
                    <a:pt x="129" y="8"/>
                    <a:pt x="129" y="8"/>
                  </a:cubicBezTo>
                  <a:cubicBezTo>
                    <a:pt x="128" y="9"/>
                    <a:pt x="128" y="10"/>
                    <a:pt x="127" y="12"/>
                  </a:cubicBezTo>
                  <a:cubicBezTo>
                    <a:pt x="127" y="12"/>
                    <a:pt x="127" y="12"/>
                    <a:pt x="127" y="13"/>
                  </a:cubicBezTo>
                  <a:cubicBezTo>
                    <a:pt x="127" y="13"/>
                    <a:pt x="127" y="15"/>
                    <a:pt x="126" y="15"/>
                  </a:cubicBezTo>
                  <a:cubicBezTo>
                    <a:pt x="125" y="15"/>
                    <a:pt x="125" y="15"/>
                    <a:pt x="124" y="15"/>
                  </a:cubicBezTo>
                  <a:cubicBezTo>
                    <a:pt x="124" y="16"/>
                    <a:pt x="124" y="16"/>
                    <a:pt x="124" y="16"/>
                  </a:cubicBezTo>
                  <a:cubicBezTo>
                    <a:pt x="123" y="16"/>
                    <a:pt x="122" y="16"/>
                    <a:pt x="121" y="16"/>
                  </a:cubicBezTo>
                  <a:cubicBezTo>
                    <a:pt x="121" y="16"/>
                    <a:pt x="120" y="16"/>
                    <a:pt x="119" y="16"/>
                  </a:cubicBezTo>
                  <a:cubicBezTo>
                    <a:pt x="117" y="16"/>
                    <a:pt x="115" y="16"/>
                    <a:pt x="114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1" y="21"/>
                    <a:pt x="109" y="21"/>
                  </a:cubicBezTo>
                  <a:cubicBezTo>
                    <a:pt x="108" y="21"/>
                    <a:pt x="108" y="21"/>
                    <a:pt x="107" y="21"/>
                  </a:cubicBezTo>
                  <a:cubicBezTo>
                    <a:pt x="107" y="22"/>
                    <a:pt x="107" y="22"/>
                    <a:pt x="107" y="23"/>
                  </a:cubicBezTo>
                  <a:cubicBezTo>
                    <a:pt x="106" y="25"/>
                    <a:pt x="101" y="26"/>
                    <a:pt x="98" y="26"/>
                  </a:cubicBezTo>
                  <a:cubicBezTo>
                    <a:pt x="97" y="26"/>
                    <a:pt x="96" y="26"/>
                    <a:pt x="96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8" y="23"/>
                    <a:pt x="98" y="22"/>
                    <a:pt x="97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6" y="19"/>
                    <a:pt x="96" y="20"/>
                    <a:pt x="9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8"/>
                    <a:pt x="96" y="16"/>
                    <a:pt x="96" y="15"/>
                  </a:cubicBezTo>
                  <a:cubicBezTo>
                    <a:pt x="96" y="15"/>
                    <a:pt x="95" y="14"/>
                    <a:pt x="94" y="14"/>
                  </a:cubicBezTo>
                  <a:cubicBezTo>
                    <a:pt x="94" y="14"/>
                    <a:pt x="94" y="14"/>
                    <a:pt x="93" y="14"/>
                  </a:cubicBezTo>
                  <a:cubicBezTo>
                    <a:pt x="93" y="14"/>
                    <a:pt x="92" y="15"/>
                    <a:pt x="92" y="16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0" y="17"/>
                    <a:pt x="89" y="19"/>
                    <a:pt x="90" y="20"/>
                  </a:cubicBezTo>
                  <a:cubicBezTo>
                    <a:pt x="90" y="21"/>
                    <a:pt x="90" y="24"/>
                    <a:pt x="89" y="25"/>
                  </a:cubicBezTo>
                  <a:cubicBezTo>
                    <a:pt x="89" y="26"/>
                    <a:pt x="88" y="26"/>
                    <a:pt x="88" y="26"/>
                  </a:cubicBezTo>
                  <a:cubicBezTo>
                    <a:pt x="87" y="26"/>
                    <a:pt x="86" y="26"/>
                    <a:pt x="86" y="25"/>
                  </a:cubicBezTo>
                  <a:cubicBezTo>
                    <a:pt x="84" y="24"/>
                    <a:pt x="85" y="20"/>
                    <a:pt x="86" y="17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6" y="15"/>
                    <a:pt x="86" y="14"/>
                    <a:pt x="87" y="13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9" y="11"/>
                    <a:pt x="89" y="11"/>
                    <a:pt x="89" y="11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90" y="11"/>
                    <a:pt x="92" y="11"/>
                    <a:pt x="92" y="11"/>
                  </a:cubicBezTo>
                  <a:cubicBezTo>
                    <a:pt x="93" y="11"/>
                    <a:pt x="93" y="11"/>
                    <a:pt x="93" y="11"/>
                  </a:cubicBezTo>
                  <a:cubicBezTo>
                    <a:pt x="93" y="11"/>
                    <a:pt x="94" y="11"/>
                    <a:pt x="94" y="11"/>
                  </a:cubicBezTo>
                  <a:cubicBezTo>
                    <a:pt x="94" y="11"/>
                    <a:pt x="94" y="11"/>
                    <a:pt x="93" y="11"/>
                  </a:cubicBezTo>
                  <a:cubicBezTo>
                    <a:pt x="93" y="11"/>
                    <a:pt x="93" y="11"/>
                    <a:pt x="92" y="10"/>
                  </a:cubicBezTo>
                  <a:cubicBezTo>
                    <a:pt x="92" y="10"/>
                    <a:pt x="91" y="10"/>
                    <a:pt x="91" y="10"/>
                  </a:cubicBezTo>
                  <a:cubicBezTo>
                    <a:pt x="91" y="10"/>
                    <a:pt x="90" y="10"/>
                    <a:pt x="89" y="11"/>
                  </a:cubicBezTo>
                  <a:cubicBezTo>
                    <a:pt x="89" y="11"/>
                    <a:pt x="88" y="11"/>
                    <a:pt x="88" y="11"/>
                  </a:cubicBezTo>
                  <a:cubicBezTo>
                    <a:pt x="87" y="11"/>
                    <a:pt x="87" y="11"/>
                    <a:pt x="86" y="10"/>
                  </a:cubicBezTo>
                  <a:cubicBezTo>
                    <a:pt x="86" y="10"/>
                    <a:pt x="85" y="9"/>
                    <a:pt x="85" y="1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1" y="10"/>
                    <a:pt x="79" y="11"/>
                    <a:pt x="79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0"/>
                    <a:pt x="77" y="10"/>
                    <a:pt x="77" y="10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7" y="8"/>
                    <a:pt x="79" y="7"/>
                    <a:pt x="80" y="5"/>
                  </a:cubicBezTo>
                  <a:cubicBezTo>
                    <a:pt x="80" y="5"/>
                    <a:pt x="80" y="5"/>
                    <a:pt x="79" y="5"/>
                  </a:cubicBezTo>
                  <a:cubicBezTo>
                    <a:pt x="78" y="5"/>
                    <a:pt x="77" y="5"/>
                    <a:pt x="75" y="4"/>
                  </a:cubicBezTo>
                  <a:cubicBezTo>
                    <a:pt x="74" y="3"/>
                    <a:pt x="73" y="3"/>
                    <a:pt x="72" y="3"/>
                  </a:cubicBezTo>
                  <a:cubicBezTo>
                    <a:pt x="72" y="3"/>
                    <a:pt x="71" y="3"/>
                    <a:pt x="71" y="3"/>
                  </a:cubicBezTo>
                  <a:cubicBezTo>
                    <a:pt x="70" y="3"/>
                    <a:pt x="70" y="2"/>
                    <a:pt x="69" y="2"/>
                  </a:cubicBezTo>
                  <a:cubicBezTo>
                    <a:pt x="69" y="2"/>
                    <a:pt x="67" y="3"/>
                    <a:pt x="66" y="3"/>
                  </a:cubicBezTo>
                  <a:cubicBezTo>
                    <a:pt x="64" y="3"/>
                    <a:pt x="63" y="2"/>
                    <a:pt x="62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53" y="2"/>
                    <a:pt x="46" y="2"/>
                    <a:pt x="38" y="2"/>
                  </a:cubicBezTo>
                  <a:cubicBezTo>
                    <a:pt x="28" y="2"/>
                    <a:pt x="17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6"/>
                    <a:pt x="7" y="6"/>
                    <a:pt x="6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5"/>
                    <a:pt x="4" y="5"/>
                  </a:cubicBezTo>
                  <a:cubicBezTo>
                    <a:pt x="3" y="5"/>
                    <a:pt x="2" y="4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1" y="5"/>
                    <a:pt x="2" y="7"/>
                    <a:pt x="3" y="8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2" y="14"/>
                    <a:pt x="2" y="22"/>
                    <a:pt x="3" y="25"/>
                  </a:cubicBezTo>
                  <a:cubicBezTo>
                    <a:pt x="3" y="26"/>
                    <a:pt x="3" y="27"/>
                    <a:pt x="3" y="28"/>
                  </a:cubicBezTo>
                  <a:cubicBezTo>
                    <a:pt x="3" y="29"/>
                    <a:pt x="2" y="30"/>
                    <a:pt x="3" y="31"/>
                  </a:cubicBezTo>
                  <a:cubicBezTo>
                    <a:pt x="4" y="32"/>
                    <a:pt x="4" y="33"/>
                    <a:pt x="4" y="34"/>
                  </a:cubicBezTo>
                  <a:cubicBezTo>
                    <a:pt x="4" y="35"/>
                    <a:pt x="5" y="35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8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8" y="40"/>
                    <a:pt x="8" y="40"/>
                    <a:pt x="8" y="41"/>
                  </a:cubicBezTo>
                  <a:cubicBezTo>
                    <a:pt x="8" y="41"/>
                    <a:pt x="8" y="41"/>
                    <a:pt x="8" y="42"/>
                  </a:cubicBezTo>
                  <a:cubicBezTo>
                    <a:pt x="9" y="42"/>
                    <a:pt x="9" y="42"/>
                    <a:pt x="9" y="43"/>
                  </a:cubicBezTo>
                  <a:cubicBezTo>
                    <a:pt x="10" y="43"/>
                    <a:pt x="10" y="44"/>
                    <a:pt x="11" y="45"/>
                  </a:cubicBezTo>
                  <a:cubicBezTo>
                    <a:pt x="11" y="45"/>
                    <a:pt x="11" y="45"/>
                    <a:pt x="11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2" y="46"/>
                    <a:pt x="12" y="46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4" y="47"/>
                    <a:pt x="18" y="49"/>
                    <a:pt x="19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0" y="52"/>
                    <a:pt x="20" y="52"/>
                    <a:pt x="21" y="51"/>
                  </a:cubicBezTo>
                  <a:cubicBezTo>
                    <a:pt x="22" y="51"/>
                    <a:pt x="23" y="51"/>
                    <a:pt x="24" y="51"/>
                  </a:cubicBezTo>
                  <a:cubicBezTo>
                    <a:pt x="27" y="53"/>
                    <a:pt x="30" y="54"/>
                    <a:pt x="32" y="55"/>
                  </a:cubicBezTo>
                  <a:cubicBezTo>
                    <a:pt x="33" y="55"/>
                    <a:pt x="33" y="55"/>
                    <a:pt x="34" y="55"/>
                  </a:cubicBezTo>
                  <a:cubicBezTo>
                    <a:pt x="36" y="55"/>
                    <a:pt x="38" y="55"/>
                    <a:pt x="38" y="55"/>
                  </a:cubicBezTo>
                  <a:cubicBezTo>
                    <a:pt x="38" y="54"/>
                    <a:pt x="39" y="53"/>
                    <a:pt x="40" y="53"/>
                  </a:cubicBezTo>
                  <a:cubicBezTo>
                    <a:pt x="40" y="53"/>
                    <a:pt x="41" y="54"/>
                    <a:pt x="41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3" y="54"/>
                    <a:pt x="44" y="54"/>
                    <a:pt x="45" y="55"/>
                  </a:cubicBezTo>
                  <a:cubicBezTo>
                    <a:pt x="45" y="55"/>
                    <a:pt x="45" y="56"/>
                    <a:pt x="46" y="56"/>
                  </a:cubicBezTo>
                  <a:cubicBezTo>
                    <a:pt x="47" y="57"/>
                    <a:pt x="47" y="58"/>
                    <a:pt x="48" y="58"/>
                  </a:cubicBezTo>
                  <a:cubicBezTo>
                    <a:pt x="48" y="59"/>
                    <a:pt x="49" y="60"/>
                    <a:pt x="50" y="61"/>
                  </a:cubicBezTo>
                  <a:cubicBezTo>
                    <a:pt x="51" y="60"/>
                    <a:pt x="52" y="59"/>
                    <a:pt x="53" y="59"/>
                  </a:cubicBezTo>
                  <a:cubicBezTo>
                    <a:pt x="55" y="59"/>
                    <a:pt x="56" y="61"/>
                    <a:pt x="57" y="63"/>
                  </a:cubicBezTo>
                  <a:cubicBezTo>
                    <a:pt x="58" y="64"/>
                    <a:pt x="58" y="64"/>
                    <a:pt x="58" y="65"/>
                  </a:cubicBezTo>
                  <a:cubicBezTo>
                    <a:pt x="59" y="66"/>
                    <a:pt x="60" y="67"/>
                    <a:pt x="60" y="68"/>
                  </a:cubicBezTo>
                  <a:cubicBezTo>
                    <a:pt x="61" y="68"/>
                    <a:pt x="63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64" y="69"/>
                    <a:pt x="64" y="68"/>
                    <a:pt x="64" y="68"/>
                  </a:cubicBezTo>
                  <a:cubicBezTo>
                    <a:pt x="63" y="67"/>
                    <a:pt x="63" y="67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3" y="66"/>
                  </a:cubicBezTo>
                  <a:cubicBezTo>
                    <a:pt x="63" y="65"/>
                    <a:pt x="63" y="65"/>
                    <a:pt x="64" y="64"/>
                  </a:cubicBezTo>
                  <a:cubicBezTo>
                    <a:pt x="64" y="64"/>
                    <a:pt x="64" y="64"/>
                    <a:pt x="65" y="64"/>
                  </a:cubicBezTo>
                  <a:cubicBezTo>
                    <a:pt x="65" y="63"/>
                    <a:pt x="66" y="63"/>
                    <a:pt x="65" y="63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7" y="62"/>
                    <a:pt x="67" y="62"/>
                  </a:cubicBezTo>
                  <a:cubicBezTo>
                    <a:pt x="68" y="62"/>
                    <a:pt x="69" y="62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3" y="59"/>
                    <a:pt x="75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9"/>
                    <a:pt x="76" y="59"/>
                    <a:pt x="77" y="59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80" y="61"/>
                    <a:pt x="80" y="61"/>
                    <a:pt x="80" y="60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0" y="59"/>
                    <a:pt x="80" y="59"/>
                    <a:pt x="80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8"/>
                    <a:pt x="81" y="58"/>
                  </a:cubicBezTo>
                  <a:cubicBezTo>
                    <a:pt x="82" y="58"/>
                    <a:pt x="82" y="58"/>
                    <a:pt x="83" y="58"/>
                  </a:cubicBezTo>
                  <a:cubicBezTo>
                    <a:pt x="85" y="58"/>
                    <a:pt x="85" y="57"/>
                    <a:pt x="85" y="57"/>
                  </a:cubicBezTo>
                  <a:cubicBezTo>
                    <a:pt x="85" y="57"/>
                    <a:pt x="85" y="56"/>
                    <a:pt x="85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7" y="57"/>
                    <a:pt x="89" y="57"/>
                    <a:pt x="90" y="57"/>
                  </a:cubicBezTo>
                  <a:cubicBezTo>
                    <a:pt x="90" y="57"/>
                    <a:pt x="91" y="58"/>
                    <a:pt x="91" y="58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6" y="58"/>
                    <a:pt x="98" y="59"/>
                    <a:pt x="98" y="64"/>
                  </a:cubicBezTo>
                  <a:lnTo>
                    <a:pt x="99" y="64"/>
                  </a:lnTo>
                  <a:close/>
                  <a:moveTo>
                    <a:pt x="112" y="40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0"/>
                    <a:pt x="113" y="40"/>
                    <a:pt x="112" y="40"/>
                  </a:cubicBezTo>
                  <a:close/>
                  <a:moveTo>
                    <a:pt x="114" y="32"/>
                  </a:moveTo>
                  <a:cubicBezTo>
                    <a:pt x="114" y="32"/>
                    <a:pt x="114" y="32"/>
                    <a:pt x="114" y="32"/>
                  </a:cubicBezTo>
                  <a:cubicBezTo>
                    <a:pt x="114" y="33"/>
                    <a:pt x="113" y="34"/>
                    <a:pt x="114" y="35"/>
                  </a:cubicBezTo>
                  <a:cubicBezTo>
                    <a:pt x="114" y="35"/>
                    <a:pt x="114" y="36"/>
                    <a:pt x="114" y="36"/>
                  </a:cubicBezTo>
                  <a:cubicBezTo>
                    <a:pt x="114" y="36"/>
                    <a:pt x="114" y="36"/>
                    <a:pt x="115" y="36"/>
                  </a:cubicBezTo>
                  <a:cubicBezTo>
                    <a:pt x="115" y="35"/>
                    <a:pt x="115" y="34"/>
                    <a:pt x="114" y="32"/>
                  </a:cubicBezTo>
                  <a:close/>
                  <a:moveTo>
                    <a:pt x="88" y="14"/>
                  </a:moveTo>
                  <a:cubicBezTo>
                    <a:pt x="88" y="14"/>
                    <a:pt x="88" y="14"/>
                    <a:pt x="88" y="14"/>
                  </a:cubicBezTo>
                  <a:cubicBezTo>
                    <a:pt x="88" y="14"/>
                    <a:pt x="88" y="15"/>
                    <a:pt x="87" y="17"/>
                  </a:cubicBezTo>
                  <a:cubicBezTo>
                    <a:pt x="87" y="20"/>
                    <a:pt x="86" y="24"/>
                    <a:pt x="87" y="25"/>
                  </a:cubicBezTo>
                  <a:cubicBezTo>
                    <a:pt x="87" y="25"/>
                    <a:pt x="87" y="25"/>
                    <a:pt x="88" y="25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9" y="24"/>
                    <a:pt x="89" y="21"/>
                    <a:pt x="89" y="21"/>
                  </a:cubicBezTo>
                  <a:cubicBezTo>
                    <a:pt x="88" y="19"/>
                    <a:pt x="89" y="16"/>
                    <a:pt x="91" y="14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2" y="13"/>
                    <a:pt x="92" y="13"/>
                    <a:pt x="93" y="13"/>
                  </a:cubicBezTo>
                  <a:cubicBezTo>
                    <a:pt x="92" y="13"/>
                    <a:pt x="92" y="12"/>
                    <a:pt x="92" y="12"/>
                  </a:cubicBezTo>
                  <a:cubicBezTo>
                    <a:pt x="91" y="12"/>
                    <a:pt x="90" y="13"/>
                    <a:pt x="90" y="13"/>
                  </a:cubicBezTo>
                  <a:cubicBezTo>
                    <a:pt x="89" y="13"/>
                    <a:pt x="89" y="13"/>
                    <a:pt x="89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8" y="13"/>
                    <a:pt x="88" y="14"/>
                    <a:pt x="88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0" name="Freeform 32"/>
            <p:cNvSpPr/>
            <p:nvPr/>
          </p:nvSpPr>
          <p:spPr bwMode="auto">
            <a:xfrm>
              <a:off x="5522909" y="1417293"/>
              <a:ext cx="664281" cy="645247"/>
            </a:xfrm>
            <a:custGeom>
              <a:avLst/>
              <a:gdLst>
                <a:gd name="T0" fmla="*/ 2147483646 w 89"/>
                <a:gd name="T1" fmla="*/ 2147483646 h 87"/>
                <a:gd name="T2" fmla="*/ 2147483646 w 89"/>
                <a:gd name="T3" fmla="*/ 2147483646 h 87"/>
                <a:gd name="T4" fmla="*/ 2147483646 w 89"/>
                <a:gd name="T5" fmla="*/ 2147483646 h 87"/>
                <a:gd name="T6" fmla="*/ 2147483646 w 89"/>
                <a:gd name="T7" fmla="*/ 2147483646 h 87"/>
                <a:gd name="T8" fmla="*/ 2147483646 w 89"/>
                <a:gd name="T9" fmla="*/ 2147483646 h 87"/>
                <a:gd name="T10" fmla="*/ 2147483646 w 89"/>
                <a:gd name="T11" fmla="*/ 2147483646 h 87"/>
                <a:gd name="T12" fmla="*/ 2147483646 w 89"/>
                <a:gd name="T13" fmla="*/ 2147483646 h 87"/>
                <a:gd name="T14" fmla="*/ 2147483646 w 89"/>
                <a:gd name="T15" fmla="*/ 2147483646 h 87"/>
                <a:gd name="T16" fmla="*/ 2147483646 w 89"/>
                <a:gd name="T17" fmla="*/ 2147483646 h 87"/>
                <a:gd name="T18" fmla="*/ 2147483646 w 89"/>
                <a:gd name="T19" fmla="*/ 2147483646 h 87"/>
                <a:gd name="T20" fmla="*/ 2147483646 w 89"/>
                <a:gd name="T21" fmla="*/ 2147483646 h 87"/>
                <a:gd name="T22" fmla="*/ 2147483646 w 89"/>
                <a:gd name="T23" fmla="*/ 2147483646 h 87"/>
                <a:gd name="T24" fmla="*/ 2147483646 w 89"/>
                <a:gd name="T25" fmla="*/ 2147483646 h 87"/>
                <a:gd name="T26" fmla="*/ 2147483646 w 89"/>
                <a:gd name="T27" fmla="*/ 2147483646 h 87"/>
                <a:gd name="T28" fmla="*/ 2147483646 w 89"/>
                <a:gd name="T29" fmla="*/ 2147483646 h 87"/>
                <a:gd name="T30" fmla="*/ 2147483646 w 89"/>
                <a:gd name="T31" fmla="*/ 2147483646 h 87"/>
                <a:gd name="T32" fmla="*/ 2147483646 w 89"/>
                <a:gd name="T33" fmla="*/ 2147483646 h 87"/>
                <a:gd name="T34" fmla="*/ 2147483646 w 89"/>
                <a:gd name="T35" fmla="*/ 2147483646 h 87"/>
                <a:gd name="T36" fmla="*/ 2147483646 w 89"/>
                <a:gd name="T37" fmla="*/ 2147483646 h 87"/>
                <a:gd name="T38" fmla="*/ 2147483646 w 89"/>
                <a:gd name="T39" fmla="*/ 2147483646 h 87"/>
                <a:gd name="T40" fmla="*/ 2147483646 w 89"/>
                <a:gd name="T41" fmla="*/ 2147483646 h 87"/>
                <a:gd name="T42" fmla="*/ 2147483646 w 89"/>
                <a:gd name="T43" fmla="*/ 2147483646 h 87"/>
                <a:gd name="T44" fmla="*/ 2147483646 w 89"/>
                <a:gd name="T45" fmla="*/ 2147483646 h 87"/>
                <a:gd name="T46" fmla="*/ 2147483646 w 89"/>
                <a:gd name="T47" fmla="*/ 2147483646 h 87"/>
                <a:gd name="T48" fmla="*/ 2147483646 w 89"/>
                <a:gd name="T49" fmla="*/ 2147483646 h 87"/>
                <a:gd name="T50" fmla="*/ 2147483646 w 89"/>
                <a:gd name="T51" fmla="*/ 2147483646 h 87"/>
                <a:gd name="T52" fmla="*/ 2147483646 w 89"/>
                <a:gd name="T53" fmla="*/ 2147483646 h 87"/>
                <a:gd name="T54" fmla="*/ 2147483646 w 89"/>
                <a:gd name="T55" fmla="*/ 2147483646 h 87"/>
                <a:gd name="T56" fmla="*/ 2147483646 w 89"/>
                <a:gd name="T57" fmla="*/ 2147483646 h 87"/>
                <a:gd name="T58" fmla="*/ 2147483646 w 89"/>
                <a:gd name="T59" fmla="*/ 2147483646 h 87"/>
                <a:gd name="T60" fmla="*/ 2147483646 w 89"/>
                <a:gd name="T61" fmla="*/ 2147483646 h 87"/>
                <a:gd name="T62" fmla="*/ 2147483646 w 89"/>
                <a:gd name="T63" fmla="*/ 2147483646 h 87"/>
                <a:gd name="T64" fmla="*/ 2147483646 w 89"/>
                <a:gd name="T65" fmla="*/ 2147483646 h 87"/>
                <a:gd name="T66" fmla="*/ 2147483646 w 89"/>
                <a:gd name="T67" fmla="*/ 2147483646 h 87"/>
                <a:gd name="T68" fmla="*/ 2147483646 w 89"/>
                <a:gd name="T69" fmla="*/ 2147483646 h 87"/>
                <a:gd name="T70" fmla="*/ 2147483646 w 89"/>
                <a:gd name="T71" fmla="*/ 2147483646 h 87"/>
                <a:gd name="T72" fmla="*/ 2147483646 w 89"/>
                <a:gd name="T73" fmla="*/ 2147483646 h 87"/>
                <a:gd name="T74" fmla="*/ 2147483646 w 89"/>
                <a:gd name="T75" fmla="*/ 2147483646 h 87"/>
                <a:gd name="T76" fmla="*/ 2147483646 w 89"/>
                <a:gd name="T77" fmla="*/ 2147483646 h 87"/>
                <a:gd name="T78" fmla="*/ 2147483646 w 89"/>
                <a:gd name="T79" fmla="*/ 2147483646 h 87"/>
                <a:gd name="T80" fmla="*/ 2147483646 w 89"/>
                <a:gd name="T81" fmla="*/ 2147483646 h 87"/>
                <a:gd name="T82" fmla="*/ 2147483646 w 89"/>
                <a:gd name="T83" fmla="*/ 2147483646 h 87"/>
                <a:gd name="T84" fmla="*/ 2147483646 w 89"/>
                <a:gd name="T85" fmla="*/ 2147483646 h 87"/>
                <a:gd name="T86" fmla="*/ 2147483646 w 89"/>
                <a:gd name="T87" fmla="*/ 2147483646 h 87"/>
                <a:gd name="T88" fmla="*/ 2147483646 w 89"/>
                <a:gd name="T89" fmla="*/ 2147483646 h 87"/>
                <a:gd name="T90" fmla="*/ 2147483646 w 89"/>
                <a:gd name="T91" fmla="*/ 2147483646 h 87"/>
                <a:gd name="T92" fmla="*/ 2147483646 w 89"/>
                <a:gd name="T93" fmla="*/ 2147483646 h 87"/>
                <a:gd name="T94" fmla="*/ 2147483646 w 89"/>
                <a:gd name="T95" fmla="*/ 2147483646 h 87"/>
                <a:gd name="T96" fmla="*/ 2147483646 w 89"/>
                <a:gd name="T97" fmla="*/ 2147483646 h 87"/>
                <a:gd name="T98" fmla="*/ 2147483646 w 89"/>
                <a:gd name="T99" fmla="*/ 2147483646 h 87"/>
                <a:gd name="T100" fmla="*/ 2147483646 w 89"/>
                <a:gd name="T101" fmla="*/ 2147483646 h 87"/>
                <a:gd name="T102" fmla="*/ 2147483646 w 89"/>
                <a:gd name="T103" fmla="*/ 2147483646 h 87"/>
                <a:gd name="T104" fmla="*/ 2147483646 w 89"/>
                <a:gd name="T105" fmla="*/ 2147483646 h 87"/>
                <a:gd name="T106" fmla="*/ 2147483646 w 89"/>
                <a:gd name="T107" fmla="*/ 2147483646 h 87"/>
                <a:gd name="T108" fmla="*/ 2147483646 w 89"/>
                <a:gd name="T109" fmla="*/ 2147483646 h 87"/>
                <a:gd name="T110" fmla="*/ 2147483646 w 89"/>
                <a:gd name="T111" fmla="*/ 2147483646 h 87"/>
                <a:gd name="T112" fmla="*/ 2147483646 w 89"/>
                <a:gd name="T113" fmla="*/ 2147483646 h 87"/>
                <a:gd name="T114" fmla="*/ 2147483646 w 89"/>
                <a:gd name="T115" fmla="*/ 2147483646 h 87"/>
                <a:gd name="T116" fmla="*/ 2147483646 w 89"/>
                <a:gd name="T117" fmla="*/ 2147483646 h 87"/>
                <a:gd name="T118" fmla="*/ 2147483646 w 89"/>
                <a:gd name="T119" fmla="*/ 2147483646 h 87"/>
                <a:gd name="T120" fmla="*/ 2147483646 w 89"/>
                <a:gd name="T121" fmla="*/ 2147483646 h 8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9" h="87">
                  <a:moveTo>
                    <a:pt x="11" y="85"/>
                  </a:moveTo>
                  <a:cubicBezTo>
                    <a:pt x="11" y="85"/>
                    <a:pt x="11" y="86"/>
                    <a:pt x="11" y="86"/>
                  </a:cubicBezTo>
                  <a:cubicBezTo>
                    <a:pt x="11" y="86"/>
                    <a:pt x="11" y="86"/>
                    <a:pt x="11" y="85"/>
                  </a:cubicBezTo>
                  <a:cubicBezTo>
                    <a:pt x="12" y="86"/>
                    <a:pt x="12" y="85"/>
                    <a:pt x="13" y="86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7"/>
                    <a:pt x="15" y="84"/>
                    <a:pt x="15" y="83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7" y="84"/>
                    <a:pt x="18" y="83"/>
                    <a:pt x="19" y="82"/>
                  </a:cubicBezTo>
                  <a:cubicBezTo>
                    <a:pt x="19" y="83"/>
                    <a:pt x="19" y="83"/>
                    <a:pt x="19" y="84"/>
                  </a:cubicBezTo>
                  <a:cubicBezTo>
                    <a:pt x="20" y="82"/>
                    <a:pt x="21" y="82"/>
                    <a:pt x="22" y="82"/>
                  </a:cubicBezTo>
                  <a:cubicBezTo>
                    <a:pt x="21" y="81"/>
                    <a:pt x="21" y="80"/>
                    <a:pt x="21" y="80"/>
                  </a:cubicBezTo>
                  <a:cubicBezTo>
                    <a:pt x="22" y="81"/>
                    <a:pt x="23" y="80"/>
                    <a:pt x="24" y="80"/>
                  </a:cubicBezTo>
                  <a:cubicBezTo>
                    <a:pt x="23" y="80"/>
                    <a:pt x="23" y="80"/>
                    <a:pt x="23" y="79"/>
                  </a:cubicBezTo>
                  <a:cubicBezTo>
                    <a:pt x="25" y="80"/>
                    <a:pt x="24" y="78"/>
                    <a:pt x="25" y="78"/>
                  </a:cubicBezTo>
                  <a:cubicBezTo>
                    <a:pt x="27" y="78"/>
                    <a:pt x="27" y="77"/>
                    <a:pt x="27" y="76"/>
                  </a:cubicBezTo>
                  <a:cubicBezTo>
                    <a:pt x="28" y="76"/>
                    <a:pt x="29" y="75"/>
                    <a:pt x="29" y="74"/>
                  </a:cubicBezTo>
                  <a:cubicBezTo>
                    <a:pt x="31" y="75"/>
                    <a:pt x="33" y="71"/>
                    <a:pt x="34" y="70"/>
                  </a:cubicBezTo>
                  <a:cubicBezTo>
                    <a:pt x="34" y="69"/>
                    <a:pt x="33" y="69"/>
                    <a:pt x="32" y="69"/>
                  </a:cubicBezTo>
                  <a:cubicBezTo>
                    <a:pt x="32" y="66"/>
                    <a:pt x="37" y="65"/>
                    <a:pt x="35" y="63"/>
                  </a:cubicBezTo>
                  <a:cubicBezTo>
                    <a:pt x="36" y="64"/>
                    <a:pt x="37" y="60"/>
                    <a:pt x="39" y="59"/>
                  </a:cubicBezTo>
                  <a:cubicBezTo>
                    <a:pt x="41" y="58"/>
                    <a:pt x="41" y="56"/>
                    <a:pt x="41" y="54"/>
                  </a:cubicBezTo>
                  <a:cubicBezTo>
                    <a:pt x="41" y="55"/>
                    <a:pt x="41" y="57"/>
                    <a:pt x="41" y="58"/>
                  </a:cubicBezTo>
                  <a:cubicBezTo>
                    <a:pt x="42" y="59"/>
                    <a:pt x="43" y="58"/>
                    <a:pt x="43" y="57"/>
                  </a:cubicBezTo>
                  <a:cubicBezTo>
                    <a:pt x="43" y="58"/>
                    <a:pt x="42" y="59"/>
                    <a:pt x="42" y="59"/>
                  </a:cubicBezTo>
                  <a:cubicBezTo>
                    <a:pt x="43" y="60"/>
                    <a:pt x="43" y="60"/>
                    <a:pt x="44" y="60"/>
                  </a:cubicBezTo>
                  <a:cubicBezTo>
                    <a:pt x="42" y="60"/>
                    <a:pt x="39" y="59"/>
                    <a:pt x="39" y="62"/>
                  </a:cubicBezTo>
                  <a:cubicBezTo>
                    <a:pt x="39" y="63"/>
                    <a:pt x="37" y="68"/>
                    <a:pt x="40" y="65"/>
                  </a:cubicBezTo>
                  <a:cubicBezTo>
                    <a:pt x="39" y="67"/>
                    <a:pt x="37" y="67"/>
                    <a:pt x="38" y="68"/>
                  </a:cubicBezTo>
                  <a:cubicBezTo>
                    <a:pt x="39" y="69"/>
                    <a:pt x="41" y="67"/>
                    <a:pt x="41" y="66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6"/>
                    <a:pt x="42" y="66"/>
                    <a:pt x="43" y="65"/>
                  </a:cubicBezTo>
                  <a:cubicBezTo>
                    <a:pt x="43" y="65"/>
                    <a:pt x="43" y="65"/>
                    <a:pt x="43" y="66"/>
                  </a:cubicBezTo>
                  <a:cubicBezTo>
                    <a:pt x="43" y="65"/>
                    <a:pt x="43" y="65"/>
                    <a:pt x="43" y="64"/>
                  </a:cubicBezTo>
                  <a:cubicBezTo>
                    <a:pt x="45" y="65"/>
                    <a:pt x="45" y="64"/>
                    <a:pt x="46" y="62"/>
                  </a:cubicBezTo>
                  <a:cubicBezTo>
                    <a:pt x="46" y="62"/>
                    <a:pt x="45" y="62"/>
                    <a:pt x="45" y="62"/>
                  </a:cubicBezTo>
                  <a:cubicBezTo>
                    <a:pt x="45" y="62"/>
                    <a:pt x="46" y="61"/>
                    <a:pt x="46" y="61"/>
                  </a:cubicBezTo>
                  <a:cubicBezTo>
                    <a:pt x="46" y="61"/>
                    <a:pt x="45" y="61"/>
                    <a:pt x="45" y="61"/>
                  </a:cubicBezTo>
                  <a:cubicBezTo>
                    <a:pt x="46" y="60"/>
                    <a:pt x="46" y="59"/>
                    <a:pt x="47" y="59"/>
                  </a:cubicBezTo>
                  <a:cubicBezTo>
                    <a:pt x="47" y="59"/>
                    <a:pt x="47" y="60"/>
                    <a:pt x="47" y="60"/>
                  </a:cubicBezTo>
                  <a:cubicBezTo>
                    <a:pt x="47" y="60"/>
                    <a:pt x="47" y="60"/>
                    <a:pt x="47" y="59"/>
                  </a:cubicBezTo>
                  <a:cubicBezTo>
                    <a:pt x="48" y="60"/>
                    <a:pt x="49" y="60"/>
                    <a:pt x="50" y="59"/>
                  </a:cubicBezTo>
                  <a:cubicBezTo>
                    <a:pt x="50" y="60"/>
                    <a:pt x="50" y="60"/>
                    <a:pt x="49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1"/>
                    <a:pt x="50" y="61"/>
                    <a:pt x="49" y="61"/>
                  </a:cubicBezTo>
                  <a:cubicBezTo>
                    <a:pt x="50" y="61"/>
                    <a:pt x="50" y="61"/>
                    <a:pt x="51" y="61"/>
                  </a:cubicBezTo>
                  <a:cubicBezTo>
                    <a:pt x="51" y="61"/>
                    <a:pt x="51" y="61"/>
                    <a:pt x="50" y="61"/>
                  </a:cubicBezTo>
                  <a:cubicBezTo>
                    <a:pt x="51" y="61"/>
                    <a:pt x="51" y="61"/>
                    <a:pt x="52" y="61"/>
                  </a:cubicBezTo>
                  <a:cubicBezTo>
                    <a:pt x="52" y="63"/>
                    <a:pt x="53" y="62"/>
                    <a:pt x="54" y="62"/>
                  </a:cubicBezTo>
                  <a:cubicBezTo>
                    <a:pt x="55" y="64"/>
                    <a:pt x="55" y="64"/>
                    <a:pt x="58" y="64"/>
                  </a:cubicBezTo>
                  <a:cubicBezTo>
                    <a:pt x="59" y="64"/>
                    <a:pt x="60" y="64"/>
                    <a:pt x="61" y="64"/>
                  </a:cubicBezTo>
                  <a:cubicBezTo>
                    <a:pt x="62" y="64"/>
                    <a:pt x="61" y="65"/>
                    <a:pt x="62" y="65"/>
                  </a:cubicBezTo>
                  <a:cubicBezTo>
                    <a:pt x="63" y="65"/>
                    <a:pt x="65" y="66"/>
                    <a:pt x="66" y="64"/>
                  </a:cubicBezTo>
                  <a:cubicBezTo>
                    <a:pt x="66" y="64"/>
                    <a:pt x="67" y="65"/>
                    <a:pt x="67" y="65"/>
                  </a:cubicBezTo>
                  <a:cubicBezTo>
                    <a:pt x="67" y="65"/>
                    <a:pt x="67" y="66"/>
                    <a:pt x="67" y="66"/>
                  </a:cubicBezTo>
                  <a:cubicBezTo>
                    <a:pt x="67" y="66"/>
                    <a:pt x="66" y="65"/>
                    <a:pt x="66" y="65"/>
                  </a:cubicBezTo>
                  <a:cubicBezTo>
                    <a:pt x="66" y="65"/>
                    <a:pt x="66" y="66"/>
                    <a:pt x="65" y="67"/>
                  </a:cubicBezTo>
                  <a:cubicBezTo>
                    <a:pt x="66" y="67"/>
                    <a:pt x="68" y="68"/>
                    <a:pt x="68" y="68"/>
                  </a:cubicBezTo>
                  <a:cubicBezTo>
                    <a:pt x="69" y="68"/>
                    <a:pt x="70" y="67"/>
                    <a:pt x="70" y="66"/>
                  </a:cubicBezTo>
                  <a:cubicBezTo>
                    <a:pt x="70" y="67"/>
                    <a:pt x="69" y="67"/>
                    <a:pt x="69" y="69"/>
                  </a:cubicBezTo>
                  <a:cubicBezTo>
                    <a:pt x="69" y="69"/>
                    <a:pt x="71" y="71"/>
                    <a:pt x="71" y="71"/>
                  </a:cubicBezTo>
                  <a:cubicBezTo>
                    <a:pt x="71" y="71"/>
                    <a:pt x="74" y="73"/>
                    <a:pt x="74" y="71"/>
                  </a:cubicBezTo>
                  <a:cubicBezTo>
                    <a:pt x="74" y="70"/>
                    <a:pt x="72" y="70"/>
                    <a:pt x="72" y="69"/>
                  </a:cubicBezTo>
                  <a:cubicBezTo>
                    <a:pt x="73" y="69"/>
                    <a:pt x="73" y="70"/>
                    <a:pt x="74" y="70"/>
                  </a:cubicBezTo>
                  <a:cubicBezTo>
                    <a:pt x="74" y="70"/>
                    <a:pt x="74" y="70"/>
                    <a:pt x="74" y="69"/>
                  </a:cubicBezTo>
                  <a:cubicBezTo>
                    <a:pt x="75" y="70"/>
                    <a:pt x="75" y="71"/>
                    <a:pt x="75" y="72"/>
                  </a:cubicBezTo>
                  <a:cubicBezTo>
                    <a:pt x="75" y="72"/>
                    <a:pt x="75" y="71"/>
                    <a:pt x="75" y="71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7" y="71"/>
                    <a:pt x="75" y="69"/>
                    <a:pt x="76" y="67"/>
                  </a:cubicBezTo>
                  <a:cubicBezTo>
                    <a:pt x="76" y="68"/>
                    <a:pt x="77" y="70"/>
                    <a:pt x="77" y="71"/>
                  </a:cubicBezTo>
                  <a:cubicBezTo>
                    <a:pt x="77" y="72"/>
                    <a:pt x="79" y="72"/>
                    <a:pt x="79" y="73"/>
                  </a:cubicBezTo>
                  <a:cubicBezTo>
                    <a:pt x="79" y="73"/>
                    <a:pt x="80" y="73"/>
                    <a:pt x="80" y="73"/>
                  </a:cubicBezTo>
                  <a:cubicBezTo>
                    <a:pt x="79" y="74"/>
                    <a:pt x="81" y="74"/>
                    <a:pt x="81" y="75"/>
                  </a:cubicBezTo>
                  <a:cubicBezTo>
                    <a:pt x="81" y="75"/>
                    <a:pt x="80" y="75"/>
                    <a:pt x="80" y="75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81" y="76"/>
                    <a:pt x="80" y="76"/>
                    <a:pt x="81" y="76"/>
                  </a:cubicBezTo>
                  <a:cubicBezTo>
                    <a:pt x="81" y="77"/>
                    <a:pt x="81" y="77"/>
                    <a:pt x="80" y="77"/>
                  </a:cubicBezTo>
                  <a:cubicBezTo>
                    <a:pt x="81" y="77"/>
                    <a:pt x="82" y="77"/>
                    <a:pt x="82" y="78"/>
                  </a:cubicBezTo>
                  <a:cubicBezTo>
                    <a:pt x="82" y="78"/>
                    <a:pt x="82" y="78"/>
                    <a:pt x="81" y="77"/>
                  </a:cubicBezTo>
                  <a:cubicBezTo>
                    <a:pt x="82" y="78"/>
                    <a:pt x="84" y="81"/>
                    <a:pt x="85" y="81"/>
                  </a:cubicBezTo>
                  <a:cubicBezTo>
                    <a:pt x="84" y="81"/>
                    <a:pt x="83" y="83"/>
                    <a:pt x="83" y="84"/>
                  </a:cubicBezTo>
                  <a:cubicBezTo>
                    <a:pt x="84" y="83"/>
                    <a:pt x="85" y="82"/>
                    <a:pt x="86" y="81"/>
                  </a:cubicBezTo>
                  <a:cubicBezTo>
                    <a:pt x="86" y="82"/>
                    <a:pt x="86" y="85"/>
                    <a:pt x="87" y="85"/>
                  </a:cubicBezTo>
                  <a:cubicBezTo>
                    <a:pt x="87" y="85"/>
                    <a:pt x="86" y="86"/>
                    <a:pt x="86" y="87"/>
                  </a:cubicBezTo>
                  <a:cubicBezTo>
                    <a:pt x="89" y="86"/>
                    <a:pt x="89" y="82"/>
                    <a:pt x="87" y="81"/>
                  </a:cubicBezTo>
                  <a:cubicBezTo>
                    <a:pt x="84" y="79"/>
                    <a:pt x="83" y="78"/>
                    <a:pt x="81" y="74"/>
                  </a:cubicBezTo>
                  <a:cubicBezTo>
                    <a:pt x="80" y="71"/>
                    <a:pt x="78" y="70"/>
                    <a:pt x="76" y="67"/>
                  </a:cubicBezTo>
                  <a:cubicBezTo>
                    <a:pt x="75" y="64"/>
                    <a:pt x="73" y="69"/>
                    <a:pt x="71" y="69"/>
                  </a:cubicBezTo>
                  <a:cubicBezTo>
                    <a:pt x="70" y="67"/>
                    <a:pt x="66" y="65"/>
                    <a:pt x="67" y="63"/>
                  </a:cubicBezTo>
                  <a:cubicBezTo>
                    <a:pt x="63" y="65"/>
                    <a:pt x="63" y="62"/>
                    <a:pt x="63" y="59"/>
                  </a:cubicBezTo>
                  <a:cubicBezTo>
                    <a:pt x="63" y="53"/>
                    <a:pt x="63" y="47"/>
                    <a:pt x="63" y="41"/>
                  </a:cubicBezTo>
                  <a:cubicBezTo>
                    <a:pt x="63" y="31"/>
                    <a:pt x="63" y="21"/>
                    <a:pt x="63" y="11"/>
                  </a:cubicBezTo>
                  <a:cubicBezTo>
                    <a:pt x="62" y="12"/>
                    <a:pt x="59" y="9"/>
                    <a:pt x="58" y="8"/>
                  </a:cubicBezTo>
                  <a:cubicBezTo>
                    <a:pt x="57" y="7"/>
                    <a:pt x="54" y="9"/>
                    <a:pt x="52" y="9"/>
                  </a:cubicBezTo>
                  <a:cubicBezTo>
                    <a:pt x="47" y="7"/>
                    <a:pt x="44" y="6"/>
                    <a:pt x="38" y="6"/>
                  </a:cubicBezTo>
                  <a:cubicBezTo>
                    <a:pt x="38" y="6"/>
                    <a:pt x="38" y="5"/>
                    <a:pt x="38" y="5"/>
                  </a:cubicBezTo>
                  <a:cubicBezTo>
                    <a:pt x="37" y="5"/>
                    <a:pt x="37" y="4"/>
                    <a:pt x="37" y="3"/>
                  </a:cubicBezTo>
                  <a:cubicBezTo>
                    <a:pt x="36" y="4"/>
                    <a:pt x="35" y="4"/>
                    <a:pt x="35" y="3"/>
                  </a:cubicBezTo>
                  <a:cubicBezTo>
                    <a:pt x="34" y="2"/>
                    <a:pt x="33" y="4"/>
                    <a:pt x="32" y="4"/>
                  </a:cubicBezTo>
                  <a:cubicBezTo>
                    <a:pt x="32" y="3"/>
                    <a:pt x="31" y="1"/>
                    <a:pt x="30" y="1"/>
                  </a:cubicBezTo>
                  <a:cubicBezTo>
                    <a:pt x="29" y="1"/>
                    <a:pt x="29" y="3"/>
                    <a:pt x="30" y="4"/>
                  </a:cubicBezTo>
                  <a:cubicBezTo>
                    <a:pt x="29" y="4"/>
                    <a:pt x="28" y="3"/>
                    <a:pt x="27" y="3"/>
                  </a:cubicBezTo>
                  <a:cubicBezTo>
                    <a:pt x="28" y="2"/>
                    <a:pt x="29" y="2"/>
                    <a:pt x="29" y="1"/>
                  </a:cubicBezTo>
                  <a:cubicBezTo>
                    <a:pt x="26" y="0"/>
                    <a:pt x="27" y="0"/>
                    <a:pt x="25" y="2"/>
                  </a:cubicBezTo>
                  <a:cubicBezTo>
                    <a:pt x="23" y="3"/>
                    <a:pt x="21" y="3"/>
                    <a:pt x="21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1" y="3"/>
                    <a:pt x="21" y="3"/>
                  </a:cubicBezTo>
                  <a:cubicBezTo>
                    <a:pt x="20" y="3"/>
                    <a:pt x="19" y="4"/>
                    <a:pt x="19" y="5"/>
                  </a:cubicBezTo>
                  <a:cubicBezTo>
                    <a:pt x="19" y="5"/>
                    <a:pt x="20" y="5"/>
                    <a:pt x="20" y="6"/>
                  </a:cubicBezTo>
                  <a:cubicBezTo>
                    <a:pt x="19" y="6"/>
                    <a:pt x="19" y="6"/>
                    <a:pt x="19" y="7"/>
                  </a:cubicBezTo>
                  <a:cubicBezTo>
                    <a:pt x="19" y="7"/>
                    <a:pt x="19" y="5"/>
                    <a:pt x="18" y="5"/>
                  </a:cubicBezTo>
                  <a:cubicBezTo>
                    <a:pt x="17" y="6"/>
                    <a:pt x="16" y="7"/>
                    <a:pt x="14" y="8"/>
                  </a:cubicBezTo>
                  <a:cubicBezTo>
                    <a:pt x="14" y="8"/>
                    <a:pt x="15" y="7"/>
                    <a:pt x="15" y="7"/>
                  </a:cubicBezTo>
                  <a:cubicBezTo>
                    <a:pt x="15" y="7"/>
                    <a:pt x="14" y="7"/>
                    <a:pt x="14" y="7"/>
                  </a:cubicBezTo>
                  <a:cubicBezTo>
                    <a:pt x="14" y="8"/>
                    <a:pt x="14" y="9"/>
                    <a:pt x="15" y="10"/>
                  </a:cubicBezTo>
                  <a:cubicBezTo>
                    <a:pt x="14" y="9"/>
                    <a:pt x="13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3" y="11"/>
                    <a:pt x="12" y="11"/>
                    <a:pt x="12" y="11"/>
                  </a:cubicBezTo>
                  <a:cubicBezTo>
                    <a:pt x="12" y="11"/>
                    <a:pt x="13" y="12"/>
                    <a:pt x="13" y="12"/>
                  </a:cubicBezTo>
                  <a:cubicBezTo>
                    <a:pt x="13" y="12"/>
                    <a:pt x="12" y="12"/>
                    <a:pt x="12" y="11"/>
                  </a:cubicBezTo>
                  <a:cubicBezTo>
                    <a:pt x="12" y="14"/>
                    <a:pt x="10" y="16"/>
                    <a:pt x="8" y="16"/>
                  </a:cubicBezTo>
                  <a:cubicBezTo>
                    <a:pt x="8" y="16"/>
                    <a:pt x="5" y="16"/>
                    <a:pt x="4" y="16"/>
                  </a:cubicBezTo>
                  <a:cubicBezTo>
                    <a:pt x="4" y="17"/>
                    <a:pt x="4" y="19"/>
                    <a:pt x="5" y="19"/>
                  </a:cubicBezTo>
                  <a:cubicBezTo>
                    <a:pt x="4" y="19"/>
                    <a:pt x="4" y="19"/>
                    <a:pt x="3" y="20"/>
                  </a:cubicBezTo>
                  <a:cubicBezTo>
                    <a:pt x="5" y="21"/>
                    <a:pt x="7" y="22"/>
                    <a:pt x="9" y="24"/>
                  </a:cubicBezTo>
                  <a:cubicBezTo>
                    <a:pt x="10" y="25"/>
                    <a:pt x="12" y="31"/>
                    <a:pt x="13" y="27"/>
                  </a:cubicBezTo>
                  <a:cubicBezTo>
                    <a:pt x="13" y="27"/>
                    <a:pt x="13" y="28"/>
                    <a:pt x="13" y="28"/>
                  </a:cubicBezTo>
                  <a:cubicBezTo>
                    <a:pt x="17" y="27"/>
                    <a:pt x="14" y="29"/>
                    <a:pt x="16" y="3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0"/>
                    <a:pt x="19" y="30"/>
                    <a:pt x="20" y="31"/>
                  </a:cubicBezTo>
                  <a:cubicBezTo>
                    <a:pt x="18" y="31"/>
                    <a:pt x="15" y="33"/>
                    <a:pt x="14" y="30"/>
                  </a:cubicBezTo>
                  <a:cubicBezTo>
                    <a:pt x="14" y="31"/>
                    <a:pt x="14" y="31"/>
                    <a:pt x="14" y="32"/>
                  </a:cubicBezTo>
                  <a:cubicBezTo>
                    <a:pt x="15" y="32"/>
                    <a:pt x="16" y="32"/>
                    <a:pt x="17" y="32"/>
                  </a:cubicBezTo>
                  <a:cubicBezTo>
                    <a:pt x="17" y="33"/>
                    <a:pt x="16" y="33"/>
                    <a:pt x="16" y="33"/>
                  </a:cubicBezTo>
                  <a:cubicBezTo>
                    <a:pt x="16" y="33"/>
                    <a:pt x="16" y="32"/>
                    <a:pt x="15" y="32"/>
                  </a:cubicBezTo>
                  <a:cubicBezTo>
                    <a:pt x="15" y="34"/>
                    <a:pt x="15" y="34"/>
                    <a:pt x="13" y="34"/>
                  </a:cubicBezTo>
                  <a:cubicBezTo>
                    <a:pt x="12" y="34"/>
                    <a:pt x="10" y="34"/>
                    <a:pt x="9" y="33"/>
                  </a:cubicBezTo>
                  <a:cubicBezTo>
                    <a:pt x="10" y="32"/>
                    <a:pt x="11" y="30"/>
                    <a:pt x="9" y="30"/>
                  </a:cubicBezTo>
                  <a:cubicBezTo>
                    <a:pt x="8" y="30"/>
                    <a:pt x="7" y="31"/>
                    <a:pt x="5" y="32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4" y="32"/>
                    <a:pt x="2" y="34"/>
                    <a:pt x="0" y="35"/>
                  </a:cubicBezTo>
                  <a:cubicBezTo>
                    <a:pt x="2" y="37"/>
                    <a:pt x="2" y="37"/>
                    <a:pt x="5" y="38"/>
                  </a:cubicBezTo>
                  <a:cubicBezTo>
                    <a:pt x="4" y="38"/>
                    <a:pt x="3" y="38"/>
                    <a:pt x="3" y="38"/>
                  </a:cubicBezTo>
                  <a:cubicBezTo>
                    <a:pt x="4" y="40"/>
                    <a:pt x="4" y="42"/>
                    <a:pt x="7" y="42"/>
                  </a:cubicBezTo>
                  <a:cubicBezTo>
                    <a:pt x="8" y="43"/>
                    <a:pt x="10" y="41"/>
                    <a:pt x="12" y="43"/>
                  </a:cubicBezTo>
                  <a:cubicBezTo>
                    <a:pt x="11" y="42"/>
                    <a:pt x="12" y="42"/>
                    <a:pt x="11" y="41"/>
                  </a:cubicBezTo>
                  <a:cubicBezTo>
                    <a:pt x="12" y="41"/>
                    <a:pt x="12" y="42"/>
                    <a:pt x="13" y="43"/>
                  </a:cubicBezTo>
                  <a:cubicBezTo>
                    <a:pt x="14" y="41"/>
                    <a:pt x="14" y="40"/>
                    <a:pt x="17" y="41"/>
                  </a:cubicBezTo>
                  <a:cubicBezTo>
                    <a:pt x="17" y="42"/>
                    <a:pt x="17" y="42"/>
                    <a:pt x="15" y="42"/>
                  </a:cubicBezTo>
                  <a:cubicBezTo>
                    <a:pt x="16" y="43"/>
                    <a:pt x="18" y="46"/>
                    <a:pt x="16" y="47"/>
                  </a:cubicBezTo>
                  <a:cubicBezTo>
                    <a:pt x="16" y="48"/>
                    <a:pt x="14" y="47"/>
                    <a:pt x="14" y="47"/>
                  </a:cubicBezTo>
                  <a:cubicBezTo>
                    <a:pt x="13" y="48"/>
                    <a:pt x="13" y="49"/>
                    <a:pt x="12" y="50"/>
                  </a:cubicBezTo>
                  <a:cubicBezTo>
                    <a:pt x="11" y="50"/>
                    <a:pt x="10" y="50"/>
                    <a:pt x="9" y="50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8" y="51"/>
                    <a:pt x="8" y="51"/>
                  </a:cubicBezTo>
                  <a:cubicBezTo>
                    <a:pt x="7" y="52"/>
                    <a:pt x="6" y="52"/>
                    <a:pt x="6" y="53"/>
                  </a:cubicBezTo>
                  <a:cubicBezTo>
                    <a:pt x="5" y="54"/>
                    <a:pt x="6" y="55"/>
                    <a:pt x="5" y="56"/>
                  </a:cubicBezTo>
                  <a:cubicBezTo>
                    <a:pt x="4" y="56"/>
                    <a:pt x="5" y="57"/>
                    <a:pt x="4" y="57"/>
                  </a:cubicBezTo>
                  <a:cubicBezTo>
                    <a:pt x="5" y="57"/>
                    <a:pt x="6" y="57"/>
                    <a:pt x="7" y="57"/>
                  </a:cubicBezTo>
                  <a:cubicBezTo>
                    <a:pt x="6" y="57"/>
                    <a:pt x="6" y="57"/>
                    <a:pt x="5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9"/>
                    <a:pt x="6" y="59"/>
                    <a:pt x="7" y="60"/>
                  </a:cubicBezTo>
                  <a:cubicBezTo>
                    <a:pt x="7" y="59"/>
                    <a:pt x="8" y="60"/>
                    <a:pt x="8" y="60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9" y="61"/>
                    <a:pt x="9" y="61"/>
                    <a:pt x="10" y="60"/>
                  </a:cubicBezTo>
                  <a:cubicBezTo>
                    <a:pt x="9" y="62"/>
                    <a:pt x="7" y="65"/>
                    <a:pt x="10" y="65"/>
                  </a:cubicBezTo>
                  <a:cubicBezTo>
                    <a:pt x="10" y="65"/>
                    <a:pt x="9" y="65"/>
                    <a:pt x="9" y="65"/>
                  </a:cubicBezTo>
                  <a:cubicBezTo>
                    <a:pt x="10" y="67"/>
                    <a:pt x="12" y="66"/>
                    <a:pt x="13" y="64"/>
                  </a:cubicBezTo>
                  <a:cubicBezTo>
                    <a:pt x="14" y="63"/>
                    <a:pt x="13" y="62"/>
                    <a:pt x="15" y="60"/>
                  </a:cubicBezTo>
                  <a:cubicBezTo>
                    <a:pt x="14" y="61"/>
                    <a:pt x="13" y="62"/>
                    <a:pt x="13" y="64"/>
                  </a:cubicBezTo>
                  <a:cubicBezTo>
                    <a:pt x="14" y="65"/>
                    <a:pt x="15" y="66"/>
                    <a:pt x="14" y="68"/>
                  </a:cubicBezTo>
                  <a:cubicBezTo>
                    <a:pt x="14" y="68"/>
                    <a:pt x="15" y="68"/>
                    <a:pt x="15" y="68"/>
                  </a:cubicBezTo>
                  <a:cubicBezTo>
                    <a:pt x="15" y="69"/>
                    <a:pt x="15" y="69"/>
                    <a:pt x="15" y="70"/>
                  </a:cubicBezTo>
                  <a:cubicBezTo>
                    <a:pt x="15" y="70"/>
                    <a:pt x="14" y="70"/>
                    <a:pt x="14" y="71"/>
                  </a:cubicBezTo>
                  <a:cubicBezTo>
                    <a:pt x="16" y="70"/>
                    <a:pt x="17" y="70"/>
                    <a:pt x="18" y="68"/>
                  </a:cubicBezTo>
                  <a:cubicBezTo>
                    <a:pt x="18" y="69"/>
                    <a:pt x="18" y="69"/>
                    <a:pt x="19" y="69"/>
                  </a:cubicBezTo>
                  <a:cubicBezTo>
                    <a:pt x="20" y="69"/>
                    <a:pt x="21" y="71"/>
                    <a:pt x="21" y="72"/>
                  </a:cubicBezTo>
                  <a:cubicBezTo>
                    <a:pt x="21" y="71"/>
                    <a:pt x="21" y="70"/>
                    <a:pt x="22" y="69"/>
                  </a:cubicBezTo>
                  <a:cubicBezTo>
                    <a:pt x="22" y="72"/>
                    <a:pt x="25" y="69"/>
                    <a:pt x="26" y="68"/>
                  </a:cubicBezTo>
                  <a:cubicBezTo>
                    <a:pt x="26" y="70"/>
                    <a:pt x="25" y="71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3"/>
                    <a:pt x="24" y="74"/>
                    <a:pt x="24" y="76"/>
                  </a:cubicBezTo>
                  <a:cubicBezTo>
                    <a:pt x="23" y="77"/>
                    <a:pt x="22" y="77"/>
                    <a:pt x="22" y="78"/>
                  </a:cubicBezTo>
                  <a:cubicBezTo>
                    <a:pt x="22" y="79"/>
                    <a:pt x="15" y="81"/>
                    <a:pt x="18" y="83"/>
                  </a:cubicBezTo>
                  <a:cubicBezTo>
                    <a:pt x="15" y="81"/>
                    <a:pt x="14" y="83"/>
                    <a:pt x="11" y="8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1" name="Freeform 34"/>
            <p:cNvSpPr/>
            <p:nvPr/>
          </p:nvSpPr>
          <p:spPr bwMode="auto">
            <a:xfrm>
              <a:off x="7139495" y="2411918"/>
              <a:ext cx="31482" cy="15738"/>
            </a:xfrm>
            <a:custGeom>
              <a:avLst/>
              <a:gdLst>
                <a:gd name="T0" fmla="*/ 2147483646 w 4"/>
                <a:gd name="T1" fmla="*/ 0 h 2"/>
                <a:gd name="T2" fmla="*/ 0 w 4"/>
                <a:gd name="T3" fmla="*/ 2147483646 h 2"/>
                <a:gd name="T4" fmla="*/ 2147483646 w 4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cubicBezTo>
                    <a:pt x="4" y="2"/>
                    <a:pt x="2" y="2"/>
                    <a:pt x="0" y="2"/>
                  </a:cubicBezTo>
                  <a:cubicBezTo>
                    <a:pt x="1" y="1"/>
                    <a:pt x="3" y="1"/>
                    <a:pt x="4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2" name="Freeform 35"/>
            <p:cNvSpPr/>
            <p:nvPr/>
          </p:nvSpPr>
          <p:spPr bwMode="auto">
            <a:xfrm>
              <a:off x="7133198" y="2405622"/>
              <a:ext cx="50372" cy="28328"/>
            </a:xfrm>
            <a:custGeom>
              <a:avLst/>
              <a:gdLst>
                <a:gd name="T0" fmla="*/ 0 w 7"/>
                <a:gd name="T1" fmla="*/ 2147483646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2147483646 w 7"/>
                <a:gd name="T7" fmla="*/ 2147483646 h 4"/>
                <a:gd name="T8" fmla="*/ 2147483646 w 7"/>
                <a:gd name="T9" fmla="*/ 0 h 4"/>
                <a:gd name="T10" fmla="*/ 2147483646 w 7"/>
                <a:gd name="T11" fmla="*/ 2147483646 h 4"/>
                <a:gd name="T12" fmla="*/ 2147483646 w 7"/>
                <a:gd name="T13" fmla="*/ 2147483646 h 4"/>
                <a:gd name="T14" fmla="*/ 2147483646 w 7"/>
                <a:gd name="T15" fmla="*/ 2147483646 h 4"/>
                <a:gd name="T16" fmla="*/ 0 w 7"/>
                <a:gd name="T17" fmla="*/ 2147483646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4">
                  <a:moveTo>
                    <a:pt x="0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2" y="3"/>
                    <a:pt x="2" y="4"/>
                    <a:pt x="2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3" name="Freeform 36"/>
            <p:cNvSpPr/>
            <p:nvPr/>
          </p:nvSpPr>
          <p:spPr bwMode="auto">
            <a:xfrm>
              <a:off x="6745964" y="2685755"/>
              <a:ext cx="6296" cy="9443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0 h 1"/>
                <a:gd name="T4" fmla="*/ 0 w 1"/>
                <a:gd name="T5" fmla="*/ 2147483646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4" name="Freeform 37"/>
            <p:cNvSpPr/>
            <p:nvPr/>
          </p:nvSpPr>
          <p:spPr bwMode="auto">
            <a:xfrm>
              <a:off x="6739667" y="2663722"/>
              <a:ext cx="28334" cy="44066"/>
            </a:xfrm>
            <a:custGeom>
              <a:avLst/>
              <a:gdLst>
                <a:gd name="T0" fmla="*/ 0 w 4"/>
                <a:gd name="T1" fmla="*/ 2147483646 h 6"/>
                <a:gd name="T2" fmla="*/ 2147483646 w 4"/>
                <a:gd name="T3" fmla="*/ 2147483646 h 6"/>
                <a:gd name="T4" fmla="*/ 2147483646 w 4"/>
                <a:gd name="T5" fmla="*/ 2147483646 h 6"/>
                <a:gd name="T6" fmla="*/ 2147483646 w 4"/>
                <a:gd name="T7" fmla="*/ 2147483646 h 6"/>
                <a:gd name="T8" fmla="*/ 2147483646 w 4"/>
                <a:gd name="T9" fmla="*/ 0 h 6"/>
                <a:gd name="T10" fmla="*/ 2147483646 w 4"/>
                <a:gd name="T11" fmla="*/ 2147483646 h 6"/>
                <a:gd name="T12" fmla="*/ 2147483646 w 4"/>
                <a:gd name="T13" fmla="*/ 2147483646 h 6"/>
                <a:gd name="T14" fmla="*/ 0 w 4"/>
                <a:gd name="T15" fmla="*/ 2147483646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4"/>
                    <a:pt x="1" y="5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5" name="Freeform 38"/>
            <p:cNvSpPr/>
            <p:nvPr/>
          </p:nvSpPr>
          <p:spPr bwMode="auto">
            <a:xfrm>
              <a:off x="6352433" y="2569296"/>
              <a:ext cx="6296" cy="629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0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6" name="Freeform 39"/>
            <p:cNvSpPr/>
            <p:nvPr/>
          </p:nvSpPr>
          <p:spPr bwMode="auto">
            <a:xfrm>
              <a:off x="6320950" y="2553558"/>
              <a:ext cx="47224" cy="22033"/>
            </a:xfrm>
            <a:custGeom>
              <a:avLst/>
              <a:gdLst>
                <a:gd name="T0" fmla="*/ 2147483646 w 6"/>
                <a:gd name="T1" fmla="*/ 2147483646 h 3"/>
                <a:gd name="T2" fmla="*/ 2147483646 w 6"/>
                <a:gd name="T3" fmla="*/ 2147483646 h 3"/>
                <a:gd name="T4" fmla="*/ 0 w 6"/>
                <a:gd name="T5" fmla="*/ 0 h 3"/>
                <a:gd name="T6" fmla="*/ 2147483646 w 6"/>
                <a:gd name="T7" fmla="*/ 2147483646 h 3"/>
                <a:gd name="T8" fmla="*/ 2147483646 w 6"/>
                <a:gd name="T9" fmla="*/ 2147483646 h 3"/>
                <a:gd name="T10" fmla="*/ 2147483646 w 6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" h="3">
                  <a:moveTo>
                    <a:pt x="4" y="3"/>
                  </a:moveTo>
                  <a:cubicBezTo>
                    <a:pt x="4" y="3"/>
                    <a:pt x="4" y="3"/>
                    <a:pt x="4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7" name="Freeform 40"/>
            <p:cNvSpPr/>
            <p:nvPr/>
          </p:nvSpPr>
          <p:spPr bwMode="auto">
            <a:xfrm>
              <a:off x="6871894" y="2858869"/>
              <a:ext cx="37779" cy="50361"/>
            </a:xfrm>
            <a:custGeom>
              <a:avLst/>
              <a:gdLst>
                <a:gd name="T0" fmla="*/ 2147483646 w 5"/>
                <a:gd name="T1" fmla="*/ 2147483646 h 7"/>
                <a:gd name="T2" fmla="*/ 2147483646 w 5"/>
                <a:gd name="T3" fmla="*/ 2147483646 h 7"/>
                <a:gd name="T4" fmla="*/ 2147483646 w 5"/>
                <a:gd name="T5" fmla="*/ 2147483646 h 7"/>
                <a:gd name="T6" fmla="*/ 2147483646 w 5"/>
                <a:gd name="T7" fmla="*/ 2147483646 h 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7">
                  <a:moveTo>
                    <a:pt x="2" y="7"/>
                  </a:moveTo>
                  <a:cubicBezTo>
                    <a:pt x="2" y="7"/>
                    <a:pt x="5" y="0"/>
                    <a:pt x="3" y="1"/>
                  </a:cubicBezTo>
                  <a:cubicBezTo>
                    <a:pt x="0" y="2"/>
                    <a:pt x="1" y="5"/>
                    <a:pt x="1" y="7"/>
                  </a:cubicBezTo>
                  <a:cubicBezTo>
                    <a:pt x="1" y="7"/>
                    <a:pt x="1" y="7"/>
                    <a:pt x="2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8" name="Freeform 41"/>
            <p:cNvSpPr>
              <a:spLocks noEditPoints="1"/>
            </p:cNvSpPr>
            <p:nvPr/>
          </p:nvSpPr>
          <p:spPr bwMode="auto">
            <a:xfrm>
              <a:off x="6871894" y="2858869"/>
              <a:ext cx="37779" cy="59803"/>
            </a:xfrm>
            <a:custGeom>
              <a:avLst/>
              <a:gdLst>
                <a:gd name="T0" fmla="*/ 2147483646 w 5"/>
                <a:gd name="T1" fmla="*/ 2147483646 h 8"/>
                <a:gd name="T2" fmla="*/ 0 w 5"/>
                <a:gd name="T3" fmla="*/ 2147483646 h 8"/>
                <a:gd name="T4" fmla="*/ 0 w 5"/>
                <a:gd name="T5" fmla="*/ 2147483646 h 8"/>
                <a:gd name="T6" fmla="*/ 0 w 5"/>
                <a:gd name="T7" fmla="*/ 2147483646 h 8"/>
                <a:gd name="T8" fmla="*/ 2147483646 w 5"/>
                <a:gd name="T9" fmla="*/ 2147483646 h 8"/>
                <a:gd name="T10" fmla="*/ 2147483646 w 5"/>
                <a:gd name="T11" fmla="*/ 2147483646 h 8"/>
                <a:gd name="T12" fmla="*/ 2147483646 w 5"/>
                <a:gd name="T13" fmla="*/ 2147483646 h 8"/>
                <a:gd name="T14" fmla="*/ 2147483646 w 5"/>
                <a:gd name="T15" fmla="*/ 2147483646 h 8"/>
                <a:gd name="T16" fmla="*/ 2147483646 w 5"/>
                <a:gd name="T17" fmla="*/ 2147483646 h 8"/>
                <a:gd name="T18" fmla="*/ 2147483646 w 5"/>
                <a:gd name="T19" fmla="*/ 2147483646 h 8"/>
                <a:gd name="T20" fmla="*/ 2147483646 w 5"/>
                <a:gd name="T21" fmla="*/ 2147483646 h 8"/>
                <a:gd name="T22" fmla="*/ 2147483646 w 5"/>
                <a:gd name="T23" fmla="*/ 2147483646 h 8"/>
                <a:gd name="T24" fmla="*/ 2147483646 w 5"/>
                <a:gd name="T25" fmla="*/ 2147483646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" h="8">
                  <a:moveTo>
                    <a:pt x="2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4"/>
                    <a:pt x="0" y="1"/>
                    <a:pt x="2" y="1"/>
                  </a:cubicBezTo>
                  <a:cubicBezTo>
                    <a:pt x="3" y="0"/>
                    <a:pt x="3" y="1"/>
                    <a:pt x="4" y="1"/>
                  </a:cubicBezTo>
                  <a:cubicBezTo>
                    <a:pt x="5" y="2"/>
                    <a:pt x="2" y="7"/>
                    <a:pt x="2" y="7"/>
                  </a:cubicBezTo>
                  <a:lnTo>
                    <a:pt x="2" y="8"/>
                  </a:lnTo>
                  <a:close/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2" y="5"/>
                    <a:pt x="3" y="2"/>
                    <a:pt x="3" y="2"/>
                  </a:cubicBezTo>
                  <a:cubicBezTo>
                    <a:pt x="1" y="2"/>
                    <a:pt x="1" y="4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9" name="Freeform 42"/>
            <p:cNvSpPr/>
            <p:nvPr/>
          </p:nvSpPr>
          <p:spPr bwMode="auto">
            <a:xfrm>
              <a:off x="6856152" y="1275654"/>
              <a:ext cx="506868" cy="557116"/>
            </a:xfrm>
            <a:custGeom>
              <a:avLst/>
              <a:gdLst>
                <a:gd name="T0" fmla="*/ 2147483646 w 68"/>
                <a:gd name="T1" fmla="*/ 2147483646 h 75"/>
                <a:gd name="T2" fmla="*/ 2147483646 w 68"/>
                <a:gd name="T3" fmla="*/ 2147483646 h 75"/>
                <a:gd name="T4" fmla="*/ 2147483646 w 68"/>
                <a:gd name="T5" fmla="*/ 2147483646 h 75"/>
                <a:gd name="T6" fmla="*/ 2147483646 w 68"/>
                <a:gd name="T7" fmla="*/ 2147483646 h 75"/>
                <a:gd name="T8" fmla="*/ 2147483646 w 68"/>
                <a:gd name="T9" fmla="*/ 2147483646 h 75"/>
                <a:gd name="T10" fmla="*/ 2147483646 w 68"/>
                <a:gd name="T11" fmla="*/ 2147483646 h 75"/>
                <a:gd name="T12" fmla="*/ 2147483646 w 68"/>
                <a:gd name="T13" fmla="*/ 2147483646 h 75"/>
                <a:gd name="T14" fmla="*/ 2147483646 w 68"/>
                <a:gd name="T15" fmla="*/ 2147483646 h 75"/>
                <a:gd name="T16" fmla="*/ 2147483646 w 68"/>
                <a:gd name="T17" fmla="*/ 2147483646 h 75"/>
                <a:gd name="T18" fmla="*/ 2147483646 w 68"/>
                <a:gd name="T19" fmla="*/ 2147483646 h 75"/>
                <a:gd name="T20" fmla="*/ 2147483646 w 68"/>
                <a:gd name="T21" fmla="*/ 2147483646 h 75"/>
                <a:gd name="T22" fmla="*/ 2147483646 w 68"/>
                <a:gd name="T23" fmla="*/ 2147483646 h 75"/>
                <a:gd name="T24" fmla="*/ 2147483646 w 68"/>
                <a:gd name="T25" fmla="*/ 2147483646 h 75"/>
                <a:gd name="T26" fmla="*/ 2147483646 w 68"/>
                <a:gd name="T27" fmla="*/ 2147483646 h 75"/>
                <a:gd name="T28" fmla="*/ 2147483646 w 68"/>
                <a:gd name="T29" fmla="*/ 2147483646 h 75"/>
                <a:gd name="T30" fmla="*/ 2147483646 w 68"/>
                <a:gd name="T31" fmla="*/ 2147483646 h 75"/>
                <a:gd name="T32" fmla="*/ 2147483646 w 68"/>
                <a:gd name="T33" fmla="*/ 2147483646 h 75"/>
                <a:gd name="T34" fmla="*/ 2147483646 w 68"/>
                <a:gd name="T35" fmla="*/ 2147483646 h 75"/>
                <a:gd name="T36" fmla="*/ 2147483646 w 68"/>
                <a:gd name="T37" fmla="*/ 2147483646 h 75"/>
                <a:gd name="T38" fmla="*/ 2147483646 w 68"/>
                <a:gd name="T39" fmla="*/ 2147483646 h 75"/>
                <a:gd name="T40" fmla="*/ 2147483646 w 68"/>
                <a:gd name="T41" fmla="*/ 2147483646 h 75"/>
                <a:gd name="T42" fmla="*/ 2147483646 w 68"/>
                <a:gd name="T43" fmla="*/ 2147483646 h 75"/>
                <a:gd name="T44" fmla="*/ 2147483646 w 68"/>
                <a:gd name="T45" fmla="*/ 2147483646 h 75"/>
                <a:gd name="T46" fmla="*/ 2147483646 w 68"/>
                <a:gd name="T47" fmla="*/ 2147483646 h 75"/>
                <a:gd name="T48" fmla="*/ 2147483646 w 68"/>
                <a:gd name="T49" fmla="*/ 2147483646 h 75"/>
                <a:gd name="T50" fmla="*/ 2147483646 w 68"/>
                <a:gd name="T51" fmla="*/ 2147483646 h 75"/>
                <a:gd name="T52" fmla="*/ 2147483646 w 68"/>
                <a:gd name="T53" fmla="*/ 2147483646 h 75"/>
                <a:gd name="T54" fmla="*/ 2147483646 w 68"/>
                <a:gd name="T55" fmla="*/ 2147483646 h 75"/>
                <a:gd name="T56" fmla="*/ 2147483646 w 68"/>
                <a:gd name="T57" fmla="*/ 2147483646 h 75"/>
                <a:gd name="T58" fmla="*/ 2147483646 w 68"/>
                <a:gd name="T59" fmla="*/ 2147483646 h 75"/>
                <a:gd name="T60" fmla="*/ 2147483646 w 68"/>
                <a:gd name="T61" fmla="*/ 2147483646 h 75"/>
                <a:gd name="T62" fmla="*/ 2147483646 w 68"/>
                <a:gd name="T63" fmla="*/ 2147483646 h 75"/>
                <a:gd name="T64" fmla="*/ 2147483646 w 68"/>
                <a:gd name="T65" fmla="*/ 2147483646 h 75"/>
                <a:gd name="T66" fmla="*/ 2147483646 w 68"/>
                <a:gd name="T67" fmla="*/ 2147483646 h 75"/>
                <a:gd name="T68" fmla="*/ 2147483646 w 68"/>
                <a:gd name="T69" fmla="*/ 2147483646 h 75"/>
                <a:gd name="T70" fmla="*/ 2147483646 w 68"/>
                <a:gd name="T71" fmla="*/ 2147483646 h 75"/>
                <a:gd name="T72" fmla="*/ 2147483646 w 68"/>
                <a:gd name="T73" fmla="*/ 2147483646 h 75"/>
                <a:gd name="T74" fmla="*/ 2147483646 w 68"/>
                <a:gd name="T75" fmla="*/ 2147483646 h 75"/>
                <a:gd name="T76" fmla="*/ 2147483646 w 68"/>
                <a:gd name="T77" fmla="*/ 2147483646 h 75"/>
                <a:gd name="T78" fmla="*/ 2147483646 w 68"/>
                <a:gd name="T79" fmla="*/ 2147483646 h 75"/>
                <a:gd name="T80" fmla="*/ 2147483646 w 68"/>
                <a:gd name="T81" fmla="*/ 2147483646 h 75"/>
                <a:gd name="T82" fmla="*/ 2147483646 w 68"/>
                <a:gd name="T83" fmla="*/ 2147483646 h 75"/>
                <a:gd name="T84" fmla="*/ 2147483646 w 68"/>
                <a:gd name="T85" fmla="*/ 2147483646 h 75"/>
                <a:gd name="T86" fmla="*/ 2147483646 w 68"/>
                <a:gd name="T87" fmla="*/ 2147483646 h 75"/>
                <a:gd name="T88" fmla="*/ 2147483646 w 68"/>
                <a:gd name="T89" fmla="*/ 2147483646 h 75"/>
                <a:gd name="T90" fmla="*/ 2147483646 w 68"/>
                <a:gd name="T91" fmla="*/ 2147483646 h 7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68" h="75">
                  <a:moveTo>
                    <a:pt x="53" y="69"/>
                  </a:moveTo>
                  <a:cubicBezTo>
                    <a:pt x="52" y="68"/>
                    <a:pt x="51" y="67"/>
                    <a:pt x="50" y="65"/>
                  </a:cubicBezTo>
                  <a:cubicBezTo>
                    <a:pt x="51" y="65"/>
                    <a:pt x="51" y="66"/>
                    <a:pt x="52" y="67"/>
                  </a:cubicBezTo>
                  <a:cubicBezTo>
                    <a:pt x="52" y="67"/>
                    <a:pt x="53" y="66"/>
                    <a:pt x="53" y="66"/>
                  </a:cubicBezTo>
                  <a:cubicBezTo>
                    <a:pt x="53" y="67"/>
                    <a:pt x="54" y="67"/>
                    <a:pt x="54" y="68"/>
                  </a:cubicBezTo>
                  <a:cubicBezTo>
                    <a:pt x="55" y="69"/>
                    <a:pt x="56" y="69"/>
                    <a:pt x="57" y="69"/>
                  </a:cubicBezTo>
                  <a:cubicBezTo>
                    <a:pt x="58" y="69"/>
                    <a:pt x="59" y="71"/>
                    <a:pt x="59" y="71"/>
                  </a:cubicBezTo>
                  <a:cubicBezTo>
                    <a:pt x="59" y="71"/>
                    <a:pt x="59" y="70"/>
                    <a:pt x="59" y="69"/>
                  </a:cubicBezTo>
                  <a:cubicBezTo>
                    <a:pt x="59" y="70"/>
                    <a:pt x="60" y="70"/>
                    <a:pt x="60" y="70"/>
                  </a:cubicBezTo>
                  <a:cubicBezTo>
                    <a:pt x="60" y="68"/>
                    <a:pt x="59" y="68"/>
                    <a:pt x="59" y="67"/>
                  </a:cubicBezTo>
                  <a:cubicBezTo>
                    <a:pt x="59" y="67"/>
                    <a:pt x="60" y="67"/>
                    <a:pt x="60" y="67"/>
                  </a:cubicBezTo>
                  <a:cubicBezTo>
                    <a:pt x="60" y="66"/>
                    <a:pt x="61" y="64"/>
                    <a:pt x="59" y="63"/>
                  </a:cubicBezTo>
                  <a:cubicBezTo>
                    <a:pt x="58" y="63"/>
                    <a:pt x="60" y="59"/>
                    <a:pt x="58" y="60"/>
                  </a:cubicBezTo>
                  <a:cubicBezTo>
                    <a:pt x="58" y="60"/>
                    <a:pt x="57" y="60"/>
                    <a:pt x="57" y="59"/>
                  </a:cubicBezTo>
                  <a:cubicBezTo>
                    <a:pt x="57" y="59"/>
                    <a:pt x="56" y="59"/>
                    <a:pt x="56" y="60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5" y="59"/>
                    <a:pt x="55" y="59"/>
                    <a:pt x="55" y="60"/>
                  </a:cubicBezTo>
                  <a:cubicBezTo>
                    <a:pt x="55" y="59"/>
                    <a:pt x="54" y="57"/>
                    <a:pt x="54" y="57"/>
                  </a:cubicBezTo>
                  <a:cubicBezTo>
                    <a:pt x="53" y="56"/>
                    <a:pt x="54" y="54"/>
                    <a:pt x="52" y="55"/>
                  </a:cubicBezTo>
                  <a:cubicBezTo>
                    <a:pt x="52" y="54"/>
                    <a:pt x="53" y="53"/>
                    <a:pt x="54" y="53"/>
                  </a:cubicBezTo>
                  <a:cubicBezTo>
                    <a:pt x="53" y="52"/>
                    <a:pt x="52" y="51"/>
                    <a:pt x="52" y="51"/>
                  </a:cubicBezTo>
                  <a:cubicBezTo>
                    <a:pt x="52" y="50"/>
                    <a:pt x="53" y="50"/>
                    <a:pt x="54" y="51"/>
                  </a:cubicBezTo>
                  <a:cubicBezTo>
                    <a:pt x="53" y="51"/>
                    <a:pt x="53" y="50"/>
                    <a:pt x="53" y="50"/>
                  </a:cubicBezTo>
                  <a:cubicBezTo>
                    <a:pt x="54" y="50"/>
                    <a:pt x="54" y="50"/>
                    <a:pt x="55" y="50"/>
                  </a:cubicBezTo>
                  <a:cubicBezTo>
                    <a:pt x="54" y="51"/>
                    <a:pt x="57" y="53"/>
                    <a:pt x="58" y="53"/>
                  </a:cubicBezTo>
                  <a:cubicBezTo>
                    <a:pt x="58" y="54"/>
                    <a:pt x="58" y="55"/>
                    <a:pt x="59" y="56"/>
                  </a:cubicBezTo>
                  <a:cubicBezTo>
                    <a:pt x="59" y="56"/>
                    <a:pt x="59" y="56"/>
                    <a:pt x="60" y="56"/>
                  </a:cubicBezTo>
                  <a:cubicBezTo>
                    <a:pt x="59" y="57"/>
                    <a:pt x="61" y="58"/>
                    <a:pt x="62" y="59"/>
                  </a:cubicBezTo>
                  <a:cubicBezTo>
                    <a:pt x="63" y="57"/>
                    <a:pt x="63" y="56"/>
                    <a:pt x="63" y="54"/>
                  </a:cubicBezTo>
                  <a:cubicBezTo>
                    <a:pt x="63" y="55"/>
                    <a:pt x="64" y="55"/>
                    <a:pt x="64" y="55"/>
                  </a:cubicBezTo>
                  <a:cubicBezTo>
                    <a:pt x="65" y="54"/>
                    <a:pt x="65" y="53"/>
                    <a:pt x="66" y="53"/>
                  </a:cubicBezTo>
                  <a:cubicBezTo>
                    <a:pt x="65" y="53"/>
                    <a:pt x="65" y="53"/>
                    <a:pt x="65" y="52"/>
                  </a:cubicBezTo>
                  <a:cubicBezTo>
                    <a:pt x="65" y="52"/>
                    <a:pt x="65" y="52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6" y="51"/>
                    <a:pt x="67" y="51"/>
                  </a:cubicBezTo>
                  <a:cubicBezTo>
                    <a:pt x="66" y="50"/>
                    <a:pt x="68" y="50"/>
                    <a:pt x="67" y="49"/>
                  </a:cubicBezTo>
                  <a:cubicBezTo>
                    <a:pt x="65" y="47"/>
                    <a:pt x="65" y="47"/>
                    <a:pt x="63" y="48"/>
                  </a:cubicBezTo>
                  <a:cubicBezTo>
                    <a:pt x="63" y="47"/>
                    <a:pt x="63" y="46"/>
                    <a:pt x="64" y="45"/>
                  </a:cubicBezTo>
                  <a:cubicBezTo>
                    <a:pt x="63" y="46"/>
                    <a:pt x="62" y="46"/>
                    <a:pt x="61" y="46"/>
                  </a:cubicBezTo>
                  <a:cubicBezTo>
                    <a:pt x="63" y="43"/>
                    <a:pt x="58" y="43"/>
                    <a:pt x="59" y="41"/>
                  </a:cubicBezTo>
                  <a:cubicBezTo>
                    <a:pt x="55" y="42"/>
                    <a:pt x="58" y="39"/>
                    <a:pt x="55" y="40"/>
                  </a:cubicBezTo>
                  <a:cubicBezTo>
                    <a:pt x="56" y="38"/>
                    <a:pt x="52" y="38"/>
                    <a:pt x="51" y="37"/>
                  </a:cubicBezTo>
                  <a:cubicBezTo>
                    <a:pt x="52" y="37"/>
                    <a:pt x="52" y="37"/>
                    <a:pt x="53" y="37"/>
                  </a:cubicBezTo>
                  <a:cubicBezTo>
                    <a:pt x="52" y="36"/>
                    <a:pt x="51" y="35"/>
                    <a:pt x="52" y="35"/>
                  </a:cubicBezTo>
                  <a:cubicBezTo>
                    <a:pt x="52" y="34"/>
                    <a:pt x="51" y="34"/>
                    <a:pt x="51" y="33"/>
                  </a:cubicBezTo>
                  <a:cubicBezTo>
                    <a:pt x="52" y="33"/>
                    <a:pt x="54" y="33"/>
                    <a:pt x="55" y="33"/>
                  </a:cubicBezTo>
                  <a:cubicBezTo>
                    <a:pt x="54" y="32"/>
                    <a:pt x="52" y="32"/>
                    <a:pt x="50" y="31"/>
                  </a:cubicBezTo>
                  <a:cubicBezTo>
                    <a:pt x="54" y="30"/>
                    <a:pt x="55" y="30"/>
                    <a:pt x="52" y="26"/>
                  </a:cubicBezTo>
                  <a:cubicBezTo>
                    <a:pt x="52" y="27"/>
                    <a:pt x="51" y="28"/>
                    <a:pt x="50" y="28"/>
                  </a:cubicBezTo>
                  <a:cubicBezTo>
                    <a:pt x="50" y="28"/>
                    <a:pt x="50" y="27"/>
                    <a:pt x="50" y="27"/>
                  </a:cubicBezTo>
                  <a:cubicBezTo>
                    <a:pt x="50" y="27"/>
                    <a:pt x="49" y="27"/>
                    <a:pt x="48" y="27"/>
                  </a:cubicBezTo>
                  <a:cubicBezTo>
                    <a:pt x="49" y="27"/>
                    <a:pt x="52" y="25"/>
                    <a:pt x="51" y="24"/>
                  </a:cubicBezTo>
                  <a:cubicBezTo>
                    <a:pt x="48" y="23"/>
                    <a:pt x="48" y="23"/>
                    <a:pt x="46" y="25"/>
                  </a:cubicBezTo>
                  <a:cubicBezTo>
                    <a:pt x="47" y="24"/>
                    <a:pt x="47" y="23"/>
                    <a:pt x="48" y="22"/>
                  </a:cubicBezTo>
                  <a:cubicBezTo>
                    <a:pt x="47" y="23"/>
                    <a:pt x="46" y="23"/>
                    <a:pt x="45" y="24"/>
                  </a:cubicBezTo>
                  <a:cubicBezTo>
                    <a:pt x="47" y="20"/>
                    <a:pt x="45" y="21"/>
                    <a:pt x="42" y="21"/>
                  </a:cubicBezTo>
                  <a:cubicBezTo>
                    <a:pt x="47" y="20"/>
                    <a:pt x="44" y="18"/>
                    <a:pt x="41" y="16"/>
                  </a:cubicBezTo>
                  <a:cubicBezTo>
                    <a:pt x="41" y="17"/>
                    <a:pt x="41" y="18"/>
                    <a:pt x="40" y="17"/>
                  </a:cubicBezTo>
                  <a:cubicBezTo>
                    <a:pt x="40" y="18"/>
                    <a:pt x="40" y="19"/>
                    <a:pt x="40" y="19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8"/>
                    <a:pt x="38" y="18"/>
                    <a:pt x="38" y="18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6"/>
                    <a:pt x="37" y="16"/>
                    <a:pt x="36" y="16"/>
                  </a:cubicBezTo>
                  <a:cubicBezTo>
                    <a:pt x="37" y="15"/>
                    <a:pt x="38" y="13"/>
                    <a:pt x="35" y="13"/>
                  </a:cubicBezTo>
                  <a:cubicBezTo>
                    <a:pt x="37" y="10"/>
                    <a:pt x="31" y="7"/>
                    <a:pt x="29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7" y="11"/>
                    <a:pt x="29" y="11"/>
                    <a:pt x="27" y="12"/>
                  </a:cubicBezTo>
                  <a:cubicBezTo>
                    <a:pt x="26" y="12"/>
                    <a:pt x="24" y="12"/>
                    <a:pt x="24" y="10"/>
                  </a:cubicBezTo>
                  <a:cubicBezTo>
                    <a:pt x="24" y="12"/>
                    <a:pt x="23" y="13"/>
                    <a:pt x="22" y="15"/>
                  </a:cubicBezTo>
                  <a:cubicBezTo>
                    <a:pt x="22" y="13"/>
                    <a:pt x="21" y="14"/>
                    <a:pt x="23" y="13"/>
                  </a:cubicBezTo>
                  <a:cubicBezTo>
                    <a:pt x="21" y="12"/>
                    <a:pt x="23" y="10"/>
                    <a:pt x="23" y="8"/>
                  </a:cubicBezTo>
                  <a:cubicBezTo>
                    <a:pt x="23" y="8"/>
                    <a:pt x="22" y="7"/>
                    <a:pt x="22" y="7"/>
                  </a:cubicBezTo>
                  <a:cubicBezTo>
                    <a:pt x="23" y="5"/>
                    <a:pt x="22" y="5"/>
                    <a:pt x="21" y="4"/>
                  </a:cubicBezTo>
                  <a:cubicBezTo>
                    <a:pt x="22" y="3"/>
                    <a:pt x="21" y="0"/>
                    <a:pt x="19" y="1"/>
                  </a:cubicBezTo>
                  <a:cubicBezTo>
                    <a:pt x="17" y="1"/>
                    <a:pt x="15" y="1"/>
                    <a:pt x="15" y="4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5"/>
                    <a:pt x="14" y="5"/>
                    <a:pt x="15" y="6"/>
                  </a:cubicBezTo>
                  <a:cubicBezTo>
                    <a:pt x="14" y="6"/>
                    <a:pt x="12" y="6"/>
                    <a:pt x="11" y="6"/>
                  </a:cubicBezTo>
                  <a:cubicBezTo>
                    <a:pt x="12" y="6"/>
                    <a:pt x="13" y="7"/>
                    <a:pt x="15" y="8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1" y="9"/>
                    <a:pt x="10" y="11"/>
                    <a:pt x="13" y="11"/>
                  </a:cubicBezTo>
                  <a:cubicBezTo>
                    <a:pt x="11" y="13"/>
                    <a:pt x="9" y="14"/>
                    <a:pt x="12" y="16"/>
                  </a:cubicBezTo>
                  <a:cubicBezTo>
                    <a:pt x="13" y="18"/>
                    <a:pt x="13" y="16"/>
                    <a:pt x="13" y="18"/>
                  </a:cubicBezTo>
                  <a:cubicBezTo>
                    <a:pt x="13" y="19"/>
                    <a:pt x="13" y="20"/>
                    <a:pt x="12" y="22"/>
                  </a:cubicBezTo>
                  <a:cubicBezTo>
                    <a:pt x="13" y="21"/>
                    <a:pt x="12" y="21"/>
                    <a:pt x="12" y="20"/>
                  </a:cubicBezTo>
                  <a:cubicBezTo>
                    <a:pt x="11" y="20"/>
                    <a:pt x="10" y="21"/>
                    <a:pt x="9" y="21"/>
                  </a:cubicBezTo>
                  <a:cubicBezTo>
                    <a:pt x="10" y="20"/>
                    <a:pt x="11" y="20"/>
                    <a:pt x="12" y="19"/>
                  </a:cubicBezTo>
                  <a:cubicBezTo>
                    <a:pt x="11" y="18"/>
                    <a:pt x="10" y="16"/>
                    <a:pt x="9" y="15"/>
                  </a:cubicBezTo>
                  <a:cubicBezTo>
                    <a:pt x="9" y="13"/>
                    <a:pt x="10" y="12"/>
                    <a:pt x="9" y="10"/>
                  </a:cubicBezTo>
                  <a:cubicBezTo>
                    <a:pt x="7" y="7"/>
                    <a:pt x="11" y="3"/>
                    <a:pt x="12" y="0"/>
                  </a:cubicBezTo>
                  <a:cubicBezTo>
                    <a:pt x="10" y="0"/>
                    <a:pt x="7" y="0"/>
                    <a:pt x="5" y="2"/>
                  </a:cubicBezTo>
                  <a:cubicBezTo>
                    <a:pt x="5" y="3"/>
                    <a:pt x="1" y="7"/>
                    <a:pt x="3" y="8"/>
                  </a:cubicBezTo>
                  <a:cubicBezTo>
                    <a:pt x="1" y="8"/>
                    <a:pt x="0" y="12"/>
                    <a:pt x="2" y="13"/>
                  </a:cubicBezTo>
                  <a:cubicBezTo>
                    <a:pt x="0" y="14"/>
                    <a:pt x="1" y="14"/>
                    <a:pt x="1" y="16"/>
                  </a:cubicBezTo>
                  <a:cubicBezTo>
                    <a:pt x="1" y="16"/>
                    <a:pt x="0" y="18"/>
                    <a:pt x="1" y="18"/>
                  </a:cubicBezTo>
                  <a:cubicBezTo>
                    <a:pt x="3" y="19"/>
                    <a:pt x="5" y="20"/>
                    <a:pt x="7" y="21"/>
                  </a:cubicBezTo>
                  <a:cubicBezTo>
                    <a:pt x="6" y="21"/>
                    <a:pt x="4" y="21"/>
                    <a:pt x="2" y="21"/>
                  </a:cubicBezTo>
                  <a:cubicBezTo>
                    <a:pt x="2" y="23"/>
                    <a:pt x="6" y="29"/>
                    <a:pt x="9" y="25"/>
                  </a:cubicBezTo>
                  <a:cubicBezTo>
                    <a:pt x="9" y="28"/>
                    <a:pt x="12" y="28"/>
                    <a:pt x="14" y="28"/>
                  </a:cubicBezTo>
                  <a:cubicBezTo>
                    <a:pt x="15" y="28"/>
                    <a:pt x="16" y="28"/>
                    <a:pt x="17" y="28"/>
                  </a:cubicBezTo>
                  <a:cubicBezTo>
                    <a:pt x="18" y="29"/>
                    <a:pt x="20" y="30"/>
                    <a:pt x="20" y="28"/>
                  </a:cubicBezTo>
                  <a:cubicBezTo>
                    <a:pt x="21" y="29"/>
                    <a:pt x="21" y="30"/>
                    <a:pt x="22" y="30"/>
                  </a:cubicBezTo>
                  <a:cubicBezTo>
                    <a:pt x="21" y="29"/>
                    <a:pt x="21" y="28"/>
                    <a:pt x="20" y="27"/>
                  </a:cubicBezTo>
                  <a:cubicBezTo>
                    <a:pt x="22" y="28"/>
                    <a:pt x="25" y="29"/>
                    <a:pt x="26" y="29"/>
                  </a:cubicBezTo>
                  <a:cubicBezTo>
                    <a:pt x="28" y="28"/>
                    <a:pt x="27" y="26"/>
                    <a:pt x="25" y="26"/>
                  </a:cubicBezTo>
                  <a:cubicBezTo>
                    <a:pt x="27" y="25"/>
                    <a:pt x="28" y="28"/>
                    <a:pt x="29" y="27"/>
                  </a:cubicBezTo>
                  <a:cubicBezTo>
                    <a:pt x="30" y="27"/>
                    <a:pt x="29" y="29"/>
                    <a:pt x="30" y="29"/>
                  </a:cubicBezTo>
                  <a:cubicBezTo>
                    <a:pt x="31" y="29"/>
                    <a:pt x="32" y="30"/>
                    <a:pt x="31" y="31"/>
                  </a:cubicBezTo>
                  <a:cubicBezTo>
                    <a:pt x="31" y="31"/>
                    <a:pt x="34" y="32"/>
                    <a:pt x="34" y="33"/>
                  </a:cubicBezTo>
                  <a:cubicBezTo>
                    <a:pt x="34" y="34"/>
                    <a:pt x="33" y="35"/>
                    <a:pt x="32" y="34"/>
                  </a:cubicBezTo>
                  <a:cubicBezTo>
                    <a:pt x="32" y="35"/>
                    <a:pt x="32" y="36"/>
                    <a:pt x="32" y="37"/>
                  </a:cubicBezTo>
                  <a:cubicBezTo>
                    <a:pt x="33" y="36"/>
                    <a:pt x="34" y="35"/>
                    <a:pt x="36" y="35"/>
                  </a:cubicBezTo>
                  <a:cubicBezTo>
                    <a:pt x="36" y="36"/>
                    <a:pt x="37" y="37"/>
                    <a:pt x="37" y="38"/>
                  </a:cubicBezTo>
                  <a:cubicBezTo>
                    <a:pt x="37" y="37"/>
                    <a:pt x="37" y="37"/>
                    <a:pt x="37" y="36"/>
                  </a:cubicBezTo>
                  <a:cubicBezTo>
                    <a:pt x="39" y="37"/>
                    <a:pt x="38" y="37"/>
                    <a:pt x="38" y="39"/>
                  </a:cubicBezTo>
                  <a:cubicBezTo>
                    <a:pt x="38" y="39"/>
                    <a:pt x="40" y="40"/>
                    <a:pt x="40" y="40"/>
                  </a:cubicBezTo>
                  <a:cubicBezTo>
                    <a:pt x="41" y="41"/>
                    <a:pt x="42" y="45"/>
                    <a:pt x="41" y="46"/>
                  </a:cubicBezTo>
                  <a:cubicBezTo>
                    <a:pt x="40" y="48"/>
                    <a:pt x="40" y="49"/>
                    <a:pt x="38" y="51"/>
                  </a:cubicBezTo>
                  <a:cubicBezTo>
                    <a:pt x="36" y="53"/>
                    <a:pt x="39" y="54"/>
                    <a:pt x="39" y="56"/>
                  </a:cubicBezTo>
                  <a:cubicBezTo>
                    <a:pt x="38" y="55"/>
                    <a:pt x="36" y="56"/>
                    <a:pt x="35" y="57"/>
                  </a:cubicBezTo>
                  <a:cubicBezTo>
                    <a:pt x="34" y="57"/>
                    <a:pt x="31" y="56"/>
                    <a:pt x="30" y="56"/>
                  </a:cubicBezTo>
                  <a:cubicBezTo>
                    <a:pt x="30" y="56"/>
                    <a:pt x="30" y="56"/>
                    <a:pt x="31" y="56"/>
                  </a:cubicBezTo>
                  <a:cubicBezTo>
                    <a:pt x="30" y="57"/>
                    <a:pt x="29" y="58"/>
                    <a:pt x="28" y="60"/>
                  </a:cubicBezTo>
                  <a:cubicBezTo>
                    <a:pt x="28" y="61"/>
                    <a:pt x="31" y="63"/>
                    <a:pt x="32" y="62"/>
                  </a:cubicBezTo>
                  <a:cubicBezTo>
                    <a:pt x="34" y="61"/>
                    <a:pt x="33" y="60"/>
                    <a:pt x="36" y="61"/>
                  </a:cubicBezTo>
                  <a:cubicBezTo>
                    <a:pt x="38" y="62"/>
                    <a:pt x="35" y="60"/>
                    <a:pt x="37" y="59"/>
                  </a:cubicBezTo>
                  <a:cubicBezTo>
                    <a:pt x="36" y="60"/>
                    <a:pt x="37" y="60"/>
                    <a:pt x="38" y="60"/>
                  </a:cubicBezTo>
                  <a:cubicBezTo>
                    <a:pt x="39" y="60"/>
                    <a:pt x="39" y="61"/>
                    <a:pt x="40" y="62"/>
                  </a:cubicBezTo>
                  <a:cubicBezTo>
                    <a:pt x="41" y="64"/>
                    <a:pt x="42" y="65"/>
                    <a:pt x="44" y="66"/>
                  </a:cubicBezTo>
                  <a:cubicBezTo>
                    <a:pt x="44" y="67"/>
                    <a:pt x="43" y="67"/>
                    <a:pt x="43" y="66"/>
                  </a:cubicBezTo>
                  <a:cubicBezTo>
                    <a:pt x="43" y="67"/>
                    <a:pt x="46" y="71"/>
                    <a:pt x="48" y="69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9" y="70"/>
                    <a:pt x="49" y="71"/>
                    <a:pt x="50" y="72"/>
                  </a:cubicBezTo>
                  <a:cubicBezTo>
                    <a:pt x="50" y="72"/>
                    <a:pt x="50" y="72"/>
                    <a:pt x="50" y="71"/>
                  </a:cubicBezTo>
                  <a:cubicBezTo>
                    <a:pt x="51" y="73"/>
                    <a:pt x="52" y="73"/>
                    <a:pt x="53" y="74"/>
                  </a:cubicBezTo>
                  <a:cubicBezTo>
                    <a:pt x="54" y="74"/>
                    <a:pt x="54" y="74"/>
                    <a:pt x="54" y="73"/>
                  </a:cubicBezTo>
                  <a:cubicBezTo>
                    <a:pt x="55" y="73"/>
                    <a:pt x="55" y="75"/>
                    <a:pt x="56" y="75"/>
                  </a:cubicBezTo>
                  <a:cubicBezTo>
                    <a:pt x="59" y="73"/>
                    <a:pt x="54" y="70"/>
                    <a:pt x="53" y="6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0" name="Freeform 43"/>
            <p:cNvSpPr>
              <a:spLocks noEditPoints="1"/>
            </p:cNvSpPr>
            <p:nvPr/>
          </p:nvSpPr>
          <p:spPr bwMode="auto">
            <a:xfrm>
              <a:off x="6856152" y="1275654"/>
              <a:ext cx="506868" cy="557116"/>
            </a:xfrm>
            <a:custGeom>
              <a:avLst/>
              <a:gdLst>
                <a:gd name="T0" fmla="*/ 2147483646 w 68"/>
                <a:gd name="T1" fmla="*/ 2147483646 h 75"/>
                <a:gd name="T2" fmla="*/ 2147483646 w 68"/>
                <a:gd name="T3" fmla="*/ 2147483646 h 75"/>
                <a:gd name="T4" fmla="*/ 2147483646 w 68"/>
                <a:gd name="T5" fmla="*/ 2147483646 h 75"/>
                <a:gd name="T6" fmla="*/ 2147483646 w 68"/>
                <a:gd name="T7" fmla="*/ 2147483646 h 75"/>
                <a:gd name="T8" fmla="*/ 2147483646 w 68"/>
                <a:gd name="T9" fmla="*/ 2147483646 h 75"/>
                <a:gd name="T10" fmla="*/ 2147483646 w 68"/>
                <a:gd name="T11" fmla="*/ 2147483646 h 75"/>
                <a:gd name="T12" fmla="*/ 2147483646 w 68"/>
                <a:gd name="T13" fmla="*/ 2147483646 h 75"/>
                <a:gd name="T14" fmla="*/ 2147483646 w 68"/>
                <a:gd name="T15" fmla="*/ 2147483646 h 75"/>
                <a:gd name="T16" fmla="*/ 2147483646 w 68"/>
                <a:gd name="T17" fmla="*/ 2147483646 h 75"/>
                <a:gd name="T18" fmla="*/ 2147483646 w 68"/>
                <a:gd name="T19" fmla="*/ 0 h 75"/>
                <a:gd name="T20" fmla="*/ 2147483646 w 68"/>
                <a:gd name="T21" fmla="*/ 0 h 75"/>
                <a:gd name="T22" fmla="*/ 2147483646 w 68"/>
                <a:gd name="T23" fmla="*/ 2147483646 h 75"/>
                <a:gd name="T24" fmla="*/ 2147483646 w 68"/>
                <a:gd name="T25" fmla="*/ 2147483646 h 75"/>
                <a:gd name="T26" fmla="*/ 2147483646 w 68"/>
                <a:gd name="T27" fmla="*/ 2147483646 h 75"/>
                <a:gd name="T28" fmla="*/ 2147483646 w 68"/>
                <a:gd name="T29" fmla="*/ 2147483646 h 75"/>
                <a:gd name="T30" fmla="*/ 2147483646 w 68"/>
                <a:gd name="T31" fmla="*/ 2147483646 h 75"/>
                <a:gd name="T32" fmla="*/ 2147483646 w 68"/>
                <a:gd name="T33" fmla="*/ 2147483646 h 75"/>
                <a:gd name="T34" fmla="*/ 2147483646 w 68"/>
                <a:gd name="T35" fmla="*/ 2147483646 h 75"/>
                <a:gd name="T36" fmla="*/ 2147483646 w 68"/>
                <a:gd name="T37" fmla="*/ 2147483646 h 75"/>
                <a:gd name="T38" fmla="*/ 2147483646 w 68"/>
                <a:gd name="T39" fmla="*/ 2147483646 h 75"/>
                <a:gd name="T40" fmla="*/ 2147483646 w 68"/>
                <a:gd name="T41" fmla="*/ 2147483646 h 75"/>
                <a:gd name="T42" fmla="*/ 2147483646 w 68"/>
                <a:gd name="T43" fmla="*/ 2147483646 h 75"/>
                <a:gd name="T44" fmla="*/ 2147483646 w 68"/>
                <a:gd name="T45" fmla="*/ 2147483646 h 75"/>
                <a:gd name="T46" fmla="*/ 2147483646 w 68"/>
                <a:gd name="T47" fmla="*/ 2147483646 h 75"/>
                <a:gd name="T48" fmla="*/ 2147483646 w 68"/>
                <a:gd name="T49" fmla="*/ 2147483646 h 75"/>
                <a:gd name="T50" fmla="*/ 2147483646 w 68"/>
                <a:gd name="T51" fmla="*/ 2147483646 h 75"/>
                <a:gd name="T52" fmla="*/ 2147483646 w 68"/>
                <a:gd name="T53" fmla="*/ 2147483646 h 75"/>
                <a:gd name="T54" fmla="*/ 2147483646 w 68"/>
                <a:gd name="T55" fmla="*/ 2147483646 h 75"/>
                <a:gd name="T56" fmla="*/ 2147483646 w 68"/>
                <a:gd name="T57" fmla="*/ 2147483646 h 75"/>
                <a:gd name="T58" fmla="*/ 2147483646 w 68"/>
                <a:gd name="T59" fmla="*/ 2147483646 h 75"/>
                <a:gd name="T60" fmla="*/ 2147483646 w 68"/>
                <a:gd name="T61" fmla="*/ 2147483646 h 75"/>
                <a:gd name="T62" fmla="*/ 2147483646 w 68"/>
                <a:gd name="T63" fmla="*/ 2147483646 h 75"/>
                <a:gd name="T64" fmla="*/ 2147483646 w 68"/>
                <a:gd name="T65" fmla="*/ 2147483646 h 75"/>
                <a:gd name="T66" fmla="*/ 2147483646 w 68"/>
                <a:gd name="T67" fmla="*/ 2147483646 h 75"/>
                <a:gd name="T68" fmla="*/ 2147483646 w 68"/>
                <a:gd name="T69" fmla="*/ 2147483646 h 75"/>
                <a:gd name="T70" fmla="*/ 2147483646 w 68"/>
                <a:gd name="T71" fmla="*/ 2147483646 h 75"/>
                <a:gd name="T72" fmla="*/ 2147483646 w 68"/>
                <a:gd name="T73" fmla="*/ 2147483646 h 75"/>
                <a:gd name="T74" fmla="*/ 2147483646 w 68"/>
                <a:gd name="T75" fmla="*/ 2147483646 h 75"/>
                <a:gd name="T76" fmla="*/ 2147483646 w 68"/>
                <a:gd name="T77" fmla="*/ 2147483646 h 75"/>
                <a:gd name="T78" fmla="*/ 2147483646 w 68"/>
                <a:gd name="T79" fmla="*/ 2147483646 h 75"/>
                <a:gd name="T80" fmla="*/ 2147483646 w 68"/>
                <a:gd name="T81" fmla="*/ 2147483646 h 75"/>
                <a:gd name="T82" fmla="*/ 2147483646 w 68"/>
                <a:gd name="T83" fmla="*/ 2147483646 h 75"/>
                <a:gd name="T84" fmla="*/ 2147483646 w 68"/>
                <a:gd name="T85" fmla="*/ 2147483646 h 75"/>
                <a:gd name="T86" fmla="*/ 2147483646 w 68"/>
                <a:gd name="T87" fmla="*/ 2147483646 h 75"/>
                <a:gd name="T88" fmla="*/ 2147483646 w 68"/>
                <a:gd name="T89" fmla="*/ 2147483646 h 75"/>
                <a:gd name="T90" fmla="*/ 2147483646 w 68"/>
                <a:gd name="T91" fmla="*/ 2147483646 h 75"/>
                <a:gd name="T92" fmla="*/ 2147483646 w 68"/>
                <a:gd name="T93" fmla="*/ 2147483646 h 75"/>
                <a:gd name="T94" fmla="*/ 2147483646 w 68"/>
                <a:gd name="T95" fmla="*/ 2147483646 h 75"/>
                <a:gd name="T96" fmla="*/ 2147483646 w 68"/>
                <a:gd name="T97" fmla="*/ 2147483646 h 75"/>
                <a:gd name="T98" fmla="*/ 2147483646 w 68"/>
                <a:gd name="T99" fmla="*/ 2147483646 h 75"/>
                <a:gd name="T100" fmla="*/ 2147483646 w 68"/>
                <a:gd name="T101" fmla="*/ 2147483646 h 75"/>
                <a:gd name="T102" fmla="*/ 2147483646 w 68"/>
                <a:gd name="T103" fmla="*/ 2147483646 h 75"/>
                <a:gd name="T104" fmla="*/ 2147483646 w 68"/>
                <a:gd name="T105" fmla="*/ 2147483646 h 75"/>
                <a:gd name="T106" fmla="*/ 2147483646 w 68"/>
                <a:gd name="T107" fmla="*/ 2147483646 h 75"/>
                <a:gd name="T108" fmla="*/ 2147483646 w 68"/>
                <a:gd name="T109" fmla="*/ 2147483646 h 75"/>
                <a:gd name="T110" fmla="*/ 2147483646 w 68"/>
                <a:gd name="T111" fmla="*/ 2147483646 h 75"/>
                <a:gd name="T112" fmla="*/ 2147483646 w 68"/>
                <a:gd name="T113" fmla="*/ 2147483646 h 75"/>
                <a:gd name="T114" fmla="*/ 2147483646 w 68"/>
                <a:gd name="T115" fmla="*/ 2147483646 h 75"/>
                <a:gd name="T116" fmla="*/ 2147483646 w 68"/>
                <a:gd name="T117" fmla="*/ 2147483646 h 75"/>
                <a:gd name="T118" fmla="*/ 2147483646 w 68"/>
                <a:gd name="T119" fmla="*/ 2147483646 h 7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68" h="75">
                  <a:moveTo>
                    <a:pt x="56" y="75"/>
                  </a:moveTo>
                  <a:cubicBezTo>
                    <a:pt x="55" y="75"/>
                    <a:pt x="55" y="75"/>
                    <a:pt x="55" y="74"/>
                  </a:cubicBezTo>
                  <a:cubicBezTo>
                    <a:pt x="55" y="74"/>
                    <a:pt x="55" y="74"/>
                    <a:pt x="54" y="74"/>
                  </a:cubicBezTo>
                  <a:cubicBezTo>
                    <a:pt x="55" y="74"/>
                    <a:pt x="54" y="74"/>
                    <a:pt x="54" y="74"/>
                  </a:cubicBezTo>
                  <a:cubicBezTo>
                    <a:pt x="54" y="74"/>
                    <a:pt x="54" y="74"/>
                    <a:pt x="53" y="74"/>
                  </a:cubicBezTo>
                  <a:cubicBezTo>
                    <a:pt x="53" y="74"/>
                    <a:pt x="53" y="74"/>
                    <a:pt x="52" y="74"/>
                  </a:cubicBezTo>
                  <a:cubicBezTo>
                    <a:pt x="51" y="74"/>
                    <a:pt x="50" y="73"/>
                    <a:pt x="50" y="72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1"/>
                    <a:pt x="49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1"/>
                    <a:pt x="46" y="71"/>
                  </a:cubicBezTo>
                  <a:cubicBezTo>
                    <a:pt x="45" y="71"/>
                    <a:pt x="43" y="68"/>
                    <a:pt x="42" y="67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1" y="65"/>
                    <a:pt x="40" y="64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1"/>
                    <a:pt x="39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2"/>
                  </a:cubicBezTo>
                  <a:cubicBezTo>
                    <a:pt x="37" y="62"/>
                    <a:pt x="36" y="62"/>
                    <a:pt x="35" y="62"/>
                  </a:cubicBezTo>
                  <a:cubicBezTo>
                    <a:pt x="35" y="61"/>
                    <a:pt x="35" y="61"/>
                    <a:pt x="34" y="61"/>
                  </a:cubicBezTo>
                  <a:cubicBezTo>
                    <a:pt x="34" y="61"/>
                    <a:pt x="34" y="61"/>
                    <a:pt x="34" y="62"/>
                  </a:cubicBezTo>
                  <a:cubicBezTo>
                    <a:pt x="34" y="62"/>
                    <a:pt x="33" y="62"/>
                    <a:pt x="32" y="63"/>
                  </a:cubicBezTo>
                  <a:cubicBezTo>
                    <a:pt x="31" y="63"/>
                    <a:pt x="29" y="63"/>
                    <a:pt x="28" y="61"/>
                  </a:cubicBezTo>
                  <a:cubicBezTo>
                    <a:pt x="28" y="61"/>
                    <a:pt x="28" y="60"/>
                    <a:pt x="28" y="60"/>
                  </a:cubicBezTo>
                  <a:cubicBezTo>
                    <a:pt x="28" y="59"/>
                    <a:pt x="29" y="58"/>
                    <a:pt x="29" y="57"/>
                  </a:cubicBezTo>
                  <a:cubicBezTo>
                    <a:pt x="30" y="57"/>
                    <a:pt x="30" y="57"/>
                    <a:pt x="30" y="56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1" y="55"/>
                    <a:pt x="31" y="56"/>
                    <a:pt x="32" y="56"/>
                  </a:cubicBezTo>
                  <a:cubicBezTo>
                    <a:pt x="32" y="56"/>
                    <a:pt x="34" y="56"/>
                    <a:pt x="34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6" y="55"/>
                    <a:pt x="37" y="55"/>
                    <a:pt x="38" y="55"/>
                  </a:cubicBezTo>
                  <a:cubicBezTo>
                    <a:pt x="38" y="55"/>
                    <a:pt x="38" y="54"/>
                    <a:pt x="38" y="54"/>
                  </a:cubicBezTo>
                  <a:cubicBezTo>
                    <a:pt x="37" y="53"/>
                    <a:pt x="36" y="52"/>
                    <a:pt x="38" y="50"/>
                  </a:cubicBezTo>
                  <a:cubicBezTo>
                    <a:pt x="38" y="50"/>
                    <a:pt x="39" y="49"/>
                    <a:pt x="39" y="48"/>
                  </a:cubicBezTo>
                  <a:cubicBezTo>
                    <a:pt x="40" y="47"/>
                    <a:pt x="40" y="47"/>
                    <a:pt x="41" y="46"/>
                  </a:cubicBezTo>
                  <a:cubicBezTo>
                    <a:pt x="42" y="45"/>
                    <a:pt x="41" y="42"/>
                    <a:pt x="40" y="40"/>
                  </a:cubicBezTo>
                  <a:cubicBezTo>
                    <a:pt x="40" y="40"/>
                    <a:pt x="39" y="40"/>
                    <a:pt x="39" y="40"/>
                  </a:cubicBezTo>
                  <a:cubicBezTo>
                    <a:pt x="39" y="40"/>
                    <a:pt x="39" y="40"/>
                    <a:pt x="38" y="40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6" y="38"/>
                  </a:cubicBezTo>
                  <a:cubicBezTo>
                    <a:pt x="36" y="37"/>
                    <a:pt x="36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2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6"/>
                    <a:pt x="31" y="35"/>
                    <a:pt x="31" y="34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3" y="33"/>
                    <a:pt x="33" y="33"/>
                  </a:cubicBezTo>
                  <a:cubicBezTo>
                    <a:pt x="33" y="33"/>
                    <a:pt x="32" y="32"/>
                    <a:pt x="31" y="32"/>
                  </a:cubicBezTo>
                  <a:cubicBezTo>
                    <a:pt x="31" y="31"/>
                    <a:pt x="31" y="31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1" y="30"/>
                    <a:pt x="31" y="30"/>
                  </a:cubicBezTo>
                  <a:cubicBezTo>
                    <a:pt x="31" y="30"/>
                    <a:pt x="30" y="30"/>
                    <a:pt x="30" y="30"/>
                  </a:cubicBezTo>
                  <a:cubicBezTo>
                    <a:pt x="30" y="30"/>
                    <a:pt x="29" y="30"/>
                    <a:pt x="29" y="29"/>
                  </a:cubicBezTo>
                  <a:cubicBezTo>
                    <a:pt x="29" y="29"/>
                    <a:pt x="29" y="28"/>
                    <a:pt x="29" y="27"/>
                  </a:cubicBezTo>
                  <a:cubicBezTo>
                    <a:pt x="28" y="27"/>
                    <a:pt x="28" y="27"/>
                    <a:pt x="27" y="27"/>
                  </a:cubicBezTo>
                  <a:cubicBezTo>
                    <a:pt x="27" y="27"/>
                    <a:pt x="27" y="27"/>
                    <a:pt x="27" y="28"/>
                  </a:cubicBezTo>
                  <a:cubicBezTo>
                    <a:pt x="27" y="29"/>
                    <a:pt x="27" y="29"/>
                    <a:pt x="26" y="30"/>
                  </a:cubicBezTo>
                  <a:cubicBezTo>
                    <a:pt x="25" y="30"/>
                    <a:pt x="24" y="29"/>
                    <a:pt x="22" y="2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0" y="29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8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6" y="28"/>
                    <a:pt x="16" y="28"/>
                    <a:pt x="15" y="29"/>
                  </a:cubicBezTo>
                  <a:cubicBezTo>
                    <a:pt x="15" y="29"/>
                    <a:pt x="14" y="29"/>
                    <a:pt x="14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1" y="29"/>
                    <a:pt x="9" y="29"/>
                    <a:pt x="8" y="26"/>
                  </a:cubicBezTo>
                  <a:cubicBezTo>
                    <a:pt x="8" y="27"/>
                    <a:pt x="7" y="27"/>
                    <a:pt x="7" y="27"/>
                  </a:cubicBezTo>
                  <a:cubicBezTo>
                    <a:pt x="6" y="27"/>
                    <a:pt x="5" y="26"/>
                    <a:pt x="4" y="25"/>
                  </a:cubicBezTo>
                  <a:cubicBezTo>
                    <a:pt x="3" y="24"/>
                    <a:pt x="1" y="22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4" y="20"/>
                    <a:pt x="4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5"/>
                    <a:pt x="0" y="15"/>
                    <a:pt x="0" y="15"/>
                  </a:cubicBezTo>
                  <a:cubicBezTo>
                    <a:pt x="0" y="14"/>
                    <a:pt x="0" y="13"/>
                    <a:pt x="1" y="13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1" y="9"/>
                    <a:pt x="1" y="8"/>
                    <a:pt x="2" y="8"/>
                  </a:cubicBezTo>
                  <a:cubicBezTo>
                    <a:pt x="2" y="8"/>
                    <a:pt x="2" y="7"/>
                    <a:pt x="1" y="7"/>
                  </a:cubicBezTo>
                  <a:cubicBezTo>
                    <a:pt x="1" y="6"/>
                    <a:pt x="3" y="4"/>
                    <a:pt x="5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0" y="0"/>
                    <a:pt x="10" y="0"/>
                    <a:pt x="11" y="0"/>
                  </a:cubicBezTo>
                  <a:cubicBezTo>
                    <a:pt x="11" y="0"/>
                    <a:pt x="12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5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7" y="1"/>
                    <a:pt x="18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20" y="0"/>
                    <a:pt x="21" y="0"/>
                    <a:pt x="22" y="2"/>
                  </a:cubicBezTo>
                  <a:cubicBezTo>
                    <a:pt x="22" y="2"/>
                    <a:pt x="22" y="3"/>
                    <a:pt x="2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5"/>
                    <a:pt x="23" y="5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4" y="8"/>
                    <a:pt x="24" y="8"/>
                  </a:cubicBezTo>
                  <a:cubicBezTo>
                    <a:pt x="24" y="9"/>
                    <a:pt x="23" y="10"/>
                    <a:pt x="23" y="11"/>
                  </a:cubicBezTo>
                  <a:cubicBezTo>
                    <a:pt x="23" y="11"/>
                    <a:pt x="23" y="12"/>
                    <a:pt x="23" y="12"/>
                  </a:cubicBezTo>
                  <a:cubicBezTo>
                    <a:pt x="23" y="12"/>
                    <a:pt x="23" y="11"/>
                    <a:pt x="24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1"/>
                    <a:pt x="25" y="11"/>
                  </a:cubicBezTo>
                  <a:cubicBezTo>
                    <a:pt x="25" y="11"/>
                    <a:pt x="26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6" y="10"/>
                    <a:pt x="27" y="9"/>
                  </a:cubicBezTo>
                  <a:cubicBezTo>
                    <a:pt x="27" y="9"/>
                    <a:pt x="28" y="9"/>
                    <a:pt x="28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30" y="8"/>
                    <a:pt x="30" y="8"/>
                  </a:cubicBezTo>
                  <a:cubicBezTo>
                    <a:pt x="32" y="8"/>
                    <a:pt x="35" y="9"/>
                    <a:pt x="36" y="11"/>
                  </a:cubicBezTo>
                  <a:cubicBezTo>
                    <a:pt x="36" y="11"/>
                    <a:pt x="36" y="12"/>
                    <a:pt x="36" y="13"/>
                  </a:cubicBezTo>
                  <a:cubicBezTo>
                    <a:pt x="37" y="13"/>
                    <a:pt x="38" y="13"/>
                    <a:pt x="38" y="14"/>
                  </a:cubicBezTo>
                  <a:cubicBezTo>
                    <a:pt x="38" y="14"/>
                    <a:pt x="38" y="15"/>
                    <a:pt x="3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1" y="17"/>
                    <a:pt x="41" y="16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5" y="18"/>
                    <a:pt x="45" y="19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6" y="21"/>
                    <a:pt x="46" y="21"/>
                  </a:cubicBezTo>
                  <a:cubicBezTo>
                    <a:pt x="47" y="21"/>
                    <a:pt x="47" y="22"/>
                    <a:pt x="46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2"/>
                    <a:pt x="49" y="23"/>
                    <a:pt x="51" y="23"/>
                  </a:cubicBezTo>
                  <a:cubicBezTo>
                    <a:pt x="52" y="24"/>
                    <a:pt x="52" y="24"/>
                    <a:pt x="52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4" y="28"/>
                    <a:pt x="54" y="29"/>
                    <a:pt x="54" y="29"/>
                  </a:cubicBezTo>
                  <a:cubicBezTo>
                    <a:pt x="54" y="30"/>
                    <a:pt x="53" y="31"/>
                    <a:pt x="52" y="31"/>
                  </a:cubicBezTo>
                  <a:cubicBezTo>
                    <a:pt x="53" y="32"/>
                    <a:pt x="54" y="32"/>
                    <a:pt x="56" y="32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2" y="35"/>
                    <a:pt x="52" y="36"/>
                  </a:cubicBezTo>
                  <a:cubicBezTo>
                    <a:pt x="52" y="36"/>
                    <a:pt x="53" y="36"/>
                    <a:pt x="53" y="36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4" y="37"/>
                    <a:pt x="55" y="38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7" y="39"/>
                    <a:pt x="57" y="40"/>
                    <a:pt x="57" y="40"/>
                  </a:cubicBezTo>
                  <a:cubicBezTo>
                    <a:pt x="57" y="40"/>
                    <a:pt x="57" y="41"/>
                    <a:pt x="57" y="41"/>
                  </a:cubicBezTo>
                  <a:cubicBezTo>
                    <a:pt x="57" y="41"/>
                    <a:pt x="58" y="41"/>
                    <a:pt x="59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9" y="41"/>
                    <a:pt x="60" y="42"/>
                    <a:pt x="60" y="42"/>
                  </a:cubicBezTo>
                  <a:cubicBezTo>
                    <a:pt x="61" y="43"/>
                    <a:pt x="62" y="44"/>
                    <a:pt x="62" y="45"/>
                  </a:cubicBezTo>
                  <a:cubicBezTo>
                    <a:pt x="62" y="45"/>
                    <a:pt x="62" y="45"/>
                    <a:pt x="62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7"/>
                  </a:cubicBezTo>
                  <a:cubicBezTo>
                    <a:pt x="65" y="47"/>
                    <a:pt x="66" y="47"/>
                    <a:pt x="67" y="48"/>
                  </a:cubicBezTo>
                  <a:cubicBezTo>
                    <a:pt x="68" y="49"/>
                    <a:pt x="68" y="50"/>
                    <a:pt x="67" y="50"/>
                  </a:cubicBezTo>
                  <a:cubicBezTo>
                    <a:pt x="67" y="50"/>
                    <a:pt x="67" y="50"/>
                    <a:pt x="67" y="51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6" y="52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5" y="53"/>
                    <a:pt x="65" y="54"/>
                    <a:pt x="65" y="55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6"/>
                    <a:pt x="64" y="56"/>
                    <a:pt x="63" y="55"/>
                  </a:cubicBezTo>
                  <a:cubicBezTo>
                    <a:pt x="64" y="57"/>
                    <a:pt x="63" y="58"/>
                    <a:pt x="63" y="59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1" y="59"/>
                    <a:pt x="61" y="59"/>
                    <a:pt x="61" y="58"/>
                  </a:cubicBezTo>
                  <a:cubicBezTo>
                    <a:pt x="60" y="58"/>
                    <a:pt x="59" y="58"/>
                    <a:pt x="59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9" y="56"/>
                    <a:pt x="59" y="56"/>
                    <a:pt x="59" y="56"/>
                  </a:cubicBezTo>
                  <a:cubicBezTo>
                    <a:pt x="58" y="56"/>
                    <a:pt x="57" y="55"/>
                    <a:pt x="57" y="54"/>
                  </a:cubicBezTo>
                  <a:cubicBezTo>
                    <a:pt x="56" y="53"/>
                    <a:pt x="55" y="52"/>
                    <a:pt x="54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4"/>
                    <a:pt x="53" y="54"/>
                    <a:pt x="53" y="54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3" y="54"/>
                    <a:pt x="54" y="54"/>
                    <a:pt x="54" y="55"/>
                  </a:cubicBezTo>
                  <a:cubicBezTo>
                    <a:pt x="54" y="55"/>
                    <a:pt x="54" y="55"/>
                    <a:pt x="54" y="56"/>
                  </a:cubicBezTo>
                  <a:cubicBezTo>
                    <a:pt x="54" y="56"/>
                    <a:pt x="54" y="57"/>
                    <a:pt x="54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8" y="60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9" y="60"/>
                    <a:pt x="59" y="60"/>
                    <a:pt x="59" y="60"/>
                  </a:cubicBezTo>
                  <a:cubicBezTo>
                    <a:pt x="59" y="60"/>
                    <a:pt x="59" y="61"/>
                    <a:pt x="59" y="62"/>
                  </a:cubicBezTo>
                  <a:cubicBezTo>
                    <a:pt x="59" y="62"/>
                    <a:pt x="59" y="63"/>
                    <a:pt x="59" y="63"/>
                  </a:cubicBezTo>
                  <a:cubicBezTo>
                    <a:pt x="61" y="63"/>
                    <a:pt x="61" y="65"/>
                    <a:pt x="61" y="67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1" y="69"/>
                    <a:pt x="61" y="69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1"/>
                    <a:pt x="59" y="71"/>
                    <a:pt x="58" y="71"/>
                  </a:cubicBezTo>
                  <a:cubicBezTo>
                    <a:pt x="58" y="71"/>
                    <a:pt x="58" y="70"/>
                    <a:pt x="57" y="70"/>
                  </a:cubicBezTo>
                  <a:cubicBezTo>
                    <a:pt x="57" y="70"/>
                    <a:pt x="57" y="69"/>
                    <a:pt x="57" y="69"/>
                  </a:cubicBezTo>
                  <a:cubicBezTo>
                    <a:pt x="56" y="69"/>
                    <a:pt x="55" y="69"/>
                    <a:pt x="54" y="6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7"/>
                    <a:pt x="52" y="67"/>
                    <a:pt x="52" y="67"/>
                  </a:cubicBezTo>
                  <a:cubicBezTo>
                    <a:pt x="52" y="67"/>
                    <a:pt x="52" y="67"/>
                    <a:pt x="53" y="68"/>
                  </a:cubicBezTo>
                  <a:cubicBezTo>
                    <a:pt x="53" y="68"/>
                    <a:pt x="53" y="68"/>
                    <a:pt x="53" y="69"/>
                  </a:cubicBezTo>
                  <a:cubicBezTo>
                    <a:pt x="53" y="69"/>
                    <a:pt x="54" y="69"/>
                    <a:pt x="54" y="69"/>
                  </a:cubicBezTo>
                  <a:cubicBezTo>
                    <a:pt x="56" y="71"/>
                    <a:pt x="58" y="72"/>
                    <a:pt x="57" y="74"/>
                  </a:cubicBezTo>
                  <a:cubicBezTo>
                    <a:pt x="57" y="74"/>
                    <a:pt x="57" y="75"/>
                    <a:pt x="56" y="75"/>
                  </a:cubicBezTo>
                  <a:close/>
                  <a:moveTo>
                    <a:pt x="55" y="73"/>
                  </a:moveTo>
                  <a:cubicBezTo>
                    <a:pt x="55" y="73"/>
                    <a:pt x="56" y="73"/>
                    <a:pt x="56" y="74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3"/>
                    <a:pt x="54" y="71"/>
                    <a:pt x="53" y="70"/>
                  </a:cubicBezTo>
                  <a:cubicBezTo>
                    <a:pt x="53" y="70"/>
                    <a:pt x="53" y="69"/>
                    <a:pt x="52" y="69"/>
                  </a:cubicBezTo>
                  <a:cubicBezTo>
                    <a:pt x="52" y="69"/>
                    <a:pt x="52" y="69"/>
                    <a:pt x="52" y="68"/>
                  </a:cubicBezTo>
                  <a:cubicBezTo>
                    <a:pt x="51" y="67"/>
                    <a:pt x="50" y="67"/>
                    <a:pt x="49" y="65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4"/>
                    <a:pt x="51" y="65"/>
                    <a:pt x="52" y="65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2" y="65"/>
                    <a:pt x="53" y="65"/>
                  </a:cubicBezTo>
                  <a:cubicBezTo>
                    <a:pt x="53" y="65"/>
                    <a:pt x="53" y="65"/>
                    <a:pt x="53" y="66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6" y="68"/>
                    <a:pt x="57" y="68"/>
                  </a:cubicBezTo>
                  <a:cubicBezTo>
                    <a:pt x="57" y="68"/>
                    <a:pt x="57" y="68"/>
                    <a:pt x="58" y="68"/>
                  </a:cubicBezTo>
                  <a:cubicBezTo>
                    <a:pt x="58" y="68"/>
                    <a:pt x="58" y="69"/>
                    <a:pt x="58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8"/>
                    <a:pt x="58" y="67"/>
                    <a:pt x="58" y="66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6"/>
                    <a:pt x="60" y="66"/>
                  </a:cubicBezTo>
                  <a:cubicBezTo>
                    <a:pt x="60" y="65"/>
                    <a:pt x="60" y="64"/>
                    <a:pt x="59" y="64"/>
                  </a:cubicBezTo>
                  <a:cubicBezTo>
                    <a:pt x="58" y="63"/>
                    <a:pt x="58" y="62"/>
                    <a:pt x="58" y="61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6" y="60"/>
                    <a:pt x="56" y="60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59"/>
                    <a:pt x="54" y="59"/>
                    <a:pt x="54" y="58"/>
                  </a:cubicBezTo>
                  <a:cubicBezTo>
                    <a:pt x="53" y="58"/>
                    <a:pt x="53" y="57"/>
                    <a:pt x="53" y="57"/>
                  </a:cubicBezTo>
                  <a:cubicBezTo>
                    <a:pt x="53" y="57"/>
                    <a:pt x="53" y="56"/>
                    <a:pt x="53" y="56"/>
                  </a:cubicBezTo>
                  <a:cubicBezTo>
                    <a:pt x="53" y="56"/>
                    <a:pt x="53" y="55"/>
                    <a:pt x="53" y="55"/>
                  </a:cubicBezTo>
                  <a:cubicBezTo>
                    <a:pt x="53" y="55"/>
                    <a:pt x="53" y="55"/>
                    <a:pt x="52" y="55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4"/>
                    <a:pt x="52" y="53"/>
                    <a:pt x="52" y="53"/>
                  </a:cubicBezTo>
                  <a:cubicBezTo>
                    <a:pt x="52" y="53"/>
                    <a:pt x="52" y="53"/>
                    <a:pt x="53" y="53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4" y="49"/>
                    <a:pt x="54" y="49"/>
                    <a:pt x="55" y="49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5" y="50"/>
                    <a:pt x="55" y="51"/>
                    <a:pt x="55" y="51"/>
                  </a:cubicBezTo>
                  <a:cubicBezTo>
                    <a:pt x="56" y="52"/>
                    <a:pt x="57" y="52"/>
                    <a:pt x="58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4"/>
                    <a:pt x="59" y="55"/>
                    <a:pt x="59" y="55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0" y="57"/>
                    <a:pt x="61" y="57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2" y="57"/>
                    <a:pt x="62" y="56"/>
                    <a:pt x="62" y="54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63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3"/>
                    <a:pt x="64" y="53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4" y="52"/>
                    <a:pt x="64" y="51"/>
                    <a:pt x="65" y="51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51"/>
                    <a:pt x="66" y="51"/>
                    <a:pt x="66" y="51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4" y="48"/>
                    <a:pt x="64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47"/>
                    <a:pt x="63" y="47"/>
                    <a:pt x="63" y="46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4"/>
                    <a:pt x="60" y="44"/>
                    <a:pt x="60" y="43"/>
                  </a:cubicBezTo>
                  <a:cubicBezTo>
                    <a:pt x="59" y="43"/>
                    <a:pt x="59" y="42"/>
                    <a:pt x="58" y="42"/>
                  </a:cubicBezTo>
                  <a:cubicBezTo>
                    <a:pt x="56" y="42"/>
                    <a:pt x="56" y="41"/>
                    <a:pt x="56" y="41"/>
                  </a:cubicBezTo>
                  <a:cubicBezTo>
                    <a:pt x="56" y="40"/>
                    <a:pt x="56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3" y="38"/>
                    <a:pt x="52" y="38"/>
                  </a:cubicBezTo>
                  <a:cubicBezTo>
                    <a:pt x="52" y="38"/>
                    <a:pt x="51" y="38"/>
                    <a:pt x="51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2" y="36"/>
                  </a:cubicBezTo>
                  <a:cubicBezTo>
                    <a:pt x="51" y="36"/>
                    <a:pt x="51" y="36"/>
                    <a:pt x="51" y="35"/>
                  </a:cubicBezTo>
                  <a:cubicBezTo>
                    <a:pt x="51" y="35"/>
                    <a:pt x="51" y="35"/>
                    <a:pt x="52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2" y="32"/>
                    <a:pt x="51" y="32"/>
                    <a:pt x="50" y="32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1" y="30"/>
                    <a:pt x="53" y="30"/>
                    <a:pt x="53" y="29"/>
                  </a:cubicBezTo>
                  <a:cubicBezTo>
                    <a:pt x="53" y="29"/>
                    <a:pt x="52" y="28"/>
                    <a:pt x="52" y="27"/>
                  </a:cubicBezTo>
                  <a:cubicBezTo>
                    <a:pt x="51" y="28"/>
                    <a:pt x="51" y="29"/>
                    <a:pt x="50" y="29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8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0" y="25"/>
                    <a:pt x="50" y="25"/>
                    <a:pt x="51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0" y="25"/>
                    <a:pt x="50" y="25"/>
                    <a:pt x="50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8" y="24"/>
                    <a:pt x="48" y="24"/>
                    <a:pt x="47" y="25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1"/>
                    <a:pt x="44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7" y="16"/>
                    <a:pt x="36" y="17"/>
                    <a:pt x="36" y="17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6" y="15"/>
                    <a:pt x="37" y="14"/>
                    <a:pt x="37" y="14"/>
                  </a:cubicBezTo>
                  <a:cubicBezTo>
                    <a:pt x="37" y="14"/>
                    <a:pt x="36" y="14"/>
                    <a:pt x="35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2"/>
                    <a:pt x="35" y="12"/>
                    <a:pt x="35" y="11"/>
                  </a:cubicBezTo>
                  <a:cubicBezTo>
                    <a:pt x="34" y="10"/>
                    <a:pt x="32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1"/>
                    <a:pt x="28" y="11"/>
                  </a:cubicBezTo>
                  <a:cubicBezTo>
                    <a:pt x="28" y="12"/>
                    <a:pt x="28" y="12"/>
                    <a:pt x="27" y="12"/>
                  </a:cubicBezTo>
                  <a:cubicBezTo>
                    <a:pt x="26" y="13"/>
                    <a:pt x="25" y="13"/>
                    <a:pt x="24" y="12"/>
                  </a:cubicBezTo>
                  <a:cubicBezTo>
                    <a:pt x="24" y="12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3" y="14"/>
                    <a:pt x="23" y="14"/>
                    <a:pt x="22" y="15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3"/>
                    <a:pt x="21" y="13"/>
                    <a:pt x="22" y="13"/>
                  </a:cubicBezTo>
                  <a:cubicBezTo>
                    <a:pt x="21" y="12"/>
                    <a:pt x="22" y="11"/>
                    <a:pt x="22" y="10"/>
                  </a:cubicBezTo>
                  <a:cubicBezTo>
                    <a:pt x="22" y="10"/>
                    <a:pt x="23" y="9"/>
                    <a:pt x="23" y="8"/>
                  </a:cubicBezTo>
                  <a:cubicBezTo>
                    <a:pt x="23" y="8"/>
                    <a:pt x="22" y="8"/>
                    <a:pt x="22" y="8"/>
                  </a:cubicBezTo>
                  <a:cubicBezTo>
                    <a:pt x="22" y="8"/>
                    <a:pt x="21" y="7"/>
                    <a:pt x="22" y="6"/>
                  </a:cubicBezTo>
                  <a:cubicBezTo>
                    <a:pt x="22" y="6"/>
                    <a:pt x="22" y="6"/>
                    <a:pt x="21" y="5"/>
                  </a:cubicBezTo>
                  <a:cubicBezTo>
                    <a:pt x="21" y="5"/>
                    <a:pt x="21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0" y="2"/>
                    <a:pt x="20" y="1"/>
                    <a:pt x="19" y="1"/>
                  </a:cubicBezTo>
                  <a:cubicBezTo>
                    <a:pt x="19" y="1"/>
                    <a:pt x="19" y="1"/>
                    <a:pt x="18" y="1"/>
                  </a:cubicBezTo>
                  <a:cubicBezTo>
                    <a:pt x="17" y="2"/>
                    <a:pt x="16" y="2"/>
                    <a:pt x="16" y="2"/>
                  </a:cubicBezTo>
                  <a:cubicBezTo>
                    <a:pt x="16" y="3"/>
                    <a:pt x="16" y="3"/>
                    <a:pt x="16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10"/>
                    <a:pt x="12" y="11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2"/>
                    <a:pt x="13" y="12"/>
                    <a:pt x="12" y="12"/>
                  </a:cubicBezTo>
                  <a:cubicBezTo>
                    <a:pt x="11" y="14"/>
                    <a:pt x="11" y="14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4" y="17"/>
                    <a:pt x="14" y="17"/>
                    <a:pt x="13" y="18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20"/>
                    <a:pt x="13" y="21"/>
                    <a:pt x="13" y="22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3"/>
                    <a:pt x="4" y="24"/>
                    <a:pt x="5" y="25"/>
                  </a:cubicBezTo>
                  <a:cubicBezTo>
                    <a:pt x="6" y="26"/>
                    <a:pt x="7" y="26"/>
                    <a:pt x="8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7"/>
                    <a:pt x="11" y="27"/>
                    <a:pt x="13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7"/>
                    <a:pt x="15" y="27"/>
                  </a:cubicBezTo>
                  <a:cubicBezTo>
                    <a:pt x="15" y="27"/>
                    <a:pt x="15" y="27"/>
                    <a:pt x="16" y="27"/>
                  </a:cubicBezTo>
                  <a:cubicBezTo>
                    <a:pt x="16" y="27"/>
                    <a:pt x="17" y="27"/>
                    <a:pt x="17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9"/>
                    <a:pt x="19" y="29"/>
                  </a:cubicBezTo>
                  <a:cubicBezTo>
                    <a:pt x="19" y="29"/>
                    <a:pt x="20" y="29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2" y="27"/>
                    <a:pt x="23" y="27"/>
                  </a:cubicBezTo>
                  <a:cubicBezTo>
                    <a:pt x="24" y="28"/>
                    <a:pt x="25" y="28"/>
                    <a:pt x="25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7"/>
                    <a:pt x="26" y="26"/>
                    <a:pt x="25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6" y="25"/>
                    <a:pt x="26" y="25"/>
                  </a:cubicBezTo>
                  <a:cubicBezTo>
                    <a:pt x="27" y="25"/>
                    <a:pt x="27" y="25"/>
                    <a:pt x="28" y="26"/>
                  </a:cubicBezTo>
                  <a:cubicBezTo>
                    <a:pt x="28" y="26"/>
                    <a:pt x="29" y="26"/>
                    <a:pt x="29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8"/>
                    <a:pt x="30" y="28"/>
                    <a:pt x="30" y="29"/>
                  </a:cubicBezTo>
                  <a:cubicBezTo>
                    <a:pt x="31" y="29"/>
                    <a:pt x="32" y="29"/>
                    <a:pt x="32" y="29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3" y="31"/>
                    <a:pt x="34" y="32"/>
                    <a:pt x="34" y="33"/>
                  </a:cubicBezTo>
                  <a:cubicBezTo>
                    <a:pt x="35" y="33"/>
                    <a:pt x="35" y="34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5" y="34"/>
                    <a:pt x="35" y="34"/>
                    <a:pt x="36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7" y="35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9" y="36"/>
                    <a:pt x="39" y="37"/>
                    <a:pt x="39" y="38"/>
                  </a:cubicBezTo>
                  <a:cubicBezTo>
                    <a:pt x="39" y="38"/>
                    <a:pt x="39" y="38"/>
                    <a:pt x="39" y="39"/>
                  </a:cubicBezTo>
                  <a:cubicBezTo>
                    <a:pt x="39" y="39"/>
                    <a:pt x="39" y="39"/>
                    <a:pt x="40" y="39"/>
                  </a:cubicBezTo>
                  <a:cubicBezTo>
                    <a:pt x="40" y="39"/>
                    <a:pt x="40" y="39"/>
                    <a:pt x="41" y="40"/>
                  </a:cubicBezTo>
                  <a:cubicBezTo>
                    <a:pt x="42" y="41"/>
                    <a:pt x="43" y="45"/>
                    <a:pt x="42" y="47"/>
                  </a:cubicBezTo>
                  <a:cubicBezTo>
                    <a:pt x="41" y="47"/>
                    <a:pt x="41" y="48"/>
                    <a:pt x="40" y="48"/>
                  </a:cubicBezTo>
                  <a:cubicBezTo>
                    <a:pt x="40" y="49"/>
                    <a:pt x="39" y="50"/>
                    <a:pt x="38" y="51"/>
                  </a:cubicBezTo>
                  <a:cubicBezTo>
                    <a:pt x="38" y="52"/>
                    <a:pt x="38" y="52"/>
                    <a:pt x="39" y="53"/>
                  </a:cubicBezTo>
                  <a:cubicBezTo>
                    <a:pt x="39" y="54"/>
                    <a:pt x="40" y="55"/>
                    <a:pt x="40" y="56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8" y="56"/>
                    <a:pt x="37" y="56"/>
                    <a:pt x="36" y="57"/>
                  </a:cubicBezTo>
                  <a:cubicBezTo>
                    <a:pt x="36" y="57"/>
                    <a:pt x="36" y="57"/>
                    <a:pt x="35" y="57"/>
                  </a:cubicBezTo>
                  <a:cubicBezTo>
                    <a:pt x="35" y="58"/>
                    <a:pt x="33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0" y="58"/>
                  </a:cubicBezTo>
                  <a:cubicBezTo>
                    <a:pt x="30" y="58"/>
                    <a:pt x="29" y="59"/>
                    <a:pt x="29" y="60"/>
                  </a:cubicBezTo>
                  <a:cubicBezTo>
                    <a:pt x="29" y="60"/>
                    <a:pt x="29" y="60"/>
                    <a:pt x="29" y="61"/>
                  </a:cubicBezTo>
                  <a:cubicBezTo>
                    <a:pt x="30" y="61"/>
                    <a:pt x="31" y="62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3" y="61"/>
                    <a:pt x="33" y="61"/>
                  </a:cubicBezTo>
                  <a:cubicBezTo>
                    <a:pt x="33" y="60"/>
                    <a:pt x="34" y="60"/>
                    <a:pt x="36" y="61"/>
                  </a:cubicBezTo>
                  <a:cubicBezTo>
                    <a:pt x="35" y="60"/>
                    <a:pt x="35" y="59"/>
                    <a:pt x="36" y="59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40" y="60"/>
                    <a:pt x="40" y="61"/>
                    <a:pt x="40" y="61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1" y="64"/>
                    <a:pt x="42" y="64"/>
                    <a:pt x="44" y="65"/>
                  </a:cubicBezTo>
                  <a:cubicBezTo>
                    <a:pt x="44" y="65"/>
                    <a:pt x="44" y="65"/>
                    <a:pt x="45" y="65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5" y="68"/>
                    <a:pt x="46" y="70"/>
                    <a:pt x="47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9" y="69"/>
                    <a:pt x="50" y="70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2"/>
                    <a:pt x="52" y="72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3"/>
                    <a:pt x="54" y="73"/>
                    <a:pt x="55" y="73"/>
                  </a:cubicBezTo>
                  <a:close/>
                  <a:moveTo>
                    <a:pt x="32" y="35"/>
                  </a:moveTo>
                  <a:cubicBezTo>
                    <a:pt x="32" y="35"/>
                    <a:pt x="32" y="36"/>
                    <a:pt x="32" y="36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2" y="35"/>
                  </a:cubicBezTo>
                  <a:close/>
                  <a:moveTo>
                    <a:pt x="3" y="21"/>
                  </a:moveTo>
                  <a:cubicBezTo>
                    <a:pt x="3" y="22"/>
                    <a:pt x="3" y="22"/>
                    <a:pt x="3" y="23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" y="22"/>
                    <a:pt x="4" y="21"/>
                    <a:pt x="3" y="21"/>
                  </a:cubicBezTo>
                  <a:close/>
                  <a:moveTo>
                    <a:pt x="1" y="18"/>
                  </a:moveTo>
                  <a:cubicBezTo>
                    <a:pt x="8" y="21"/>
                    <a:pt x="8" y="21"/>
                    <a:pt x="8" y="21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19"/>
                    <a:pt x="11" y="18"/>
                    <a:pt x="11" y="18"/>
                  </a:cubicBezTo>
                  <a:cubicBezTo>
                    <a:pt x="10" y="17"/>
                    <a:pt x="9" y="16"/>
                    <a:pt x="9" y="15"/>
                  </a:cubicBezTo>
                  <a:cubicBezTo>
                    <a:pt x="8" y="14"/>
                    <a:pt x="9" y="13"/>
                    <a:pt x="9" y="12"/>
                  </a:cubicBezTo>
                  <a:cubicBezTo>
                    <a:pt x="9" y="12"/>
                    <a:pt x="9" y="11"/>
                    <a:pt x="8" y="10"/>
                  </a:cubicBezTo>
                  <a:cubicBezTo>
                    <a:pt x="7" y="7"/>
                    <a:pt x="9" y="4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9" y="1"/>
                    <a:pt x="7" y="1"/>
                    <a:pt x="6" y="2"/>
                  </a:cubicBezTo>
                  <a:cubicBezTo>
                    <a:pt x="6" y="2"/>
                    <a:pt x="6" y="2"/>
                    <a:pt x="5" y="3"/>
                  </a:cubicBezTo>
                  <a:cubicBezTo>
                    <a:pt x="5" y="4"/>
                    <a:pt x="3" y="6"/>
                    <a:pt x="3" y="7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9"/>
                    <a:pt x="2" y="11"/>
                  </a:cubicBezTo>
                  <a:cubicBezTo>
                    <a:pt x="1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2" y="16"/>
                    <a:pt x="2" y="16"/>
                    <a:pt x="2" y="17"/>
                  </a:cubicBezTo>
                  <a:cubicBezTo>
                    <a:pt x="1" y="17"/>
                    <a:pt x="1" y="17"/>
                    <a:pt x="1" y="18"/>
                  </a:cubicBezTo>
                  <a:close/>
                  <a:moveTo>
                    <a:pt x="40" y="18"/>
                  </a:move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0" y="19"/>
                    <a:pt x="40" y="1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0"/>
                    <a:pt x="44" y="19"/>
                    <a:pt x="44" y="19"/>
                  </a:cubicBezTo>
                  <a:cubicBezTo>
                    <a:pt x="44" y="19"/>
                    <a:pt x="43" y="18"/>
                    <a:pt x="42" y="17"/>
                  </a:cubicBezTo>
                  <a:cubicBezTo>
                    <a:pt x="41" y="18"/>
                    <a:pt x="41" y="18"/>
                    <a:pt x="40" y="18"/>
                  </a:cubicBezTo>
                  <a:close/>
                  <a:moveTo>
                    <a:pt x="12" y="17"/>
                  </a:move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lose/>
                  <a:moveTo>
                    <a:pt x="10" y="5"/>
                  </a:moveTo>
                  <a:cubicBezTo>
                    <a:pt x="9" y="7"/>
                    <a:pt x="9" y="9"/>
                    <a:pt x="9" y="10"/>
                  </a:cubicBezTo>
                  <a:cubicBezTo>
                    <a:pt x="10" y="11"/>
                    <a:pt x="10" y="12"/>
                    <a:pt x="10" y="12"/>
                  </a:cubicBezTo>
                  <a:cubicBezTo>
                    <a:pt x="10" y="13"/>
                    <a:pt x="10" y="14"/>
                    <a:pt x="10" y="14"/>
                  </a:cubicBezTo>
                  <a:cubicBezTo>
                    <a:pt x="10" y="13"/>
                    <a:pt x="11" y="12"/>
                    <a:pt x="11" y="12"/>
                  </a:cubicBezTo>
                  <a:cubicBezTo>
                    <a:pt x="11" y="12"/>
                    <a:pt x="11" y="11"/>
                    <a:pt x="11" y="11"/>
                  </a:cubicBezTo>
                  <a:cubicBezTo>
                    <a:pt x="10" y="11"/>
                    <a:pt x="10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7"/>
                    <a:pt x="12" y="7"/>
                    <a:pt x="12" y="7"/>
                  </a:cubicBezTo>
                  <a:lnTo>
                    <a:pt x="10" y="5"/>
                  </a:lnTo>
                  <a:close/>
                  <a:moveTo>
                    <a:pt x="10" y="5"/>
                  </a:move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3"/>
                    <a:pt x="11" y="4"/>
                    <a:pt x="1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1" name="Freeform 44"/>
            <p:cNvSpPr/>
            <p:nvPr/>
          </p:nvSpPr>
          <p:spPr bwMode="auto">
            <a:xfrm>
              <a:off x="7369317" y="2150672"/>
              <a:ext cx="141671" cy="135344"/>
            </a:xfrm>
            <a:custGeom>
              <a:avLst/>
              <a:gdLst>
                <a:gd name="T0" fmla="*/ 2147483646 w 19"/>
                <a:gd name="T1" fmla="*/ 0 h 18"/>
                <a:gd name="T2" fmla="*/ 2147483646 w 19"/>
                <a:gd name="T3" fmla="*/ 2147483646 h 18"/>
                <a:gd name="T4" fmla="*/ 2147483646 w 19"/>
                <a:gd name="T5" fmla="*/ 2147483646 h 18"/>
                <a:gd name="T6" fmla="*/ 2147483646 w 19"/>
                <a:gd name="T7" fmla="*/ 2147483646 h 18"/>
                <a:gd name="T8" fmla="*/ 2147483646 w 19"/>
                <a:gd name="T9" fmla="*/ 2147483646 h 18"/>
                <a:gd name="T10" fmla="*/ 2147483646 w 19"/>
                <a:gd name="T11" fmla="*/ 2147483646 h 18"/>
                <a:gd name="T12" fmla="*/ 2147483646 w 19"/>
                <a:gd name="T13" fmla="*/ 2147483646 h 18"/>
                <a:gd name="T14" fmla="*/ 2147483646 w 19"/>
                <a:gd name="T15" fmla="*/ 2147483646 h 18"/>
                <a:gd name="T16" fmla="*/ 2147483646 w 19"/>
                <a:gd name="T17" fmla="*/ 2147483646 h 18"/>
                <a:gd name="T18" fmla="*/ 2147483646 w 19"/>
                <a:gd name="T19" fmla="*/ 2147483646 h 18"/>
                <a:gd name="T20" fmla="*/ 2147483646 w 19"/>
                <a:gd name="T21" fmla="*/ 2147483646 h 18"/>
                <a:gd name="T22" fmla="*/ 2147483646 w 19"/>
                <a:gd name="T23" fmla="*/ 2147483646 h 18"/>
                <a:gd name="T24" fmla="*/ 2147483646 w 19"/>
                <a:gd name="T25" fmla="*/ 2147483646 h 18"/>
                <a:gd name="T26" fmla="*/ 2147483646 w 19"/>
                <a:gd name="T27" fmla="*/ 2147483646 h 18"/>
                <a:gd name="T28" fmla="*/ 2147483646 w 19"/>
                <a:gd name="T29" fmla="*/ 2147483646 h 18"/>
                <a:gd name="T30" fmla="*/ 2147483646 w 19"/>
                <a:gd name="T31" fmla="*/ 2147483646 h 18"/>
                <a:gd name="T32" fmla="*/ 2147483646 w 19"/>
                <a:gd name="T33" fmla="*/ 2147483646 h 18"/>
                <a:gd name="T34" fmla="*/ 2147483646 w 19"/>
                <a:gd name="T35" fmla="*/ 2147483646 h 18"/>
                <a:gd name="T36" fmla="*/ 2147483646 w 19"/>
                <a:gd name="T37" fmla="*/ 2147483646 h 18"/>
                <a:gd name="T38" fmla="*/ 2147483646 w 19"/>
                <a:gd name="T39" fmla="*/ 2147483646 h 18"/>
                <a:gd name="T40" fmla="*/ 2147483646 w 19"/>
                <a:gd name="T41" fmla="*/ 2147483646 h 18"/>
                <a:gd name="T42" fmla="*/ 2147483646 w 19"/>
                <a:gd name="T43" fmla="*/ 2147483646 h 18"/>
                <a:gd name="T44" fmla="*/ 2147483646 w 19"/>
                <a:gd name="T45" fmla="*/ 2147483646 h 18"/>
                <a:gd name="T46" fmla="*/ 2147483646 w 19"/>
                <a:gd name="T47" fmla="*/ 2147483646 h 18"/>
                <a:gd name="T48" fmla="*/ 2147483646 w 19"/>
                <a:gd name="T49" fmla="*/ 2147483646 h 18"/>
                <a:gd name="T50" fmla="*/ 2147483646 w 19"/>
                <a:gd name="T51" fmla="*/ 2147483646 h 18"/>
                <a:gd name="T52" fmla="*/ 2147483646 w 19"/>
                <a:gd name="T53" fmla="*/ 2147483646 h 18"/>
                <a:gd name="T54" fmla="*/ 2147483646 w 19"/>
                <a:gd name="T55" fmla="*/ 2147483646 h 18"/>
                <a:gd name="T56" fmla="*/ 2147483646 w 19"/>
                <a:gd name="T57" fmla="*/ 2147483646 h 18"/>
                <a:gd name="T58" fmla="*/ 2147483646 w 19"/>
                <a:gd name="T59" fmla="*/ 0 h 18"/>
                <a:gd name="T60" fmla="*/ 2147483646 w 19"/>
                <a:gd name="T61" fmla="*/ 0 h 1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9" y="1"/>
                    <a:pt x="8" y="2"/>
                    <a:pt x="8" y="3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7" y="6"/>
                    <a:pt x="6" y="8"/>
                    <a:pt x="6" y="9"/>
                  </a:cubicBezTo>
                  <a:cubicBezTo>
                    <a:pt x="5" y="9"/>
                    <a:pt x="5" y="11"/>
                    <a:pt x="3" y="11"/>
                  </a:cubicBezTo>
                  <a:cubicBezTo>
                    <a:pt x="4" y="11"/>
                    <a:pt x="5" y="12"/>
                    <a:pt x="5" y="12"/>
                  </a:cubicBezTo>
                  <a:cubicBezTo>
                    <a:pt x="0" y="16"/>
                    <a:pt x="9" y="15"/>
                    <a:pt x="11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12" y="15"/>
                    <a:pt x="12" y="14"/>
                    <a:pt x="14" y="14"/>
                  </a:cubicBezTo>
                  <a:cubicBezTo>
                    <a:pt x="13" y="15"/>
                    <a:pt x="12" y="16"/>
                    <a:pt x="11" y="16"/>
                  </a:cubicBezTo>
                  <a:cubicBezTo>
                    <a:pt x="12" y="18"/>
                    <a:pt x="15" y="14"/>
                    <a:pt x="15" y="13"/>
                  </a:cubicBezTo>
                  <a:cubicBezTo>
                    <a:pt x="16" y="14"/>
                    <a:pt x="16" y="16"/>
                    <a:pt x="15" y="17"/>
                  </a:cubicBezTo>
                  <a:cubicBezTo>
                    <a:pt x="15" y="16"/>
                    <a:pt x="16" y="16"/>
                    <a:pt x="16" y="16"/>
                  </a:cubicBezTo>
                  <a:cubicBezTo>
                    <a:pt x="16" y="17"/>
                    <a:pt x="17" y="17"/>
                    <a:pt x="17" y="18"/>
                  </a:cubicBezTo>
                  <a:cubicBezTo>
                    <a:pt x="18" y="17"/>
                    <a:pt x="19" y="15"/>
                    <a:pt x="18" y="14"/>
                  </a:cubicBezTo>
                  <a:cubicBezTo>
                    <a:pt x="18" y="14"/>
                    <a:pt x="18" y="14"/>
                    <a:pt x="17" y="15"/>
                  </a:cubicBezTo>
                  <a:cubicBezTo>
                    <a:pt x="18" y="14"/>
                    <a:pt x="18" y="13"/>
                    <a:pt x="18" y="12"/>
                  </a:cubicBezTo>
                  <a:cubicBezTo>
                    <a:pt x="17" y="13"/>
                    <a:pt x="17" y="14"/>
                    <a:pt x="16" y="14"/>
                  </a:cubicBezTo>
                  <a:cubicBezTo>
                    <a:pt x="16" y="14"/>
                    <a:pt x="16" y="13"/>
                    <a:pt x="16" y="12"/>
                  </a:cubicBezTo>
                  <a:cubicBezTo>
                    <a:pt x="17" y="12"/>
                    <a:pt x="17" y="12"/>
                    <a:pt x="18" y="11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6" y="10"/>
                    <a:pt x="16" y="9"/>
                    <a:pt x="16" y="8"/>
                  </a:cubicBezTo>
                  <a:cubicBezTo>
                    <a:pt x="15" y="8"/>
                    <a:pt x="14" y="8"/>
                    <a:pt x="12" y="9"/>
                  </a:cubicBezTo>
                  <a:cubicBezTo>
                    <a:pt x="12" y="8"/>
                    <a:pt x="13" y="8"/>
                    <a:pt x="13" y="7"/>
                  </a:cubicBezTo>
                  <a:cubicBezTo>
                    <a:pt x="12" y="8"/>
                    <a:pt x="11" y="8"/>
                    <a:pt x="11" y="7"/>
                  </a:cubicBezTo>
                  <a:cubicBezTo>
                    <a:pt x="11" y="7"/>
                    <a:pt x="12" y="6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10" y="7"/>
                    <a:pt x="9" y="7"/>
                  </a:cubicBezTo>
                  <a:cubicBezTo>
                    <a:pt x="9" y="6"/>
                    <a:pt x="10" y="5"/>
                    <a:pt x="10" y="3"/>
                  </a:cubicBezTo>
                  <a:cubicBezTo>
                    <a:pt x="10" y="3"/>
                    <a:pt x="11" y="1"/>
                    <a:pt x="12" y="0"/>
                  </a:cubicBezTo>
                  <a:cubicBezTo>
                    <a:pt x="11" y="0"/>
                    <a:pt x="11" y="0"/>
                    <a:pt x="1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2" name="Freeform 45"/>
            <p:cNvSpPr>
              <a:spLocks noEditPoints="1"/>
            </p:cNvSpPr>
            <p:nvPr/>
          </p:nvSpPr>
          <p:spPr bwMode="auto">
            <a:xfrm>
              <a:off x="7394503" y="2144377"/>
              <a:ext cx="116485" cy="147935"/>
            </a:xfrm>
            <a:custGeom>
              <a:avLst/>
              <a:gdLst>
                <a:gd name="T0" fmla="*/ 2147483646 w 16"/>
                <a:gd name="T1" fmla="*/ 2147483646 h 20"/>
                <a:gd name="T2" fmla="*/ 2147483646 w 16"/>
                <a:gd name="T3" fmla="*/ 2147483646 h 20"/>
                <a:gd name="T4" fmla="*/ 2147483646 w 16"/>
                <a:gd name="T5" fmla="*/ 2147483646 h 20"/>
                <a:gd name="T6" fmla="*/ 2147483646 w 16"/>
                <a:gd name="T7" fmla="*/ 2147483646 h 20"/>
                <a:gd name="T8" fmla="*/ 2147483646 w 16"/>
                <a:gd name="T9" fmla="*/ 2147483646 h 20"/>
                <a:gd name="T10" fmla="*/ 2147483646 w 16"/>
                <a:gd name="T11" fmla="*/ 2147483646 h 20"/>
                <a:gd name="T12" fmla="*/ 2147483646 w 16"/>
                <a:gd name="T13" fmla="*/ 2147483646 h 20"/>
                <a:gd name="T14" fmla="*/ 0 w 16"/>
                <a:gd name="T15" fmla="*/ 2147483646 h 20"/>
                <a:gd name="T16" fmla="*/ 0 w 16"/>
                <a:gd name="T17" fmla="*/ 2147483646 h 20"/>
                <a:gd name="T18" fmla="*/ 2147483646 w 16"/>
                <a:gd name="T19" fmla="*/ 2147483646 h 20"/>
                <a:gd name="T20" fmla="*/ 2147483646 w 16"/>
                <a:gd name="T21" fmla="*/ 2147483646 h 20"/>
                <a:gd name="T22" fmla="*/ 2147483646 w 16"/>
                <a:gd name="T23" fmla="*/ 2147483646 h 20"/>
                <a:gd name="T24" fmla="*/ 2147483646 w 16"/>
                <a:gd name="T25" fmla="*/ 2147483646 h 20"/>
                <a:gd name="T26" fmla="*/ 2147483646 w 16"/>
                <a:gd name="T27" fmla="*/ 2147483646 h 20"/>
                <a:gd name="T28" fmla="*/ 2147483646 w 16"/>
                <a:gd name="T29" fmla="*/ 2147483646 h 20"/>
                <a:gd name="T30" fmla="*/ 2147483646 w 16"/>
                <a:gd name="T31" fmla="*/ 2147483646 h 20"/>
                <a:gd name="T32" fmla="*/ 2147483646 w 16"/>
                <a:gd name="T33" fmla="*/ 2147483646 h 20"/>
                <a:gd name="T34" fmla="*/ 2147483646 w 16"/>
                <a:gd name="T35" fmla="*/ 2147483646 h 20"/>
                <a:gd name="T36" fmla="*/ 2147483646 w 16"/>
                <a:gd name="T37" fmla="*/ 2147483646 h 20"/>
                <a:gd name="T38" fmla="*/ 2147483646 w 16"/>
                <a:gd name="T39" fmla="*/ 2147483646 h 20"/>
                <a:gd name="T40" fmla="*/ 2147483646 w 16"/>
                <a:gd name="T41" fmla="*/ 2147483646 h 20"/>
                <a:gd name="T42" fmla="*/ 2147483646 w 16"/>
                <a:gd name="T43" fmla="*/ 2147483646 h 20"/>
                <a:gd name="T44" fmla="*/ 2147483646 w 16"/>
                <a:gd name="T45" fmla="*/ 2147483646 h 20"/>
                <a:gd name="T46" fmla="*/ 2147483646 w 16"/>
                <a:gd name="T47" fmla="*/ 2147483646 h 20"/>
                <a:gd name="T48" fmla="*/ 2147483646 w 16"/>
                <a:gd name="T49" fmla="*/ 2147483646 h 20"/>
                <a:gd name="T50" fmla="*/ 2147483646 w 16"/>
                <a:gd name="T51" fmla="*/ 2147483646 h 20"/>
                <a:gd name="T52" fmla="*/ 2147483646 w 16"/>
                <a:gd name="T53" fmla="*/ 2147483646 h 20"/>
                <a:gd name="T54" fmla="*/ 2147483646 w 16"/>
                <a:gd name="T55" fmla="*/ 2147483646 h 20"/>
                <a:gd name="T56" fmla="*/ 2147483646 w 16"/>
                <a:gd name="T57" fmla="*/ 2147483646 h 20"/>
                <a:gd name="T58" fmla="*/ 2147483646 w 16"/>
                <a:gd name="T59" fmla="*/ 2147483646 h 20"/>
                <a:gd name="T60" fmla="*/ 2147483646 w 16"/>
                <a:gd name="T61" fmla="*/ 2147483646 h 20"/>
                <a:gd name="T62" fmla="*/ 2147483646 w 16"/>
                <a:gd name="T63" fmla="*/ 2147483646 h 20"/>
                <a:gd name="T64" fmla="*/ 2147483646 w 16"/>
                <a:gd name="T65" fmla="*/ 2147483646 h 20"/>
                <a:gd name="T66" fmla="*/ 2147483646 w 16"/>
                <a:gd name="T67" fmla="*/ 2147483646 h 20"/>
                <a:gd name="T68" fmla="*/ 2147483646 w 16"/>
                <a:gd name="T69" fmla="*/ 2147483646 h 20"/>
                <a:gd name="T70" fmla="*/ 2147483646 w 16"/>
                <a:gd name="T71" fmla="*/ 2147483646 h 20"/>
                <a:gd name="T72" fmla="*/ 2147483646 w 16"/>
                <a:gd name="T73" fmla="*/ 2147483646 h 20"/>
                <a:gd name="T74" fmla="*/ 2147483646 w 16"/>
                <a:gd name="T75" fmla="*/ 2147483646 h 20"/>
                <a:gd name="T76" fmla="*/ 2147483646 w 16"/>
                <a:gd name="T77" fmla="*/ 2147483646 h 20"/>
                <a:gd name="T78" fmla="*/ 2147483646 w 16"/>
                <a:gd name="T79" fmla="*/ 2147483646 h 20"/>
                <a:gd name="T80" fmla="*/ 2147483646 w 16"/>
                <a:gd name="T81" fmla="*/ 2147483646 h 20"/>
                <a:gd name="T82" fmla="*/ 2147483646 w 16"/>
                <a:gd name="T83" fmla="*/ 2147483646 h 20"/>
                <a:gd name="T84" fmla="*/ 2147483646 w 16"/>
                <a:gd name="T85" fmla="*/ 2147483646 h 20"/>
                <a:gd name="T86" fmla="*/ 2147483646 w 16"/>
                <a:gd name="T87" fmla="*/ 2147483646 h 20"/>
                <a:gd name="T88" fmla="*/ 2147483646 w 16"/>
                <a:gd name="T89" fmla="*/ 2147483646 h 20"/>
                <a:gd name="T90" fmla="*/ 2147483646 w 16"/>
                <a:gd name="T91" fmla="*/ 2147483646 h 20"/>
                <a:gd name="T92" fmla="*/ 2147483646 w 16"/>
                <a:gd name="T93" fmla="*/ 2147483646 h 20"/>
                <a:gd name="T94" fmla="*/ 2147483646 w 16"/>
                <a:gd name="T95" fmla="*/ 2147483646 h 20"/>
                <a:gd name="T96" fmla="*/ 2147483646 w 16"/>
                <a:gd name="T97" fmla="*/ 2147483646 h 20"/>
                <a:gd name="T98" fmla="*/ 2147483646 w 16"/>
                <a:gd name="T99" fmla="*/ 2147483646 h 20"/>
                <a:gd name="T100" fmla="*/ 2147483646 w 16"/>
                <a:gd name="T101" fmla="*/ 2147483646 h 20"/>
                <a:gd name="T102" fmla="*/ 2147483646 w 16"/>
                <a:gd name="T103" fmla="*/ 2147483646 h 20"/>
                <a:gd name="T104" fmla="*/ 2147483646 w 16"/>
                <a:gd name="T105" fmla="*/ 2147483646 h 20"/>
                <a:gd name="T106" fmla="*/ 2147483646 w 16"/>
                <a:gd name="T107" fmla="*/ 2147483646 h 20"/>
                <a:gd name="T108" fmla="*/ 2147483646 w 16"/>
                <a:gd name="T109" fmla="*/ 2147483646 h 20"/>
                <a:gd name="T110" fmla="*/ 2147483646 w 16"/>
                <a:gd name="T111" fmla="*/ 2147483646 h 20"/>
                <a:gd name="T112" fmla="*/ 2147483646 w 16"/>
                <a:gd name="T113" fmla="*/ 2147483646 h 2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6" h="20">
                  <a:moveTo>
                    <a:pt x="13" y="20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7"/>
                    <a:pt x="12" y="16"/>
                    <a:pt x="12" y="16"/>
                  </a:cubicBezTo>
                  <a:cubicBezTo>
                    <a:pt x="11" y="17"/>
                    <a:pt x="10" y="18"/>
                    <a:pt x="9" y="18"/>
                  </a:cubicBezTo>
                  <a:cubicBezTo>
                    <a:pt x="9" y="18"/>
                    <a:pt x="8" y="18"/>
                    <a:pt x="8" y="1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7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4" y="16"/>
                    <a:pt x="3" y="16"/>
                  </a:cubicBezTo>
                  <a:cubicBezTo>
                    <a:pt x="1" y="16"/>
                    <a:pt x="0" y="16"/>
                    <a:pt x="0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1" y="13"/>
                    <a:pt x="1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1"/>
                    <a:pt x="1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3" y="8"/>
                    <a:pt x="3" y="8"/>
                  </a:cubicBezTo>
                  <a:cubicBezTo>
                    <a:pt x="3" y="7"/>
                    <a:pt x="4" y="6"/>
                    <a:pt x="4" y="6"/>
                  </a:cubicBezTo>
                  <a:cubicBezTo>
                    <a:pt x="4" y="6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3"/>
                  </a:cubicBezTo>
                  <a:cubicBezTo>
                    <a:pt x="5" y="2"/>
                    <a:pt x="6" y="1"/>
                    <a:pt x="7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9" y="1"/>
                    <a:pt x="9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8" y="4"/>
                    <a:pt x="8" y="4"/>
                  </a:cubicBezTo>
                  <a:cubicBezTo>
                    <a:pt x="8" y="5"/>
                    <a:pt x="8" y="5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9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8"/>
                    <a:pt x="12" y="8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1"/>
                    <a:pt x="13" y="11"/>
                    <a:pt x="13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4" y="13"/>
                    <a:pt x="13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5" y="14"/>
                    <a:pt x="15" y="1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6"/>
                    <a:pt x="16" y="17"/>
                    <a:pt x="16" y="18"/>
                  </a:cubicBezTo>
                  <a:cubicBezTo>
                    <a:pt x="15" y="19"/>
                    <a:pt x="15" y="19"/>
                    <a:pt x="14" y="19"/>
                  </a:cubicBezTo>
                  <a:lnTo>
                    <a:pt x="13" y="20"/>
                  </a:lnTo>
                  <a:close/>
                  <a:moveTo>
                    <a:pt x="14" y="17"/>
                  </a:moveTo>
                  <a:cubicBezTo>
                    <a:pt x="14" y="17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7"/>
                    <a:pt x="15" y="17"/>
                  </a:cubicBezTo>
                  <a:cubicBezTo>
                    <a:pt x="15" y="17"/>
                    <a:pt x="15" y="17"/>
                    <a:pt x="15" y="16"/>
                  </a:cubicBezTo>
                  <a:lnTo>
                    <a:pt x="14" y="17"/>
                  </a:lnTo>
                  <a:close/>
                  <a:moveTo>
                    <a:pt x="2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5" y="15"/>
                    <a:pt x="7" y="15"/>
                    <a:pt x="8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4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1"/>
                    <a:pt x="1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9"/>
                    <a:pt x="11" y="10"/>
                    <a:pt x="9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7"/>
                    <a:pt x="6" y="6"/>
                    <a:pt x="6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7" y="2"/>
                    <a:pt x="6" y="3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5" y="6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7"/>
                    <a:pt x="4" y="8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lose/>
                  <a:moveTo>
                    <a:pt x="8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3" name="Freeform 46"/>
            <p:cNvSpPr/>
            <p:nvPr/>
          </p:nvSpPr>
          <p:spPr bwMode="auto">
            <a:xfrm>
              <a:off x="6938007" y="2991066"/>
              <a:ext cx="53520" cy="53508"/>
            </a:xfrm>
            <a:custGeom>
              <a:avLst/>
              <a:gdLst>
                <a:gd name="T0" fmla="*/ 2147483646 w 7"/>
                <a:gd name="T1" fmla="*/ 2147483646 h 7"/>
                <a:gd name="T2" fmla="*/ 2147483646 w 7"/>
                <a:gd name="T3" fmla="*/ 2147483646 h 7"/>
                <a:gd name="T4" fmla="*/ 0 w 7"/>
                <a:gd name="T5" fmla="*/ 2147483646 h 7"/>
                <a:gd name="T6" fmla="*/ 2147483646 w 7"/>
                <a:gd name="T7" fmla="*/ 2147483646 h 7"/>
                <a:gd name="T8" fmla="*/ 2147483646 w 7"/>
                <a:gd name="T9" fmla="*/ 2147483646 h 7"/>
                <a:gd name="T10" fmla="*/ 2147483646 w 7"/>
                <a:gd name="T11" fmla="*/ 2147483646 h 7"/>
                <a:gd name="T12" fmla="*/ 2147483646 w 7"/>
                <a:gd name="T13" fmla="*/ 2147483646 h 7"/>
                <a:gd name="T14" fmla="*/ 2147483646 w 7"/>
                <a:gd name="T15" fmla="*/ 2147483646 h 7"/>
                <a:gd name="T16" fmla="*/ 2147483646 w 7"/>
                <a:gd name="T17" fmla="*/ 2147483646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7">
                  <a:moveTo>
                    <a:pt x="7" y="4"/>
                  </a:moveTo>
                  <a:cubicBezTo>
                    <a:pt x="5" y="3"/>
                    <a:pt x="5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3"/>
                    <a:pt x="2" y="4"/>
                    <a:pt x="1" y="3"/>
                  </a:cubicBezTo>
                  <a:cubicBezTo>
                    <a:pt x="3" y="3"/>
                    <a:pt x="4" y="6"/>
                    <a:pt x="5" y="7"/>
                  </a:cubicBezTo>
                  <a:cubicBezTo>
                    <a:pt x="5" y="7"/>
                    <a:pt x="6" y="7"/>
                    <a:pt x="6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6" y="5"/>
                    <a:pt x="7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4" name="Freeform 47"/>
            <p:cNvSpPr>
              <a:spLocks noEditPoints="1"/>
            </p:cNvSpPr>
            <p:nvPr/>
          </p:nvSpPr>
          <p:spPr bwMode="auto">
            <a:xfrm>
              <a:off x="6931710" y="2991066"/>
              <a:ext cx="66113" cy="59803"/>
            </a:xfrm>
            <a:custGeom>
              <a:avLst/>
              <a:gdLst>
                <a:gd name="T0" fmla="*/ 2147483646 w 9"/>
                <a:gd name="T1" fmla="*/ 2147483646 h 8"/>
                <a:gd name="T2" fmla="*/ 2147483646 w 9"/>
                <a:gd name="T3" fmla="*/ 2147483646 h 8"/>
                <a:gd name="T4" fmla="*/ 2147483646 w 9"/>
                <a:gd name="T5" fmla="*/ 2147483646 h 8"/>
                <a:gd name="T6" fmla="*/ 2147483646 w 9"/>
                <a:gd name="T7" fmla="*/ 2147483646 h 8"/>
                <a:gd name="T8" fmla="*/ 2147483646 w 9"/>
                <a:gd name="T9" fmla="*/ 2147483646 h 8"/>
                <a:gd name="T10" fmla="*/ 2147483646 w 9"/>
                <a:gd name="T11" fmla="*/ 2147483646 h 8"/>
                <a:gd name="T12" fmla="*/ 2147483646 w 9"/>
                <a:gd name="T13" fmla="*/ 2147483646 h 8"/>
                <a:gd name="T14" fmla="*/ 2147483646 w 9"/>
                <a:gd name="T15" fmla="*/ 2147483646 h 8"/>
                <a:gd name="T16" fmla="*/ 0 w 9"/>
                <a:gd name="T17" fmla="*/ 2147483646 h 8"/>
                <a:gd name="T18" fmla="*/ 2147483646 w 9"/>
                <a:gd name="T19" fmla="*/ 0 h 8"/>
                <a:gd name="T20" fmla="*/ 2147483646 w 9"/>
                <a:gd name="T21" fmla="*/ 0 h 8"/>
                <a:gd name="T22" fmla="*/ 2147483646 w 9"/>
                <a:gd name="T23" fmla="*/ 0 h 8"/>
                <a:gd name="T24" fmla="*/ 2147483646 w 9"/>
                <a:gd name="T25" fmla="*/ 2147483646 h 8"/>
                <a:gd name="T26" fmla="*/ 2147483646 w 9"/>
                <a:gd name="T27" fmla="*/ 2147483646 h 8"/>
                <a:gd name="T28" fmla="*/ 2147483646 w 9"/>
                <a:gd name="T29" fmla="*/ 2147483646 h 8"/>
                <a:gd name="T30" fmla="*/ 2147483646 w 9"/>
                <a:gd name="T31" fmla="*/ 2147483646 h 8"/>
                <a:gd name="T32" fmla="*/ 2147483646 w 9"/>
                <a:gd name="T33" fmla="*/ 2147483646 h 8"/>
                <a:gd name="T34" fmla="*/ 2147483646 w 9"/>
                <a:gd name="T35" fmla="*/ 2147483646 h 8"/>
                <a:gd name="T36" fmla="*/ 2147483646 w 9"/>
                <a:gd name="T37" fmla="*/ 2147483646 h 8"/>
                <a:gd name="T38" fmla="*/ 2147483646 w 9"/>
                <a:gd name="T39" fmla="*/ 2147483646 h 8"/>
                <a:gd name="T40" fmla="*/ 2147483646 w 9"/>
                <a:gd name="T41" fmla="*/ 2147483646 h 8"/>
                <a:gd name="T42" fmla="*/ 2147483646 w 9"/>
                <a:gd name="T43" fmla="*/ 2147483646 h 8"/>
                <a:gd name="T44" fmla="*/ 2147483646 w 9"/>
                <a:gd name="T45" fmla="*/ 2147483646 h 8"/>
                <a:gd name="T46" fmla="*/ 2147483646 w 9"/>
                <a:gd name="T47" fmla="*/ 2147483646 h 8"/>
                <a:gd name="T48" fmla="*/ 2147483646 w 9"/>
                <a:gd name="T49" fmla="*/ 2147483646 h 8"/>
                <a:gd name="T50" fmla="*/ 2147483646 w 9"/>
                <a:gd name="T51" fmla="*/ 2147483646 h 8"/>
                <a:gd name="T52" fmla="*/ 2147483646 w 9"/>
                <a:gd name="T53" fmla="*/ 2147483646 h 8"/>
                <a:gd name="T54" fmla="*/ 2147483646 w 9"/>
                <a:gd name="T55" fmla="*/ 2147483646 h 8"/>
                <a:gd name="T56" fmla="*/ 2147483646 w 9"/>
                <a:gd name="T57" fmla="*/ 2147483646 h 8"/>
                <a:gd name="T58" fmla="*/ 2147483646 w 9"/>
                <a:gd name="T59" fmla="*/ 2147483646 h 8"/>
                <a:gd name="T60" fmla="*/ 2147483646 w 9"/>
                <a:gd name="T61" fmla="*/ 2147483646 h 8"/>
                <a:gd name="T62" fmla="*/ 2147483646 w 9"/>
                <a:gd name="T63" fmla="*/ 2147483646 h 8"/>
                <a:gd name="T64" fmla="*/ 2147483646 w 9"/>
                <a:gd name="T65" fmla="*/ 2147483646 h 8"/>
                <a:gd name="T66" fmla="*/ 2147483646 w 9"/>
                <a:gd name="T67" fmla="*/ 2147483646 h 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9" h="8">
                  <a:moveTo>
                    <a:pt x="7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5" y="6"/>
                    <a:pt x="4" y="6"/>
                  </a:cubicBezTo>
                  <a:cubicBezTo>
                    <a:pt x="4" y="5"/>
                    <a:pt x="4" y="5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3"/>
                    <a:pt x="0" y="1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5" y="1"/>
                    <a:pt x="6" y="1"/>
                    <a:pt x="7" y="2"/>
                  </a:cubicBezTo>
                  <a:cubicBezTo>
                    <a:pt x="7" y="3"/>
                    <a:pt x="8" y="3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7"/>
                  </a:cubicBezTo>
                  <a:lnTo>
                    <a:pt x="7" y="8"/>
                  </a:lnTo>
                  <a:close/>
                  <a:moveTo>
                    <a:pt x="6" y="5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4"/>
                    <a:pt x="6" y="3"/>
                    <a:pt x="6" y="3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4" y="3"/>
                    <a:pt x="5" y="4"/>
                    <a:pt x="5" y="5"/>
                  </a:cubicBezTo>
                  <a:cubicBezTo>
                    <a:pt x="6" y="5"/>
                    <a:pt x="6" y="6"/>
                    <a:pt x="6" y="6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5" name="Freeform 48"/>
            <p:cNvSpPr/>
            <p:nvPr/>
          </p:nvSpPr>
          <p:spPr bwMode="auto">
            <a:xfrm>
              <a:off x="6953748" y="2777034"/>
              <a:ext cx="185747" cy="66098"/>
            </a:xfrm>
            <a:custGeom>
              <a:avLst/>
              <a:gdLst>
                <a:gd name="T0" fmla="*/ 2147483646 w 25"/>
                <a:gd name="T1" fmla="*/ 2147483646 h 9"/>
                <a:gd name="T2" fmla="*/ 2147483646 w 25"/>
                <a:gd name="T3" fmla="*/ 2147483646 h 9"/>
                <a:gd name="T4" fmla="*/ 2147483646 w 25"/>
                <a:gd name="T5" fmla="*/ 2147483646 h 9"/>
                <a:gd name="T6" fmla="*/ 2147483646 w 25"/>
                <a:gd name="T7" fmla="*/ 2147483646 h 9"/>
                <a:gd name="T8" fmla="*/ 2147483646 w 25"/>
                <a:gd name="T9" fmla="*/ 2147483646 h 9"/>
                <a:gd name="T10" fmla="*/ 2147483646 w 25"/>
                <a:gd name="T11" fmla="*/ 2147483646 h 9"/>
                <a:gd name="T12" fmla="*/ 2147483646 w 25"/>
                <a:gd name="T13" fmla="*/ 2147483646 h 9"/>
                <a:gd name="T14" fmla="*/ 2147483646 w 25"/>
                <a:gd name="T15" fmla="*/ 2147483646 h 9"/>
                <a:gd name="T16" fmla="*/ 0 w 25"/>
                <a:gd name="T17" fmla="*/ 2147483646 h 9"/>
                <a:gd name="T18" fmla="*/ 2147483646 w 25"/>
                <a:gd name="T19" fmla="*/ 2147483646 h 9"/>
                <a:gd name="T20" fmla="*/ 2147483646 w 25"/>
                <a:gd name="T21" fmla="*/ 2147483646 h 9"/>
                <a:gd name="T22" fmla="*/ 2147483646 w 25"/>
                <a:gd name="T23" fmla="*/ 2147483646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5" h="9">
                  <a:moveTo>
                    <a:pt x="18" y="4"/>
                  </a:moveTo>
                  <a:cubicBezTo>
                    <a:pt x="20" y="6"/>
                    <a:pt x="22" y="6"/>
                    <a:pt x="25" y="8"/>
                  </a:cubicBezTo>
                  <a:cubicBezTo>
                    <a:pt x="22" y="9"/>
                    <a:pt x="19" y="9"/>
                    <a:pt x="16" y="9"/>
                  </a:cubicBezTo>
                  <a:cubicBezTo>
                    <a:pt x="17" y="8"/>
                    <a:pt x="17" y="8"/>
                    <a:pt x="18" y="7"/>
                  </a:cubicBezTo>
                  <a:cubicBezTo>
                    <a:pt x="15" y="7"/>
                    <a:pt x="15" y="5"/>
                    <a:pt x="12" y="4"/>
                  </a:cubicBezTo>
                  <a:cubicBezTo>
                    <a:pt x="11" y="4"/>
                    <a:pt x="10" y="3"/>
                    <a:pt x="10" y="3"/>
                  </a:cubicBezTo>
                  <a:cubicBezTo>
                    <a:pt x="8" y="3"/>
                    <a:pt x="7" y="4"/>
                    <a:pt x="6" y="3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4" y="1"/>
                    <a:pt x="2" y="5"/>
                    <a:pt x="0" y="4"/>
                  </a:cubicBezTo>
                  <a:cubicBezTo>
                    <a:pt x="1" y="4"/>
                    <a:pt x="1" y="2"/>
                    <a:pt x="2" y="1"/>
                  </a:cubicBezTo>
                  <a:cubicBezTo>
                    <a:pt x="4" y="1"/>
                    <a:pt x="6" y="0"/>
                    <a:pt x="7" y="1"/>
                  </a:cubicBezTo>
                  <a:cubicBezTo>
                    <a:pt x="11" y="1"/>
                    <a:pt x="14" y="4"/>
                    <a:pt x="18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6" name="Freeform 49"/>
            <p:cNvSpPr>
              <a:spLocks noEditPoints="1"/>
            </p:cNvSpPr>
            <p:nvPr/>
          </p:nvSpPr>
          <p:spPr bwMode="auto">
            <a:xfrm>
              <a:off x="6938007" y="2777034"/>
              <a:ext cx="210933" cy="66098"/>
            </a:xfrm>
            <a:custGeom>
              <a:avLst/>
              <a:gdLst>
                <a:gd name="T0" fmla="*/ 2147483646 w 28"/>
                <a:gd name="T1" fmla="*/ 2147483646 h 9"/>
                <a:gd name="T2" fmla="*/ 2147483646 w 28"/>
                <a:gd name="T3" fmla="*/ 2147483646 h 9"/>
                <a:gd name="T4" fmla="*/ 2147483646 w 28"/>
                <a:gd name="T5" fmla="*/ 2147483646 h 9"/>
                <a:gd name="T6" fmla="*/ 2147483646 w 28"/>
                <a:gd name="T7" fmla="*/ 2147483646 h 9"/>
                <a:gd name="T8" fmla="*/ 2147483646 w 28"/>
                <a:gd name="T9" fmla="*/ 2147483646 h 9"/>
                <a:gd name="T10" fmla="*/ 2147483646 w 28"/>
                <a:gd name="T11" fmla="*/ 2147483646 h 9"/>
                <a:gd name="T12" fmla="*/ 2147483646 w 28"/>
                <a:gd name="T13" fmla="*/ 2147483646 h 9"/>
                <a:gd name="T14" fmla="*/ 2147483646 w 28"/>
                <a:gd name="T15" fmla="*/ 2147483646 h 9"/>
                <a:gd name="T16" fmla="*/ 2147483646 w 28"/>
                <a:gd name="T17" fmla="*/ 2147483646 h 9"/>
                <a:gd name="T18" fmla="*/ 2147483646 w 28"/>
                <a:gd name="T19" fmla="*/ 2147483646 h 9"/>
                <a:gd name="T20" fmla="*/ 2147483646 w 28"/>
                <a:gd name="T21" fmla="*/ 2147483646 h 9"/>
                <a:gd name="T22" fmla="*/ 2147483646 w 28"/>
                <a:gd name="T23" fmla="*/ 2147483646 h 9"/>
                <a:gd name="T24" fmla="*/ 2147483646 w 28"/>
                <a:gd name="T25" fmla="*/ 2147483646 h 9"/>
                <a:gd name="T26" fmla="*/ 2147483646 w 28"/>
                <a:gd name="T27" fmla="*/ 2147483646 h 9"/>
                <a:gd name="T28" fmla="*/ 2147483646 w 28"/>
                <a:gd name="T29" fmla="*/ 2147483646 h 9"/>
                <a:gd name="T30" fmla="*/ 2147483646 w 28"/>
                <a:gd name="T31" fmla="*/ 2147483646 h 9"/>
                <a:gd name="T32" fmla="*/ 0 w 28"/>
                <a:gd name="T33" fmla="*/ 2147483646 h 9"/>
                <a:gd name="T34" fmla="*/ 2147483646 w 28"/>
                <a:gd name="T35" fmla="*/ 2147483646 h 9"/>
                <a:gd name="T36" fmla="*/ 2147483646 w 28"/>
                <a:gd name="T37" fmla="*/ 2147483646 h 9"/>
                <a:gd name="T38" fmla="*/ 2147483646 w 28"/>
                <a:gd name="T39" fmla="*/ 2147483646 h 9"/>
                <a:gd name="T40" fmla="*/ 2147483646 w 28"/>
                <a:gd name="T41" fmla="*/ 2147483646 h 9"/>
                <a:gd name="T42" fmla="*/ 2147483646 w 28"/>
                <a:gd name="T43" fmla="*/ 0 h 9"/>
                <a:gd name="T44" fmla="*/ 2147483646 w 28"/>
                <a:gd name="T45" fmla="*/ 2147483646 h 9"/>
                <a:gd name="T46" fmla="*/ 2147483646 w 28"/>
                <a:gd name="T47" fmla="*/ 2147483646 h 9"/>
                <a:gd name="T48" fmla="*/ 2147483646 w 28"/>
                <a:gd name="T49" fmla="*/ 2147483646 h 9"/>
                <a:gd name="T50" fmla="*/ 2147483646 w 28"/>
                <a:gd name="T51" fmla="*/ 2147483646 h 9"/>
                <a:gd name="T52" fmla="*/ 2147483646 w 28"/>
                <a:gd name="T53" fmla="*/ 2147483646 h 9"/>
                <a:gd name="T54" fmla="*/ 2147483646 w 28"/>
                <a:gd name="T55" fmla="*/ 2147483646 h 9"/>
                <a:gd name="T56" fmla="*/ 2147483646 w 28"/>
                <a:gd name="T57" fmla="*/ 2147483646 h 9"/>
                <a:gd name="T58" fmla="*/ 2147483646 w 28"/>
                <a:gd name="T59" fmla="*/ 2147483646 h 9"/>
                <a:gd name="T60" fmla="*/ 2147483646 w 28"/>
                <a:gd name="T61" fmla="*/ 2147483646 h 9"/>
                <a:gd name="T62" fmla="*/ 2147483646 w 28"/>
                <a:gd name="T63" fmla="*/ 2147483646 h 9"/>
                <a:gd name="T64" fmla="*/ 2147483646 w 28"/>
                <a:gd name="T65" fmla="*/ 2147483646 h 9"/>
                <a:gd name="T66" fmla="*/ 2147483646 w 28"/>
                <a:gd name="T67" fmla="*/ 2147483646 h 9"/>
                <a:gd name="T68" fmla="*/ 2147483646 w 28"/>
                <a:gd name="T69" fmla="*/ 2147483646 h 9"/>
                <a:gd name="T70" fmla="*/ 2147483646 w 28"/>
                <a:gd name="T71" fmla="*/ 2147483646 h 9"/>
                <a:gd name="T72" fmla="*/ 2147483646 w 28"/>
                <a:gd name="T73" fmla="*/ 2147483646 h 9"/>
                <a:gd name="T74" fmla="*/ 2147483646 w 28"/>
                <a:gd name="T75" fmla="*/ 2147483646 h 9"/>
                <a:gd name="T76" fmla="*/ 2147483646 w 28"/>
                <a:gd name="T77" fmla="*/ 2147483646 h 9"/>
                <a:gd name="T78" fmla="*/ 2147483646 w 28"/>
                <a:gd name="T79" fmla="*/ 2147483646 h 9"/>
                <a:gd name="T80" fmla="*/ 2147483646 w 28"/>
                <a:gd name="T81" fmla="*/ 2147483646 h 9"/>
                <a:gd name="T82" fmla="*/ 2147483646 w 28"/>
                <a:gd name="T83" fmla="*/ 2147483646 h 9"/>
                <a:gd name="T84" fmla="*/ 2147483646 w 28"/>
                <a:gd name="T85" fmla="*/ 2147483646 h 9"/>
                <a:gd name="T86" fmla="*/ 2147483646 w 28"/>
                <a:gd name="T87" fmla="*/ 2147483646 h 9"/>
                <a:gd name="T88" fmla="*/ 2147483646 w 28"/>
                <a:gd name="T89" fmla="*/ 2147483646 h 9"/>
                <a:gd name="T90" fmla="*/ 2147483646 w 28"/>
                <a:gd name="T91" fmla="*/ 2147483646 h 9"/>
                <a:gd name="T92" fmla="*/ 2147483646 w 28"/>
                <a:gd name="T93" fmla="*/ 2147483646 h 9"/>
                <a:gd name="T94" fmla="*/ 2147483646 w 28"/>
                <a:gd name="T95" fmla="*/ 2147483646 h 9"/>
                <a:gd name="T96" fmla="*/ 2147483646 w 28"/>
                <a:gd name="T97" fmla="*/ 2147483646 h 9"/>
                <a:gd name="T98" fmla="*/ 2147483646 w 28"/>
                <a:gd name="T99" fmla="*/ 2147483646 h 9"/>
                <a:gd name="T100" fmla="*/ 2147483646 w 28"/>
                <a:gd name="T101" fmla="*/ 2147483646 h 9"/>
                <a:gd name="T102" fmla="*/ 2147483646 w 28"/>
                <a:gd name="T103" fmla="*/ 2147483646 h 9"/>
                <a:gd name="T104" fmla="*/ 2147483646 w 28"/>
                <a:gd name="T105" fmla="*/ 2147483646 h 9"/>
                <a:gd name="T106" fmla="*/ 2147483646 w 28"/>
                <a:gd name="T107" fmla="*/ 2147483646 h 9"/>
                <a:gd name="T108" fmla="*/ 2147483646 w 28"/>
                <a:gd name="T109" fmla="*/ 2147483646 h 9"/>
                <a:gd name="T110" fmla="*/ 2147483646 w 28"/>
                <a:gd name="T111" fmla="*/ 2147483646 h 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8" h="9">
                  <a:moveTo>
                    <a:pt x="21" y="9"/>
                  </a:moveTo>
                  <a:cubicBezTo>
                    <a:pt x="20" y="9"/>
                    <a:pt x="19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9" y="8"/>
                  </a:cubicBezTo>
                  <a:cubicBezTo>
                    <a:pt x="19" y="8"/>
                    <a:pt x="19" y="7"/>
                    <a:pt x="19" y="7"/>
                  </a:cubicBezTo>
                  <a:cubicBezTo>
                    <a:pt x="18" y="7"/>
                    <a:pt x="17" y="7"/>
                    <a:pt x="17" y="6"/>
                  </a:cubicBezTo>
                  <a:cubicBezTo>
                    <a:pt x="16" y="6"/>
                    <a:pt x="15" y="5"/>
                    <a:pt x="14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4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6" y="3"/>
                    <a:pt x="5" y="3"/>
                  </a:cubicBezTo>
                  <a:cubicBezTo>
                    <a:pt x="4" y="4"/>
                    <a:pt x="3" y="5"/>
                    <a:pt x="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3" y="2"/>
                  </a:cubicBezTo>
                  <a:cubicBezTo>
                    <a:pt x="3" y="2"/>
                    <a:pt x="3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3" y="1"/>
                    <a:pt x="15" y="2"/>
                  </a:cubicBezTo>
                  <a:cubicBezTo>
                    <a:pt x="17" y="3"/>
                    <a:pt x="18" y="3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5"/>
                    <a:pt x="22" y="5"/>
                    <a:pt x="23" y="6"/>
                  </a:cubicBezTo>
                  <a:cubicBezTo>
                    <a:pt x="24" y="6"/>
                    <a:pt x="26" y="6"/>
                    <a:pt x="27" y="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5" y="9"/>
                    <a:pt x="23" y="9"/>
                    <a:pt x="21" y="9"/>
                  </a:cubicBezTo>
                  <a:close/>
                  <a:moveTo>
                    <a:pt x="20" y="8"/>
                  </a:moveTo>
                  <a:cubicBezTo>
                    <a:pt x="21" y="8"/>
                    <a:pt x="23" y="8"/>
                    <a:pt x="25" y="8"/>
                  </a:cubicBezTo>
                  <a:cubicBezTo>
                    <a:pt x="25" y="7"/>
                    <a:pt x="24" y="7"/>
                    <a:pt x="23" y="7"/>
                  </a:cubicBezTo>
                  <a:cubicBezTo>
                    <a:pt x="22" y="6"/>
                    <a:pt x="20" y="6"/>
                    <a:pt x="19" y="5"/>
                  </a:cubicBezTo>
                  <a:cubicBezTo>
                    <a:pt x="17" y="4"/>
                    <a:pt x="16" y="4"/>
                    <a:pt x="15" y="3"/>
                  </a:cubicBezTo>
                  <a:cubicBezTo>
                    <a:pt x="13" y="2"/>
                    <a:pt x="11" y="1"/>
                    <a:pt x="9" y="1"/>
                  </a:cubicBezTo>
                  <a:cubicBezTo>
                    <a:pt x="8" y="1"/>
                    <a:pt x="7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5" y="2"/>
                  </a:cubicBezTo>
                  <a:cubicBezTo>
                    <a:pt x="6" y="2"/>
                    <a:pt x="7" y="1"/>
                    <a:pt x="8" y="1"/>
                  </a:cubicBezTo>
                  <a:cubicBezTo>
                    <a:pt x="8" y="1"/>
                    <a:pt x="9" y="1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2" y="3"/>
                  </a:cubicBezTo>
                  <a:cubicBezTo>
                    <a:pt x="12" y="3"/>
                    <a:pt x="13" y="3"/>
                    <a:pt x="13" y="3"/>
                  </a:cubicBezTo>
                  <a:cubicBezTo>
                    <a:pt x="13" y="4"/>
                    <a:pt x="13" y="4"/>
                    <a:pt x="14" y="4"/>
                  </a:cubicBezTo>
                  <a:cubicBezTo>
                    <a:pt x="15" y="4"/>
                    <a:pt x="16" y="5"/>
                    <a:pt x="17" y="5"/>
                  </a:cubicBezTo>
                  <a:cubicBezTo>
                    <a:pt x="18" y="6"/>
                    <a:pt x="19" y="6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7" name="Freeform 50"/>
            <p:cNvSpPr/>
            <p:nvPr/>
          </p:nvSpPr>
          <p:spPr bwMode="auto">
            <a:xfrm>
              <a:off x="7057640" y="2789623"/>
              <a:ext cx="22038" cy="15738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0 h 2"/>
                <a:gd name="T6" fmla="*/ 2147483646 w 3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2">
                  <a:moveTo>
                    <a:pt x="2" y="1"/>
                  </a:moveTo>
                  <a:cubicBezTo>
                    <a:pt x="2" y="1"/>
                    <a:pt x="3" y="1"/>
                    <a:pt x="2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8" name="Freeform 51"/>
            <p:cNvSpPr/>
            <p:nvPr/>
          </p:nvSpPr>
          <p:spPr bwMode="auto">
            <a:xfrm>
              <a:off x="7029306" y="2777034"/>
              <a:ext cx="50372" cy="28328"/>
            </a:xfrm>
            <a:custGeom>
              <a:avLst/>
              <a:gdLst>
                <a:gd name="T0" fmla="*/ 2147483646 w 7"/>
                <a:gd name="T1" fmla="*/ 2147483646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0 w 7"/>
                <a:gd name="T7" fmla="*/ 0 h 4"/>
                <a:gd name="T8" fmla="*/ 2147483646 w 7"/>
                <a:gd name="T9" fmla="*/ 2147483646 h 4"/>
                <a:gd name="T10" fmla="*/ 2147483646 w 7"/>
                <a:gd name="T11" fmla="*/ 2147483646 h 4"/>
                <a:gd name="T12" fmla="*/ 2147483646 w 7"/>
                <a:gd name="T13" fmla="*/ 2147483646 h 4"/>
                <a:gd name="T14" fmla="*/ 2147483646 w 7"/>
                <a:gd name="T15" fmla="*/ 2147483646 h 4"/>
                <a:gd name="T16" fmla="*/ 2147483646 w 7"/>
                <a:gd name="T17" fmla="*/ 2147483646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3"/>
                    <a:pt x="4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3"/>
                    <a:pt x="7" y="3"/>
                    <a:pt x="7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9" name="Freeform 52"/>
            <p:cNvSpPr/>
            <p:nvPr/>
          </p:nvSpPr>
          <p:spPr bwMode="auto">
            <a:xfrm>
              <a:off x="6985231" y="2805360"/>
              <a:ext cx="6296" cy="9443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2147483646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0" name="Freeform 53"/>
            <p:cNvSpPr/>
            <p:nvPr/>
          </p:nvSpPr>
          <p:spPr bwMode="auto">
            <a:xfrm>
              <a:off x="6975786" y="2799066"/>
              <a:ext cx="22038" cy="22033"/>
            </a:xfrm>
            <a:custGeom>
              <a:avLst/>
              <a:gdLst>
                <a:gd name="T0" fmla="*/ 0 w 3"/>
                <a:gd name="T1" fmla="*/ 2147483646 h 3"/>
                <a:gd name="T2" fmla="*/ 0 w 3"/>
                <a:gd name="T3" fmla="*/ 2147483646 h 3"/>
                <a:gd name="T4" fmla="*/ 2147483646 w 3"/>
                <a:gd name="T5" fmla="*/ 0 h 3"/>
                <a:gd name="T6" fmla="*/ 2147483646 w 3"/>
                <a:gd name="T7" fmla="*/ 0 h 3"/>
                <a:gd name="T8" fmla="*/ 2147483646 w 3"/>
                <a:gd name="T9" fmla="*/ 0 h 3"/>
                <a:gd name="T10" fmla="*/ 2147483646 w 3"/>
                <a:gd name="T11" fmla="*/ 2147483646 h 3"/>
                <a:gd name="T12" fmla="*/ 2147483646 w 3"/>
                <a:gd name="T13" fmla="*/ 2147483646 h 3"/>
                <a:gd name="T14" fmla="*/ 2147483646 w 3"/>
                <a:gd name="T15" fmla="*/ 2147483646 h 3"/>
                <a:gd name="T16" fmla="*/ 2147483646 w 3"/>
                <a:gd name="T17" fmla="*/ 2147483646 h 3"/>
                <a:gd name="T18" fmla="*/ 2147483646 w 3"/>
                <a:gd name="T19" fmla="*/ 2147483646 h 3"/>
                <a:gd name="T20" fmla="*/ 0 w 3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1" name="Freeform 54"/>
            <p:cNvSpPr/>
            <p:nvPr/>
          </p:nvSpPr>
          <p:spPr bwMode="auto">
            <a:xfrm>
              <a:off x="7170977" y="2843132"/>
              <a:ext cx="72410" cy="37771"/>
            </a:xfrm>
            <a:custGeom>
              <a:avLst/>
              <a:gdLst>
                <a:gd name="T0" fmla="*/ 2147483646 w 10"/>
                <a:gd name="T1" fmla="*/ 0 h 5"/>
                <a:gd name="T2" fmla="*/ 2147483646 w 10"/>
                <a:gd name="T3" fmla="*/ 2147483646 h 5"/>
                <a:gd name="T4" fmla="*/ 2147483646 w 10"/>
                <a:gd name="T5" fmla="*/ 2147483646 h 5"/>
                <a:gd name="T6" fmla="*/ 2147483646 w 10"/>
                <a:gd name="T7" fmla="*/ 2147483646 h 5"/>
                <a:gd name="T8" fmla="*/ 2147483646 w 10"/>
                <a:gd name="T9" fmla="*/ 2147483646 h 5"/>
                <a:gd name="T10" fmla="*/ 2147483646 w 10"/>
                <a:gd name="T11" fmla="*/ 2147483646 h 5"/>
                <a:gd name="T12" fmla="*/ 2147483646 w 10"/>
                <a:gd name="T13" fmla="*/ 0 h 5"/>
                <a:gd name="T14" fmla="*/ 2147483646 w 10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" h="5">
                  <a:moveTo>
                    <a:pt x="1" y="0"/>
                  </a:moveTo>
                  <a:cubicBezTo>
                    <a:pt x="2" y="2"/>
                    <a:pt x="0" y="3"/>
                    <a:pt x="2" y="5"/>
                  </a:cubicBezTo>
                  <a:cubicBezTo>
                    <a:pt x="2" y="5"/>
                    <a:pt x="3" y="4"/>
                    <a:pt x="3" y="3"/>
                  </a:cubicBezTo>
                  <a:cubicBezTo>
                    <a:pt x="4" y="4"/>
                    <a:pt x="7" y="3"/>
                    <a:pt x="8" y="4"/>
                  </a:cubicBezTo>
                  <a:cubicBezTo>
                    <a:pt x="10" y="4"/>
                    <a:pt x="8" y="1"/>
                    <a:pt x="6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2" name="Freeform 55"/>
            <p:cNvSpPr>
              <a:spLocks noEditPoints="1"/>
            </p:cNvSpPr>
            <p:nvPr/>
          </p:nvSpPr>
          <p:spPr bwMode="auto">
            <a:xfrm>
              <a:off x="7170977" y="2836836"/>
              <a:ext cx="66113" cy="50361"/>
            </a:xfrm>
            <a:custGeom>
              <a:avLst/>
              <a:gdLst>
                <a:gd name="T0" fmla="*/ 2147483646 w 9"/>
                <a:gd name="T1" fmla="*/ 2147483646 h 7"/>
                <a:gd name="T2" fmla="*/ 2147483646 w 9"/>
                <a:gd name="T3" fmla="*/ 2147483646 h 7"/>
                <a:gd name="T4" fmla="*/ 2147483646 w 9"/>
                <a:gd name="T5" fmla="*/ 2147483646 h 7"/>
                <a:gd name="T6" fmla="*/ 2147483646 w 9"/>
                <a:gd name="T7" fmla="*/ 2147483646 h 7"/>
                <a:gd name="T8" fmla="*/ 0 w 9"/>
                <a:gd name="T9" fmla="*/ 0 h 7"/>
                <a:gd name="T10" fmla="*/ 2147483646 w 9"/>
                <a:gd name="T11" fmla="*/ 0 h 7"/>
                <a:gd name="T12" fmla="*/ 2147483646 w 9"/>
                <a:gd name="T13" fmla="*/ 0 h 7"/>
                <a:gd name="T14" fmla="*/ 2147483646 w 9"/>
                <a:gd name="T15" fmla="*/ 2147483646 h 7"/>
                <a:gd name="T16" fmla="*/ 2147483646 w 9"/>
                <a:gd name="T17" fmla="*/ 2147483646 h 7"/>
                <a:gd name="T18" fmla="*/ 2147483646 w 9"/>
                <a:gd name="T19" fmla="*/ 2147483646 h 7"/>
                <a:gd name="T20" fmla="*/ 2147483646 w 9"/>
                <a:gd name="T21" fmla="*/ 2147483646 h 7"/>
                <a:gd name="T22" fmla="*/ 2147483646 w 9"/>
                <a:gd name="T23" fmla="*/ 2147483646 h 7"/>
                <a:gd name="T24" fmla="*/ 2147483646 w 9"/>
                <a:gd name="T25" fmla="*/ 2147483646 h 7"/>
                <a:gd name="T26" fmla="*/ 2147483646 w 9"/>
                <a:gd name="T27" fmla="*/ 2147483646 h 7"/>
                <a:gd name="T28" fmla="*/ 2147483646 w 9"/>
                <a:gd name="T29" fmla="*/ 2147483646 h 7"/>
                <a:gd name="T30" fmla="*/ 2147483646 w 9"/>
                <a:gd name="T31" fmla="*/ 2147483646 h 7"/>
                <a:gd name="T32" fmla="*/ 2147483646 w 9"/>
                <a:gd name="T33" fmla="*/ 2147483646 h 7"/>
                <a:gd name="T34" fmla="*/ 2147483646 w 9"/>
                <a:gd name="T35" fmla="*/ 2147483646 h 7"/>
                <a:gd name="T36" fmla="*/ 2147483646 w 9"/>
                <a:gd name="T37" fmla="*/ 2147483646 h 7"/>
                <a:gd name="T38" fmla="*/ 2147483646 w 9"/>
                <a:gd name="T39" fmla="*/ 2147483646 h 7"/>
                <a:gd name="T40" fmla="*/ 2147483646 w 9"/>
                <a:gd name="T41" fmla="*/ 2147483646 h 7"/>
                <a:gd name="T42" fmla="*/ 2147483646 w 9"/>
                <a:gd name="T43" fmla="*/ 2147483646 h 7"/>
                <a:gd name="T44" fmla="*/ 2147483646 w 9"/>
                <a:gd name="T45" fmla="*/ 2147483646 h 7"/>
                <a:gd name="T46" fmla="*/ 2147483646 w 9"/>
                <a:gd name="T47" fmla="*/ 2147483646 h 7"/>
                <a:gd name="T48" fmla="*/ 2147483646 w 9"/>
                <a:gd name="T49" fmla="*/ 2147483646 h 7"/>
                <a:gd name="T50" fmla="*/ 2147483646 w 9"/>
                <a:gd name="T51" fmla="*/ 2147483646 h 7"/>
                <a:gd name="T52" fmla="*/ 2147483646 w 9"/>
                <a:gd name="T53" fmla="*/ 2147483646 h 7"/>
                <a:gd name="T54" fmla="*/ 2147483646 w 9"/>
                <a:gd name="T55" fmla="*/ 2147483646 h 7"/>
                <a:gd name="T56" fmla="*/ 2147483646 w 9"/>
                <a:gd name="T57" fmla="*/ 2147483646 h 7"/>
                <a:gd name="T58" fmla="*/ 2147483646 w 9"/>
                <a:gd name="T59" fmla="*/ 2147483646 h 7"/>
                <a:gd name="T60" fmla="*/ 2147483646 w 9"/>
                <a:gd name="T61" fmla="*/ 2147483646 h 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" h="7">
                  <a:moveTo>
                    <a:pt x="2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1"/>
                    <a:pt x="7" y="2"/>
                    <a:pt x="7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8" y="5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6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2" y="7"/>
                  </a:lnTo>
                  <a:close/>
                  <a:moveTo>
                    <a:pt x="2" y="1"/>
                  </a:move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5" y="2"/>
                    <a:pt x="5" y="2"/>
                    <a:pt x="4" y="1"/>
                  </a:cubicBezTo>
                  <a:cubicBezTo>
                    <a:pt x="4" y="1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3" name="Freeform 56"/>
            <p:cNvSpPr/>
            <p:nvPr/>
          </p:nvSpPr>
          <p:spPr bwMode="auto">
            <a:xfrm>
              <a:off x="6865597" y="2940705"/>
              <a:ext cx="50372" cy="28328"/>
            </a:xfrm>
            <a:custGeom>
              <a:avLst/>
              <a:gdLst>
                <a:gd name="T0" fmla="*/ 0 w 7"/>
                <a:gd name="T1" fmla="*/ 2147483646 h 4"/>
                <a:gd name="T2" fmla="*/ 2147483646 w 7"/>
                <a:gd name="T3" fmla="*/ 2147483646 h 4"/>
                <a:gd name="T4" fmla="*/ 2147483646 w 7"/>
                <a:gd name="T5" fmla="*/ 0 h 4"/>
                <a:gd name="T6" fmla="*/ 0 w 7"/>
                <a:gd name="T7" fmla="*/ 2147483646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2"/>
                    <a:pt x="7" y="4"/>
                    <a:pt x="5" y="1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1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4" name="Freeform 57"/>
            <p:cNvSpPr>
              <a:spLocks noEditPoints="1"/>
            </p:cNvSpPr>
            <p:nvPr/>
          </p:nvSpPr>
          <p:spPr bwMode="auto">
            <a:xfrm>
              <a:off x="6856152" y="2940705"/>
              <a:ext cx="53520" cy="22033"/>
            </a:xfrm>
            <a:custGeom>
              <a:avLst/>
              <a:gdLst>
                <a:gd name="T0" fmla="*/ 2147483646 w 7"/>
                <a:gd name="T1" fmla="*/ 2147483646 h 3"/>
                <a:gd name="T2" fmla="*/ 2147483646 w 7"/>
                <a:gd name="T3" fmla="*/ 2147483646 h 3"/>
                <a:gd name="T4" fmla="*/ 0 w 7"/>
                <a:gd name="T5" fmla="*/ 2147483646 h 3"/>
                <a:gd name="T6" fmla="*/ 0 w 7"/>
                <a:gd name="T7" fmla="*/ 2147483646 h 3"/>
                <a:gd name="T8" fmla="*/ 2147483646 w 7"/>
                <a:gd name="T9" fmla="*/ 2147483646 h 3"/>
                <a:gd name="T10" fmla="*/ 2147483646 w 7"/>
                <a:gd name="T11" fmla="*/ 0 h 3"/>
                <a:gd name="T12" fmla="*/ 2147483646 w 7"/>
                <a:gd name="T13" fmla="*/ 0 h 3"/>
                <a:gd name="T14" fmla="*/ 2147483646 w 7"/>
                <a:gd name="T15" fmla="*/ 2147483646 h 3"/>
                <a:gd name="T16" fmla="*/ 2147483646 w 7"/>
                <a:gd name="T17" fmla="*/ 2147483646 h 3"/>
                <a:gd name="T18" fmla="*/ 2147483646 w 7"/>
                <a:gd name="T19" fmla="*/ 2147483646 h 3"/>
                <a:gd name="T20" fmla="*/ 2147483646 w 7"/>
                <a:gd name="T21" fmla="*/ 2147483646 h 3"/>
                <a:gd name="T22" fmla="*/ 2147483646 w 7"/>
                <a:gd name="T23" fmla="*/ 2147483646 h 3"/>
                <a:gd name="T24" fmla="*/ 2147483646 w 7"/>
                <a:gd name="T25" fmla="*/ 2147483646 h 3"/>
                <a:gd name="T26" fmla="*/ 2147483646 w 7"/>
                <a:gd name="T27" fmla="*/ 2147483646 h 3"/>
                <a:gd name="T28" fmla="*/ 2147483646 w 7"/>
                <a:gd name="T29" fmla="*/ 2147483646 h 3"/>
                <a:gd name="T30" fmla="*/ 2147483646 w 7"/>
                <a:gd name="T31" fmla="*/ 2147483646 h 3"/>
                <a:gd name="T32" fmla="*/ 2147483646 w 7"/>
                <a:gd name="T33" fmla="*/ 2147483646 h 3"/>
                <a:gd name="T34" fmla="*/ 2147483646 w 7"/>
                <a:gd name="T35" fmla="*/ 2147483646 h 3"/>
                <a:gd name="T36" fmla="*/ 2147483646 w 7"/>
                <a:gd name="T37" fmla="*/ 2147483646 h 3"/>
                <a:gd name="T38" fmla="*/ 2147483646 w 7"/>
                <a:gd name="T39" fmla="*/ 2147483646 h 3"/>
                <a:gd name="T40" fmla="*/ 2147483646 w 7"/>
                <a:gd name="T41" fmla="*/ 2147483646 h 3"/>
                <a:gd name="T42" fmla="*/ 2147483646 w 7"/>
                <a:gd name="T43" fmla="*/ 2147483646 h 3"/>
                <a:gd name="T44" fmla="*/ 2147483646 w 7"/>
                <a:gd name="T45" fmla="*/ 2147483646 h 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6" y="3"/>
                    <a:pt x="6" y="3"/>
                    <a:pt x="5" y="3"/>
                  </a:cubicBezTo>
                  <a:close/>
                  <a:moveTo>
                    <a:pt x="2" y="1"/>
                  </a:moveTo>
                  <a:cubicBezTo>
                    <a:pt x="3" y="2"/>
                    <a:pt x="4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5" name="Freeform 58"/>
            <p:cNvSpPr/>
            <p:nvPr/>
          </p:nvSpPr>
          <p:spPr bwMode="auto">
            <a:xfrm>
              <a:off x="6812077" y="2871459"/>
              <a:ext cx="81854" cy="81836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2147483646 w 11"/>
                <a:gd name="T5" fmla="*/ 2147483646 h 11"/>
                <a:gd name="T6" fmla="*/ 2147483646 w 11"/>
                <a:gd name="T7" fmla="*/ 2147483646 h 11"/>
                <a:gd name="T8" fmla="*/ 2147483646 w 11"/>
                <a:gd name="T9" fmla="*/ 2147483646 h 11"/>
                <a:gd name="T10" fmla="*/ 2147483646 w 11"/>
                <a:gd name="T11" fmla="*/ 2147483646 h 11"/>
                <a:gd name="T12" fmla="*/ 2147483646 w 11"/>
                <a:gd name="T13" fmla="*/ 2147483646 h 11"/>
                <a:gd name="T14" fmla="*/ 2147483646 w 11"/>
                <a:gd name="T15" fmla="*/ 2147483646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" h="11">
                  <a:moveTo>
                    <a:pt x="11" y="6"/>
                  </a:moveTo>
                  <a:cubicBezTo>
                    <a:pt x="10" y="5"/>
                    <a:pt x="10" y="5"/>
                    <a:pt x="9" y="5"/>
                  </a:cubicBezTo>
                  <a:cubicBezTo>
                    <a:pt x="9" y="4"/>
                    <a:pt x="9" y="2"/>
                    <a:pt x="9" y="1"/>
                  </a:cubicBezTo>
                  <a:cubicBezTo>
                    <a:pt x="7" y="1"/>
                    <a:pt x="5" y="0"/>
                    <a:pt x="5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4" y="3"/>
                    <a:pt x="5" y="3"/>
                    <a:pt x="6" y="5"/>
                  </a:cubicBezTo>
                  <a:cubicBezTo>
                    <a:pt x="3" y="4"/>
                    <a:pt x="0" y="9"/>
                    <a:pt x="4" y="10"/>
                  </a:cubicBezTo>
                  <a:cubicBezTo>
                    <a:pt x="7" y="10"/>
                    <a:pt x="7" y="11"/>
                    <a:pt x="9" y="9"/>
                  </a:cubicBezTo>
                  <a:cubicBezTo>
                    <a:pt x="9" y="8"/>
                    <a:pt x="8" y="8"/>
                    <a:pt x="9" y="7"/>
                  </a:cubicBezTo>
                  <a:cubicBezTo>
                    <a:pt x="10" y="7"/>
                    <a:pt x="11" y="7"/>
                    <a:pt x="11" y="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6" name="Freeform 59"/>
            <p:cNvSpPr>
              <a:spLocks noEditPoints="1"/>
            </p:cNvSpPr>
            <p:nvPr/>
          </p:nvSpPr>
          <p:spPr bwMode="auto">
            <a:xfrm>
              <a:off x="6821522" y="2871459"/>
              <a:ext cx="81854" cy="81836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0 w 11"/>
                <a:gd name="T5" fmla="*/ 2147483646 h 11"/>
                <a:gd name="T6" fmla="*/ 2147483646 w 11"/>
                <a:gd name="T7" fmla="*/ 2147483646 h 11"/>
                <a:gd name="T8" fmla="*/ 2147483646 w 11"/>
                <a:gd name="T9" fmla="*/ 2147483646 h 11"/>
                <a:gd name="T10" fmla="*/ 0 w 11"/>
                <a:gd name="T11" fmla="*/ 0 h 11"/>
                <a:gd name="T12" fmla="*/ 2147483646 w 11"/>
                <a:gd name="T13" fmla="*/ 2147483646 h 11"/>
                <a:gd name="T14" fmla="*/ 2147483646 w 11"/>
                <a:gd name="T15" fmla="*/ 2147483646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2147483646 w 11"/>
                <a:gd name="T21" fmla="*/ 0 h 11"/>
                <a:gd name="T22" fmla="*/ 2147483646 w 11"/>
                <a:gd name="T23" fmla="*/ 0 h 11"/>
                <a:gd name="T24" fmla="*/ 2147483646 w 11"/>
                <a:gd name="T25" fmla="*/ 0 h 11"/>
                <a:gd name="T26" fmla="*/ 2147483646 w 11"/>
                <a:gd name="T27" fmla="*/ 0 h 11"/>
                <a:gd name="T28" fmla="*/ 2147483646 w 11"/>
                <a:gd name="T29" fmla="*/ 2147483646 h 11"/>
                <a:gd name="T30" fmla="*/ 2147483646 w 11"/>
                <a:gd name="T31" fmla="*/ 2147483646 h 11"/>
                <a:gd name="T32" fmla="*/ 2147483646 w 11"/>
                <a:gd name="T33" fmla="*/ 2147483646 h 11"/>
                <a:gd name="T34" fmla="*/ 2147483646 w 11"/>
                <a:gd name="T35" fmla="*/ 2147483646 h 11"/>
                <a:gd name="T36" fmla="*/ 2147483646 w 11"/>
                <a:gd name="T37" fmla="*/ 2147483646 h 11"/>
                <a:gd name="T38" fmla="*/ 2147483646 w 11"/>
                <a:gd name="T39" fmla="*/ 2147483646 h 11"/>
                <a:gd name="T40" fmla="*/ 2147483646 w 11"/>
                <a:gd name="T41" fmla="*/ 2147483646 h 11"/>
                <a:gd name="T42" fmla="*/ 2147483646 w 11"/>
                <a:gd name="T43" fmla="*/ 2147483646 h 11"/>
                <a:gd name="T44" fmla="*/ 2147483646 w 11"/>
                <a:gd name="T45" fmla="*/ 2147483646 h 11"/>
                <a:gd name="T46" fmla="*/ 2147483646 w 11"/>
                <a:gd name="T47" fmla="*/ 2147483646 h 11"/>
                <a:gd name="T48" fmla="*/ 2147483646 w 11"/>
                <a:gd name="T49" fmla="*/ 2147483646 h 11"/>
                <a:gd name="T50" fmla="*/ 2147483646 w 11"/>
                <a:gd name="T51" fmla="*/ 2147483646 h 11"/>
                <a:gd name="T52" fmla="*/ 2147483646 w 11"/>
                <a:gd name="T53" fmla="*/ 2147483646 h 11"/>
                <a:gd name="T54" fmla="*/ 2147483646 w 11"/>
                <a:gd name="T55" fmla="*/ 2147483646 h 11"/>
                <a:gd name="T56" fmla="*/ 2147483646 w 11"/>
                <a:gd name="T57" fmla="*/ 2147483646 h 11"/>
                <a:gd name="T58" fmla="*/ 2147483646 w 11"/>
                <a:gd name="T59" fmla="*/ 2147483646 h 11"/>
                <a:gd name="T60" fmla="*/ 2147483646 w 11"/>
                <a:gd name="T61" fmla="*/ 2147483646 h 11"/>
                <a:gd name="T62" fmla="*/ 2147483646 w 11"/>
                <a:gd name="T63" fmla="*/ 2147483646 h 11"/>
                <a:gd name="T64" fmla="*/ 2147483646 w 11"/>
                <a:gd name="T65" fmla="*/ 2147483646 h 11"/>
                <a:gd name="T66" fmla="*/ 2147483646 w 11"/>
                <a:gd name="T67" fmla="*/ 2147483646 h 11"/>
                <a:gd name="T68" fmla="*/ 2147483646 w 11"/>
                <a:gd name="T69" fmla="*/ 2147483646 h 11"/>
                <a:gd name="T70" fmla="*/ 2147483646 w 11"/>
                <a:gd name="T71" fmla="*/ 2147483646 h 11"/>
                <a:gd name="T72" fmla="*/ 2147483646 w 11"/>
                <a:gd name="T73" fmla="*/ 2147483646 h 11"/>
                <a:gd name="T74" fmla="*/ 2147483646 w 11"/>
                <a:gd name="T75" fmla="*/ 2147483646 h 11"/>
                <a:gd name="T76" fmla="*/ 2147483646 w 11"/>
                <a:gd name="T77" fmla="*/ 2147483646 h 11"/>
                <a:gd name="T78" fmla="*/ 2147483646 w 11"/>
                <a:gd name="T79" fmla="*/ 2147483646 h 11"/>
                <a:gd name="T80" fmla="*/ 2147483646 w 11"/>
                <a:gd name="T81" fmla="*/ 2147483646 h 11"/>
                <a:gd name="T82" fmla="*/ 2147483646 w 11"/>
                <a:gd name="T83" fmla="*/ 2147483646 h 11"/>
                <a:gd name="T84" fmla="*/ 2147483646 w 11"/>
                <a:gd name="T85" fmla="*/ 2147483646 h 11"/>
                <a:gd name="T86" fmla="*/ 2147483646 w 11"/>
                <a:gd name="T87" fmla="*/ 2147483646 h 11"/>
                <a:gd name="T88" fmla="*/ 2147483646 w 11"/>
                <a:gd name="T89" fmla="*/ 2147483646 h 11"/>
                <a:gd name="T90" fmla="*/ 2147483646 w 11"/>
                <a:gd name="T91" fmla="*/ 2147483646 h 11"/>
                <a:gd name="T92" fmla="*/ 2147483646 w 11"/>
                <a:gd name="T93" fmla="*/ 2147483646 h 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cubicBezTo>
                    <a:pt x="5" y="11"/>
                    <a:pt x="4" y="11"/>
                    <a:pt x="3" y="11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1" y="6"/>
                    <a:pt x="2" y="4"/>
                    <a:pt x="4" y="4"/>
                  </a:cubicBezTo>
                  <a:cubicBezTo>
                    <a:pt x="4" y="4"/>
                    <a:pt x="3" y="3"/>
                    <a:pt x="2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9" y="7"/>
                    <a:pt x="9" y="8"/>
                  </a:cubicBezTo>
                  <a:cubicBezTo>
                    <a:pt x="9" y="8"/>
                    <a:pt x="8" y="8"/>
                    <a:pt x="8" y="8"/>
                  </a:cubicBezTo>
                  <a:cubicBezTo>
                    <a:pt x="8" y="8"/>
                    <a:pt x="8" y="9"/>
                    <a:pt x="8" y="9"/>
                  </a:cubicBezTo>
                  <a:cubicBezTo>
                    <a:pt x="7" y="10"/>
                    <a:pt x="6" y="11"/>
                    <a:pt x="5" y="11"/>
                  </a:cubicBezTo>
                  <a:close/>
                  <a:moveTo>
                    <a:pt x="4" y="5"/>
                  </a:moveTo>
                  <a:cubicBezTo>
                    <a:pt x="3" y="5"/>
                    <a:pt x="2" y="7"/>
                    <a:pt x="2" y="8"/>
                  </a:cubicBezTo>
                  <a:cubicBezTo>
                    <a:pt x="2" y="9"/>
                    <a:pt x="2" y="9"/>
                    <a:pt x="3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6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4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7" name="Freeform 60"/>
            <p:cNvSpPr/>
            <p:nvPr/>
          </p:nvSpPr>
          <p:spPr bwMode="auto">
            <a:xfrm>
              <a:off x="7155236" y="2858869"/>
              <a:ext cx="6296" cy="629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8" name="Freeform 61"/>
            <p:cNvSpPr/>
            <p:nvPr/>
          </p:nvSpPr>
          <p:spPr bwMode="auto">
            <a:xfrm>
              <a:off x="7139495" y="2849426"/>
              <a:ext cx="31482" cy="22033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0 w 4"/>
                <a:gd name="T7" fmla="*/ 0 h 3"/>
                <a:gd name="T8" fmla="*/ 2147483646 w 4"/>
                <a:gd name="T9" fmla="*/ 0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9" name="Freeform 62"/>
            <p:cNvSpPr/>
            <p:nvPr/>
          </p:nvSpPr>
          <p:spPr bwMode="auto">
            <a:xfrm>
              <a:off x="7161533" y="2836836"/>
              <a:ext cx="0" cy="6295"/>
            </a:xfrm>
            <a:custGeom>
              <a:avLst/>
              <a:gdLst>
                <a:gd name="T0" fmla="*/ 0 h 1"/>
                <a:gd name="T1" fmla="*/ 0 h 1"/>
                <a:gd name="T2" fmla="*/ 0 60000 65536"/>
                <a:gd name="T3" fmla="*/ 0 60000 65536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0" name="Freeform 63"/>
            <p:cNvSpPr/>
            <p:nvPr/>
          </p:nvSpPr>
          <p:spPr bwMode="auto">
            <a:xfrm>
              <a:off x="7139495" y="2827393"/>
              <a:ext cx="31482" cy="15738"/>
            </a:xfrm>
            <a:custGeom>
              <a:avLst/>
              <a:gdLst>
                <a:gd name="T0" fmla="*/ 2147483646 w 4"/>
                <a:gd name="T1" fmla="*/ 2147483646 h 2"/>
                <a:gd name="T2" fmla="*/ 2147483646 w 4"/>
                <a:gd name="T3" fmla="*/ 2147483646 h 2"/>
                <a:gd name="T4" fmla="*/ 2147483646 w 4"/>
                <a:gd name="T5" fmla="*/ 2147483646 h 2"/>
                <a:gd name="T6" fmla="*/ 2147483646 w 4"/>
                <a:gd name="T7" fmla="*/ 2147483646 h 2"/>
                <a:gd name="T8" fmla="*/ 2147483646 w 4"/>
                <a:gd name="T9" fmla="*/ 2147483646 h 2"/>
                <a:gd name="T10" fmla="*/ 2147483646 w 4"/>
                <a:gd name="T11" fmla="*/ 2147483646 h 2"/>
                <a:gd name="T12" fmla="*/ 0 w 4"/>
                <a:gd name="T13" fmla="*/ 0 h 2"/>
                <a:gd name="T14" fmla="*/ 2147483646 w 4"/>
                <a:gd name="T15" fmla="*/ 2147483646 h 2"/>
                <a:gd name="T16" fmla="*/ 2147483646 w 4"/>
                <a:gd name="T17" fmla="*/ 2147483646 h 2"/>
                <a:gd name="T18" fmla="*/ 2147483646 w 4"/>
                <a:gd name="T19" fmla="*/ 2147483646 h 2"/>
                <a:gd name="T20" fmla="*/ 2147483646 w 4"/>
                <a:gd name="T21" fmla="*/ 2147483646 h 2"/>
                <a:gd name="T22" fmla="*/ 2147483646 w 4"/>
                <a:gd name="T23" fmla="*/ 2147483646 h 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4" y="2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1" name="Freeform 64"/>
            <p:cNvSpPr/>
            <p:nvPr/>
          </p:nvSpPr>
          <p:spPr bwMode="auto">
            <a:xfrm>
              <a:off x="7133198" y="2836836"/>
              <a:ext cx="50372" cy="44066"/>
            </a:xfrm>
            <a:custGeom>
              <a:avLst/>
              <a:gdLst>
                <a:gd name="T0" fmla="*/ 2147483646 w 7"/>
                <a:gd name="T1" fmla="*/ 2147483646 h 6"/>
                <a:gd name="T2" fmla="*/ 2147483646 w 7"/>
                <a:gd name="T3" fmla="*/ 2147483646 h 6"/>
                <a:gd name="T4" fmla="*/ 0 w 7"/>
                <a:gd name="T5" fmla="*/ 2147483646 h 6"/>
                <a:gd name="T6" fmla="*/ 2147483646 w 7"/>
                <a:gd name="T7" fmla="*/ 2147483646 h 6"/>
                <a:gd name="T8" fmla="*/ 2147483646 w 7"/>
                <a:gd name="T9" fmla="*/ 2147483646 h 6"/>
                <a:gd name="T10" fmla="*/ 2147483646 w 7"/>
                <a:gd name="T11" fmla="*/ 214748364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6">
                  <a:moveTo>
                    <a:pt x="6" y="1"/>
                  </a:moveTo>
                  <a:cubicBezTo>
                    <a:pt x="7" y="2"/>
                    <a:pt x="6" y="4"/>
                    <a:pt x="6" y="5"/>
                  </a:cubicBezTo>
                  <a:cubicBezTo>
                    <a:pt x="4" y="4"/>
                    <a:pt x="1" y="6"/>
                    <a:pt x="0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4" y="3"/>
                    <a:pt x="4" y="1"/>
                    <a:pt x="2" y="1"/>
                  </a:cubicBezTo>
                  <a:cubicBezTo>
                    <a:pt x="4" y="0"/>
                    <a:pt x="5" y="2"/>
                    <a:pt x="6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2" name="Freeform 65"/>
            <p:cNvSpPr>
              <a:spLocks noEditPoints="1"/>
            </p:cNvSpPr>
            <p:nvPr/>
          </p:nvSpPr>
          <p:spPr bwMode="auto">
            <a:xfrm>
              <a:off x="7126902" y="2836836"/>
              <a:ext cx="56668" cy="50361"/>
            </a:xfrm>
            <a:custGeom>
              <a:avLst/>
              <a:gdLst>
                <a:gd name="T0" fmla="*/ 2147483646 w 8"/>
                <a:gd name="T1" fmla="*/ 2147483646 h 7"/>
                <a:gd name="T2" fmla="*/ 2147483646 w 8"/>
                <a:gd name="T3" fmla="*/ 2147483646 h 7"/>
                <a:gd name="T4" fmla="*/ 2147483646 w 8"/>
                <a:gd name="T5" fmla="*/ 2147483646 h 7"/>
                <a:gd name="T6" fmla="*/ 2147483646 w 8"/>
                <a:gd name="T7" fmla="*/ 2147483646 h 7"/>
                <a:gd name="T8" fmla="*/ 2147483646 w 8"/>
                <a:gd name="T9" fmla="*/ 2147483646 h 7"/>
                <a:gd name="T10" fmla="*/ 0 w 8"/>
                <a:gd name="T11" fmla="*/ 2147483646 h 7"/>
                <a:gd name="T12" fmla="*/ 2147483646 w 8"/>
                <a:gd name="T13" fmla="*/ 2147483646 h 7"/>
                <a:gd name="T14" fmla="*/ 2147483646 w 8"/>
                <a:gd name="T15" fmla="*/ 2147483646 h 7"/>
                <a:gd name="T16" fmla="*/ 2147483646 w 8"/>
                <a:gd name="T17" fmla="*/ 2147483646 h 7"/>
                <a:gd name="T18" fmla="*/ 2147483646 w 8"/>
                <a:gd name="T19" fmla="*/ 2147483646 h 7"/>
                <a:gd name="T20" fmla="*/ 2147483646 w 8"/>
                <a:gd name="T21" fmla="*/ 2147483646 h 7"/>
                <a:gd name="T22" fmla="*/ 2147483646 w 8"/>
                <a:gd name="T23" fmla="*/ 2147483646 h 7"/>
                <a:gd name="T24" fmla="*/ 2147483646 w 8"/>
                <a:gd name="T25" fmla="*/ 0 h 7"/>
                <a:gd name="T26" fmla="*/ 2147483646 w 8"/>
                <a:gd name="T27" fmla="*/ 0 h 7"/>
                <a:gd name="T28" fmla="*/ 2147483646 w 8"/>
                <a:gd name="T29" fmla="*/ 0 h 7"/>
                <a:gd name="T30" fmla="*/ 2147483646 w 8"/>
                <a:gd name="T31" fmla="*/ 0 h 7"/>
                <a:gd name="T32" fmla="*/ 2147483646 w 8"/>
                <a:gd name="T33" fmla="*/ 2147483646 h 7"/>
                <a:gd name="T34" fmla="*/ 2147483646 w 8"/>
                <a:gd name="T35" fmla="*/ 2147483646 h 7"/>
                <a:gd name="T36" fmla="*/ 2147483646 w 8"/>
                <a:gd name="T37" fmla="*/ 2147483646 h 7"/>
                <a:gd name="T38" fmla="*/ 2147483646 w 8"/>
                <a:gd name="T39" fmla="*/ 2147483646 h 7"/>
                <a:gd name="T40" fmla="*/ 2147483646 w 8"/>
                <a:gd name="T41" fmla="*/ 2147483646 h 7"/>
                <a:gd name="T42" fmla="*/ 2147483646 w 8"/>
                <a:gd name="T43" fmla="*/ 2147483646 h 7"/>
                <a:gd name="T44" fmla="*/ 2147483646 w 8"/>
                <a:gd name="T45" fmla="*/ 2147483646 h 7"/>
                <a:gd name="T46" fmla="*/ 2147483646 w 8"/>
                <a:gd name="T47" fmla="*/ 2147483646 h 7"/>
                <a:gd name="T48" fmla="*/ 2147483646 w 8"/>
                <a:gd name="T49" fmla="*/ 2147483646 h 7"/>
                <a:gd name="T50" fmla="*/ 2147483646 w 8"/>
                <a:gd name="T51" fmla="*/ 2147483646 h 7"/>
                <a:gd name="T52" fmla="*/ 2147483646 w 8"/>
                <a:gd name="T53" fmla="*/ 2147483646 h 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6" y="5"/>
                    <a:pt x="5" y="5"/>
                    <a:pt x="4" y="5"/>
                  </a:cubicBezTo>
                  <a:cubicBezTo>
                    <a:pt x="4" y="6"/>
                    <a:pt x="3" y="6"/>
                    <a:pt x="3" y="6"/>
                  </a:cubicBezTo>
                  <a:cubicBezTo>
                    <a:pt x="3" y="6"/>
                    <a:pt x="1" y="6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4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"/>
                    <a:pt x="8" y="3"/>
                    <a:pt x="8" y="3"/>
                  </a:cubicBezTo>
                  <a:cubicBezTo>
                    <a:pt x="8" y="4"/>
                    <a:pt x="8" y="4"/>
                    <a:pt x="8" y="5"/>
                  </a:cubicBezTo>
                  <a:lnTo>
                    <a:pt x="8" y="7"/>
                  </a:lnTo>
                  <a:close/>
                  <a:moveTo>
                    <a:pt x="5" y="1"/>
                  </a:moveTo>
                  <a:cubicBezTo>
                    <a:pt x="5" y="2"/>
                    <a:pt x="6" y="2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3" name="Freeform 66"/>
            <p:cNvSpPr/>
            <p:nvPr/>
          </p:nvSpPr>
          <p:spPr bwMode="auto">
            <a:xfrm>
              <a:off x="6871894" y="2896639"/>
              <a:ext cx="113337" cy="66098"/>
            </a:xfrm>
            <a:custGeom>
              <a:avLst/>
              <a:gdLst>
                <a:gd name="T0" fmla="*/ 2147483646 w 15"/>
                <a:gd name="T1" fmla="*/ 2147483646 h 9"/>
                <a:gd name="T2" fmla="*/ 0 w 15"/>
                <a:gd name="T3" fmla="*/ 2147483646 h 9"/>
                <a:gd name="T4" fmla="*/ 2147483646 w 15"/>
                <a:gd name="T5" fmla="*/ 2147483646 h 9"/>
                <a:gd name="T6" fmla="*/ 2147483646 w 15"/>
                <a:gd name="T7" fmla="*/ 2147483646 h 9"/>
                <a:gd name="T8" fmla="*/ 2147483646 w 15"/>
                <a:gd name="T9" fmla="*/ 2147483646 h 9"/>
                <a:gd name="T10" fmla="*/ 2147483646 w 15"/>
                <a:gd name="T11" fmla="*/ 2147483646 h 9"/>
                <a:gd name="T12" fmla="*/ 2147483646 w 15"/>
                <a:gd name="T13" fmla="*/ 2147483646 h 9"/>
                <a:gd name="T14" fmla="*/ 2147483646 w 15"/>
                <a:gd name="T15" fmla="*/ 2147483646 h 9"/>
                <a:gd name="T16" fmla="*/ 2147483646 w 15"/>
                <a:gd name="T17" fmla="*/ 2147483646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" h="9">
                  <a:moveTo>
                    <a:pt x="15" y="5"/>
                  </a:moveTo>
                  <a:cubicBezTo>
                    <a:pt x="11" y="2"/>
                    <a:pt x="2" y="0"/>
                    <a:pt x="0" y="6"/>
                  </a:cubicBezTo>
                  <a:cubicBezTo>
                    <a:pt x="1" y="6"/>
                    <a:pt x="2" y="7"/>
                    <a:pt x="2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7" y="9"/>
                    <a:pt x="6" y="8"/>
                    <a:pt x="7" y="8"/>
                  </a:cubicBezTo>
                  <a:cubicBezTo>
                    <a:pt x="8" y="7"/>
                    <a:pt x="9" y="7"/>
                    <a:pt x="10" y="6"/>
                  </a:cubicBezTo>
                  <a:cubicBezTo>
                    <a:pt x="11" y="5"/>
                    <a:pt x="13" y="5"/>
                    <a:pt x="15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4" name="Freeform 67"/>
            <p:cNvSpPr>
              <a:spLocks noEditPoints="1"/>
            </p:cNvSpPr>
            <p:nvPr/>
          </p:nvSpPr>
          <p:spPr bwMode="auto">
            <a:xfrm>
              <a:off x="6871894" y="2902934"/>
              <a:ext cx="119633" cy="66098"/>
            </a:xfrm>
            <a:custGeom>
              <a:avLst/>
              <a:gdLst>
                <a:gd name="T0" fmla="*/ 2147483646 w 16"/>
                <a:gd name="T1" fmla="*/ 2147483646 h 9"/>
                <a:gd name="T2" fmla="*/ 2147483646 w 16"/>
                <a:gd name="T3" fmla="*/ 2147483646 h 9"/>
                <a:gd name="T4" fmla="*/ 2147483646 w 16"/>
                <a:gd name="T5" fmla="*/ 2147483646 h 9"/>
                <a:gd name="T6" fmla="*/ 2147483646 w 16"/>
                <a:gd name="T7" fmla="*/ 2147483646 h 9"/>
                <a:gd name="T8" fmla="*/ 2147483646 w 16"/>
                <a:gd name="T9" fmla="*/ 2147483646 h 9"/>
                <a:gd name="T10" fmla="*/ 2147483646 w 16"/>
                <a:gd name="T11" fmla="*/ 2147483646 h 9"/>
                <a:gd name="T12" fmla="*/ 0 w 16"/>
                <a:gd name="T13" fmla="*/ 2147483646 h 9"/>
                <a:gd name="T14" fmla="*/ 0 w 16"/>
                <a:gd name="T15" fmla="*/ 2147483646 h 9"/>
                <a:gd name="T16" fmla="*/ 0 w 16"/>
                <a:gd name="T17" fmla="*/ 2147483646 h 9"/>
                <a:gd name="T18" fmla="*/ 2147483646 w 16"/>
                <a:gd name="T19" fmla="*/ 0 h 9"/>
                <a:gd name="T20" fmla="*/ 2147483646 w 16"/>
                <a:gd name="T21" fmla="*/ 2147483646 h 9"/>
                <a:gd name="T22" fmla="*/ 2147483646 w 16"/>
                <a:gd name="T23" fmla="*/ 2147483646 h 9"/>
                <a:gd name="T24" fmla="*/ 2147483646 w 16"/>
                <a:gd name="T25" fmla="*/ 2147483646 h 9"/>
                <a:gd name="T26" fmla="*/ 2147483646 w 16"/>
                <a:gd name="T27" fmla="*/ 2147483646 h 9"/>
                <a:gd name="T28" fmla="*/ 2147483646 w 16"/>
                <a:gd name="T29" fmla="*/ 2147483646 h 9"/>
                <a:gd name="T30" fmla="*/ 2147483646 w 16"/>
                <a:gd name="T31" fmla="*/ 2147483646 h 9"/>
                <a:gd name="T32" fmla="*/ 2147483646 w 16"/>
                <a:gd name="T33" fmla="*/ 2147483646 h 9"/>
                <a:gd name="T34" fmla="*/ 2147483646 w 16"/>
                <a:gd name="T35" fmla="*/ 2147483646 h 9"/>
                <a:gd name="T36" fmla="*/ 2147483646 w 16"/>
                <a:gd name="T37" fmla="*/ 2147483646 h 9"/>
                <a:gd name="T38" fmla="*/ 2147483646 w 16"/>
                <a:gd name="T39" fmla="*/ 2147483646 h 9"/>
                <a:gd name="T40" fmla="*/ 2147483646 w 16"/>
                <a:gd name="T41" fmla="*/ 2147483646 h 9"/>
                <a:gd name="T42" fmla="*/ 2147483646 w 16"/>
                <a:gd name="T43" fmla="*/ 2147483646 h 9"/>
                <a:gd name="T44" fmla="*/ 2147483646 w 16"/>
                <a:gd name="T45" fmla="*/ 2147483646 h 9"/>
                <a:gd name="T46" fmla="*/ 2147483646 w 16"/>
                <a:gd name="T47" fmla="*/ 2147483646 h 9"/>
                <a:gd name="T48" fmla="*/ 2147483646 w 16"/>
                <a:gd name="T49" fmla="*/ 2147483646 h 9"/>
                <a:gd name="T50" fmla="*/ 2147483646 w 16"/>
                <a:gd name="T51" fmla="*/ 2147483646 h 9"/>
                <a:gd name="T52" fmla="*/ 2147483646 w 16"/>
                <a:gd name="T53" fmla="*/ 2147483646 h 9"/>
                <a:gd name="T54" fmla="*/ 2147483646 w 16"/>
                <a:gd name="T55" fmla="*/ 2147483646 h 9"/>
                <a:gd name="T56" fmla="*/ 2147483646 w 16"/>
                <a:gd name="T57" fmla="*/ 2147483646 h 9"/>
                <a:gd name="T58" fmla="*/ 2147483646 w 16"/>
                <a:gd name="T59" fmla="*/ 2147483646 h 9"/>
                <a:gd name="T60" fmla="*/ 2147483646 w 16"/>
                <a:gd name="T61" fmla="*/ 2147483646 h 9"/>
                <a:gd name="T62" fmla="*/ 2147483646 w 16"/>
                <a:gd name="T63" fmla="*/ 2147483646 h 9"/>
                <a:gd name="T64" fmla="*/ 2147483646 w 16"/>
                <a:gd name="T65" fmla="*/ 2147483646 h 9"/>
                <a:gd name="T66" fmla="*/ 2147483646 w 16"/>
                <a:gd name="T67" fmla="*/ 2147483646 h 9"/>
                <a:gd name="T68" fmla="*/ 2147483646 w 16"/>
                <a:gd name="T69" fmla="*/ 2147483646 h 9"/>
                <a:gd name="T70" fmla="*/ 2147483646 w 16"/>
                <a:gd name="T71" fmla="*/ 2147483646 h 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6" h="9">
                  <a:moveTo>
                    <a:pt x="5" y="9"/>
                  </a:moveTo>
                  <a:cubicBezTo>
                    <a:pt x="5" y="9"/>
                    <a:pt x="5" y="9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10" y="0"/>
                    <a:pt x="13" y="2"/>
                    <a:pt x="15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4"/>
                    <a:pt x="13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0" y="6"/>
                    <a:pt x="9" y="6"/>
                    <a:pt x="8" y="7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6" y="9"/>
                  </a:cubicBezTo>
                  <a:lnTo>
                    <a:pt x="5" y="9"/>
                  </a:lnTo>
                  <a:close/>
                  <a:moveTo>
                    <a:pt x="4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6"/>
                    <a:pt x="6" y="6"/>
                  </a:cubicBezTo>
                  <a:cubicBezTo>
                    <a:pt x="7" y="6"/>
                    <a:pt x="7" y="6"/>
                    <a:pt x="8" y="5"/>
                  </a:cubicBezTo>
                  <a:cubicBezTo>
                    <a:pt x="9" y="5"/>
                    <a:pt x="9" y="5"/>
                    <a:pt x="10" y="4"/>
                  </a:cubicBezTo>
                  <a:cubicBezTo>
                    <a:pt x="11" y="4"/>
                    <a:pt x="12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1" y="2"/>
                    <a:pt x="9" y="2"/>
                    <a:pt x="7" y="2"/>
                  </a:cubicBezTo>
                  <a:cubicBezTo>
                    <a:pt x="5" y="2"/>
                    <a:pt x="2" y="2"/>
                    <a:pt x="1" y="5"/>
                  </a:cubicBezTo>
                  <a:cubicBezTo>
                    <a:pt x="2" y="5"/>
                    <a:pt x="2" y="5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5" name="Freeform 68"/>
            <p:cNvSpPr/>
            <p:nvPr/>
          </p:nvSpPr>
          <p:spPr bwMode="auto">
            <a:xfrm>
              <a:off x="7067085" y="2865165"/>
              <a:ext cx="34631" cy="15738"/>
            </a:xfrm>
            <a:custGeom>
              <a:avLst/>
              <a:gdLst>
                <a:gd name="T0" fmla="*/ 2147483646 w 5"/>
                <a:gd name="T1" fmla="*/ 0 h 2"/>
                <a:gd name="T2" fmla="*/ 2147483646 w 5"/>
                <a:gd name="T3" fmla="*/ 2147483646 h 2"/>
                <a:gd name="T4" fmla="*/ 0 w 5"/>
                <a:gd name="T5" fmla="*/ 0 h 2"/>
                <a:gd name="T6" fmla="*/ 2147483646 w 5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2">
                  <a:moveTo>
                    <a:pt x="3" y="0"/>
                  </a:moveTo>
                  <a:cubicBezTo>
                    <a:pt x="4" y="0"/>
                    <a:pt x="5" y="1"/>
                    <a:pt x="5" y="1"/>
                  </a:cubicBezTo>
                  <a:cubicBezTo>
                    <a:pt x="3" y="1"/>
                    <a:pt x="2" y="2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6" name="Freeform 69"/>
            <p:cNvSpPr>
              <a:spLocks noEditPoints="1"/>
            </p:cNvSpPr>
            <p:nvPr/>
          </p:nvSpPr>
          <p:spPr bwMode="auto">
            <a:xfrm>
              <a:off x="7057640" y="2858869"/>
              <a:ext cx="53520" cy="22033"/>
            </a:xfrm>
            <a:custGeom>
              <a:avLst/>
              <a:gdLst>
                <a:gd name="T0" fmla="*/ 2147483646 w 7"/>
                <a:gd name="T1" fmla="*/ 2147483646 h 3"/>
                <a:gd name="T2" fmla="*/ 2147483646 w 7"/>
                <a:gd name="T3" fmla="*/ 2147483646 h 3"/>
                <a:gd name="T4" fmla="*/ 2147483646 w 7"/>
                <a:gd name="T5" fmla="*/ 2147483646 h 3"/>
                <a:gd name="T6" fmla="*/ 2147483646 w 7"/>
                <a:gd name="T7" fmla="*/ 2147483646 h 3"/>
                <a:gd name="T8" fmla="*/ 0 w 7"/>
                <a:gd name="T9" fmla="*/ 2147483646 h 3"/>
                <a:gd name="T10" fmla="*/ 2147483646 w 7"/>
                <a:gd name="T11" fmla="*/ 2147483646 h 3"/>
                <a:gd name="T12" fmla="*/ 2147483646 w 7"/>
                <a:gd name="T13" fmla="*/ 2147483646 h 3"/>
                <a:gd name="T14" fmla="*/ 2147483646 w 7"/>
                <a:gd name="T15" fmla="*/ 2147483646 h 3"/>
                <a:gd name="T16" fmla="*/ 2147483646 w 7"/>
                <a:gd name="T17" fmla="*/ 2147483646 h 3"/>
                <a:gd name="T18" fmla="*/ 2147483646 w 7"/>
                <a:gd name="T19" fmla="*/ 2147483646 h 3"/>
                <a:gd name="T20" fmla="*/ 2147483646 w 7"/>
                <a:gd name="T21" fmla="*/ 2147483646 h 3"/>
                <a:gd name="T22" fmla="*/ 2147483646 w 7"/>
                <a:gd name="T23" fmla="*/ 2147483646 h 3"/>
                <a:gd name="T24" fmla="*/ 2147483646 w 7"/>
                <a:gd name="T25" fmla="*/ 2147483646 h 3"/>
                <a:gd name="T26" fmla="*/ 2147483646 w 7"/>
                <a:gd name="T27" fmla="*/ 2147483646 h 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" h="3">
                  <a:moveTo>
                    <a:pt x="7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3" y="3"/>
                    <a:pt x="2" y="3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5" y="1"/>
                    <a:pt x="6" y="1"/>
                    <a:pt x="6" y="2"/>
                  </a:cubicBezTo>
                  <a:lnTo>
                    <a:pt x="7" y="3"/>
                  </a:lnTo>
                  <a:close/>
                  <a:moveTo>
                    <a:pt x="2" y="2"/>
                  </a:move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7" name="Freeform 70"/>
            <p:cNvSpPr/>
            <p:nvPr/>
          </p:nvSpPr>
          <p:spPr bwMode="auto">
            <a:xfrm>
              <a:off x="6396508" y="2597623"/>
              <a:ext cx="528906" cy="333640"/>
            </a:xfrm>
            <a:custGeom>
              <a:avLst/>
              <a:gdLst>
                <a:gd name="T0" fmla="*/ 2147483646 w 71"/>
                <a:gd name="T1" fmla="*/ 2147483646 h 45"/>
                <a:gd name="T2" fmla="*/ 2147483646 w 71"/>
                <a:gd name="T3" fmla="*/ 2147483646 h 45"/>
                <a:gd name="T4" fmla="*/ 2147483646 w 71"/>
                <a:gd name="T5" fmla="*/ 2147483646 h 45"/>
                <a:gd name="T6" fmla="*/ 2147483646 w 71"/>
                <a:gd name="T7" fmla="*/ 2147483646 h 45"/>
                <a:gd name="T8" fmla="*/ 2147483646 w 71"/>
                <a:gd name="T9" fmla="*/ 2147483646 h 45"/>
                <a:gd name="T10" fmla="*/ 2147483646 w 71"/>
                <a:gd name="T11" fmla="*/ 2147483646 h 45"/>
                <a:gd name="T12" fmla="*/ 2147483646 w 71"/>
                <a:gd name="T13" fmla="*/ 2147483646 h 45"/>
                <a:gd name="T14" fmla="*/ 2147483646 w 71"/>
                <a:gd name="T15" fmla="*/ 2147483646 h 45"/>
                <a:gd name="T16" fmla="*/ 2147483646 w 71"/>
                <a:gd name="T17" fmla="*/ 2147483646 h 45"/>
                <a:gd name="T18" fmla="*/ 2147483646 w 71"/>
                <a:gd name="T19" fmla="*/ 2147483646 h 45"/>
                <a:gd name="T20" fmla="*/ 0 w 71"/>
                <a:gd name="T21" fmla="*/ 0 h 45"/>
                <a:gd name="T22" fmla="*/ 2147483646 w 71"/>
                <a:gd name="T23" fmla="*/ 2147483646 h 45"/>
                <a:gd name="T24" fmla="*/ 2147483646 w 71"/>
                <a:gd name="T25" fmla="*/ 2147483646 h 45"/>
                <a:gd name="T26" fmla="*/ 2147483646 w 71"/>
                <a:gd name="T27" fmla="*/ 2147483646 h 45"/>
                <a:gd name="T28" fmla="*/ 2147483646 w 71"/>
                <a:gd name="T29" fmla="*/ 2147483646 h 45"/>
                <a:gd name="T30" fmla="*/ 2147483646 w 71"/>
                <a:gd name="T31" fmla="*/ 2147483646 h 45"/>
                <a:gd name="T32" fmla="*/ 2147483646 w 71"/>
                <a:gd name="T33" fmla="*/ 2147483646 h 45"/>
                <a:gd name="T34" fmla="*/ 2147483646 w 71"/>
                <a:gd name="T35" fmla="*/ 2147483646 h 45"/>
                <a:gd name="T36" fmla="*/ 2147483646 w 71"/>
                <a:gd name="T37" fmla="*/ 2147483646 h 45"/>
                <a:gd name="T38" fmla="*/ 2147483646 w 71"/>
                <a:gd name="T39" fmla="*/ 2147483646 h 45"/>
                <a:gd name="T40" fmla="*/ 2147483646 w 71"/>
                <a:gd name="T41" fmla="*/ 2147483646 h 45"/>
                <a:gd name="T42" fmla="*/ 2147483646 w 71"/>
                <a:gd name="T43" fmla="*/ 2147483646 h 45"/>
                <a:gd name="T44" fmla="*/ 2147483646 w 71"/>
                <a:gd name="T45" fmla="*/ 2147483646 h 45"/>
                <a:gd name="T46" fmla="*/ 2147483646 w 71"/>
                <a:gd name="T47" fmla="*/ 2147483646 h 45"/>
                <a:gd name="T48" fmla="*/ 2147483646 w 71"/>
                <a:gd name="T49" fmla="*/ 2147483646 h 45"/>
                <a:gd name="T50" fmla="*/ 2147483646 w 71"/>
                <a:gd name="T51" fmla="*/ 2147483646 h 45"/>
                <a:gd name="T52" fmla="*/ 2147483646 w 71"/>
                <a:gd name="T53" fmla="*/ 2147483646 h 45"/>
                <a:gd name="T54" fmla="*/ 2147483646 w 71"/>
                <a:gd name="T55" fmla="*/ 2147483646 h 45"/>
                <a:gd name="T56" fmla="*/ 2147483646 w 71"/>
                <a:gd name="T57" fmla="*/ 2147483646 h 45"/>
                <a:gd name="T58" fmla="*/ 2147483646 w 71"/>
                <a:gd name="T59" fmla="*/ 2147483646 h 45"/>
                <a:gd name="T60" fmla="*/ 2147483646 w 71"/>
                <a:gd name="T61" fmla="*/ 2147483646 h 45"/>
                <a:gd name="T62" fmla="*/ 2147483646 w 71"/>
                <a:gd name="T63" fmla="*/ 2147483646 h 45"/>
                <a:gd name="T64" fmla="*/ 2147483646 w 71"/>
                <a:gd name="T65" fmla="*/ 2147483646 h 45"/>
                <a:gd name="T66" fmla="*/ 2147483646 w 71"/>
                <a:gd name="T67" fmla="*/ 2147483646 h 45"/>
                <a:gd name="T68" fmla="*/ 2147483646 w 71"/>
                <a:gd name="T69" fmla="*/ 2147483646 h 45"/>
                <a:gd name="T70" fmla="*/ 2147483646 w 71"/>
                <a:gd name="T71" fmla="*/ 2147483646 h 45"/>
                <a:gd name="T72" fmla="*/ 2147483646 w 71"/>
                <a:gd name="T73" fmla="*/ 2147483646 h 45"/>
                <a:gd name="T74" fmla="*/ 2147483646 w 71"/>
                <a:gd name="T75" fmla="*/ 2147483646 h 45"/>
                <a:gd name="T76" fmla="*/ 2147483646 w 71"/>
                <a:gd name="T77" fmla="*/ 2147483646 h 45"/>
                <a:gd name="T78" fmla="*/ 2147483646 w 71"/>
                <a:gd name="T79" fmla="*/ 2147483646 h 45"/>
                <a:gd name="T80" fmla="*/ 2147483646 w 71"/>
                <a:gd name="T81" fmla="*/ 2147483646 h 45"/>
                <a:gd name="T82" fmla="*/ 2147483646 w 71"/>
                <a:gd name="T83" fmla="*/ 2147483646 h 45"/>
                <a:gd name="T84" fmla="*/ 2147483646 w 71"/>
                <a:gd name="T85" fmla="*/ 2147483646 h 45"/>
                <a:gd name="T86" fmla="*/ 2147483646 w 71"/>
                <a:gd name="T87" fmla="*/ 2147483646 h 45"/>
                <a:gd name="T88" fmla="*/ 2147483646 w 71"/>
                <a:gd name="T89" fmla="*/ 2147483646 h 45"/>
                <a:gd name="T90" fmla="*/ 2147483646 w 71"/>
                <a:gd name="T91" fmla="*/ 2147483646 h 45"/>
                <a:gd name="T92" fmla="*/ 2147483646 w 71"/>
                <a:gd name="T93" fmla="*/ 2147483646 h 45"/>
                <a:gd name="T94" fmla="*/ 2147483646 w 71"/>
                <a:gd name="T95" fmla="*/ 2147483646 h 45"/>
                <a:gd name="T96" fmla="*/ 2147483646 w 71"/>
                <a:gd name="T97" fmla="*/ 2147483646 h 45"/>
                <a:gd name="T98" fmla="*/ 2147483646 w 71"/>
                <a:gd name="T99" fmla="*/ 2147483646 h 45"/>
                <a:gd name="T100" fmla="*/ 2147483646 w 71"/>
                <a:gd name="T101" fmla="*/ 2147483646 h 45"/>
                <a:gd name="T102" fmla="*/ 2147483646 w 71"/>
                <a:gd name="T103" fmla="*/ 2147483646 h 45"/>
                <a:gd name="T104" fmla="*/ 2147483646 w 71"/>
                <a:gd name="T105" fmla="*/ 2147483646 h 45"/>
                <a:gd name="T106" fmla="*/ 2147483646 w 71"/>
                <a:gd name="T107" fmla="*/ 2147483646 h 45"/>
                <a:gd name="T108" fmla="*/ 2147483646 w 71"/>
                <a:gd name="T109" fmla="*/ 2147483646 h 45"/>
                <a:gd name="T110" fmla="*/ 2147483646 w 71"/>
                <a:gd name="T111" fmla="*/ 2147483646 h 45"/>
                <a:gd name="T112" fmla="*/ 2147483646 w 71"/>
                <a:gd name="T113" fmla="*/ 2147483646 h 4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71" h="45">
                  <a:moveTo>
                    <a:pt x="47" y="18"/>
                  </a:moveTo>
                  <a:cubicBezTo>
                    <a:pt x="46" y="17"/>
                    <a:pt x="43" y="17"/>
                    <a:pt x="42" y="16"/>
                  </a:cubicBezTo>
                  <a:cubicBezTo>
                    <a:pt x="41" y="15"/>
                    <a:pt x="40" y="13"/>
                    <a:pt x="39" y="11"/>
                  </a:cubicBezTo>
                  <a:cubicBezTo>
                    <a:pt x="38" y="10"/>
                    <a:pt x="38" y="8"/>
                    <a:pt x="36" y="7"/>
                  </a:cubicBezTo>
                  <a:cubicBezTo>
                    <a:pt x="34" y="7"/>
                    <a:pt x="33" y="8"/>
                    <a:pt x="32" y="10"/>
                  </a:cubicBezTo>
                  <a:cubicBezTo>
                    <a:pt x="29" y="8"/>
                    <a:pt x="29" y="5"/>
                    <a:pt x="26" y="3"/>
                  </a:cubicBezTo>
                  <a:cubicBezTo>
                    <a:pt x="25" y="2"/>
                    <a:pt x="23" y="2"/>
                    <a:pt x="22" y="2"/>
                  </a:cubicBezTo>
                  <a:cubicBezTo>
                    <a:pt x="20" y="2"/>
                    <a:pt x="21" y="3"/>
                    <a:pt x="21" y="3"/>
                  </a:cubicBezTo>
                  <a:cubicBezTo>
                    <a:pt x="20" y="4"/>
                    <a:pt x="19" y="3"/>
                    <a:pt x="19" y="3"/>
                  </a:cubicBezTo>
                  <a:cubicBezTo>
                    <a:pt x="15" y="4"/>
                    <a:pt x="13" y="3"/>
                    <a:pt x="9" y="1"/>
                  </a:cubicBezTo>
                  <a:cubicBezTo>
                    <a:pt x="6" y="0"/>
                    <a:pt x="4" y="0"/>
                    <a:pt x="0" y="0"/>
                  </a:cubicBezTo>
                  <a:cubicBezTo>
                    <a:pt x="1" y="2"/>
                    <a:pt x="3" y="5"/>
                    <a:pt x="3" y="6"/>
                  </a:cubicBezTo>
                  <a:cubicBezTo>
                    <a:pt x="4" y="9"/>
                    <a:pt x="9" y="10"/>
                    <a:pt x="7" y="13"/>
                  </a:cubicBezTo>
                  <a:cubicBezTo>
                    <a:pt x="7" y="13"/>
                    <a:pt x="6" y="13"/>
                    <a:pt x="5" y="13"/>
                  </a:cubicBezTo>
                  <a:cubicBezTo>
                    <a:pt x="6" y="14"/>
                    <a:pt x="9" y="16"/>
                    <a:pt x="10" y="15"/>
                  </a:cubicBezTo>
                  <a:cubicBezTo>
                    <a:pt x="10" y="16"/>
                    <a:pt x="11" y="16"/>
                    <a:pt x="12" y="17"/>
                  </a:cubicBezTo>
                  <a:cubicBezTo>
                    <a:pt x="12" y="19"/>
                    <a:pt x="12" y="19"/>
                    <a:pt x="12" y="21"/>
                  </a:cubicBezTo>
                  <a:cubicBezTo>
                    <a:pt x="14" y="21"/>
                    <a:pt x="16" y="24"/>
                    <a:pt x="17" y="25"/>
                  </a:cubicBezTo>
                  <a:cubicBezTo>
                    <a:pt x="20" y="24"/>
                    <a:pt x="17" y="22"/>
                    <a:pt x="16" y="22"/>
                  </a:cubicBezTo>
                  <a:cubicBezTo>
                    <a:pt x="14" y="21"/>
                    <a:pt x="15" y="17"/>
                    <a:pt x="13" y="1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14"/>
                    <a:pt x="9" y="11"/>
                    <a:pt x="9" y="10"/>
                  </a:cubicBezTo>
                  <a:cubicBezTo>
                    <a:pt x="8" y="8"/>
                    <a:pt x="7" y="8"/>
                    <a:pt x="6" y="6"/>
                  </a:cubicBezTo>
                  <a:cubicBezTo>
                    <a:pt x="6" y="5"/>
                    <a:pt x="6" y="3"/>
                    <a:pt x="5" y="2"/>
                  </a:cubicBezTo>
                  <a:cubicBezTo>
                    <a:pt x="7" y="3"/>
                    <a:pt x="9" y="3"/>
                    <a:pt x="10" y="5"/>
                  </a:cubicBezTo>
                  <a:cubicBezTo>
                    <a:pt x="10" y="7"/>
                    <a:pt x="11" y="9"/>
                    <a:pt x="13" y="11"/>
                  </a:cubicBezTo>
                  <a:cubicBezTo>
                    <a:pt x="13" y="11"/>
                    <a:pt x="14" y="12"/>
                    <a:pt x="15" y="13"/>
                  </a:cubicBezTo>
                  <a:cubicBezTo>
                    <a:pt x="16" y="13"/>
                    <a:pt x="16" y="14"/>
                    <a:pt x="16" y="15"/>
                  </a:cubicBezTo>
                  <a:cubicBezTo>
                    <a:pt x="17" y="15"/>
                    <a:pt x="19" y="16"/>
                    <a:pt x="19" y="17"/>
                  </a:cubicBezTo>
                  <a:cubicBezTo>
                    <a:pt x="18" y="18"/>
                    <a:pt x="18" y="19"/>
                    <a:pt x="19" y="18"/>
                  </a:cubicBezTo>
                  <a:cubicBezTo>
                    <a:pt x="19" y="20"/>
                    <a:pt x="22" y="19"/>
                    <a:pt x="22" y="21"/>
                  </a:cubicBezTo>
                  <a:cubicBezTo>
                    <a:pt x="22" y="22"/>
                    <a:pt x="24" y="23"/>
                    <a:pt x="25" y="24"/>
                  </a:cubicBezTo>
                  <a:cubicBezTo>
                    <a:pt x="26" y="25"/>
                    <a:pt x="27" y="26"/>
                    <a:pt x="27" y="27"/>
                  </a:cubicBezTo>
                  <a:cubicBezTo>
                    <a:pt x="28" y="28"/>
                    <a:pt x="28" y="30"/>
                    <a:pt x="28" y="31"/>
                  </a:cubicBezTo>
                  <a:cubicBezTo>
                    <a:pt x="25" y="32"/>
                    <a:pt x="31" y="36"/>
                    <a:pt x="32" y="37"/>
                  </a:cubicBezTo>
                  <a:cubicBezTo>
                    <a:pt x="34" y="37"/>
                    <a:pt x="35" y="37"/>
                    <a:pt x="36" y="38"/>
                  </a:cubicBezTo>
                  <a:cubicBezTo>
                    <a:pt x="38" y="40"/>
                    <a:pt x="40" y="40"/>
                    <a:pt x="42" y="40"/>
                  </a:cubicBezTo>
                  <a:cubicBezTo>
                    <a:pt x="44" y="41"/>
                    <a:pt x="47" y="44"/>
                    <a:pt x="50" y="43"/>
                  </a:cubicBezTo>
                  <a:cubicBezTo>
                    <a:pt x="53" y="41"/>
                    <a:pt x="55" y="43"/>
                    <a:pt x="58" y="45"/>
                  </a:cubicBezTo>
                  <a:cubicBezTo>
                    <a:pt x="58" y="43"/>
                    <a:pt x="59" y="41"/>
                    <a:pt x="62" y="42"/>
                  </a:cubicBezTo>
                  <a:cubicBezTo>
                    <a:pt x="61" y="40"/>
                    <a:pt x="60" y="40"/>
                    <a:pt x="59" y="39"/>
                  </a:cubicBezTo>
                  <a:cubicBezTo>
                    <a:pt x="60" y="39"/>
                    <a:pt x="60" y="39"/>
                    <a:pt x="61" y="39"/>
                  </a:cubicBezTo>
                  <a:cubicBezTo>
                    <a:pt x="61" y="37"/>
                    <a:pt x="64" y="38"/>
                    <a:pt x="65" y="38"/>
                  </a:cubicBezTo>
                  <a:cubicBezTo>
                    <a:pt x="66" y="37"/>
                    <a:pt x="67" y="36"/>
                    <a:pt x="68" y="35"/>
                  </a:cubicBezTo>
                  <a:cubicBezTo>
                    <a:pt x="67" y="36"/>
                    <a:pt x="68" y="36"/>
                    <a:pt x="68" y="37"/>
                  </a:cubicBezTo>
                  <a:cubicBezTo>
                    <a:pt x="68" y="36"/>
                    <a:pt x="68" y="33"/>
                    <a:pt x="68" y="33"/>
                  </a:cubicBezTo>
                  <a:cubicBezTo>
                    <a:pt x="69" y="32"/>
                    <a:pt x="71" y="30"/>
                    <a:pt x="70" y="29"/>
                  </a:cubicBezTo>
                  <a:cubicBezTo>
                    <a:pt x="70" y="28"/>
                    <a:pt x="69" y="28"/>
                    <a:pt x="68" y="29"/>
                  </a:cubicBezTo>
                  <a:cubicBezTo>
                    <a:pt x="68" y="27"/>
                    <a:pt x="65" y="29"/>
                    <a:pt x="63" y="29"/>
                  </a:cubicBezTo>
                  <a:cubicBezTo>
                    <a:pt x="61" y="30"/>
                    <a:pt x="62" y="32"/>
                    <a:pt x="61" y="34"/>
                  </a:cubicBezTo>
                  <a:cubicBezTo>
                    <a:pt x="60" y="36"/>
                    <a:pt x="59" y="36"/>
                    <a:pt x="58" y="36"/>
                  </a:cubicBezTo>
                  <a:cubicBezTo>
                    <a:pt x="56" y="35"/>
                    <a:pt x="54" y="38"/>
                    <a:pt x="52" y="36"/>
                  </a:cubicBezTo>
                  <a:cubicBezTo>
                    <a:pt x="50" y="35"/>
                    <a:pt x="49" y="35"/>
                    <a:pt x="48" y="33"/>
                  </a:cubicBezTo>
                  <a:cubicBezTo>
                    <a:pt x="48" y="32"/>
                    <a:pt x="47" y="31"/>
                    <a:pt x="46" y="30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5" y="26"/>
                    <a:pt x="45" y="24"/>
                    <a:pt x="45" y="22"/>
                  </a:cubicBezTo>
                  <a:cubicBezTo>
                    <a:pt x="45" y="20"/>
                    <a:pt x="46" y="20"/>
                    <a:pt x="47" y="1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8" name="Freeform 71"/>
            <p:cNvSpPr>
              <a:spLocks noEditPoints="1"/>
            </p:cNvSpPr>
            <p:nvPr/>
          </p:nvSpPr>
          <p:spPr bwMode="auto">
            <a:xfrm>
              <a:off x="6390211" y="2591328"/>
              <a:ext cx="535202" cy="355673"/>
            </a:xfrm>
            <a:custGeom>
              <a:avLst/>
              <a:gdLst>
                <a:gd name="T0" fmla="*/ 2147483646 w 72"/>
                <a:gd name="T1" fmla="*/ 2147483646 h 48"/>
                <a:gd name="T2" fmla="*/ 2147483646 w 72"/>
                <a:gd name="T3" fmla="*/ 2147483646 h 48"/>
                <a:gd name="T4" fmla="*/ 2147483646 w 72"/>
                <a:gd name="T5" fmla="*/ 2147483646 h 48"/>
                <a:gd name="T6" fmla="*/ 2147483646 w 72"/>
                <a:gd name="T7" fmla="*/ 2147483646 h 48"/>
                <a:gd name="T8" fmla="*/ 2147483646 w 72"/>
                <a:gd name="T9" fmla="*/ 2147483646 h 48"/>
                <a:gd name="T10" fmla="*/ 2147483646 w 72"/>
                <a:gd name="T11" fmla="*/ 2147483646 h 48"/>
                <a:gd name="T12" fmla="*/ 2147483646 w 72"/>
                <a:gd name="T13" fmla="*/ 2147483646 h 48"/>
                <a:gd name="T14" fmla="*/ 2147483646 w 72"/>
                <a:gd name="T15" fmla="*/ 2147483646 h 48"/>
                <a:gd name="T16" fmla="*/ 2147483646 w 72"/>
                <a:gd name="T17" fmla="*/ 2147483646 h 48"/>
                <a:gd name="T18" fmla="*/ 2147483646 w 72"/>
                <a:gd name="T19" fmla="*/ 2147483646 h 48"/>
                <a:gd name="T20" fmla="*/ 2147483646 w 72"/>
                <a:gd name="T21" fmla="*/ 2147483646 h 48"/>
                <a:gd name="T22" fmla="*/ 2147483646 w 72"/>
                <a:gd name="T23" fmla="*/ 2147483646 h 48"/>
                <a:gd name="T24" fmla="*/ 2147483646 w 72"/>
                <a:gd name="T25" fmla="*/ 2147483646 h 48"/>
                <a:gd name="T26" fmla="*/ 2147483646 w 72"/>
                <a:gd name="T27" fmla="*/ 2147483646 h 48"/>
                <a:gd name="T28" fmla="*/ 2147483646 w 72"/>
                <a:gd name="T29" fmla="*/ 2147483646 h 48"/>
                <a:gd name="T30" fmla="*/ 2147483646 w 72"/>
                <a:gd name="T31" fmla="*/ 2147483646 h 48"/>
                <a:gd name="T32" fmla="*/ 2147483646 w 72"/>
                <a:gd name="T33" fmla="*/ 2147483646 h 48"/>
                <a:gd name="T34" fmla="*/ 2147483646 w 72"/>
                <a:gd name="T35" fmla="*/ 2147483646 h 48"/>
                <a:gd name="T36" fmla="*/ 2147483646 w 72"/>
                <a:gd name="T37" fmla="*/ 2147483646 h 48"/>
                <a:gd name="T38" fmla="*/ 2147483646 w 72"/>
                <a:gd name="T39" fmla="*/ 2147483646 h 48"/>
                <a:gd name="T40" fmla="*/ 2147483646 w 72"/>
                <a:gd name="T41" fmla="*/ 2147483646 h 48"/>
                <a:gd name="T42" fmla="*/ 2147483646 w 72"/>
                <a:gd name="T43" fmla="*/ 2147483646 h 48"/>
                <a:gd name="T44" fmla="*/ 2147483646 w 72"/>
                <a:gd name="T45" fmla="*/ 2147483646 h 48"/>
                <a:gd name="T46" fmla="*/ 2147483646 w 72"/>
                <a:gd name="T47" fmla="*/ 2147483646 h 48"/>
                <a:gd name="T48" fmla="*/ 2147483646 w 72"/>
                <a:gd name="T49" fmla="*/ 2147483646 h 48"/>
                <a:gd name="T50" fmla="*/ 2147483646 w 72"/>
                <a:gd name="T51" fmla="*/ 2147483646 h 48"/>
                <a:gd name="T52" fmla="*/ 2147483646 w 72"/>
                <a:gd name="T53" fmla="*/ 2147483646 h 48"/>
                <a:gd name="T54" fmla="*/ 2147483646 w 72"/>
                <a:gd name="T55" fmla="*/ 2147483646 h 48"/>
                <a:gd name="T56" fmla="*/ 2147483646 w 72"/>
                <a:gd name="T57" fmla="*/ 2147483646 h 48"/>
                <a:gd name="T58" fmla="*/ 2147483646 w 72"/>
                <a:gd name="T59" fmla="*/ 2147483646 h 48"/>
                <a:gd name="T60" fmla="*/ 2147483646 w 72"/>
                <a:gd name="T61" fmla="*/ 2147483646 h 48"/>
                <a:gd name="T62" fmla="*/ 2147483646 w 72"/>
                <a:gd name="T63" fmla="*/ 2147483646 h 48"/>
                <a:gd name="T64" fmla="*/ 2147483646 w 72"/>
                <a:gd name="T65" fmla="*/ 2147483646 h 48"/>
                <a:gd name="T66" fmla="*/ 2147483646 w 72"/>
                <a:gd name="T67" fmla="*/ 2147483646 h 48"/>
                <a:gd name="T68" fmla="*/ 2147483646 w 72"/>
                <a:gd name="T69" fmla="*/ 2147483646 h 48"/>
                <a:gd name="T70" fmla="*/ 2147483646 w 72"/>
                <a:gd name="T71" fmla="*/ 2147483646 h 48"/>
                <a:gd name="T72" fmla="*/ 2147483646 w 72"/>
                <a:gd name="T73" fmla="*/ 2147483646 h 48"/>
                <a:gd name="T74" fmla="*/ 2147483646 w 72"/>
                <a:gd name="T75" fmla="*/ 2147483646 h 48"/>
                <a:gd name="T76" fmla="*/ 2147483646 w 72"/>
                <a:gd name="T77" fmla="*/ 2147483646 h 48"/>
                <a:gd name="T78" fmla="*/ 2147483646 w 72"/>
                <a:gd name="T79" fmla="*/ 2147483646 h 48"/>
                <a:gd name="T80" fmla="*/ 2147483646 w 72"/>
                <a:gd name="T81" fmla="*/ 2147483646 h 48"/>
                <a:gd name="T82" fmla="*/ 2147483646 w 72"/>
                <a:gd name="T83" fmla="*/ 2147483646 h 48"/>
                <a:gd name="T84" fmla="*/ 2147483646 w 72"/>
                <a:gd name="T85" fmla="*/ 2147483646 h 48"/>
                <a:gd name="T86" fmla="*/ 2147483646 w 72"/>
                <a:gd name="T87" fmla="*/ 2147483646 h 48"/>
                <a:gd name="T88" fmla="*/ 2147483646 w 72"/>
                <a:gd name="T89" fmla="*/ 2147483646 h 48"/>
                <a:gd name="T90" fmla="*/ 2147483646 w 72"/>
                <a:gd name="T91" fmla="*/ 2147483646 h 48"/>
                <a:gd name="T92" fmla="*/ 2147483646 w 72"/>
                <a:gd name="T93" fmla="*/ 2147483646 h 48"/>
                <a:gd name="T94" fmla="*/ 2147483646 w 72"/>
                <a:gd name="T95" fmla="*/ 2147483646 h 48"/>
                <a:gd name="T96" fmla="*/ 2147483646 w 72"/>
                <a:gd name="T97" fmla="*/ 2147483646 h 48"/>
                <a:gd name="T98" fmla="*/ 2147483646 w 72"/>
                <a:gd name="T99" fmla="*/ 2147483646 h 48"/>
                <a:gd name="T100" fmla="*/ 2147483646 w 72"/>
                <a:gd name="T101" fmla="*/ 2147483646 h 48"/>
                <a:gd name="T102" fmla="*/ 2147483646 w 72"/>
                <a:gd name="T103" fmla="*/ 2147483646 h 48"/>
                <a:gd name="T104" fmla="*/ 2147483646 w 72"/>
                <a:gd name="T105" fmla="*/ 2147483646 h 48"/>
                <a:gd name="T106" fmla="*/ 2147483646 w 72"/>
                <a:gd name="T107" fmla="*/ 2147483646 h 48"/>
                <a:gd name="T108" fmla="*/ 2147483646 w 72"/>
                <a:gd name="T109" fmla="*/ 2147483646 h 48"/>
                <a:gd name="T110" fmla="*/ 2147483646 w 72"/>
                <a:gd name="T111" fmla="*/ 2147483646 h 48"/>
                <a:gd name="T112" fmla="*/ 2147483646 w 72"/>
                <a:gd name="T113" fmla="*/ 2147483646 h 48"/>
                <a:gd name="T114" fmla="*/ 2147483646 w 72"/>
                <a:gd name="T115" fmla="*/ 2147483646 h 48"/>
                <a:gd name="T116" fmla="*/ 2147483646 w 72"/>
                <a:gd name="T117" fmla="*/ 2147483646 h 4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72" h="48">
                  <a:moveTo>
                    <a:pt x="59" y="48"/>
                  </a:moveTo>
                  <a:cubicBezTo>
                    <a:pt x="58" y="47"/>
                    <a:pt x="58" y="47"/>
                    <a:pt x="58" y="47"/>
                  </a:cubicBezTo>
                  <a:cubicBezTo>
                    <a:pt x="56" y="45"/>
                    <a:pt x="55" y="44"/>
                    <a:pt x="53" y="44"/>
                  </a:cubicBezTo>
                  <a:cubicBezTo>
                    <a:pt x="53" y="44"/>
                    <a:pt x="52" y="44"/>
                    <a:pt x="51" y="44"/>
                  </a:cubicBezTo>
                  <a:cubicBezTo>
                    <a:pt x="50" y="44"/>
                    <a:pt x="50" y="45"/>
                    <a:pt x="49" y="45"/>
                  </a:cubicBezTo>
                  <a:cubicBezTo>
                    <a:pt x="48" y="45"/>
                    <a:pt x="46" y="44"/>
                    <a:pt x="45" y="43"/>
                  </a:cubicBezTo>
                  <a:cubicBezTo>
                    <a:pt x="44" y="43"/>
                    <a:pt x="43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0" y="41"/>
                    <a:pt x="39" y="41"/>
                    <a:pt x="37" y="40"/>
                  </a:cubicBezTo>
                  <a:cubicBezTo>
                    <a:pt x="36" y="39"/>
                    <a:pt x="36" y="39"/>
                    <a:pt x="35" y="39"/>
                  </a:cubicBezTo>
                  <a:cubicBezTo>
                    <a:pt x="34" y="39"/>
                    <a:pt x="34" y="38"/>
                    <a:pt x="33" y="38"/>
                  </a:cubicBezTo>
                  <a:cubicBezTo>
                    <a:pt x="33" y="38"/>
                    <a:pt x="27" y="35"/>
                    <a:pt x="28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1"/>
                    <a:pt x="28" y="31"/>
                    <a:pt x="28" y="30"/>
                  </a:cubicBezTo>
                  <a:cubicBezTo>
                    <a:pt x="28" y="29"/>
                    <a:pt x="28" y="29"/>
                    <a:pt x="28" y="28"/>
                  </a:cubicBezTo>
                  <a:cubicBezTo>
                    <a:pt x="28" y="28"/>
                    <a:pt x="27" y="27"/>
                    <a:pt x="26" y="27"/>
                  </a:cubicBezTo>
                  <a:cubicBezTo>
                    <a:pt x="26" y="26"/>
                    <a:pt x="26" y="26"/>
                    <a:pt x="25" y="25"/>
                  </a:cubicBezTo>
                  <a:cubicBezTo>
                    <a:pt x="25" y="25"/>
                    <a:pt x="25" y="25"/>
                    <a:pt x="24" y="24"/>
                  </a:cubicBezTo>
                  <a:cubicBezTo>
                    <a:pt x="23" y="23"/>
                    <a:pt x="22" y="23"/>
                    <a:pt x="22" y="22"/>
                  </a:cubicBezTo>
                  <a:cubicBezTo>
                    <a:pt x="22" y="21"/>
                    <a:pt x="22" y="21"/>
                    <a:pt x="21" y="21"/>
                  </a:cubicBezTo>
                  <a:cubicBezTo>
                    <a:pt x="21" y="21"/>
                    <a:pt x="20" y="21"/>
                    <a:pt x="20" y="20"/>
                  </a:cubicBezTo>
                  <a:cubicBezTo>
                    <a:pt x="19" y="20"/>
                    <a:pt x="19" y="20"/>
                    <a:pt x="19" y="19"/>
                  </a:cubicBezTo>
                  <a:cubicBezTo>
                    <a:pt x="19" y="19"/>
                    <a:pt x="19" y="18"/>
                    <a:pt x="19" y="18"/>
                  </a:cubicBezTo>
                  <a:cubicBezTo>
                    <a:pt x="19" y="17"/>
                    <a:pt x="18" y="17"/>
                    <a:pt x="18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6" y="15"/>
                    <a:pt x="16" y="15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5" y="14"/>
                    <a:pt x="14" y="13"/>
                    <a:pt x="13" y="12"/>
                  </a:cubicBezTo>
                  <a:cubicBezTo>
                    <a:pt x="12" y="10"/>
                    <a:pt x="11" y="9"/>
                    <a:pt x="10" y="6"/>
                  </a:cubicBezTo>
                  <a:cubicBezTo>
                    <a:pt x="10" y="5"/>
                    <a:pt x="9" y="5"/>
                    <a:pt x="8" y="4"/>
                  </a:cubicBezTo>
                  <a:cubicBezTo>
                    <a:pt x="8" y="4"/>
                    <a:pt x="8" y="4"/>
                    <a:pt x="7" y="4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9" y="8"/>
                    <a:pt x="9" y="9"/>
                  </a:cubicBezTo>
                  <a:cubicBezTo>
                    <a:pt x="9" y="9"/>
                    <a:pt x="10" y="10"/>
                    <a:pt x="10" y="10"/>
                  </a:cubicBezTo>
                  <a:cubicBezTo>
                    <a:pt x="11" y="12"/>
                    <a:pt x="12" y="14"/>
                    <a:pt x="13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7"/>
                    <a:pt x="16" y="18"/>
                    <a:pt x="16" y="20"/>
                  </a:cubicBezTo>
                  <a:cubicBezTo>
                    <a:pt x="16" y="21"/>
                    <a:pt x="16" y="22"/>
                    <a:pt x="17" y="23"/>
                  </a:cubicBezTo>
                  <a:cubicBezTo>
                    <a:pt x="18" y="23"/>
                    <a:pt x="20" y="24"/>
                    <a:pt x="20" y="25"/>
                  </a:cubicBezTo>
                  <a:cubicBezTo>
                    <a:pt x="20" y="26"/>
                    <a:pt x="19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6"/>
                    <a:pt x="15" y="22"/>
                    <a:pt x="13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0"/>
                    <a:pt x="12" y="19"/>
                    <a:pt x="12" y="19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8"/>
                    <a:pt x="11" y="17"/>
                    <a:pt x="10" y="17"/>
                  </a:cubicBezTo>
                  <a:cubicBezTo>
                    <a:pt x="9" y="17"/>
                    <a:pt x="6" y="15"/>
                    <a:pt x="6" y="1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8" y="13"/>
                  </a:cubicBezTo>
                  <a:cubicBezTo>
                    <a:pt x="8" y="12"/>
                    <a:pt x="7" y="11"/>
                    <a:pt x="6" y="10"/>
                  </a:cubicBezTo>
                  <a:cubicBezTo>
                    <a:pt x="5" y="10"/>
                    <a:pt x="4" y="9"/>
                    <a:pt x="4" y="8"/>
                  </a:cubicBezTo>
                  <a:cubicBezTo>
                    <a:pt x="4" y="6"/>
                    <a:pt x="2" y="3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4" y="0"/>
                    <a:pt x="5" y="0"/>
                  </a:cubicBezTo>
                  <a:cubicBezTo>
                    <a:pt x="7" y="0"/>
                    <a:pt x="8" y="1"/>
                    <a:pt x="10" y="2"/>
                  </a:cubicBezTo>
                  <a:cubicBezTo>
                    <a:pt x="14" y="3"/>
                    <a:pt x="16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3"/>
                    <a:pt x="21" y="3"/>
                  </a:cubicBezTo>
                  <a:cubicBezTo>
                    <a:pt x="22" y="3"/>
                    <a:pt x="22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3"/>
                    <a:pt x="26" y="3"/>
                    <a:pt x="27" y="4"/>
                  </a:cubicBezTo>
                  <a:cubicBezTo>
                    <a:pt x="28" y="5"/>
                    <a:pt x="29" y="6"/>
                    <a:pt x="30" y="7"/>
                  </a:cubicBezTo>
                  <a:cubicBezTo>
                    <a:pt x="31" y="8"/>
                    <a:pt x="32" y="9"/>
                    <a:pt x="33" y="10"/>
                  </a:cubicBezTo>
                  <a:cubicBezTo>
                    <a:pt x="34" y="9"/>
                    <a:pt x="35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9" y="8"/>
                    <a:pt x="39" y="10"/>
                    <a:pt x="40" y="11"/>
                  </a:cubicBezTo>
                  <a:cubicBezTo>
                    <a:pt x="40" y="11"/>
                    <a:pt x="40" y="12"/>
                    <a:pt x="40" y="12"/>
                  </a:cubicBezTo>
                  <a:cubicBezTo>
                    <a:pt x="41" y="13"/>
                    <a:pt x="42" y="14"/>
                    <a:pt x="42" y="15"/>
                  </a:cubicBezTo>
                  <a:cubicBezTo>
                    <a:pt x="42" y="15"/>
                    <a:pt x="43" y="16"/>
                    <a:pt x="43" y="17"/>
                  </a:cubicBezTo>
                  <a:cubicBezTo>
                    <a:pt x="44" y="17"/>
                    <a:pt x="45" y="18"/>
                    <a:pt x="46" y="18"/>
                  </a:cubicBezTo>
                  <a:cubicBezTo>
                    <a:pt x="47" y="18"/>
                    <a:pt x="48" y="18"/>
                    <a:pt x="48" y="18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20"/>
                    <a:pt x="48" y="20"/>
                    <a:pt x="47" y="21"/>
                  </a:cubicBezTo>
                  <a:cubicBezTo>
                    <a:pt x="47" y="21"/>
                    <a:pt x="46" y="22"/>
                    <a:pt x="47" y="23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7"/>
                    <a:pt x="47" y="28"/>
                    <a:pt x="47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2"/>
                  </a:cubicBezTo>
                  <a:cubicBezTo>
                    <a:pt x="49" y="32"/>
                    <a:pt x="49" y="33"/>
                    <a:pt x="50" y="34"/>
                  </a:cubicBezTo>
                  <a:cubicBezTo>
                    <a:pt x="50" y="35"/>
                    <a:pt x="51" y="35"/>
                    <a:pt x="52" y="36"/>
                  </a:cubicBezTo>
                  <a:cubicBezTo>
                    <a:pt x="52" y="36"/>
                    <a:pt x="53" y="36"/>
                    <a:pt x="53" y="37"/>
                  </a:cubicBezTo>
                  <a:cubicBezTo>
                    <a:pt x="54" y="37"/>
                    <a:pt x="55" y="37"/>
                    <a:pt x="56" y="36"/>
                  </a:cubicBezTo>
                  <a:cubicBezTo>
                    <a:pt x="57" y="36"/>
                    <a:pt x="58" y="36"/>
                    <a:pt x="59" y="36"/>
                  </a:cubicBezTo>
                  <a:cubicBezTo>
                    <a:pt x="59" y="36"/>
                    <a:pt x="60" y="36"/>
                    <a:pt x="60" y="36"/>
                  </a:cubicBezTo>
                  <a:cubicBezTo>
                    <a:pt x="60" y="36"/>
                    <a:pt x="61" y="36"/>
                    <a:pt x="62" y="35"/>
                  </a:cubicBezTo>
                  <a:cubicBezTo>
                    <a:pt x="62" y="34"/>
                    <a:pt x="62" y="34"/>
                    <a:pt x="62" y="33"/>
                  </a:cubicBezTo>
                  <a:cubicBezTo>
                    <a:pt x="62" y="32"/>
                    <a:pt x="62" y="30"/>
                    <a:pt x="64" y="30"/>
                  </a:cubicBezTo>
                  <a:cubicBezTo>
                    <a:pt x="65" y="30"/>
                    <a:pt x="65" y="30"/>
                    <a:pt x="65" y="29"/>
                  </a:cubicBezTo>
                  <a:cubicBezTo>
                    <a:pt x="66" y="29"/>
                    <a:pt x="67" y="29"/>
                    <a:pt x="68" y="29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70" y="29"/>
                    <a:pt x="72" y="29"/>
                    <a:pt x="72" y="30"/>
                  </a:cubicBezTo>
                  <a:cubicBezTo>
                    <a:pt x="72" y="31"/>
                    <a:pt x="72" y="32"/>
                    <a:pt x="70" y="34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34"/>
                    <a:pt x="70" y="35"/>
                    <a:pt x="70" y="36"/>
                  </a:cubicBezTo>
                  <a:cubicBezTo>
                    <a:pt x="70" y="37"/>
                    <a:pt x="70" y="38"/>
                    <a:pt x="70" y="38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7" y="39"/>
                    <a:pt x="66" y="39"/>
                  </a:cubicBezTo>
                  <a:cubicBezTo>
                    <a:pt x="66" y="39"/>
                    <a:pt x="65" y="39"/>
                    <a:pt x="64" y="39"/>
                  </a:cubicBezTo>
                  <a:cubicBezTo>
                    <a:pt x="64" y="39"/>
                    <a:pt x="64" y="39"/>
                    <a:pt x="63" y="39"/>
                  </a:cubicBezTo>
                  <a:cubicBezTo>
                    <a:pt x="63" y="39"/>
                    <a:pt x="63" y="39"/>
                    <a:pt x="62" y="39"/>
                  </a:cubicBezTo>
                  <a:cubicBezTo>
                    <a:pt x="62" y="39"/>
                    <a:pt x="62" y="40"/>
                    <a:pt x="62" y="40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3" y="41"/>
                    <a:pt x="63" y="42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0" y="43"/>
                    <a:pt x="60" y="46"/>
                    <a:pt x="59" y="47"/>
                  </a:cubicBezTo>
                  <a:lnTo>
                    <a:pt x="59" y="48"/>
                  </a:lnTo>
                  <a:close/>
                  <a:moveTo>
                    <a:pt x="53" y="42"/>
                  </a:moveTo>
                  <a:cubicBezTo>
                    <a:pt x="55" y="42"/>
                    <a:pt x="57" y="44"/>
                    <a:pt x="58" y="45"/>
                  </a:cubicBezTo>
                  <a:cubicBezTo>
                    <a:pt x="59" y="43"/>
                    <a:pt x="60" y="42"/>
                    <a:pt x="62" y="42"/>
                  </a:cubicBezTo>
                  <a:cubicBezTo>
                    <a:pt x="62" y="42"/>
                    <a:pt x="61" y="41"/>
                    <a:pt x="60" y="40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2" y="39"/>
                  </a:cubicBezTo>
                  <a:cubicBezTo>
                    <a:pt x="62" y="38"/>
                    <a:pt x="63" y="38"/>
                    <a:pt x="63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6" y="38"/>
                    <a:pt x="67" y="37"/>
                    <a:pt x="67" y="37"/>
                  </a:cubicBezTo>
                  <a:cubicBezTo>
                    <a:pt x="67" y="37"/>
                    <a:pt x="68" y="36"/>
                    <a:pt x="68" y="3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5"/>
                    <a:pt x="69" y="34"/>
                    <a:pt x="69" y="34"/>
                  </a:cubicBezTo>
                  <a:cubicBezTo>
                    <a:pt x="69" y="34"/>
                    <a:pt x="69" y="33"/>
                    <a:pt x="69" y="33"/>
                  </a:cubicBezTo>
                  <a:cubicBezTo>
                    <a:pt x="70" y="32"/>
                    <a:pt x="71" y="31"/>
                    <a:pt x="71" y="31"/>
                  </a:cubicBezTo>
                  <a:cubicBezTo>
                    <a:pt x="71" y="30"/>
                    <a:pt x="70" y="30"/>
                    <a:pt x="70" y="30"/>
                  </a:cubicBezTo>
                  <a:cubicBezTo>
                    <a:pt x="70" y="30"/>
                    <a:pt x="70" y="30"/>
                    <a:pt x="69" y="30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9" y="30"/>
                    <a:pt x="68" y="30"/>
                    <a:pt x="68" y="30"/>
                  </a:cubicBezTo>
                  <a:cubicBezTo>
                    <a:pt x="67" y="30"/>
                    <a:pt x="66" y="30"/>
                    <a:pt x="66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3" y="31"/>
                    <a:pt x="63" y="32"/>
                    <a:pt x="63" y="33"/>
                  </a:cubicBezTo>
                  <a:cubicBezTo>
                    <a:pt x="63" y="34"/>
                    <a:pt x="63" y="35"/>
                    <a:pt x="63" y="35"/>
                  </a:cubicBezTo>
                  <a:cubicBezTo>
                    <a:pt x="62" y="37"/>
                    <a:pt x="60" y="38"/>
                    <a:pt x="59" y="37"/>
                  </a:cubicBezTo>
                  <a:cubicBezTo>
                    <a:pt x="58" y="37"/>
                    <a:pt x="57" y="37"/>
                    <a:pt x="56" y="38"/>
                  </a:cubicBezTo>
                  <a:cubicBezTo>
                    <a:pt x="55" y="38"/>
                    <a:pt x="54" y="38"/>
                    <a:pt x="52" y="38"/>
                  </a:cubicBezTo>
                  <a:cubicBezTo>
                    <a:pt x="52" y="37"/>
                    <a:pt x="51" y="37"/>
                    <a:pt x="51" y="37"/>
                  </a:cubicBezTo>
                  <a:cubicBezTo>
                    <a:pt x="50" y="36"/>
                    <a:pt x="49" y="36"/>
                    <a:pt x="49" y="34"/>
                  </a:cubicBezTo>
                  <a:cubicBezTo>
                    <a:pt x="48" y="33"/>
                    <a:pt x="48" y="33"/>
                    <a:pt x="48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6" y="29"/>
                  </a:cubicBezTo>
                  <a:cubicBezTo>
                    <a:pt x="46" y="28"/>
                    <a:pt x="46" y="27"/>
                    <a:pt x="46" y="25"/>
                  </a:cubicBezTo>
                  <a:cubicBezTo>
                    <a:pt x="46" y="25"/>
                    <a:pt x="46" y="24"/>
                    <a:pt x="46" y="23"/>
                  </a:cubicBezTo>
                  <a:cubicBezTo>
                    <a:pt x="45" y="22"/>
                    <a:pt x="46" y="21"/>
                    <a:pt x="46" y="20"/>
                  </a:cubicBezTo>
                  <a:cubicBezTo>
                    <a:pt x="47" y="20"/>
                    <a:pt x="47" y="20"/>
                    <a:pt x="47" y="19"/>
                  </a:cubicBezTo>
                  <a:cubicBezTo>
                    <a:pt x="47" y="19"/>
                    <a:pt x="46" y="19"/>
                    <a:pt x="46" y="19"/>
                  </a:cubicBezTo>
                  <a:cubicBezTo>
                    <a:pt x="45" y="19"/>
                    <a:pt x="43" y="18"/>
                    <a:pt x="43" y="18"/>
                  </a:cubicBezTo>
                  <a:cubicBezTo>
                    <a:pt x="42" y="17"/>
                    <a:pt x="41" y="16"/>
                    <a:pt x="41" y="15"/>
                  </a:cubicBezTo>
                  <a:cubicBezTo>
                    <a:pt x="41" y="14"/>
                    <a:pt x="40" y="13"/>
                    <a:pt x="40" y="13"/>
                  </a:cubicBezTo>
                  <a:cubicBezTo>
                    <a:pt x="39" y="12"/>
                    <a:pt x="39" y="12"/>
                    <a:pt x="39" y="11"/>
                  </a:cubicBezTo>
                  <a:cubicBezTo>
                    <a:pt x="38" y="10"/>
                    <a:pt x="38" y="9"/>
                    <a:pt x="37" y="9"/>
                  </a:cubicBezTo>
                  <a:cubicBezTo>
                    <a:pt x="35" y="8"/>
                    <a:pt x="35" y="10"/>
                    <a:pt x="34" y="11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1" y="10"/>
                    <a:pt x="30" y="9"/>
                    <a:pt x="29" y="7"/>
                  </a:cubicBezTo>
                  <a:cubicBezTo>
                    <a:pt x="28" y="6"/>
                    <a:pt x="28" y="6"/>
                    <a:pt x="27" y="5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2" y="4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5" y="5"/>
                    <a:pt x="13" y="4"/>
                    <a:pt x="10" y="3"/>
                  </a:cubicBezTo>
                  <a:cubicBezTo>
                    <a:pt x="8" y="2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8" y="3"/>
                    <a:pt x="9" y="3"/>
                  </a:cubicBezTo>
                  <a:cubicBezTo>
                    <a:pt x="10" y="4"/>
                    <a:pt x="11" y="4"/>
                    <a:pt x="11" y="6"/>
                  </a:cubicBezTo>
                  <a:cubicBezTo>
                    <a:pt x="12" y="8"/>
                    <a:pt x="13" y="10"/>
                    <a:pt x="14" y="11"/>
                  </a:cubicBezTo>
                  <a:cubicBezTo>
                    <a:pt x="15" y="12"/>
                    <a:pt x="15" y="13"/>
                    <a:pt x="16" y="13"/>
                  </a:cubicBezTo>
                  <a:cubicBezTo>
                    <a:pt x="17" y="13"/>
                    <a:pt x="17" y="14"/>
                    <a:pt x="17" y="14"/>
                  </a:cubicBezTo>
                  <a:cubicBezTo>
                    <a:pt x="17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6"/>
                  </a:cubicBezTo>
                  <a:cubicBezTo>
                    <a:pt x="19" y="16"/>
                    <a:pt x="21" y="17"/>
                    <a:pt x="20" y="18"/>
                  </a:cubicBezTo>
                  <a:cubicBezTo>
                    <a:pt x="20" y="18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1" y="20"/>
                    <a:pt x="22" y="20"/>
                  </a:cubicBezTo>
                  <a:cubicBezTo>
                    <a:pt x="22" y="20"/>
                    <a:pt x="23" y="20"/>
                    <a:pt x="23" y="22"/>
                  </a:cubicBezTo>
                  <a:cubicBezTo>
                    <a:pt x="23" y="22"/>
                    <a:pt x="24" y="23"/>
                    <a:pt x="25" y="23"/>
                  </a:cubicBezTo>
                  <a:cubicBezTo>
                    <a:pt x="25" y="24"/>
                    <a:pt x="26" y="24"/>
                    <a:pt x="26" y="25"/>
                  </a:cubicBezTo>
                  <a:cubicBezTo>
                    <a:pt x="26" y="25"/>
                    <a:pt x="27" y="25"/>
                    <a:pt x="27" y="26"/>
                  </a:cubicBezTo>
                  <a:cubicBezTo>
                    <a:pt x="28" y="26"/>
                    <a:pt x="29" y="27"/>
                    <a:pt x="29" y="28"/>
                  </a:cubicBezTo>
                  <a:cubicBezTo>
                    <a:pt x="29" y="29"/>
                    <a:pt x="29" y="29"/>
                    <a:pt x="29" y="30"/>
                  </a:cubicBezTo>
                  <a:cubicBezTo>
                    <a:pt x="29" y="31"/>
                    <a:pt x="29" y="32"/>
                    <a:pt x="30" y="32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4"/>
                    <a:pt x="32" y="36"/>
                    <a:pt x="34" y="37"/>
                  </a:cubicBezTo>
                  <a:cubicBezTo>
                    <a:pt x="34" y="37"/>
                    <a:pt x="35" y="37"/>
                    <a:pt x="35" y="38"/>
                  </a:cubicBezTo>
                  <a:cubicBezTo>
                    <a:pt x="36" y="38"/>
                    <a:pt x="37" y="38"/>
                    <a:pt x="38" y="39"/>
                  </a:cubicBezTo>
                  <a:cubicBezTo>
                    <a:pt x="39" y="40"/>
                    <a:pt x="40" y="40"/>
                    <a:pt x="42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4" y="41"/>
                    <a:pt x="44" y="42"/>
                    <a:pt x="45" y="42"/>
                  </a:cubicBezTo>
                  <a:cubicBezTo>
                    <a:pt x="47" y="43"/>
                    <a:pt x="49" y="44"/>
                    <a:pt x="50" y="43"/>
                  </a:cubicBezTo>
                  <a:cubicBezTo>
                    <a:pt x="51" y="43"/>
                    <a:pt x="52" y="42"/>
                    <a:pt x="53" y="42"/>
                  </a:cubicBezTo>
                  <a:close/>
                  <a:moveTo>
                    <a:pt x="17" y="24"/>
                  </a:moveTo>
                  <a:cubicBezTo>
                    <a:pt x="17" y="24"/>
                    <a:pt x="18" y="25"/>
                    <a:pt x="18" y="26"/>
                  </a:cubicBezTo>
                  <a:cubicBezTo>
                    <a:pt x="19" y="26"/>
                    <a:pt x="19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lose/>
                  <a:moveTo>
                    <a:pt x="13" y="21"/>
                  </a:moveTo>
                  <a:cubicBezTo>
                    <a:pt x="14" y="21"/>
                    <a:pt x="15" y="22"/>
                    <a:pt x="15" y="22"/>
                  </a:cubicBezTo>
                  <a:cubicBezTo>
                    <a:pt x="15" y="21"/>
                    <a:pt x="15" y="21"/>
                    <a:pt x="15" y="20"/>
                  </a:cubicBezTo>
                  <a:cubicBezTo>
                    <a:pt x="15" y="20"/>
                    <a:pt x="15" y="19"/>
                    <a:pt x="14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6"/>
                    <a:pt x="10" y="13"/>
                    <a:pt x="9" y="11"/>
                  </a:cubicBezTo>
                  <a:cubicBezTo>
                    <a:pt x="9" y="10"/>
                    <a:pt x="9" y="10"/>
                    <a:pt x="8" y="10"/>
                  </a:cubicBezTo>
                  <a:cubicBezTo>
                    <a:pt x="8" y="9"/>
                    <a:pt x="7" y="9"/>
                    <a:pt x="7" y="8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4" y="2"/>
                    <a:pt x="2" y="2"/>
                  </a:cubicBezTo>
                  <a:cubicBezTo>
                    <a:pt x="3" y="3"/>
                    <a:pt x="5" y="6"/>
                    <a:pt x="5" y="7"/>
                  </a:cubicBezTo>
                  <a:cubicBezTo>
                    <a:pt x="5" y="8"/>
                    <a:pt x="6" y="9"/>
                    <a:pt x="7" y="9"/>
                  </a:cubicBezTo>
                  <a:cubicBezTo>
                    <a:pt x="8" y="11"/>
                    <a:pt x="10" y="12"/>
                    <a:pt x="9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4"/>
                    <a:pt x="8" y="14"/>
                  </a:cubicBezTo>
                  <a:cubicBezTo>
                    <a:pt x="8" y="15"/>
                    <a:pt x="9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2" y="17"/>
                    <a:pt x="12" y="17"/>
                  </a:cubicBezTo>
                  <a:cubicBezTo>
                    <a:pt x="12" y="17"/>
                    <a:pt x="13" y="17"/>
                    <a:pt x="13" y="18"/>
                  </a:cubicBezTo>
                  <a:cubicBezTo>
                    <a:pt x="14" y="19"/>
                    <a:pt x="13" y="20"/>
                    <a:pt x="13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9" name="Freeform 72"/>
            <p:cNvSpPr/>
            <p:nvPr/>
          </p:nvSpPr>
          <p:spPr bwMode="auto">
            <a:xfrm>
              <a:off x="6434287" y="2679459"/>
              <a:ext cx="0" cy="6295"/>
            </a:xfrm>
            <a:custGeom>
              <a:avLst/>
              <a:gdLst>
                <a:gd name="T0" fmla="*/ 2147483646 h 1"/>
                <a:gd name="T1" fmla="*/ 0 h 1"/>
                <a:gd name="T2" fmla="*/ 2147483646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0" name="Freeform 73"/>
            <p:cNvSpPr/>
            <p:nvPr/>
          </p:nvSpPr>
          <p:spPr bwMode="auto">
            <a:xfrm>
              <a:off x="6424842" y="2673164"/>
              <a:ext cx="15741" cy="12589"/>
            </a:xfrm>
            <a:custGeom>
              <a:avLst/>
              <a:gdLst>
                <a:gd name="T0" fmla="*/ 0 w 2"/>
                <a:gd name="T1" fmla="*/ 2147483646 h 2"/>
                <a:gd name="T2" fmla="*/ 0 w 2"/>
                <a:gd name="T3" fmla="*/ 2147483646 h 2"/>
                <a:gd name="T4" fmla="*/ 2147483646 w 2"/>
                <a:gd name="T5" fmla="*/ 0 h 2"/>
                <a:gd name="T6" fmla="*/ 2147483646 w 2"/>
                <a:gd name="T7" fmla="*/ 2147483646 h 2"/>
                <a:gd name="T8" fmla="*/ 0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1" name="Freeform 74"/>
            <p:cNvSpPr/>
            <p:nvPr/>
          </p:nvSpPr>
          <p:spPr bwMode="auto">
            <a:xfrm>
              <a:off x="6374470" y="2663722"/>
              <a:ext cx="6296" cy="15738"/>
            </a:xfrm>
            <a:custGeom>
              <a:avLst/>
              <a:gdLst>
                <a:gd name="T0" fmla="*/ 2147483646 w 1"/>
                <a:gd name="T1" fmla="*/ 2147483646 h 2"/>
                <a:gd name="T2" fmla="*/ 2147483646 w 1"/>
                <a:gd name="T3" fmla="*/ 2147483646 h 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0" y="0"/>
                    <a:pt x="1" y="2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2" name="Freeform 75"/>
            <p:cNvSpPr/>
            <p:nvPr/>
          </p:nvSpPr>
          <p:spPr bwMode="auto">
            <a:xfrm>
              <a:off x="6374470" y="2663722"/>
              <a:ext cx="6296" cy="15738"/>
            </a:xfrm>
            <a:custGeom>
              <a:avLst/>
              <a:gdLst>
                <a:gd name="T0" fmla="*/ 2147483646 w 1"/>
                <a:gd name="T1" fmla="*/ 2147483646 h 2"/>
                <a:gd name="T2" fmla="*/ 0 w 1"/>
                <a:gd name="T3" fmla="*/ 2147483646 h 2"/>
                <a:gd name="T4" fmla="*/ 2147483646 w 1"/>
                <a:gd name="T5" fmla="*/ 2147483646 h 2"/>
                <a:gd name="T6" fmla="*/ 2147483646 w 1"/>
                <a:gd name="T7" fmla="*/ 0 h 2"/>
                <a:gd name="T8" fmla="*/ 2147483646 w 1"/>
                <a:gd name="T9" fmla="*/ 0 h 2"/>
                <a:gd name="T10" fmla="*/ 2147483646 w 1"/>
                <a:gd name="T11" fmla="*/ 0 h 2"/>
                <a:gd name="T12" fmla="*/ 2147483646 w 1"/>
                <a:gd name="T13" fmla="*/ 2147483646 h 2"/>
                <a:gd name="T14" fmla="*/ 2147483646 w 1"/>
                <a:gd name="T15" fmla="*/ 2147483646 h 2"/>
                <a:gd name="T16" fmla="*/ 2147483646 w 1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1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3" name="Freeform 76"/>
            <p:cNvSpPr/>
            <p:nvPr/>
          </p:nvSpPr>
          <p:spPr bwMode="auto">
            <a:xfrm>
              <a:off x="6478362" y="2663722"/>
              <a:ext cx="6296" cy="9443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2147483646 w 1"/>
                <a:gd name="T5" fmla="*/ 2147483646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4" name="Freeform 77"/>
            <p:cNvSpPr/>
            <p:nvPr/>
          </p:nvSpPr>
          <p:spPr bwMode="auto">
            <a:xfrm>
              <a:off x="6472066" y="2657426"/>
              <a:ext cx="12593" cy="22033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2147483646 h 3"/>
                <a:gd name="T4" fmla="*/ 0 w 2"/>
                <a:gd name="T5" fmla="*/ 2147483646 h 3"/>
                <a:gd name="T6" fmla="*/ 2147483646 w 2"/>
                <a:gd name="T7" fmla="*/ 2147483646 h 3"/>
                <a:gd name="T8" fmla="*/ 2147483646 w 2"/>
                <a:gd name="T9" fmla="*/ 2147483646 h 3"/>
                <a:gd name="T10" fmla="*/ 2147483646 w 2"/>
                <a:gd name="T11" fmla="*/ 0 h 3"/>
                <a:gd name="T12" fmla="*/ 2147483646 w 2"/>
                <a:gd name="T13" fmla="*/ 2147483646 h 3"/>
                <a:gd name="T14" fmla="*/ 2147483646 w 2"/>
                <a:gd name="T15" fmla="*/ 2147483646 h 3"/>
                <a:gd name="T16" fmla="*/ 2147483646 w 2"/>
                <a:gd name="T17" fmla="*/ 2147483646 h 3"/>
                <a:gd name="T18" fmla="*/ 2147483646 w 2"/>
                <a:gd name="T19" fmla="*/ 2147483646 h 3"/>
                <a:gd name="T20" fmla="*/ 2147483646 w 2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1" y="3"/>
                    <a:pt x="1" y="3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5" name="Freeform 78"/>
            <p:cNvSpPr/>
            <p:nvPr/>
          </p:nvSpPr>
          <p:spPr bwMode="auto">
            <a:xfrm>
              <a:off x="6909673" y="2931263"/>
              <a:ext cx="75558" cy="75541"/>
            </a:xfrm>
            <a:custGeom>
              <a:avLst/>
              <a:gdLst>
                <a:gd name="T0" fmla="*/ 2147483646 w 10"/>
                <a:gd name="T1" fmla="*/ 2147483646 h 10"/>
                <a:gd name="T2" fmla="*/ 2147483646 w 10"/>
                <a:gd name="T3" fmla="*/ 0 h 10"/>
                <a:gd name="T4" fmla="*/ 2147483646 w 10"/>
                <a:gd name="T5" fmla="*/ 0 h 10"/>
                <a:gd name="T6" fmla="*/ 2147483646 w 10"/>
                <a:gd name="T7" fmla="*/ 2147483646 h 10"/>
                <a:gd name="T8" fmla="*/ 2147483646 w 10"/>
                <a:gd name="T9" fmla="*/ 2147483646 h 10"/>
                <a:gd name="T10" fmla="*/ 0 w 10"/>
                <a:gd name="T11" fmla="*/ 2147483646 h 10"/>
                <a:gd name="T12" fmla="*/ 2147483646 w 10"/>
                <a:gd name="T13" fmla="*/ 2147483646 h 10"/>
                <a:gd name="T14" fmla="*/ 2147483646 w 10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" h="10">
                  <a:moveTo>
                    <a:pt x="9" y="9"/>
                  </a:moveTo>
                  <a:cubicBezTo>
                    <a:pt x="7" y="7"/>
                    <a:pt x="9" y="2"/>
                    <a:pt x="10" y="0"/>
                  </a:cubicBezTo>
                  <a:cubicBezTo>
                    <a:pt x="8" y="0"/>
                    <a:pt x="8" y="1"/>
                    <a:pt x="6" y="0"/>
                  </a:cubicBezTo>
                  <a:cubicBezTo>
                    <a:pt x="6" y="0"/>
                    <a:pt x="4" y="2"/>
                    <a:pt x="4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6"/>
                    <a:pt x="2" y="7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6" name="Freeform 79"/>
            <p:cNvSpPr>
              <a:spLocks noEditPoints="1"/>
            </p:cNvSpPr>
            <p:nvPr/>
          </p:nvSpPr>
          <p:spPr bwMode="auto">
            <a:xfrm>
              <a:off x="6903376" y="2924967"/>
              <a:ext cx="81854" cy="81836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2147483646 w 11"/>
                <a:gd name="T5" fmla="*/ 2147483646 h 11"/>
                <a:gd name="T6" fmla="*/ 2147483646 w 11"/>
                <a:gd name="T7" fmla="*/ 2147483646 h 11"/>
                <a:gd name="T8" fmla="*/ 0 w 11"/>
                <a:gd name="T9" fmla="*/ 2147483646 h 11"/>
                <a:gd name="T10" fmla="*/ 0 w 11"/>
                <a:gd name="T11" fmla="*/ 2147483646 h 11"/>
                <a:gd name="T12" fmla="*/ 2147483646 w 11"/>
                <a:gd name="T13" fmla="*/ 2147483646 h 11"/>
                <a:gd name="T14" fmla="*/ 2147483646 w 11"/>
                <a:gd name="T15" fmla="*/ 2147483646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2147483646 w 11"/>
                <a:gd name="T21" fmla="*/ 2147483646 h 11"/>
                <a:gd name="T22" fmla="*/ 2147483646 w 11"/>
                <a:gd name="T23" fmla="*/ 0 h 11"/>
                <a:gd name="T24" fmla="*/ 2147483646 w 11"/>
                <a:gd name="T25" fmla="*/ 2147483646 h 11"/>
                <a:gd name="T26" fmla="*/ 2147483646 w 11"/>
                <a:gd name="T27" fmla="*/ 0 h 11"/>
                <a:gd name="T28" fmla="*/ 2147483646 w 11"/>
                <a:gd name="T29" fmla="*/ 0 h 11"/>
                <a:gd name="T30" fmla="*/ 2147483646 w 11"/>
                <a:gd name="T31" fmla="*/ 0 h 11"/>
                <a:gd name="T32" fmla="*/ 2147483646 w 11"/>
                <a:gd name="T33" fmla="*/ 2147483646 h 11"/>
                <a:gd name="T34" fmla="*/ 2147483646 w 11"/>
                <a:gd name="T35" fmla="*/ 2147483646 h 11"/>
                <a:gd name="T36" fmla="*/ 2147483646 w 11"/>
                <a:gd name="T37" fmla="*/ 2147483646 h 11"/>
                <a:gd name="T38" fmla="*/ 2147483646 w 11"/>
                <a:gd name="T39" fmla="*/ 2147483646 h 11"/>
                <a:gd name="T40" fmla="*/ 2147483646 w 11"/>
                <a:gd name="T41" fmla="*/ 2147483646 h 11"/>
                <a:gd name="T42" fmla="*/ 2147483646 w 11"/>
                <a:gd name="T43" fmla="*/ 2147483646 h 11"/>
                <a:gd name="T44" fmla="*/ 2147483646 w 11"/>
                <a:gd name="T45" fmla="*/ 2147483646 h 11"/>
                <a:gd name="T46" fmla="*/ 2147483646 w 11"/>
                <a:gd name="T47" fmla="*/ 2147483646 h 11"/>
                <a:gd name="T48" fmla="*/ 2147483646 w 11"/>
                <a:gd name="T49" fmla="*/ 2147483646 h 11"/>
                <a:gd name="T50" fmla="*/ 2147483646 w 11"/>
                <a:gd name="T51" fmla="*/ 2147483646 h 11"/>
                <a:gd name="T52" fmla="*/ 2147483646 w 11"/>
                <a:gd name="T53" fmla="*/ 2147483646 h 11"/>
                <a:gd name="T54" fmla="*/ 2147483646 w 11"/>
                <a:gd name="T55" fmla="*/ 2147483646 h 11"/>
                <a:gd name="T56" fmla="*/ 2147483646 w 11"/>
                <a:gd name="T57" fmla="*/ 2147483646 h 11"/>
                <a:gd name="T58" fmla="*/ 2147483646 w 11"/>
                <a:gd name="T59" fmla="*/ 2147483646 h 11"/>
                <a:gd name="T60" fmla="*/ 2147483646 w 11"/>
                <a:gd name="T61" fmla="*/ 2147483646 h 11"/>
                <a:gd name="T62" fmla="*/ 2147483646 w 11"/>
                <a:gd name="T63" fmla="*/ 2147483646 h 11"/>
                <a:gd name="T64" fmla="*/ 2147483646 w 11"/>
                <a:gd name="T65" fmla="*/ 2147483646 h 11"/>
                <a:gd name="T66" fmla="*/ 2147483646 w 11"/>
                <a:gd name="T67" fmla="*/ 2147483646 h 11"/>
                <a:gd name="T68" fmla="*/ 2147483646 w 11"/>
                <a:gd name="T69" fmla="*/ 2147483646 h 11"/>
                <a:gd name="T70" fmla="*/ 2147483646 w 11"/>
                <a:gd name="T71" fmla="*/ 2147483646 h 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" h="11"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5" y="11"/>
                    <a:pt x="4" y="10"/>
                  </a:cubicBezTo>
                  <a:cubicBezTo>
                    <a:pt x="4" y="10"/>
                    <a:pt x="3" y="9"/>
                    <a:pt x="3" y="9"/>
                  </a:cubicBezTo>
                  <a:cubicBezTo>
                    <a:pt x="2" y="8"/>
                    <a:pt x="1" y="7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2" y="3"/>
                    <a:pt x="3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1"/>
                    <a:pt x="7" y="0"/>
                    <a:pt x="7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9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2"/>
                    <a:pt x="11" y="3"/>
                  </a:cubicBezTo>
                  <a:cubicBezTo>
                    <a:pt x="10" y="5"/>
                    <a:pt x="9" y="8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9" y="11"/>
                    <a:pt x="8" y="11"/>
                  </a:cubicBezTo>
                  <a:close/>
                  <a:moveTo>
                    <a:pt x="2" y="6"/>
                  </a:moveTo>
                  <a:cubicBezTo>
                    <a:pt x="2" y="7"/>
                    <a:pt x="3" y="7"/>
                    <a:pt x="4" y="8"/>
                  </a:cubicBezTo>
                  <a:cubicBezTo>
                    <a:pt x="4" y="8"/>
                    <a:pt x="5" y="9"/>
                    <a:pt x="5" y="9"/>
                  </a:cubicBezTo>
                  <a:cubicBezTo>
                    <a:pt x="5" y="9"/>
                    <a:pt x="7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8"/>
                    <a:pt x="9" y="5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5" y="3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2" y="6"/>
                    <a:pt x="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7" name="Freeform 80"/>
            <p:cNvSpPr/>
            <p:nvPr/>
          </p:nvSpPr>
          <p:spPr bwMode="auto">
            <a:xfrm>
              <a:off x="7007268" y="3057164"/>
              <a:ext cx="0" cy="9443"/>
            </a:xfrm>
            <a:custGeom>
              <a:avLst/>
              <a:gdLst>
                <a:gd name="T0" fmla="*/ 0 h 1"/>
                <a:gd name="T1" fmla="*/ 0 h 1"/>
                <a:gd name="T2" fmla="*/ 2147483646 h 1"/>
                <a:gd name="T3" fmla="*/ 0 h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0" y="T0"/>
                </a:cxn>
                <a:cxn ang="T5">
                  <a:pos x="0" y="T1"/>
                </a:cxn>
                <a:cxn ang="T6">
                  <a:pos x="0" y="T2"/>
                </a:cxn>
                <a:cxn ang="T7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8" name="Freeform 81"/>
            <p:cNvSpPr/>
            <p:nvPr/>
          </p:nvSpPr>
          <p:spPr bwMode="auto">
            <a:xfrm>
              <a:off x="6997824" y="3044575"/>
              <a:ext cx="15741" cy="28328"/>
            </a:xfrm>
            <a:custGeom>
              <a:avLst/>
              <a:gdLst>
                <a:gd name="T0" fmla="*/ 2147483646 w 2"/>
                <a:gd name="T1" fmla="*/ 2147483646 h 4"/>
                <a:gd name="T2" fmla="*/ 2147483646 w 2"/>
                <a:gd name="T3" fmla="*/ 2147483646 h 4"/>
                <a:gd name="T4" fmla="*/ 0 w 2"/>
                <a:gd name="T5" fmla="*/ 2147483646 h 4"/>
                <a:gd name="T6" fmla="*/ 0 w 2"/>
                <a:gd name="T7" fmla="*/ 2147483646 h 4"/>
                <a:gd name="T8" fmla="*/ 2147483646 w 2"/>
                <a:gd name="T9" fmla="*/ 0 h 4"/>
                <a:gd name="T10" fmla="*/ 2147483646 w 2"/>
                <a:gd name="T11" fmla="*/ 2147483646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9" name="Freeform 82"/>
            <p:cNvSpPr/>
            <p:nvPr/>
          </p:nvSpPr>
          <p:spPr bwMode="auto">
            <a:xfrm>
              <a:off x="6985231" y="3006803"/>
              <a:ext cx="103892" cy="59803"/>
            </a:xfrm>
            <a:custGeom>
              <a:avLst/>
              <a:gdLst>
                <a:gd name="T0" fmla="*/ 2147483646 w 14"/>
                <a:gd name="T1" fmla="*/ 2147483646 h 8"/>
                <a:gd name="T2" fmla="*/ 2147483646 w 14"/>
                <a:gd name="T3" fmla="*/ 2147483646 h 8"/>
                <a:gd name="T4" fmla="*/ 2147483646 w 14"/>
                <a:gd name="T5" fmla="*/ 2147483646 h 8"/>
                <a:gd name="T6" fmla="*/ 2147483646 w 14"/>
                <a:gd name="T7" fmla="*/ 2147483646 h 8"/>
                <a:gd name="T8" fmla="*/ 2147483646 w 14"/>
                <a:gd name="T9" fmla="*/ 2147483646 h 8"/>
                <a:gd name="T10" fmla="*/ 2147483646 w 14"/>
                <a:gd name="T11" fmla="*/ 2147483646 h 8"/>
                <a:gd name="T12" fmla="*/ 0 w 14"/>
                <a:gd name="T13" fmla="*/ 2147483646 h 8"/>
                <a:gd name="T14" fmla="*/ 2147483646 w 14"/>
                <a:gd name="T15" fmla="*/ 2147483646 h 8"/>
                <a:gd name="T16" fmla="*/ 2147483646 w 14"/>
                <a:gd name="T17" fmla="*/ 2147483646 h 8"/>
                <a:gd name="T18" fmla="*/ 2147483646 w 14"/>
                <a:gd name="T19" fmla="*/ 2147483646 h 8"/>
                <a:gd name="T20" fmla="*/ 2147483646 w 14"/>
                <a:gd name="T21" fmla="*/ 2147483646 h 8"/>
                <a:gd name="T22" fmla="*/ 2147483646 w 14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4" h="8">
                  <a:moveTo>
                    <a:pt x="13" y="5"/>
                  </a:moveTo>
                  <a:cubicBezTo>
                    <a:pt x="14" y="6"/>
                    <a:pt x="13" y="6"/>
                    <a:pt x="12" y="8"/>
                  </a:cubicBezTo>
                  <a:cubicBezTo>
                    <a:pt x="11" y="7"/>
                    <a:pt x="11" y="6"/>
                    <a:pt x="12" y="5"/>
                  </a:cubicBezTo>
                  <a:cubicBezTo>
                    <a:pt x="10" y="5"/>
                    <a:pt x="10" y="3"/>
                    <a:pt x="8" y="4"/>
                  </a:cubicBezTo>
                  <a:cubicBezTo>
                    <a:pt x="7" y="5"/>
                    <a:pt x="5" y="6"/>
                    <a:pt x="7" y="7"/>
                  </a:cubicBezTo>
                  <a:cubicBezTo>
                    <a:pt x="6" y="8"/>
                    <a:pt x="5" y="8"/>
                    <a:pt x="5" y="7"/>
                  </a:cubicBezTo>
                  <a:cubicBezTo>
                    <a:pt x="3" y="7"/>
                    <a:pt x="2" y="4"/>
                    <a:pt x="0" y="6"/>
                  </a:cubicBezTo>
                  <a:cubicBezTo>
                    <a:pt x="0" y="4"/>
                    <a:pt x="0" y="2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6" y="4"/>
                    <a:pt x="6" y="3"/>
                    <a:pt x="7" y="3"/>
                  </a:cubicBezTo>
                  <a:cubicBezTo>
                    <a:pt x="8" y="0"/>
                    <a:pt x="12" y="3"/>
                    <a:pt x="13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0" name="Freeform 83"/>
            <p:cNvSpPr>
              <a:spLocks noEditPoints="1"/>
            </p:cNvSpPr>
            <p:nvPr/>
          </p:nvSpPr>
          <p:spPr bwMode="auto">
            <a:xfrm>
              <a:off x="6975786" y="3022542"/>
              <a:ext cx="113337" cy="44066"/>
            </a:xfrm>
            <a:custGeom>
              <a:avLst/>
              <a:gdLst>
                <a:gd name="T0" fmla="*/ 2147483646 w 15"/>
                <a:gd name="T1" fmla="*/ 2147483646 h 6"/>
                <a:gd name="T2" fmla="*/ 2147483646 w 15"/>
                <a:gd name="T3" fmla="*/ 2147483646 h 6"/>
                <a:gd name="T4" fmla="*/ 2147483646 w 15"/>
                <a:gd name="T5" fmla="*/ 2147483646 h 6"/>
                <a:gd name="T6" fmla="*/ 2147483646 w 15"/>
                <a:gd name="T7" fmla="*/ 2147483646 h 6"/>
                <a:gd name="T8" fmla="*/ 2147483646 w 15"/>
                <a:gd name="T9" fmla="*/ 0 h 6"/>
                <a:gd name="T10" fmla="*/ 2147483646 w 15"/>
                <a:gd name="T11" fmla="*/ 2147483646 h 6"/>
                <a:gd name="T12" fmla="*/ 2147483646 w 15"/>
                <a:gd name="T13" fmla="*/ 2147483646 h 6"/>
                <a:gd name="T14" fmla="*/ 2147483646 w 15"/>
                <a:gd name="T15" fmla="*/ 2147483646 h 6"/>
                <a:gd name="T16" fmla="*/ 2147483646 w 15"/>
                <a:gd name="T17" fmla="*/ 2147483646 h 6"/>
                <a:gd name="T18" fmla="*/ 2147483646 w 15"/>
                <a:gd name="T19" fmla="*/ 2147483646 h 6"/>
                <a:gd name="T20" fmla="*/ 2147483646 w 15"/>
                <a:gd name="T21" fmla="*/ 2147483646 h 6"/>
                <a:gd name="T22" fmla="*/ 2147483646 w 15"/>
                <a:gd name="T23" fmla="*/ 2147483646 h 6"/>
                <a:gd name="T24" fmla="*/ 2147483646 w 15"/>
                <a:gd name="T25" fmla="*/ 2147483646 h 6"/>
                <a:gd name="T26" fmla="*/ 2147483646 w 15"/>
                <a:gd name="T27" fmla="*/ 2147483646 h 6"/>
                <a:gd name="T28" fmla="*/ 2147483646 w 15"/>
                <a:gd name="T29" fmla="*/ 2147483646 h 6"/>
                <a:gd name="T30" fmla="*/ 2147483646 w 15"/>
                <a:gd name="T31" fmla="*/ 2147483646 h 6"/>
                <a:gd name="T32" fmla="*/ 2147483646 w 15"/>
                <a:gd name="T33" fmla="*/ 2147483646 h 6"/>
                <a:gd name="T34" fmla="*/ 2147483646 w 15"/>
                <a:gd name="T35" fmla="*/ 2147483646 h 6"/>
                <a:gd name="T36" fmla="*/ 2147483646 w 15"/>
                <a:gd name="T37" fmla="*/ 2147483646 h 6"/>
                <a:gd name="T38" fmla="*/ 2147483646 w 15"/>
                <a:gd name="T39" fmla="*/ 2147483646 h 6"/>
                <a:gd name="T40" fmla="*/ 2147483646 w 15"/>
                <a:gd name="T41" fmla="*/ 2147483646 h 6"/>
                <a:gd name="T42" fmla="*/ 2147483646 w 15"/>
                <a:gd name="T43" fmla="*/ 2147483646 h 6"/>
                <a:gd name="T44" fmla="*/ 2147483646 w 15"/>
                <a:gd name="T45" fmla="*/ 2147483646 h 6"/>
                <a:gd name="T46" fmla="*/ 2147483646 w 15"/>
                <a:gd name="T47" fmla="*/ 2147483646 h 6"/>
                <a:gd name="T48" fmla="*/ 2147483646 w 15"/>
                <a:gd name="T49" fmla="*/ 2147483646 h 6"/>
                <a:gd name="T50" fmla="*/ 2147483646 w 15"/>
                <a:gd name="T51" fmla="*/ 2147483646 h 6"/>
                <a:gd name="T52" fmla="*/ 2147483646 w 15"/>
                <a:gd name="T53" fmla="*/ 2147483646 h 6"/>
                <a:gd name="T54" fmla="*/ 2147483646 w 15"/>
                <a:gd name="T55" fmla="*/ 2147483646 h 6"/>
                <a:gd name="T56" fmla="*/ 2147483646 w 15"/>
                <a:gd name="T57" fmla="*/ 2147483646 h 6"/>
                <a:gd name="T58" fmla="*/ 2147483646 w 15"/>
                <a:gd name="T59" fmla="*/ 2147483646 h 6"/>
                <a:gd name="T60" fmla="*/ 2147483646 w 15"/>
                <a:gd name="T61" fmla="*/ 2147483646 h 6"/>
                <a:gd name="T62" fmla="*/ 2147483646 w 15"/>
                <a:gd name="T63" fmla="*/ 2147483646 h 6"/>
                <a:gd name="T64" fmla="*/ 2147483646 w 15"/>
                <a:gd name="T65" fmla="*/ 2147483646 h 6"/>
                <a:gd name="T66" fmla="*/ 2147483646 w 15"/>
                <a:gd name="T67" fmla="*/ 2147483646 h 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5" h="6">
                  <a:moveTo>
                    <a:pt x="7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4" y="5"/>
                    <a:pt x="4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8" y="1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1" y="0"/>
                    <a:pt x="14" y="1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4"/>
                    <a:pt x="15" y="4"/>
                    <a:pt x="14" y="5"/>
                  </a:cubicBezTo>
                  <a:cubicBezTo>
                    <a:pt x="14" y="5"/>
                    <a:pt x="14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6"/>
                    <a:pt x="12" y="5"/>
                    <a:pt x="12" y="4"/>
                  </a:cubicBezTo>
                  <a:cubicBezTo>
                    <a:pt x="11" y="4"/>
                    <a:pt x="12" y="4"/>
                    <a:pt x="12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2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7" y="6"/>
                    <a:pt x="7" y="6"/>
                  </a:cubicBezTo>
                  <a:close/>
                  <a:moveTo>
                    <a:pt x="6" y="4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4"/>
                    <a:pt x="7" y="4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3"/>
                    <a:pt x="5" y="3"/>
                  </a:cubicBezTo>
                  <a:cubicBezTo>
                    <a:pt x="5" y="3"/>
                    <a:pt x="4" y="3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3" y="2"/>
                    <a:pt x="4" y="3"/>
                    <a:pt x="4" y="3"/>
                  </a:cubicBezTo>
                  <a:cubicBezTo>
                    <a:pt x="5" y="4"/>
                    <a:pt x="5" y="4"/>
                    <a:pt x="6" y="4"/>
                  </a:cubicBezTo>
                  <a:close/>
                  <a:moveTo>
                    <a:pt x="14" y="3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3" y="5"/>
                    <a:pt x="13" y="4"/>
                    <a:pt x="13" y="4"/>
                  </a:cubicBezTo>
                  <a:cubicBezTo>
                    <a:pt x="14" y="4"/>
                    <a:pt x="14" y="4"/>
                    <a:pt x="14" y="3"/>
                  </a:cubicBezTo>
                  <a:close/>
                  <a:moveTo>
                    <a:pt x="10" y="1"/>
                  </a:moveTo>
                  <a:cubicBezTo>
                    <a:pt x="11" y="1"/>
                    <a:pt x="11" y="2"/>
                    <a:pt x="12" y="2"/>
                  </a:cubicBezTo>
                  <a:cubicBezTo>
                    <a:pt x="12" y="2"/>
                    <a:pt x="12" y="2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9" y="1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0" y="1"/>
                    <a:pt x="1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1" name="Freeform 84"/>
            <p:cNvSpPr/>
            <p:nvPr/>
          </p:nvSpPr>
          <p:spPr bwMode="auto">
            <a:xfrm>
              <a:off x="7057640" y="2707788"/>
              <a:ext cx="15741" cy="9443"/>
            </a:xfrm>
            <a:custGeom>
              <a:avLst/>
              <a:gdLst>
                <a:gd name="T0" fmla="*/ 2147483646 w 2"/>
                <a:gd name="T1" fmla="*/ 0 h 1"/>
                <a:gd name="T2" fmla="*/ 2147483646 w 2"/>
                <a:gd name="T3" fmla="*/ 2147483646 h 1"/>
                <a:gd name="T4" fmla="*/ 0 w 2"/>
                <a:gd name="T5" fmla="*/ 2147483646 h 1"/>
                <a:gd name="T6" fmla="*/ 2147483646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2" name="Freeform 85"/>
            <p:cNvSpPr/>
            <p:nvPr/>
          </p:nvSpPr>
          <p:spPr bwMode="auto">
            <a:xfrm>
              <a:off x="7019861" y="2707788"/>
              <a:ext cx="59817" cy="15738"/>
            </a:xfrm>
            <a:custGeom>
              <a:avLst/>
              <a:gdLst>
                <a:gd name="T0" fmla="*/ 2147483646 w 8"/>
                <a:gd name="T1" fmla="*/ 2147483646 h 2"/>
                <a:gd name="T2" fmla="*/ 0 w 8"/>
                <a:gd name="T3" fmla="*/ 2147483646 h 2"/>
                <a:gd name="T4" fmla="*/ 2147483646 w 8"/>
                <a:gd name="T5" fmla="*/ 0 h 2"/>
                <a:gd name="T6" fmla="*/ 2147483646 w 8"/>
                <a:gd name="T7" fmla="*/ 0 h 2"/>
                <a:gd name="T8" fmla="*/ 2147483646 w 8"/>
                <a:gd name="T9" fmla="*/ 0 h 2"/>
                <a:gd name="T10" fmla="*/ 2147483646 w 8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3" name="Freeform 86"/>
            <p:cNvSpPr/>
            <p:nvPr/>
          </p:nvSpPr>
          <p:spPr bwMode="auto">
            <a:xfrm>
              <a:off x="7148940" y="2814803"/>
              <a:ext cx="6296" cy="6295"/>
            </a:xfrm>
            <a:custGeom>
              <a:avLst/>
              <a:gdLst>
                <a:gd name="T0" fmla="*/ 2147483646 w 1"/>
                <a:gd name="T1" fmla="*/ 0 h 1"/>
                <a:gd name="T2" fmla="*/ 0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4" name="Freeform 87"/>
            <p:cNvSpPr/>
            <p:nvPr/>
          </p:nvSpPr>
          <p:spPr bwMode="auto">
            <a:xfrm>
              <a:off x="7139495" y="2805360"/>
              <a:ext cx="22038" cy="22033"/>
            </a:xfrm>
            <a:custGeom>
              <a:avLst/>
              <a:gdLst>
                <a:gd name="T0" fmla="*/ 2147483646 w 3"/>
                <a:gd name="T1" fmla="*/ 2147483646 h 3"/>
                <a:gd name="T2" fmla="*/ 0 w 3"/>
                <a:gd name="T3" fmla="*/ 2147483646 h 3"/>
                <a:gd name="T4" fmla="*/ 0 w 3"/>
                <a:gd name="T5" fmla="*/ 2147483646 h 3"/>
                <a:gd name="T6" fmla="*/ 2147483646 w 3"/>
                <a:gd name="T7" fmla="*/ 0 h 3"/>
                <a:gd name="T8" fmla="*/ 2147483646 w 3"/>
                <a:gd name="T9" fmla="*/ 0 h 3"/>
                <a:gd name="T10" fmla="*/ 2147483646 w 3"/>
                <a:gd name="T11" fmla="*/ 2147483646 h 3"/>
                <a:gd name="T12" fmla="*/ 2147483646 w 3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5" name="Freeform 88"/>
            <p:cNvSpPr/>
            <p:nvPr/>
          </p:nvSpPr>
          <p:spPr bwMode="auto">
            <a:xfrm>
              <a:off x="7111161" y="2755001"/>
              <a:ext cx="6296" cy="12589"/>
            </a:xfrm>
            <a:custGeom>
              <a:avLst/>
              <a:gdLst>
                <a:gd name="T0" fmla="*/ 2147483646 w 1"/>
                <a:gd name="T1" fmla="*/ 2147483646 h 2"/>
                <a:gd name="T2" fmla="*/ 0 w 1"/>
                <a:gd name="T3" fmla="*/ 0 h 2"/>
                <a:gd name="T4" fmla="*/ 2147483646 w 1"/>
                <a:gd name="T5" fmla="*/ 2147483646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2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6" name="Freeform 89"/>
            <p:cNvSpPr/>
            <p:nvPr/>
          </p:nvSpPr>
          <p:spPr bwMode="auto">
            <a:xfrm>
              <a:off x="7089123" y="2717229"/>
              <a:ext cx="28334" cy="50361"/>
            </a:xfrm>
            <a:custGeom>
              <a:avLst/>
              <a:gdLst>
                <a:gd name="T0" fmla="*/ 2147483646 w 4"/>
                <a:gd name="T1" fmla="*/ 2147483646 h 7"/>
                <a:gd name="T2" fmla="*/ 2147483646 w 4"/>
                <a:gd name="T3" fmla="*/ 2147483646 h 7"/>
                <a:gd name="T4" fmla="*/ 0 w 4"/>
                <a:gd name="T5" fmla="*/ 0 h 7"/>
                <a:gd name="T6" fmla="*/ 2147483646 w 4"/>
                <a:gd name="T7" fmla="*/ 2147483646 h 7"/>
                <a:gd name="T8" fmla="*/ 2147483646 w 4"/>
                <a:gd name="T9" fmla="*/ 2147483646 h 7"/>
                <a:gd name="T10" fmla="*/ 2147483646 w 4"/>
                <a:gd name="T11" fmla="*/ 2147483646 h 7"/>
                <a:gd name="T12" fmla="*/ 2147483646 w 4"/>
                <a:gd name="T13" fmla="*/ 2147483646 h 7"/>
                <a:gd name="T14" fmla="*/ 2147483646 w 4"/>
                <a:gd name="T15" fmla="*/ 2147483646 h 7"/>
                <a:gd name="T16" fmla="*/ 2147483646 w 4"/>
                <a:gd name="T17" fmla="*/ 2147483646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" h="7">
                  <a:moveTo>
                    <a:pt x="4" y="7"/>
                  </a:moveTo>
                  <a:cubicBezTo>
                    <a:pt x="3" y="7"/>
                    <a:pt x="3" y="6"/>
                    <a:pt x="2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7" name="Freeform 90"/>
            <p:cNvSpPr/>
            <p:nvPr/>
          </p:nvSpPr>
          <p:spPr bwMode="auto">
            <a:xfrm>
              <a:off x="7095419" y="2739262"/>
              <a:ext cx="6296" cy="15738"/>
            </a:xfrm>
            <a:custGeom>
              <a:avLst/>
              <a:gdLst>
                <a:gd name="T0" fmla="*/ 2147483646 w 1"/>
                <a:gd name="T1" fmla="*/ 0 h 2"/>
                <a:gd name="T2" fmla="*/ 2147483646 w 1"/>
                <a:gd name="T3" fmla="*/ 2147483646 h 2"/>
                <a:gd name="T4" fmla="*/ 2147483646 w 1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8" name="Freeform 91"/>
            <p:cNvSpPr/>
            <p:nvPr/>
          </p:nvSpPr>
          <p:spPr bwMode="auto">
            <a:xfrm>
              <a:off x="7095419" y="2739262"/>
              <a:ext cx="15741" cy="22033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2147483646 h 3"/>
                <a:gd name="T4" fmla="*/ 0 w 2"/>
                <a:gd name="T5" fmla="*/ 2147483646 h 3"/>
                <a:gd name="T6" fmla="*/ 0 w 2"/>
                <a:gd name="T7" fmla="*/ 0 h 3"/>
                <a:gd name="T8" fmla="*/ 2147483646 w 2"/>
                <a:gd name="T9" fmla="*/ 0 h 3"/>
                <a:gd name="T10" fmla="*/ 2147483646 w 2"/>
                <a:gd name="T11" fmla="*/ 2147483646 h 3"/>
                <a:gd name="T12" fmla="*/ 2147483646 w 2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2" y="1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9" name="Freeform 92"/>
            <p:cNvSpPr/>
            <p:nvPr/>
          </p:nvSpPr>
          <p:spPr bwMode="auto">
            <a:xfrm>
              <a:off x="7073382" y="2761295"/>
              <a:ext cx="6296" cy="6295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2147483646 w 1"/>
                <a:gd name="T5" fmla="*/ 2147483646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0" name="Freeform 93"/>
            <p:cNvSpPr/>
            <p:nvPr/>
          </p:nvSpPr>
          <p:spPr bwMode="auto">
            <a:xfrm>
              <a:off x="7067085" y="2745557"/>
              <a:ext cx="12593" cy="37771"/>
            </a:xfrm>
            <a:custGeom>
              <a:avLst/>
              <a:gdLst>
                <a:gd name="T0" fmla="*/ 2147483646 w 4"/>
                <a:gd name="T1" fmla="*/ 2147483646 h 12"/>
                <a:gd name="T2" fmla="*/ 0 w 4"/>
                <a:gd name="T3" fmla="*/ 2147483646 h 12"/>
                <a:gd name="T4" fmla="*/ 2147483646 w 4"/>
                <a:gd name="T5" fmla="*/ 0 h 12"/>
                <a:gd name="T6" fmla="*/ 2147483646 w 4"/>
                <a:gd name="T7" fmla="*/ 2147483646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12">
                  <a:moveTo>
                    <a:pt x="4" y="12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1" name="Freeform 94"/>
            <p:cNvSpPr/>
            <p:nvPr/>
          </p:nvSpPr>
          <p:spPr bwMode="auto">
            <a:xfrm>
              <a:off x="7067085" y="2745557"/>
              <a:ext cx="6296" cy="9443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2" name="Freeform 95"/>
            <p:cNvSpPr/>
            <p:nvPr/>
          </p:nvSpPr>
          <p:spPr bwMode="auto">
            <a:xfrm>
              <a:off x="7057640" y="2739262"/>
              <a:ext cx="22038" cy="22033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0 w 3"/>
                <a:gd name="T5" fmla="*/ 2147483646 h 3"/>
                <a:gd name="T6" fmla="*/ 2147483646 w 3"/>
                <a:gd name="T7" fmla="*/ 0 h 3"/>
                <a:gd name="T8" fmla="*/ 2147483646 w 3"/>
                <a:gd name="T9" fmla="*/ 0 h 3"/>
                <a:gd name="T10" fmla="*/ 2147483646 w 3"/>
                <a:gd name="T11" fmla="*/ 0 h 3"/>
                <a:gd name="T12" fmla="*/ 2147483646 w 3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3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3" name="Freeform 96"/>
            <p:cNvSpPr/>
            <p:nvPr/>
          </p:nvSpPr>
          <p:spPr bwMode="auto">
            <a:xfrm>
              <a:off x="7079678" y="2717229"/>
              <a:ext cx="9445" cy="15738"/>
            </a:xfrm>
            <a:custGeom>
              <a:avLst/>
              <a:gdLst>
                <a:gd name="T0" fmla="*/ 2147483646 w 1"/>
                <a:gd name="T1" fmla="*/ 2147483646 h 2"/>
                <a:gd name="T2" fmla="*/ 2147483646 w 1"/>
                <a:gd name="T3" fmla="*/ 2147483646 h 2"/>
                <a:gd name="T4" fmla="*/ 2147483646 w 1"/>
                <a:gd name="T5" fmla="*/ 0 h 2"/>
                <a:gd name="T6" fmla="*/ 2147483646 w 1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4" name="Freeform 97"/>
            <p:cNvSpPr/>
            <p:nvPr/>
          </p:nvSpPr>
          <p:spPr bwMode="auto">
            <a:xfrm>
              <a:off x="7079678" y="2701491"/>
              <a:ext cx="9445" cy="53508"/>
            </a:xfrm>
            <a:custGeom>
              <a:avLst/>
              <a:gdLst>
                <a:gd name="T0" fmla="*/ 2147483646 w 1"/>
                <a:gd name="T1" fmla="*/ 2147483646 h 7"/>
                <a:gd name="T2" fmla="*/ 0 w 1"/>
                <a:gd name="T3" fmla="*/ 2147483646 h 7"/>
                <a:gd name="T4" fmla="*/ 0 w 1"/>
                <a:gd name="T5" fmla="*/ 2147483646 h 7"/>
                <a:gd name="T6" fmla="*/ 2147483646 w 1"/>
                <a:gd name="T7" fmla="*/ 0 h 7"/>
                <a:gd name="T8" fmla="*/ 2147483646 w 1"/>
                <a:gd name="T9" fmla="*/ 2147483646 h 7"/>
                <a:gd name="T10" fmla="*/ 2147483646 w 1"/>
                <a:gd name="T11" fmla="*/ 2147483646 h 7"/>
                <a:gd name="T12" fmla="*/ 2147483646 w 1"/>
                <a:gd name="T13" fmla="*/ 2147483646 h 7"/>
                <a:gd name="T14" fmla="*/ 2147483646 w 1"/>
                <a:gd name="T15" fmla="*/ 2147483646 h 7"/>
                <a:gd name="T16" fmla="*/ 2147483646 w 1"/>
                <a:gd name="T17" fmla="*/ 2147483646 h 7"/>
                <a:gd name="T18" fmla="*/ 2147483646 w 1"/>
                <a:gd name="T19" fmla="*/ 2147483646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" h="7">
                  <a:moveTo>
                    <a:pt x="1" y="7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lnTo>
                    <a:pt x="1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5" name="Freeform 98"/>
            <p:cNvSpPr/>
            <p:nvPr/>
          </p:nvSpPr>
          <p:spPr bwMode="auto">
            <a:xfrm>
              <a:off x="7133198" y="2783328"/>
              <a:ext cx="6296" cy="15738"/>
            </a:xfrm>
            <a:custGeom>
              <a:avLst/>
              <a:gdLst>
                <a:gd name="T0" fmla="*/ 2147483646 w 1"/>
                <a:gd name="T1" fmla="*/ 2147483646 h 2"/>
                <a:gd name="T2" fmla="*/ 2147483646 w 1"/>
                <a:gd name="T3" fmla="*/ 2147483646 h 2"/>
                <a:gd name="T4" fmla="*/ 2147483646 w 1"/>
                <a:gd name="T5" fmla="*/ 2147483646 h 2"/>
                <a:gd name="T6" fmla="*/ 0 w 1"/>
                <a:gd name="T7" fmla="*/ 0 h 2"/>
                <a:gd name="T8" fmla="*/ 2147483646 w 1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6" name="Freeform 99"/>
            <p:cNvSpPr/>
            <p:nvPr/>
          </p:nvSpPr>
          <p:spPr bwMode="auto">
            <a:xfrm>
              <a:off x="7117457" y="2777034"/>
              <a:ext cx="31482" cy="44066"/>
            </a:xfrm>
            <a:custGeom>
              <a:avLst/>
              <a:gdLst>
                <a:gd name="T0" fmla="*/ 2147483646 w 4"/>
                <a:gd name="T1" fmla="*/ 2147483646 h 6"/>
                <a:gd name="T2" fmla="*/ 2147483646 w 4"/>
                <a:gd name="T3" fmla="*/ 2147483646 h 6"/>
                <a:gd name="T4" fmla="*/ 2147483646 w 4"/>
                <a:gd name="T5" fmla="*/ 2147483646 h 6"/>
                <a:gd name="T6" fmla="*/ 0 w 4"/>
                <a:gd name="T7" fmla="*/ 0 h 6"/>
                <a:gd name="T8" fmla="*/ 2147483646 w 4"/>
                <a:gd name="T9" fmla="*/ 2147483646 h 6"/>
                <a:gd name="T10" fmla="*/ 2147483646 w 4"/>
                <a:gd name="T11" fmla="*/ 2147483646 h 6"/>
                <a:gd name="T12" fmla="*/ 2147483646 w 4"/>
                <a:gd name="T13" fmla="*/ 2147483646 h 6"/>
                <a:gd name="T14" fmla="*/ 2147483646 w 4"/>
                <a:gd name="T15" fmla="*/ 2147483646 h 6"/>
                <a:gd name="T16" fmla="*/ 2147483646 w 4"/>
                <a:gd name="T17" fmla="*/ 2147483646 h 6"/>
                <a:gd name="T18" fmla="*/ 2147483646 w 4"/>
                <a:gd name="T19" fmla="*/ 2147483646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3"/>
                    <a:pt x="3" y="3"/>
                  </a:cubicBezTo>
                  <a:lnTo>
                    <a:pt x="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7" name="Freeform 100"/>
            <p:cNvSpPr/>
            <p:nvPr/>
          </p:nvSpPr>
          <p:spPr bwMode="auto">
            <a:xfrm>
              <a:off x="7148940" y="3557624"/>
              <a:ext cx="349456" cy="683017"/>
            </a:xfrm>
            <a:custGeom>
              <a:avLst/>
              <a:gdLst>
                <a:gd name="T0" fmla="*/ 2147483646 w 47"/>
                <a:gd name="T1" fmla="*/ 2147483646 h 92"/>
                <a:gd name="T2" fmla="*/ 2147483646 w 47"/>
                <a:gd name="T3" fmla="*/ 2147483646 h 92"/>
                <a:gd name="T4" fmla="*/ 2147483646 w 47"/>
                <a:gd name="T5" fmla="*/ 2147483646 h 92"/>
                <a:gd name="T6" fmla="*/ 2147483646 w 47"/>
                <a:gd name="T7" fmla="*/ 2147483646 h 92"/>
                <a:gd name="T8" fmla="*/ 2147483646 w 47"/>
                <a:gd name="T9" fmla="*/ 2147483646 h 92"/>
                <a:gd name="T10" fmla="*/ 2147483646 w 47"/>
                <a:gd name="T11" fmla="*/ 2147483646 h 92"/>
                <a:gd name="T12" fmla="*/ 2147483646 w 47"/>
                <a:gd name="T13" fmla="*/ 2147483646 h 92"/>
                <a:gd name="T14" fmla="*/ 2147483646 w 47"/>
                <a:gd name="T15" fmla="*/ 2147483646 h 92"/>
                <a:gd name="T16" fmla="*/ 2147483646 w 47"/>
                <a:gd name="T17" fmla="*/ 2147483646 h 92"/>
                <a:gd name="T18" fmla="*/ 2147483646 w 47"/>
                <a:gd name="T19" fmla="*/ 2147483646 h 92"/>
                <a:gd name="T20" fmla="*/ 2147483646 w 47"/>
                <a:gd name="T21" fmla="*/ 2147483646 h 92"/>
                <a:gd name="T22" fmla="*/ 2147483646 w 47"/>
                <a:gd name="T23" fmla="*/ 2147483646 h 92"/>
                <a:gd name="T24" fmla="*/ 2147483646 w 47"/>
                <a:gd name="T25" fmla="*/ 2147483646 h 92"/>
                <a:gd name="T26" fmla="*/ 2147483646 w 47"/>
                <a:gd name="T27" fmla="*/ 2147483646 h 92"/>
                <a:gd name="T28" fmla="*/ 2147483646 w 47"/>
                <a:gd name="T29" fmla="*/ 2147483646 h 92"/>
                <a:gd name="T30" fmla="*/ 2147483646 w 47"/>
                <a:gd name="T31" fmla="*/ 2147483646 h 92"/>
                <a:gd name="T32" fmla="*/ 2147483646 w 47"/>
                <a:gd name="T33" fmla="*/ 2147483646 h 92"/>
                <a:gd name="T34" fmla="*/ 2147483646 w 47"/>
                <a:gd name="T35" fmla="*/ 2147483646 h 92"/>
                <a:gd name="T36" fmla="*/ 2147483646 w 47"/>
                <a:gd name="T37" fmla="*/ 2147483646 h 92"/>
                <a:gd name="T38" fmla="*/ 2147483646 w 47"/>
                <a:gd name="T39" fmla="*/ 2147483646 h 92"/>
                <a:gd name="T40" fmla="*/ 2147483646 w 47"/>
                <a:gd name="T41" fmla="*/ 2147483646 h 92"/>
                <a:gd name="T42" fmla="*/ 2147483646 w 47"/>
                <a:gd name="T43" fmla="*/ 2147483646 h 92"/>
                <a:gd name="T44" fmla="*/ 2147483646 w 47"/>
                <a:gd name="T45" fmla="*/ 2147483646 h 92"/>
                <a:gd name="T46" fmla="*/ 2147483646 w 47"/>
                <a:gd name="T47" fmla="*/ 2147483646 h 92"/>
                <a:gd name="T48" fmla="*/ 2147483646 w 47"/>
                <a:gd name="T49" fmla="*/ 2147483646 h 92"/>
                <a:gd name="T50" fmla="*/ 2147483646 w 47"/>
                <a:gd name="T51" fmla="*/ 2147483646 h 92"/>
                <a:gd name="T52" fmla="*/ 2147483646 w 47"/>
                <a:gd name="T53" fmla="*/ 2147483646 h 92"/>
                <a:gd name="T54" fmla="*/ 2147483646 w 47"/>
                <a:gd name="T55" fmla="*/ 2147483646 h 92"/>
                <a:gd name="T56" fmla="*/ 2147483646 w 47"/>
                <a:gd name="T57" fmla="*/ 2147483646 h 92"/>
                <a:gd name="T58" fmla="*/ 2147483646 w 47"/>
                <a:gd name="T59" fmla="*/ 2147483646 h 92"/>
                <a:gd name="T60" fmla="*/ 2147483646 w 47"/>
                <a:gd name="T61" fmla="*/ 2147483646 h 92"/>
                <a:gd name="T62" fmla="*/ 2147483646 w 47"/>
                <a:gd name="T63" fmla="*/ 2147483646 h 92"/>
                <a:gd name="T64" fmla="*/ 2147483646 w 47"/>
                <a:gd name="T65" fmla="*/ 2147483646 h 92"/>
                <a:gd name="T66" fmla="*/ 2147483646 w 47"/>
                <a:gd name="T67" fmla="*/ 2147483646 h 92"/>
                <a:gd name="T68" fmla="*/ 2147483646 w 47"/>
                <a:gd name="T69" fmla="*/ 2147483646 h 92"/>
                <a:gd name="T70" fmla="*/ 2147483646 w 47"/>
                <a:gd name="T71" fmla="*/ 2147483646 h 92"/>
                <a:gd name="T72" fmla="*/ 2147483646 w 47"/>
                <a:gd name="T73" fmla="*/ 2147483646 h 92"/>
                <a:gd name="T74" fmla="*/ 2147483646 w 47"/>
                <a:gd name="T75" fmla="*/ 2147483646 h 92"/>
                <a:gd name="T76" fmla="*/ 2147483646 w 47"/>
                <a:gd name="T77" fmla="*/ 2147483646 h 92"/>
                <a:gd name="T78" fmla="*/ 2147483646 w 47"/>
                <a:gd name="T79" fmla="*/ 2147483646 h 92"/>
                <a:gd name="T80" fmla="*/ 2147483646 w 47"/>
                <a:gd name="T81" fmla="*/ 2147483646 h 92"/>
                <a:gd name="T82" fmla="*/ 2147483646 w 47"/>
                <a:gd name="T83" fmla="*/ 2147483646 h 92"/>
                <a:gd name="T84" fmla="*/ 2147483646 w 47"/>
                <a:gd name="T85" fmla="*/ 2147483646 h 92"/>
                <a:gd name="T86" fmla="*/ 2147483646 w 47"/>
                <a:gd name="T87" fmla="*/ 2147483646 h 92"/>
                <a:gd name="T88" fmla="*/ 2147483646 w 47"/>
                <a:gd name="T89" fmla="*/ 2147483646 h 92"/>
                <a:gd name="T90" fmla="*/ 2147483646 w 47"/>
                <a:gd name="T91" fmla="*/ 2147483646 h 92"/>
                <a:gd name="T92" fmla="*/ 2147483646 w 47"/>
                <a:gd name="T93" fmla="*/ 2147483646 h 92"/>
                <a:gd name="T94" fmla="*/ 2147483646 w 47"/>
                <a:gd name="T95" fmla="*/ 2147483646 h 92"/>
                <a:gd name="T96" fmla="*/ 2147483646 w 47"/>
                <a:gd name="T97" fmla="*/ 2147483646 h 92"/>
                <a:gd name="T98" fmla="*/ 2147483646 w 47"/>
                <a:gd name="T99" fmla="*/ 2147483646 h 92"/>
                <a:gd name="T100" fmla="*/ 2147483646 w 47"/>
                <a:gd name="T101" fmla="*/ 2147483646 h 92"/>
                <a:gd name="T102" fmla="*/ 2147483646 w 47"/>
                <a:gd name="T103" fmla="*/ 2147483646 h 92"/>
                <a:gd name="T104" fmla="*/ 2147483646 w 47"/>
                <a:gd name="T105" fmla="*/ 2147483646 h 92"/>
                <a:gd name="T106" fmla="*/ 2147483646 w 47"/>
                <a:gd name="T107" fmla="*/ 2147483646 h 92"/>
                <a:gd name="T108" fmla="*/ 2147483646 w 47"/>
                <a:gd name="T109" fmla="*/ 2147483646 h 92"/>
                <a:gd name="T110" fmla="*/ 2147483646 w 47"/>
                <a:gd name="T111" fmla="*/ 2147483646 h 92"/>
                <a:gd name="T112" fmla="*/ 2147483646 w 47"/>
                <a:gd name="T113" fmla="*/ 2147483646 h 92"/>
                <a:gd name="T114" fmla="*/ 2147483646 w 47"/>
                <a:gd name="T115" fmla="*/ 2147483646 h 92"/>
                <a:gd name="T116" fmla="*/ 2147483646 w 47"/>
                <a:gd name="T117" fmla="*/ 2147483646 h 92"/>
                <a:gd name="T118" fmla="*/ 2147483646 w 47"/>
                <a:gd name="T119" fmla="*/ 2147483646 h 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7" h="92">
                  <a:moveTo>
                    <a:pt x="44" y="11"/>
                  </a:moveTo>
                  <a:cubicBezTo>
                    <a:pt x="47" y="11"/>
                    <a:pt x="47" y="15"/>
                    <a:pt x="45" y="16"/>
                  </a:cubicBezTo>
                  <a:cubicBezTo>
                    <a:pt x="43" y="17"/>
                    <a:pt x="41" y="19"/>
                    <a:pt x="39" y="21"/>
                  </a:cubicBezTo>
                  <a:cubicBezTo>
                    <a:pt x="38" y="22"/>
                    <a:pt x="36" y="23"/>
                    <a:pt x="36" y="25"/>
                  </a:cubicBezTo>
                  <a:cubicBezTo>
                    <a:pt x="36" y="28"/>
                    <a:pt x="36" y="31"/>
                    <a:pt x="35" y="34"/>
                  </a:cubicBezTo>
                  <a:cubicBezTo>
                    <a:pt x="34" y="36"/>
                    <a:pt x="38" y="36"/>
                    <a:pt x="38" y="39"/>
                  </a:cubicBezTo>
                  <a:cubicBezTo>
                    <a:pt x="37" y="40"/>
                    <a:pt x="39" y="40"/>
                    <a:pt x="39" y="40"/>
                  </a:cubicBezTo>
                  <a:cubicBezTo>
                    <a:pt x="40" y="42"/>
                    <a:pt x="39" y="43"/>
                    <a:pt x="38" y="44"/>
                  </a:cubicBezTo>
                  <a:cubicBezTo>
                    <a:pt x="36" y="46"/>
                    <a:pt x="36" y="46"/>
                    <a:pt x="33" y="47"/>
                  </a:cubicBezTo>
                  <a:cubicBezTo>
                    <a:pt x="31" y="48"/>
                    <a:pt x="28" y="49"/>
                    <a:pt x="26" y="47"/>
                  </a:cubicBezTo>
                  <a:cubicBezTo>
                    <a:pt x="26" y="48"/>
                    <a:pt x="27" y="49"/>
                    <a:pt x="27" y="50"/>
                  </a:cubicBezTo>
                  <a:cubicBezTo>
                    <a:pt x="27" y="50"/>
                    <a:pt x="26" y="51"/>
                    <a:pt x="26" y="52"/>
                  </a:cubicBezTo>
                  <a:cubicBezTo>
                    <a:pt x="26" y="54"/>
                    <a:pt x="26" y="55"/>
                    <a:pt x="23" y="55"/>
                  </a:cubicBezTo>
                  <a:cubicBezTo>
                    <a:pt x="22" y="55"/>
                    <a:pt x="19" y="52"/>
                    <a:pt x="19" y="54"/>
                  </a:cubicBezTo>
                  <a:cubicBezTo>
                    <a:pt x="20" y="56"/>
                    <a:pt x="20" y="59"/>
                    <a:pt x="22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7"/>
                    <a:pt x="24" y="58"/>
                    <a:pt x="23" y="59"/>
                  </a:cubicBezTo>
                  <a:cubicBezTo>
                    <a:pt x="22" y="61"/>
                    <a:pt x="21" y="58"/>
                    <a:pt x="20" y="60"/>
                  </a:cubicBezTo>
                  <a:cubicBezTo>
                    <a:pt x="21" y="60"/>
                    <a:pt x="21" y="60"/>
                    <a:pt x="22" y="61"/>
                  </a:cubicBezTo>
                  <a:cubicBezTo>
                    <a:pt x="20" y="61"/>
                    <a:pt x="19" y="62"/>
                    <a:pt x="19" y="63"/>
                  </a:cubicBezTo>
                  <a:cubicBezTo>
                    <a:pt x="19" y="65"/>
                    <a:pt x="18" y="66"/>
                    <a:pt x="19" y="67"/>
                  </a:cubicBezTo>
                  <a:cubicBezTo>
                    <a:pt x="17" y="67"/>
                    <a:pt x="14" y="68"/>
                    <a:pt x="14" y="70"/>
                  </a:cubicBezTo>
                  <a:cubicBezTo>
                    <a:pt x="14" y="73"/>
                    <a:pt x="18" y="73"/>
                    <a:pt x="18" y="75"/>
                  </a:cubicBezTo>
                  <a:cubicBezTo>
                    <a:pt x="19" y="78"/>
                    <a:pt x="16" y="79"/>
                    <a:pt x="14" y="80"/>
                  </a:cubicBezTo>
                  <a:cubicBezTo>
                    <a:pt x="14" y="81"/>
                    <a:pt x="12" y="87"/>
                    <a:pt x="11" y="83"/>
                  </a:cubicBezTo>
                  <a:cubicBezTo>
                    <a:pt x="12" y="85"/>
                    <a:pt x="10" y="86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1" y="89"/>
                    <a:pt x="11" y="89"/>
                    <a:pt x="10" y="90"/>
                  </a:cubicBezTo>
                  <a:cubicBezTo>
                    <a:pt x="11" y="90"/>
                    <a:pt x="11" y="91"/>
                    <a:pt x="12" y="92"/>
                  </a:cubicBezTo>
                  <a:cubicBezTo>
                    <a:pt x="10" y="92"/>
                    <a:pt x="8" y="91"/>
                    <a:pt x="5" y="91"/>
                  </a:cubicBezTo>
                  <a:cubicBezTo>
                    <a:pt x="2" y="91"/>
                    <a:pt x="3" y="89"/>
                    <a:pt x="3" y="87"/>
                  </a:cubicBezTo>
                  <a:cubicBezTo>
                    <a:pt x="2" y="87"/>
                    <a:pt x="1" y="87"/>
                    <a:pt x="1" y="87"/>
                  </a:cubicBezTo>
                  <a:cubicBezTo>
                    <a:pt x="1" y="85"/>
                    <a:pt x="0" y="83"/>
                    <a:pt x="1" y="82"/>
                  </a:cubicBezTo>
                  <a:cubicBezTo>
                    <a:pt x="3" y="79"/>
                    <a:pt x="2" y="78"/>
                    <a:pt x="3" y="76"/>
                  </a:cubicBezTo>
                  <a:cubicBezTo>
                    <a:pt x="3" y="74"/>
                    <a:pt x="7" y="68"/>
                    <a:pt x="4" y="66"/>
                  </a:cubicBezTo>
                  <a:cubicBezTo>
                    <a:pt x="4" y="66"/>
                    <a:pt x="5" y="66"/>
                    <a:pt x="5" y="66"/>
                  </a:cubicBezTo>
                  <a:cubicBezTo>
                    <a:pt x="4" y="65"/>
                    <a:pt x="3" y="60"/>
                    <a:pt x="4" y="59"/>
                  </a:cubicBezTo>
                  <a:cubicBezTo>
                    <a:pt x="5" y="56"/>
                    <a:pt x="4" y="53"/>
                    <a:pt x="5" y="50"/>
                  </a:cubicBezTo>
                  <a:cubicBezTo>
                    <a:pt x="5" y="48"/>
                    <a:pt x="6" y="47"/>
                    <a:pt x="6" y="46"/>
                  </a:cubicBezTo>
                  <a:cubicBezTo>
                    <a:pt x="6" y="45"/>
                    <a:pt x="5" y="43"/>
                    <a:pt x="6" y="41"/>
                  </a:cubicBezTo>
                  <a:cubicBezTo>
                    <a:pt x="6" y="41"/>
                    <a:pt x="7" y="40"/>
                    <a:pt x="7" y="40"/>
                  </a:cubicBezTo>
                  <a:cubicBezTo>
                    <a:pt x="7" y="39"/>
                    <a:pt x="7" y="38"/>
                    <a:pt x="7" y="37"/>
                  </a:cubicBezTo>
                  <a:cubicBezTo>
                    <a:pt x="8" y="35"/>
                    <a:pt x="9" y="35"/>
                    <a:pt x="8" y="32"/>
                  </a:cubicBezTo>
                  <a:cubicBezTo>
                    <a:pt x="8" y="31"/>
                    <a:pt x="8" y="29"/>
                    <a:pt x="7" y="28"/>
                  </a:cubicBezTo>
                  <a:cubicBezTo>
                    <a:pt x="7" y="26"/>
                    <a:pt x="8" y="25"/>
                    <a:pt x="8" y="24"/>
                  </a:cubicBezTo>
                  <a:cubicBezTo>
                    <a:pt x="9" y="22"/>
                    <a:pt x="9" y="21"/>
                    <a:pt x="9" y="20"/>
                  </a:cubicBezTo>
                  <a:cubicBezTo>
                    <a:pt x="9" y="18"/>
                    <a:pt x="10" y="17"/>
                    <a:pt x="11" y="16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2" y="14"/>
                    <a:pt x="12" y="13"/>
                    <a:pt x="12" y="12"/>
                  </a:cubicBezTo>
                  <a:cubicBezTo>
                    <a:pt x="12" y="11"/>
                    <a:pt x="11" y="9"/>
                    <a:pt x="12" y="9"/>
                  </a:cubicBezTo>
                  <a:cubicBezTo>
                    <a:pt x="14" y="8"/>
                    <a:pt x="15" y="8"/>
                    <a:pt x="15" y="6"/>
                  </a:cubicBezTo>
                  <a:cubicBezTo>
                    <a:pt x="15" y="5"/>
                    <a:pt x="15" y="5"/>
                    <a:pt x="15" y="4"/>
                  </a:cubicBezTo>
                  <a:cubicBezTo>
                    <a:pt x="16" y="3"/>
                    <a:pt x="16" y="3"/>
                    <a:pt x="17" y="2"/>
                  </a:cubicBezTo>
                  <a:cubicBezTo>
                    <a:pt x="18" y="3"/>
                    <a:pt x="20" y="2"/>
                    <a:pt x="21" y="4"/>
                  </a:cubicBezTo>
                  <a:cubicBezTo>
                    <a:pt x="22" y="0"/>
                    <a:pt x="27" y="4"/>
                    <a:pt x="28" y="6"/>
                  </a:cubicBezTo>
                  <a:cubicBezTo>
                    <a:pt x="29" y="7"/>
                    <a:pt x="30" y="7"/>
                    <a:pt x="32" y="8"/>
                  </a:cubicBezTo>
                  <a:cubicBezTo>
                    <a:pt x="33" y="8"/>
                    <a:pt x="35" y="10"/>
                    <a:pt x="36" y="11"/>
                  </a:cubicBezTo>
                  <a:cubicBezTo>
                    <a:pt x="37" y="11"/>
                    <a:pt x="36" y="13"/>
                    <a:pt x="35" y="14"/>
                  </a:cubicBezTo>
                  <a:cubicBezTo>
                    <a:pt x="34" y="16"/>
                    <a:pt x="37" y="15"/>
                    <a:pt x="38" y="16"/>
                  </a:cubicBezTo>
                  <a:cubicBezTo>
                    <a:pt x="41" y="18"/>
                    <a:pt x="44" y="15"/>
                    <a:pt x="44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8" name="Freeform 101"/>
            <p:cNvSpPr>
              <a:spLocks noEditPoints="1"/>
            </p:cNvSpPr>
            <p:nvPr/>
          </p:nvSpPr>
          <p:spPr bwMode="auto">
            <a:xfrm>
              <a:off x="7148940" y="3563920"/>
              <a:ext cx="349456" cy="683017"/>
            </a:xfrm>
            <a:custGeom>
              <a:avLst/>
              <a:gdLst>
                <a:gd name="T0" fmla="*/ 2147483646 w 47"/>
                <a:gd name="T1" fmla="*/ 2147483646 h 92"/>
                <a:gd name="T2" fmla="*/ 2147483646 w 47"/>
                <a:gd name="T3" fmla="*/ 2147483646 h 92"/>
                <a:gd name="T4" fmla="*/ 2147483646 w 47"/>
                <a:gd name="T5" fmla="*/ 2147483646 h 92"/>
                <a:gd name="T6" fmla="*/ 2147483646 w 47"/>
                <a:gd name="T7" fmla="*/ 2147483646 h 92"/>
                <a:gd name="T8" fmla="*/ 2147483646 w 47"/>
                <a:gd name="T9" fmla="*/ 2147483646 h 92"/>
                <a:gd name="T10" fmla="*/ 2147483646 w 47"/>
                <a:gd name="T11" fmla="*/ 2147483646 h 92"/>
                <a:gd name="T12" fmla="*/ 2147483646 w 47"/>
                <a:gd name="T13" fmla="*/ 2147483646 h 92"/>
                <a:gd name="T14" fmla="*/ 2147483646 w 47"/>
                <a:gd name="T15" fmla="*/ 2147483646 h 92"/>
                <a:gd name="T16" fmla="*/ 2147483646 w 47"/>
                <a:gd name="T17" fmla="*/ 2147483646 h 92"/>
                <a:gd name="T18" fmla="*/ 2147483646 w 47"/>
                <a:gd name="T19" fmla="*/ 2147483646 h 92"/>
                <a:gd name="T20" fmla="*/ 2147483646 w 47"/>
                <a:gd name="T21" fmla="*/ 2147483646 h 92"/>
                <a:gd name="T22" fmla="*/ 2147483646 w 47"/>
                <a:gd name="T23" fmla="*/ 2147483646 h 92"/>
                <a:gd name="T24" fmla="*/ 2147483646 w 47"/>
                <a:gd name="T25" fmla="*/ 2147483646 h 92"/>
                <a:gd name="T26" fmla="*/ 2147483646 w 47"/>
                <a:gd name="T27" fmla="*/ 2147483646 h 92"/>
                <a:gd name="T28" fmla="*/ 2147483646 w 47"/>
                <a:gd name="T29" fmla="*/ 2147483646 h 92"/>
                <a:gd name="T30" fmla="*/ 2147483646 w 47"/>
                <a:gd name="T31" fmla="*/ 2147483646 h 92"/>
                <a:gd name="T32" fmla="*/ 2147483646 w 47"/>
                <a:gd name="T33" fmla="*/ 2147483646 h 92"/>
                <a:gd name="T34" fmla="*/ 2147483646 w 47"/>
                <a:gd name="T35" fmla="*/ 2147483646 h 92"/>
                <a:gd name="T36" fmla="*/ 2147483646 w 47"/>
                <a:gd name="T37" fmla="*/ 2147483646 h 92"/>
                <a:gd name="T38" fmla="*/ 2147483646 w 47"/>
                <a:gd name="T39" fmla="*/ 2147483646 h 92"/>
                <a:gd name="T40" fmla="*/ 2147483646 w 47"/>
                <a:gd name="T41" fmla="*/ 2147483646 h 92"/>
                <a:gd name="T42" fmla="*/ 2147483646 w 47"/>
                <a:gd name="T43" fmla="*/ 2147483646 h 92"/>
                <a:gd name="T44" fmla="*/ 2147483646 w 47"/>
                <a:gd name="T45" fmla="*/ 2147483646 h 92"/>
                <a:gd name="T46" fmla="*/ 2147483646 w 47"/>
                <a:gd name="T47" fmla="*/ 2147483646 h 92"/>
                <a:gd name="T48" fmla="*/ 2147483646 w 47"/>
                <a:gd name="T49" fmla="*/ 2147483646 h 92"/>
                <a:gd name="T50" fmla="*/ 2147483646 w 47"/>
                <a:gd name="T51" fmla="*/ 2147483646 h 92"/>
                <a:gd name="T52" fmla="*/ 2147483646 w 47"/>
                <a:gd name="T53" fmla="*/ 2147483646 h 92"/>
                <a:gd name="T54" fmla="*/ 2147483646 w 47"/>
                <a:gd name="T55" fmla="*/ 2147483646 h 92"/>
                <a:gd name="T56" fmla="*/ 2147483646 w 47"/>
                <a:gd name="T57" fmla="*/ 2147483646 h 92"/>
                <a:gd name="T58" fmla="*/ 2147483646 w 47"/>
                <a:gd name="T59" fmla="*/ 2147483646 h 92"/>
                <a:gd name="T60" fmla="*/ 2147483646 w 47"/>
                <a:gd name="T61" fmla="*/ 2147483646 h 92"/>
                <a:gd name="T62" fmla="*/ 2147483646 w 47"/>
                <a:gd name="T63" fmla="*/ 2147483646 h 92"/>
                <a:gd name="T64" fmla="*/ 2147483646 w 47"/>
                <a:gd name="T65" fmla="*/ 2147483646 h 92"/>
                <a:gd name="T66" fmla="*/ 2147483646 w 47"/>
                <a:gd name="T67" fmla="*/ 2147483646 h 92"/>
                <a:gd name="T68" fmla="*/ 2147483646 w 47"/>
                <a:gd name="T69" fmla="*/ 2147483646 h 92"/>
                <a:gd name="T70" fmla="*/ 2147483646 w 47"/>
                <a:gd name="T71" fmla="*/ 2147483646 h 92"/>
                <a:gd name="T72" fmla="*/ 2147483646 w 47"/>
                <a:gd name="T73" fmla="*/ 2147483646 h 92"/>
                <a:gd name="T74" fmla="*/ 2147483646 w 47"/>
                <a:gd name="T75" fmla="*/ 2147483646 h 92"/>
                <a:gd name="T76" fmla="*/ 2147483646 w 47"/>
                <a:gd name="T77" fmla="*/ 2147483646 h 92"/>
                <a:gd name="T78" fmla="*/ 2147483646 w 47"/>
                <a:gd name="T79" fmla="*/ 2147483646 h 92"/>
                <a:gd name="T80" fmla="*/ 2147483646 w 47"/>
                <a:gd name="T81" fmla="*/ 2147483646 h 92"/>
                <a:gd name="T82" fmla="*/ 2147483646 w 47"/>
                <a:gd name="T83" fmla="*/ 2147483646 h 92"/>
                <a:gd name="T84" fmla="*/ 2147483646 w 47"/>
                <a:gd name="T85" fmla="*/ 2147483646 h 92"/>
                <a:gd name="T86" fmla="*/ 2147483646 w 47"/>
                <a:gd name="T87" fmla="*/ 2147483646 h 92"/>
                <a:gd name="T88" fmla="*/ 2147483646 w 47"/>
                <a:gd name="T89" fmla="*/ 2147483646 h 92"/>
                <a:gd name="T90" fmla="*/ 2147483646 w 47"/>
                <a:gd name="T91" fmla="*/ 2147483646 h 92"/>
                <a:gd name="T92" fmla="*/ 2147483646 w 47"/>
                <a:gd name="T93" fmla="*/ 2147483646 h 92"/>
                <a:gd name="T94" fmla="*/ 2147483646 w 47"/>
                <a:gd name="T95" fmla="*/ 2147483646 h 92"/>
                <a:gd name="T96" fmla="*/ 2147483646 w 47"/>
                <a:gd name="T97" fmla="*/ 2147483646 h 92"/>
                <a:gd name="T98" fmla="*/ 2147483646 w 47"/>
                <a:gd name="T99" fmla="*/ 2147483646 h 92"/>
                <a:gd name="T100" fmla="*/ 2147483646 w 47"/>
                <a:gd name="T101" fmla="*/ 2147483646 h 92"/>
                <a:gd name="T102" fmla="*/ 2147483646 w 47"/>
                <a:gd name="T103" fmla="*/ 2147483646 h 92"/>
                <a:gd name="T104" fmla="*/ 2147483646 w 47"/>
                <a:gd name="T105" fmla="*/ 2147483646 h 92"/>
                <a:gd name="T106" fmla="*/ 2147483646 w 47"/>
                <a:gd name="T107" fmla="*/ 2147483646 h 92"/>
                <a:gd name="T108" fmla="*/ 2147483646 w 47"/>
                <a:gd name="T109" fmla="*/ 2147483646 h 92"/>
                <a:gd name="T110" fmla="*/ 2147483646 w 47"/>
                <a:gd name="T111" fmla="*/ 2147483646 h 92"/>
                <a:gd name="T112" fmla="*/ 2147483646 w 47"/>
                <a:gd name="T113" fmla="*/ 2147483646 h 92"/>
                <a:gd name="T114" fmla="*/ 2147483646 w 47"/>
                <a:gd name="T115" fmla="*/ 2147483646 h 92"/>
                <a:gd name="T116" fmla="*/ 2147483646 w 47"/>
                <a:gd name="T117" fmla="*/ 2147483646 h 9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47" h="92">
                  <a:moveTo>
                    <a:pt x="14" y="92"/>
                  </a:moveTo>
                  <a:cubicBezTo>
                    <a:pt x="12" y="92"/>
                    <a:pt x="12" y="92"/>
                    <a:pt x="12" y="92"/>
                  </a:cubicBezTo>
                  <a:cubicBezTo>
                    <a:pt x="9" y="91"/>
                    <a:pt x="7" y="91"/>
                    <a:pt x="5" y="91"/>
                  </a:cubicBezTo>
                  <a:cubicBezTo>
                    <a:pt x="2" y="91"/>
                    <a:pt x="2" y="89"/>
                    <a:pt x="2" y="87"/>
                  </a:cubicBezTo>
                  <a:cubicBezTo>
                    <a:pt x="2" y="87"/>
                    <a:pt x="2" y="86"/>
                    <a:pt x="2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4"/>
                    <a:pt x="0" y="82"/>
                    <a:pt x="1" y="80"/>
                  </a:cubicBezTo>
                  <a:cubicBezTo>
                    <a:pt x="2" y="79"/>
                    <a:pt x="2" y="78"/>
                    <a:pt x="2" y="77"/>
                  </a:cubicBezTo>
                  <a:cubicBezTo>
                    <a:pt x="2" y="76"/>
                    <a:pt x="2" y="76"/>
                    <a:pt x="2" y="75"/>
                  </a:cubicBezTo>
                  <a:cubicBezTo>
                    <a:pt x="2" y="74"/>
                    <a:pt x="3" y="73"/>
                    <a:pt x="3" y="72"/>
                  </a:cubicBezTo>
                  <a:cubicBezTo>
                    <a:pt x="4" y="70"/>
                    <a:pt x="5" y="67"/>
                    <a:pt x="4" y="66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4"/>
                    <a:pt x="4" y="64"/>
                  </a:cubicBezTo>
                  <a:cubicBezTo>
                    <a:pt x="3" y="63"/>
                    <a:pt x="2" y="59"/>
                    <a:pt x="3" y="57"/>
                  </a:cubicBezTo>
                  <a:cubicBezTo>
                    <a:pt x="4" y="56"/>
                    <a:pt x="4" y="55"/>
                    <a:pt x="4" y="53"/>
                  </a:cubicBezTo>
                  <a:cubicBezTo>
                    <a:pt x="4" y="52"/>
                    <a:pt x="4" y="50"/>
                    <a:pt x="4" y="49"/>
                  </a:cubicBezTo>
                  <a:cubicBezTo>
                    <a:pt x="4" y="48"/>
                    <a:pt x="4" y="48"/>
                    <a:pt x="5" y="47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3"/>
                    <a:pt x="5" y="41"/>
                    <a:pt x="5" y="40"/>
                  </a:cubicBezTo>
                  <a:cubicBezTo>
                    <a:pt x="5" y="40"/>
                    <a:pt x="6" y="39"/>
                    <a:pt x="6" y="39"/>
                  </a:cubicBezTo>
                  <a:cubicBezTo>
                    <a:pt x="6" y="39"/>
                    <a:pt x="7" y="39"/>
                    <a:pt x="7" y="39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6" y="37"/>
                    <a:pt x="6" y="37"/>
                    <a:pt x="6" y="36"/>
                  </a:cubicBezTo>
                  <a:cubicBezTo>
                    <a:pt x="7" y="35"/>
                    <a:pt x="7" y="35"/>
                    <a:pt x="7" y="34"/>
                  </a:cubicBezTo>
                  <a:cubicBezTo>
                    <a:pt x="8" y="33"/>
                    <a:pt x="8" y="33"/>
                    <a:pt x="8" y="32"/>
                  </a:cubicBezTo>
                  <a:cubicBezTo>
                    <a:pt x="8" y="30"/>
                    <a:pt x="7" y="29"/>
                    <a:pt x="7" y="28"/>
                  </a:cubicBezTo>
                  <a:cubicBezTo>
                    <a:pt x="7" y="28"/>
                    <a:pt x="7" y="27"/>
                    <a:pt x="7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7" y="23"/>
                    <a:pt x="8" y="23"/>
                    <a:pt x="8" y="23"/>
                  </a:cubicBezTo>
                  <a:cubicBezTo>
                    <a:pt x="8" y="22"/>
                    <a:pt x="8" y="21"/>
                    <a:pt x="8" y="21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9" y="17"/>
                    <a:pt x="9" y="17"/>
                    <a:pt x="9" y="16"/>
                  </a:cubicBezTo>
                  <a:cubicBezTo>
                    <a:pt x="10" y="16"/>
                    <a:pt x="10" y="15"/>
                    <a:pt x="10" y="15"/>
                  </a:cubicBezTo>
                  <a:cubicBezTo>
                    <a:pt x="10" y="14"/>
                    <a:pt x="11" y="14"/>
                    <a:pt x="11" y="14"/>
                  </a:cubicBezTo>
                  <a:cubicBezTo>
                    <a:pt x="11" y="14"/>
                    <a:pt x="12" y="14"/>
                    <a:pt x="12" y="14"/>
                  </a:cubicBezTo>
                  <a:cubicBezTo>
                    <a:pt x="12" y="13"/>
                    <a:pt x="11" y="13"/>
                    <a:pt x="11" y="12"/>
                  </a:cubicBezTo>
                  <a:cubicBezTo>
                    <a:pt x="11" y="12"/>
                    <a:pt x="11" y="11"/>
                    <a:pt x="11" y="11"/>
                  </a:cubicBezTo>
                  <a:cubicBezTo>
                    <a:pt x="11" y="10"/>
                    <a:pt x="11" y="8"/>
                    <a:pt x="12" y="7"/>
                  </a:cubicBezTo>
                  <a:cubicBezTo>
                    <a:pt x="12" y="7"/>
                    <a:pt x="12" y="7"/>
                    <a:pt x="13" y="7"/>
                  </a:cubicBezTo>
                  <a:cubicBezTo>
                    <a:pt x="14" y="6"/>
                    <a:pt x="14" y="6"/>
                    <a:pt x="14" y="5"/>
                  </a:cubicBezTo>
                  <a:cubicBezTo>
                    <a:pt x="15" y="5"/>
                    <a:pt x="14" y="4"/>
                    <a:pt x="14" y="4"/>
                  </a:cubicBezTo>
                  <a:cubicBezTo>
                    <a:pt x="14" y="4"/>
                    <a:pt x="14" y="3"/>
                    <a:pt x="15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20" y="1"/>
                    <a:pt x="21" y="1"/>
                    <a:pt x="21" y="2"/>
                  </a:cubicBezTo>
                  <a:cubicBezTo>
                    <a:pt x="22" y="1"/>
                    <a:pt x="22" y="1"/>
                    <a:pt x="23" y="1"/>
                  </a:cubicBezTo>
                  <a:cubicBezTo>
                    <a:pt x="25" y="1"/>
                    <a:pt x="28" y="4"/>
                    <a:pt x="28" y="4"/>
                  </a:cubicBezTo>
                  <a:cubicBezTo>
                    <a:pt x="30" y="6"/>
                    <a:pt x="30" y="6"/>
                    <a:pt x="32" y="6"/>
                  </a:cubicBezTo>
                  <a:cubicBezTo>
                    <a:pt x="33" y="6"/>
                    <a:pt x="34" y="7"/>
                    <a:pt x="36" y="8"/>
                  </a:cubicBezTo>
                  <a:cubicBezTo>
                    <a:pt x="36" y="9"/>
                    <a:pt x="36" y="9"/>
                    <a:pt x="37" y="9"/>
                  </a:cubicBezTo>
                  <a:cubicBezTo>
                    <a:pt x="38" y="10"/>
                    <a:pt x="37" y="12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7" y="14"/>
                  </a:cubicBezTo>
                  <a:cubicBezTo>
                    <a:pt x="37" y="14"/>
                    <a:pt x="38" y="14"/>
                    <a:pt x="38" y="14"/>
                  </a:cubicBezTo>
                  <a:cubicBezTo>
                    <a:pt x="39" y="15"/>
                    <a:pt x="39" y="15"/>
                    <a:pt x="40" y="15"/>
                  </a:cubicBezTo>
                  <a:cubicBezTo>
                    <a:pt x="42" y="15"/>
                    <a:pt x="43" y="13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5" y="10"/>
                    <a:pt x="46" y="10"/>
                    <a:pt x="47" y="12"/>
                  </a:cubicBezTo>
                  <a:cubicBezTo>
                    <a:pt x="47" y="13"/>
                    <a:pt x="46" y="15"/>
                    <a:pt x="45" y="15"/>
                  </a:cubicBezTo>
                  <a:cubicBezTo>
                    <a:pt x="44" y="16"/>
                    <a:pt x="42" y="17"/>
                    <a:pt x="41" y="19"/>
                  </a:cubicBezTo>
                  <a:cubicBezTo>
                    <a:pt x="41" y="19"/>
                    <a:pt x="40" y="20"/>
                    <a:pt x="40" y="20"/>
                  </a:cubicBezTo>
                  <a:cubicBezTo>
                    <a:pt x="40" y="21"/>
                    <a:pt x="39" y="21"/>
                    <a:pt x="39" y="21"/>
                  </a:cubicBezTo>
                  <a:cubicBezTo>
                    <a:pt x="38" y="22"/>
                    <a:pt x="37" y="23"/>
                    <a:pt x="37" y="25"/>
                  </a:cubicBezTo>
                  <a:cubicBezTo>
                    <a:pt x="37" y="27"/>
                    <a:pt x="36" y="30"/>
                    <a:pt x="36" y="33"/>
                  </a:cubicBezTo>
                  <a:cubicBezTo>
                    <a:pt x="35" y="34"/>
                    <a:pt x="36" y="34"/>
                    <a:pt x="37" y="35"/>
                  </a:cubicBezTo>
                  <a:cubicBezTo>
                    <a:pt x="38" y="35"/>
                    <a:pt x="39" y="36"/>
                    <a:pt x="38" y="38"/>
                  </a:cubicBezTo>
                  <a:cubicBezTo>
                    <a:pt x="38" y="38"/>
                    <a:pt x="38" y="38"/>
                    <a:pt x="39" y="38"/>
                  </a:cubicBezTo>
                  <a:cubicBezTo>
                    <a:pt x="39" y="39"/>
                    <a:pt x="39" y="39"/>
                    <a:pt x="40" y="39"/>
                  </a:cubicBezTo>
                  <a:cubicBezTo>
                    <a:pt x="40" y="41"/>
                    <a:pt x="39" y="42"/>
                    <a:pt x="38" y="43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7" y="46"/>
                    <a:pt x="36" y="46"/>
                    <a:pt x="33" y="47"/>
                  </a:cubicBezTo>
                  <a:cubicBezTo>
                    <a:pt x="33" y="47"/>
                    <a:pt x="33" y="47"/>
                    <a:pt x="32" y="47"/>
                  </a:cubicBezTo>
                  <a:cubicBezTo>
                    <a:pt x="31" y="47"/>
                    <a:pt x="28" y="48"/>
                    <a:pt x="27" y="47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9"/>
                  </a:cubicBezTo>
                  <a:cubicBezTo>
                    <a:pt x="27" y="49"/>
                    <a:pt x="27" y="49"/>
                    <a:pt x="27" y="50"/>
                  </a:cubicBezTo>
                  <a:cubicBezTo>
                    <a:pt x="27" y="50"/>
                    <a:pt x="27" y="50"/>
                    <a:pt x="27" y="51"/>
                  </a:cubicBezTo>
                  <a:cubicBezTo>
                    <a:pt x="27" y="52"/>
                    <a:pt x="27" y="53"/>
                    <a:pt x="26" y="53"/>
                  </a:cubicBezTo>
                  <a:cubicBezTo>
                    <a:pt x="25" y="54"/>
                    <a:pt x="25" y="54"/>
                    <a:pt x="23" y="54"/>
                  </a:cubicBezTo>
                  <a:cubicBezTo>
                    <a:pt x="23" y="54"/>
                    <a:pt x="22" y="54"/>
                    <a:pt x="22" y="54"/>
                  </a:cubicBezTo>
                  <a:cubicBezTo>
                    <a:pt x="21" y="53"/>
                    <a:pt x="20" y="53"/>
                    <a:pt x="20" y="53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3"/>
                    <a:pt x="20" y="53"/>
                    <a:pt x="20" y="54"/>
                  </a:cubicBezTo>
                  <a:cubicBezTo>
                    <a:pt x="20" y="55"/>
                    <a:pt x="20" y="56"/>
                    <a:pt x="21" y="57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2" y="56"/>
                    <a:pt x="23" y="56"/>
                    <a:pt x="24" y="57"/>
                  </a:cubicBezTo>
                  <a:cubicBezTo>
                    <a:pt x="24" y="57"/>
                    <a:pt x="24" y="58"/>
                    <a:pt x="24" y="58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60"/>
                    <a:pt x="20" y="61"/>
                    <a:pt x="20" y="62"/>
                  </a:cubicBezTo>
                  <a:cubicBezTo>
                    <a:pt x="20" y="63"/>
                    <a:pt x="20" y="64"/>
                    <a:pt x="20" y="64"/>
                  </a:cubicBezTo>
                  <a:cubicBezTo>
                    <a:pt x="19" y="65"/>
                    <a:pt x="19" y="65"/>
                    <a:pt x="19" y="66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7" y="66"/>
                    <a:pt x="15" y="68"/>
                    <a:pt x="15" y="70"/>
                  </a:cubicBezTo>
                  <a:cubicBezTo>
                    <a:pt x="14" y="71"/>
                    <a:pt x="15" y="71"/>
                    <a:pt x="17" y="72"/>
                  </a:cubicBezTo>
                  <a:cubicBezTo>
                    <a:pt x="18" y="72"/>
                    <a:pt x="19" y="73"/>
                    <a:pt x="19" y="74"/>
                  </a:cubicBezTo>
                  <a:cubicBezTo>
                    <a:pt x="19" y="76"/>
                    <a:pt x="17" y="78"/>
                    <a:pt x="16" y="79"/>
                  </a:cubicBezTo>
                  <a:cubicBezTo>
                    <a:pt x="15" y="79"/>
                    <a:pt x="15" y="80"/>
                    <a:pt x="15" y="80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4" y="83"/>
                    <a:pt x="13" y="84"/>
                    <a:pt x="12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4"/>
                    <a:pt x="11" y="85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7"/>
                    <a:pt x="11" y="88"/>
                    <a:pt x="11" y="88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2" y="89"/>
                    <a:pt x="12" y="90"/>
                    <a:pt x="12" y="90"/>
                  </a:cubicBezTo>
                  <a:cubicBezTo>
                    <a:pt x="12" y="91"/>
                    <a:pt x="13" y="91"/>
                    <a:pt x="13" y="91"/>
                  </a:cubicBezTo>
                  <a:lnTo>
                    <a:pt x="14" y="92"/>
                  </a:lnTo>
                  <a:close/>
                  <a:moveTo>
                    <a:pt x="3" y="85"/>
                  </a:moveTo>
                  <a:cubicBezTo>
                    <a:pt x="3" y="86"/>
                    <a:pt x="3" y="86"/>
                    <a:pt x="3" y="86"/>
                  </a:cubicBezTo>
                  <a:cubicBezTo>
                    <a:pt x="4" y="86"/>
                    <a:pt x="3" y="86"/>
                    <a:pt x="3" y="87"/>
                  </a:cubicBezTo>
                  <a:cubicBezTo>
                    <a:pt x="3" y="89"/>
                    <a:pt x="4" y="90"/>
                    <a:pt x="5" y="90"/>
                  </a:cubicBezTo>
                  <a:cubicBezTo>
                    <a:pt x="7" y="90"/>
                    <a:pt x="9" y="90"/>
                    <a:pt x="11" y="90"/>
                  </a:cubicBezTo>
                  <a:cubicBezTo>
                    <a:pt x="11" y="90"/>
                    <a:pt x="10" y="89"/>
                    <a:pt x="10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7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6"/>
                    <a:pt x="10" y="86"/>
                    <a:pt x="10" y="85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1" y="83"/>
                    <a:pt x="11" y="82"/>
                    <a:pt x="11" y="82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3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13" y="82"/>
                    <a:pt x="13" y="82"/>
                    <a:pt x="13" y="80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9"/>
                    <a:pt x="14" y="78"/>
                    <a:pt x="15" y="78"/>
                  </a:cubicBezTo>
                  <a:cubicBezTo>
                    <a:pt x="16" y="77"/>
                    <a:pt x="18" y="76"/>
                    <a:pt x="18" y="74"/>
                  </a:cubicBezTo>
                  <a:cubicBezTo>
                    <a:pt x="18" y="74"/>
                    <a:pt x="17" y="73"/>
                    <a:pt x="16" y="73"/>
                  </a:cubicBezTo>
                  <a:cubicBezTo>
                    <a:pt x="15" y="72"/>
                    <a:pt x="13" y="72"/>
                    <a:pt x="13" y="69"/>
                  </a:cubicBezTo>
                  <a:cubicBezTo>
                    <a:pt x="14" y="67"/>
                    <a:pt x="16" y="65"/>
                    <a:pt x="18" y="65"/>
                  </a:cubicBezTo>
                  <a:cubicBezTo>
                    <a:pt x="18" y="65"/>
                    <a:pt x="18" y="64"/>
                    <a:pt x="18" y="64"/>
                  </a:cubicBezTo>
                  <a:cubicBezTo>
                    <a:pt x="19" y="63"/>
                    <a:pt x="19" y="63"/>
                    <a:pt x="19" y="62"/>
                  </a:cubicBezTo>
                  <a:cubicBezTo>
                    <a:pt x="19" y="61"/>
                    <a:pt x="19" y="60"/>
                    <a:pt x="20" y="59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19" y="57"/>
                    <a:pt x="19" y="55"/>
                    <a:pt x="19" y="54"/>
                  </a:cubicBezTo>
                  <a:cubicBezTo>
                    <a:pt x="19" y="54"/>
                    <a:pt x="19" y="53"/>
                    <a:pt x="19" y="53"/>
                  </a:cubicBezTo>
                  <a:cubicBezTo>
                    <a:pt x="19" y="53"/>
                    <a:pt x="19" y="52"/>
                    <a:pt x="19" y="52"/>
                  </a:cubicBezTo>
                  <a:cubicBezTo>
                    <a:pt x="19" y="52"/>
                    <a:pt x="20" y="52"/>
                    <a:pt x="20" y="52"/>
                  </a:cubicBezTo>
                  <a:cubicBezTo>
                    <a:pt x="21" y="52"/>
                    <a:pt x="21" y="52"/>
                    <a:pt x="22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4" y="53"/>
                    <a:pt x="25" y="53"/>
                    <a:pt x="25" y="53"/>
                  </a:cubicBezTo>
                  <a:cubicBezTo>
                    <a:pt x="25" y="52"/>
                    <a:pt x="25" y="52"/>
                    <a:pt x="25" y="51"/>
                  </a:cubicBezTo>
                  <a:cubicBezTo>
                    <a:pt x="25" y="50"/>
                    <a:pt x="26" y="50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5" y="47"/>
                    <a:pt x="26" y="46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8" y="47"/>
                    <a:pt x="28" y="47"/>
                  </a:cubicBezTo>
                  <a:cubicBezTo>
                    <a:pt x="30" y="47"/>
                    <a:pt x="31" y="46"/>
                    <a:pt x="32" y="46"/>
                  </a:cubicBezTo>
                  <a:cubicBezTo>
                    <a:pt x="32" y="46"/>
                    <a:pt x="33" y="46"/>
                    <a:pt x="33" y="46"/>
                  </a:cubicBezTo>
                  <a:cubicBezTo>
                    <a:pt x="36" y="45"/>
                    <a:pt x="36" y="45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8" y="42"/>
                    <a:pt x="39" y="41"/>
                    <a:pt x="39" y="40"/>
                  </a:cubicBezTo>
                  <a:cubicBezTo>
                    <a:pt x="39" y="40"/>
                    <a:pt x="38" y="40"/>
                    <a:pt x="38" y="40"/>
                  </a:cubicBezTo>
                  <a:cubicBezTo>
                    <a:pt x="38" y="39"/>
                    <a:pt x="37" y="39"/>
                    <a:pt x="37" y="37"/>
                  </a:cubicBezTo>
                  <a:cubicBezTo>
                    <a:pt x="37" y="37"/>
                    <a:pt x="37" y="36"/>
                    <a:pt x="36" y="36"/>
                  </a:cubicBezTo>
                  <a:cubicBezTo>
                    <a:pt x="35" y="35"/>
                    <a:pt x="34" y="34"/>
                    <a:pt x="35" y="32"/>
                  </a:cubicBezTo>
                  <a:cubicBezTo>
                    <a:pt x="35" y="30"/>
                    <a:pt x="35" y="27"/>
                    <a:pt x="36" y="24"/>
                  </a:cubicBezTo>
                  <a:cubicBezTo>
                    <a:pt x="36" y="23"/>
                    <a:pt x="37" y="21"/>
                    <a:pt x="38" y="20"/>
                  </a:cubicBezTo>
                  <a:cubicBezTo>
                    <a:pt x="38" y="20"/>
                    <a:pt x="39" y="20"/>
                    <a:pt x="39" y="19"/>
                  </a:cubicBezTo>
                  <a:cubicBezTo>
                    <a:pt x="39" y="19"/>
                    <a:pt x="40" y="19"/>
                    <a:pt x="40" y="18"/>
                  </a:cubicBezTo>
                  <a:cubicBezTo>
                    <a:pt x="42" y="17"/>
                    <a:pt x="43" y="15"/>
                    <a:pt x="45" y="14"/>
                  </a:cubicBezTo>
                  <a:cubicBezTo>
                    <a:pt x="45" y="14"/>
                    <a:pt x="46" y="13"/>
                    <a:pt x="46" y="12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4" y="13"/>
                    <a:pt x="42" y="16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39" y="16"/>
                    <a:pt x="38" y="16"/>
                    <a:pt x="38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6" y="15"/>
                    <a:pt x="35" y="15"/>
                    <a:pt x="35" y="14"/>
                  </a:cubicBezTo>
                  <a:cubicBezTo>
                    <a:pt x="34" y="14"/>
                    <a:pt x="35" y="13"/>
                    <a:pt x="35" y="13"/>
                  </a:cubicBezTo>
                  <a:cubicBezTo>
                    <a:pt x="35" y="13"/>
                    <a:pt x="35" y="13"/>
                    <a:pt x="35" y="12"/>
                  </a:cubicBezTo>
                  <a:cubicBezTo>
                    <a:pt x="36" y="12"/>
                    <a:pt x="36" y="10"/>
                    <a:pt x="36" y="10"/>
                  </a:cubicBezTo>
                  <a:cubicBezTo>
                    <a:pt x="36" y="10"/>
                    <a:pt x="35" y="10"/>
                    <a:pt x="35" y="9"/>
                  </a:cubicBezTo>
                  <a:cubicBezTo>
                    <a:pt x="34" y="8"/>
                    <a:pt x="33" y="8"/>
                    <a:pt x="32" y="7"/>
                  </a:cubicBezTo>
                  <a:cubicBezTo>
                    <a:pt x="30" y="7"/>
                    <a:pt x="29" y="7"/>
                    <a:pt x="28" y="5"/>
                  </a:cubicBezTo>
                  <a:cubicBezTo>
                    <a:pt x="27" y="4"/>
                    <a:pt x="24" y="2"/>
                    <a:pt x="23" y="2"/>
                  </a:cubicBezTo>
                  <a:cubicBezTo>
                    <a:pt x="23" y="2"/>
                    <a:pt x="22" y="2"/>
                    <a:pt x="22" y="3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0" y="3"/>
                    <a:pt x="19" y="2"/>
                  </a:cubicBezTo>
                  <a:cubicBezTo>
                    <a:pt x="19" y="2"/>
                    <a:pt x="18" y="2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3" y="8"/>
                    <a:pt x="13" y="8"/>
                    <a:pt x="12" y="8"/>
                  </a:cubicBezTo>
                  <a:cubicBezTo>
                    <a:pt x="12" y="8"/>
                    <a:pt x="12" y="10"/>
                    <a:pt x="12" y="11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13" y="13"/>
                    <a:pt x="13" y="13"/>
                    <a:pt x="13" y="14"/>
                  </a:cubicBezTo>
                  <a:cubicBezTo>
                    <a:pt x="13" y="14"/>
                    <a:pt x="12" y="15"/>
                    <a:pt x="12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1" y="16"/>
                    <a:pt x="11" y="16"/>
                    <a:pt x="10" y="17"/>
                  </a:cubicBezTo>
                  <a:cubicBezTo>
                    <a:pt x="10" y="17"/>
                    <a:pt x="10" y="18"/>
                    <a:pt x="10" y="19"/>
                  </a:cubicBezTo>
                  <a:cubicBezTo>
                    <a:pt x="9" y="19"/>
                    <a:pt x="9" y="20"/>
                    <a:pt x="9" y="21"/>
                  </a:cubicBezTo>
                  <a:cubicBezTo>
                    <a:pt x="9" y="21"/>
                    <a:pt x="9" y="22"/>
                    <a:pt x="9" y="23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8" y="25"/>
                    <a:pt x="7" y="26"/>
                    <a:pt x="8" y="27"/>
                  </a:cubicBezTo>
                  <a:cubicBezTo>
                    <a:pt x="8" y="27"/>
                    <a:pt x="8" y="27"/>
                    <a:pt x="8" y="28"/>
                  </a:cubicBezTo>
                  <a:cubicBezTo>
                    <a:pt x="8" y="29"/>
                    <a:pt x="9" y="30"/>
                    <a:pt x="9" y="31"/>
                  </a:cubicBezTo>
                  <a:cubicBezTo>
                    <a:pt x="9" y="33"/>
                    <a:pt x="9" y="34"/>
                    <a:pt x="8" y="35"/>
                  </a:cubicBezTo>
                  <a:cubicBezTo>
                    <a:pt x="8" y="35"/>
                    <a:pt x="8" y="36"/>
                    <a:pt x="8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8"/>
                    <a:pt x="8" y="38"/>
                    <a:pt x="8" y="39"/>
                  </a:cubicBezTo>
                  <a:cubicBezTo>
                    <a:pt x="8" y="39"/>
                    <a:pt x="7" y="40"/>
                    <a:pt x="7" y="40"/>
                  </a:cubicBezTo>
                  <a:cubicBezTo>
                    <a:pt x="7" y="40"/>
                    <a:pt x="6" y="40"/>
                    <a:pt x="6" y="41"/>
                  </a:cubicBezTo>
                  <a:cubicBezTo>
                    <a:pt x="6" y="42"/>
                    <a:pt x="6" y="43"/>
                    <a:pt x="6" y="44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6"/>
                    <a:pt x="6" y="47"/>
                    <a:pt x="6" y="48"/>
                  </a:cubicBezTo>
                  <a:cubicBezTo>
                    <a:pt x="6" y="48"/>
                    <a:pt x="5" y="49"/>
                    <a:pt x="5" y="49"/>
                  </a:cubicBezTo>
                  <a:cubicBezTo>
                    <a:pt x="5" y="50"/>
                    <a:pt x="5" y="52"/>
                    <a:pt x="5" y="53"/>
                  </a:cubicBezTo>
                  <a:cubicBezTo>
                    <a:pt x="5" y="55"/>
                    <a:pt x="5" y="56"/>
                    <a:pt x="4" y="58"/>
                  </a:cubicBezTo>
                  <a:cubicBezTo>
                    <a:pt x="3" y="59"/>
                    <a:pt x="5" y="64"/>
                    <a:pt x="6" y="64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6" y="67"/>
                    <a:pt x="5" y="70"/>
                    <a:pt x="4" y="73"/>
                  </a:cubicBezTo>
                  <a:cubicBezTo>
                    <a:pt x="4" y="74"/>
                    <a:pt x="3" y="74"/>
                    <a:pt x="3" y="75"/>
                  </a:cubicBezTo>
                  <a:cubicBezTo>
                    <a:pt x="3" y="76"/>
                    <a:pt x="3" y="76"/>
                    <a:pt x="3" y="77"/>
                  </a:cubicBezTo>
                  <a:cubicBezTo>
                    <a:pt x="3" y="78"/>
                    <a:pt x="3" y="79"/>
                    <a:pt x="2" y="81"/>
                  </a:cubicBezTo>
                  <a:cubicBezTo>
                    <a:pt x="1" y="82"/>
                    <a:pt x="1" y="84"/>
                    <a:pt x="1" y="85"/>
                  </a:cubicBezTo>
                  <a:lnTo>
                    <a:pt x="3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9" name="Freeform 102"/>
            <p:cNvSpPr/>
            <p:nvPr/>
          </p:nvSpPr>
          <p:spPr bwMode="auto">
            <a:xfrm>
              <a:off x="7215053" y="3349886"/>
              <a:ext cx="207784" cy="251804"/>
            </a:xfrm>
            <a:custGeom>
              <a:avLst/>
              <a:gdLst>
                <a:gd name="T0" fmla="*/ 0 w 28"/>
                <a:gd name="T1" fmla="*/ 2147483646 h 34"/>
                <a:gd name="T2" fmla="*/ 2147483646 w 28"/>
                <a:gd name="T3" fmla="*/ 2147483646 h 34"/>
                <a:gd name="T4" fmla="*/ 2147483646 w 28"/>
                <a:gd name="T5" fmla="*/ 2147483646 h 34"/>
                <a:gd name="T6" fmla="*/ 2147483646 w 28"/>
                <a:gd name="T7" fmla="*/ 2147483646 h 34"/>
                <a:gd name="T8" fmla="*/ 2147483646 w 28"/>
                <a:gd name="T9" fmla="*/ 2147483646 h 34"/>
                <a:gd name="T10" fmla="*/ 2147483646 w 28"/>
                <a:gd name="T11" fmla="*/ 2147483646 h 34"/>
                <a:gd name="T12" fmla="*/ 2147483646 w 28"/>
                <a:gd name="T13" fmla="*/ 2147483646 h 34"/>
                <a:gd name="T14" fmla="*/ 2147483646 w 28"/>
                <a:gd name="T15" fmla="*/ 2147483646 h 34"/>
                <a:gd name="T16" fmla="*/ 2147483646 w 28"/>
                <a:gd name="T17" fmla="*/ 2147483646 h 34"/>
                <a:gd name="T18" fmla="*/ 2147483646 w 28"/>
                <a:gd name="T19" fmla="*/ 2147483646 h 34"/>
                <a:gd name="T20" fmla="*/ 2147483646 w 28"/>
                <a:gd name="T21" fmla="*/ 2147483646 h 34"/>
                <a:gd name="T22" fmla="*/ 2147483646 w 28"/>
                <a:gd name="T23" fmla="*/ 2147483646 h 34"/>
                <a:gd name="T24" fmla="*/ 2147483646 w 28"/>
                <a:gd name="T25" fmla="*/ 2147483646 h 34"/>
                <a:gd name="T26" fmla="*/ 2147483646 w 28"/>
                <a:gd name="T27" fmla="*/ 2147483646 h 34"/>
                <a:gd name="T28" fmla="*/ 2147483646 w 28"/>
                <a:gd name="T29" fmla="*/ 2147483646 h 34"/>
                <a:gd name="T30" fmla="*/ 2147483646 w 28"/>
                <a:gd name="T31" fmla="*/ 2147483646 h 34"/>
                <a:gd name="T32" fmla="*/ 2147483646 w 28"/>
                <a:gd name="T33" fmla="*/ 2147483646 h 34"/>
                <a:gd name="T34" fmla="*/ 2147483646 w 28"/>
                <a:gd name="T35" fmla="*/ 2147483646 h 34"/>
                <a:gd name="T36" fmla="*/ 0 w 28"/>
                <a:gd name="T37" fmla="*/ 2147483646 h 34"/>
                <a:gd name="T38" fmla="*/ 2147483646 w 28"/>
                <a:gd name="T39" fmla="*/ 2147483646 h 34"/>
                <a:gd name="T40" fmla="*/ 2147483646 w 28"/>
                <a:gd name="T41" fmla="*/ 2147483646 h 34"/>
                <a:gd name="T42" fmla="*/ 2147483646 w 28"/>
                <a:gd name="T43" fmla="*/ 2147483646 h 34"/>
                <a:gd name="T44" fmla="*/ 2147483646 w 28"/>
                <a:gd name="T45" fmla="*/ 2147483646 h 34"/>
                <a:gd name="T46" fmla="*/ 0 w 28"/>
                <a:gd name="T47" fmla="*/ 2147483646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8" h="34">
                  <a:moveTo>
                    <a:pt x="0" y="20"/>
                  </a:moveTo>
                  <a:cubicBezTo>
                    <a:pt x="2" y="21"/>
                    <a:pt x="1" y="22"/>
                    <a:pt x="2" y="23"/>
                  </a:cubicBezTo>
                  <a:cubicBezTo>
                    <a:pt x="3" y="24"/>
                    <a:pt x="2" y="26"/>
                    <a:pt x="3" y="27"/>
                  </a:cubicBezTo>
                  <a:cubicBezTo>
                    <a:pt x="4" y="28"/>
                    <a:pt x="4" y="30"/>
                    <a:pt x="4" y="32"/>
                  </a:cubicBezTo>
                  <a:cubicBezTo>
                    <a:pt x="4" y="34"/>
                    <a:pt x="8" y="30"/>
                    <a:pt x="8" y="30"/>
                  </a:cubicBezTo>
                  <a:cubicBezTo>
                    <a:pt x="9" y="31"/>
                    <a:pt x="11" y="30"/>
                    <a:pt x="12" y="32"/>
                  </a:cubicBezTo>
                  <a:cubicBezTo>
                    <a:pt x="13" y="30"/>
                    <a:pt x="15" y="30"/>
                    <a:pt x="16" y="31"/>
                  </a:cubicBezTo>
                  <a:cubicBezTo>
                    <a:pt x="17" y="29"/>
                    <a:pt x="17" y="25"/>
                    <a:pt x="20" y="24"/>
                  </a:cubicBezTo>
                  <a:cubicBezTo>
                    <a:pt x="21" y="24"/>
                    <a:pt x="22" y="24"/>
                    <a:pt x="24" y="24"/>
                  </a:cubicBezTo>
                  <a:cubicBezTo>
                    <a:pt x="25" y="24"/>
                    <a:pt x="27" y="26"/>
                    <a:pt x="27" y="26"/>
                  </a:cubicBezTo>
                  <a:cubicBezTo>
                    <a:pt x="28" y="26"/>
                    <a:pt x="28" y="20"/>
                    <a:pt x="27" y="19"/>
                  </a:cubicBezTo>
                  <a:cubicBezTo>
                    <a:pt x="25" y="18"/>
                    <a:pt x="27" y="17"/>
                    <a:pt x="25" y="17"/>
                  </a:cubicBezTo>
                  <a:cubicBezTo>
                    <a:pt x="22" y="16"/>
                    <a:pt x="22" y="17"/>
                    <a:pt x="21" y="14"/>
                  </a:cubicBezTo>
                  <a:cubicBezTo>
                    <a:pt x="21" y="13"/>
                    <a:pt x="22" y="12"/>
                    <a:pt x="21" y="11"/>
                  </a:cubicBezTo>
                  <a:cubicBezTo>
                    <a:pt x="20" y="9"/>
                    <a:pt x="19" y="10"/>
                    <a:pt x="18" y="9"/>
                  </a:cubicBezTo>
                  <a:cubicBezTo>
                    <a:pt x="16" y="8"/>
                    <a:pt x="13" y="8"/>
                    <a:pt x="11" y="6"/>
                  </a:cubicBezTo>
                  <a:cubicBezTo>
                    <a:pt x="8" y="4"/>
                    <a:pt x="12" y="0"/>
                    <a:pt x="8" y="1"/>
                  </a:cubicBezTo>
                  <a:cubicBezTo>
                    <a:pt x="6" y="1"/>
                    <a:pt x="6" y="3"/>
                    <a:pt x="5" y="3"/>
                  </a:cubicBezTo>
                  <a:cubicBezTo>
                    <a:pt x="3" y="4"/>
                    <a:pt x="2" y="4"/>
                    <a:pt x="0" y="4"/>
                  </a:cubicBezTo>
                  <a:cubicBezTo>
                    <a:pt x="1" y="5"/>
                    <a:pt x="2" y="7"/>
                    <a:pt x="2" y="8"/>
                  </a:cubicBezTo>
                  <a:cubicBezTo>
                    <a:pt x="1" y="9"/>
                    <a:pt x="2" y="11"/>
                    <a:pt x="1" y="12"/>
                  </a:cubicBezTo>
                  <a:cubicBezTo>
                    <a:pt x="1" y="13"/>
                    <a:pt x="1" y="15"/>
                    <a:pt x="1" y="16"/>
                  </a:cubicBezTo>
                  <a:cubicBezTo>
                    <a:pt x="1" y="16"/>
                    <a:pt x="2" y="17"/>
                    <a:pt x="1" y="17"/>
                  </a:cubicBezTo>
                  <a:cubicBezTo>
                    <a:pt x="1" y="18"/>
                    <a:pt x="0" y="19"/>
                    <a:pt x="0" y="2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0" name="Freeform 103"/>
            <p:cNvSpPr>
              <a:spLocks noEditPoints="1"/>
            </p:cNvSpPr>
            <p:nvPr/>
          </p:nvSpPr>
          <p:spPr bwMode="auto">
            <a:xfrm>
              <a:off x="7208756" y="3349886"/>
              <a:ext cx="220377" cy="251804"/>
            </a:xfrm>
            <a:custGeom>
              <a:avLst/>
              <a:gdLst>
                <a:gd name="T0" fmla="*/ 2147483646 w 30"/>
                <a:gd name="T1" fmla="*/ 2147483646 h 34"/>
                <a:gd name="T2" fmla="*/ 2147483646 w 30"/>
                <a:gd name="T3" fmla="*/ 2147483646 h 34"/>
                <a:gd name="T4" fmla="*/ 2147483646 w 30"/>
                <a:gd name="T5" fmla="*/ 2147483646 h 34"/>
                <a:gd name="T6" fmla="*/ 2147483646 w 30"/>
                <a:gd name="T7" fmla="*/ 2147483646 h 34"/>
                <a:gd name="T8" fmla="*/ 2147483646 w 30"/>
                <a:gd name="T9" fmla="*/ 2147483646 h 34"/>
                <a:gd name="T10" fmla="*/ 2147483646 w 30"/>
                <a:gd name="T11" fmla="*/ 2147483646 h 34"/>
                <a:gd name="T12" fmla="*/ 2147483646 w 30"/>
                <a:gd name="T13" fmla="*/ 2147483646 h 34"/>
                <a:gd name="T14" fmla="*/ 2147483646 w 30"/>
                <a:gd name="T15" fmla="*/ 2147483646 h 34"/>
                <a:gd name="T16" fmla="*/ 2147483646 w 30"/>
                <a:gd name="T17" fmla="*/ 2147483646 h 34"/>
                <a:gd name="T18" fmla="*/ 2147483646 w 30"/>
                <a:gd name="T19" fmla="*/ 2147483646 h 34"/>
                <a:gd name="T20" fmla="*/ 2147483646 w 30"/>
                <a:gd name="T21" fmla="*/ 2147483646 h 34"/>
                <a:gd name="T22" fmla="*/ 2147483646 w 30"/>
                <a:gd name="T23" fmla="*/ 2147483646 h 34"/>
                <a:gd name="T24" fmla="*/ 2147483646 w 30"/>
                <a:gd name="T25" fmla="*/ 2147483646 h 34"/>
                <a:gd name="T26" fmla="*/ 2147483646 w 30"/>
                <a:gd name="T27" fmla="*/ 2147483646 h 34"/>
                <a:gd name="T28" fmla="*/ 2147483646 w 30"/>
                <a:gd name="T29" fmla="*/ 2147483646 h 34"/>
                <a:gd name="T30" fmla="*/ 2147483646 w 30"/>
                <a:gd name="T31" fmla="*/ 2147483646 h 34"/>
                <a:gd name="T32" fmla="*/ 2147483646 w 30"/>
                <a:gd name="T33" fmla="*/ 2147483646 h 34"/>
                <a:gd name="T34" fmla="*/ 2147483646 w 30"/>
                <a:gd name="T35" fmla="*/ 2147483646 h 34"/>
                <a:gd name="T36" fmla="*/ 2147483646 w 30"/>
                <a:gd name="T37" fmla="*/ 2147483646 h 34"/>
                <a:gd name="T38" fmla="*/ 2147483646 w 30"/>
                <a:gd name="T39" fmla="*/ 2147483646 h 34"/>
                <a:gd name="T40" fmla="*/ 2147483646 w 30"/>
                <a:gd name="T41" fmla="*/ 2147483646 h 34"/>
                <a:gd name="T42" fmla="*/ 2147483646 w 30"/>
                <a:gd name="T43" fmla="*/ 2147483646 h 34"/>
                <a:gd name="T44" fmla="*/ 2147483646 w 30"/>
                <a:gd name="T45" fmla="*/ 2147483646 h 34"/>
                <a:gd name="T46" fmla="*/ 2147483646 w 30"/>
                <a:gd name="T47" fmla="*/ 2147483646 h 34"/>
                <a:gd name="T48" fmla="*/ 2147483646 w 30"/>
                <a:gd name="T49" fmla="*/ 2147483646 h 34"/>
                <a:gd name="T50" fmla="*/ 2147483646 w 30"/>
                <a:gd name="T51" fmla="*/ 2147483646 h 34"/>
                <a:gd name="T52" fmla="*/ 2147483646 w 30"/>
                <a:gd name="T53" fmla="*/ 2147483646 h 34"/>
                <a:gd name="T54" fmla="*/ 2147483646 w 30"/>
                <a:gd name="T55" fmla="*/ 2147483646 h 34"/>
                <a:gd name="T56" fmla="*/ 2147483646 w 30"/>
                <a:gd name="T57" fmla="*/ 2147483646 h 34"/>
                <a:gd name="T58" fmla="*/ 2147483646 w 30"/>
                <a:gd name="T59" fmla="*/ 2147483646 h 34"/>
                <a:gd name="T60" fmla="*/ 2147483646 w 30"/>
                <a:gd name="T61" fmla="*/ 2147483646 h 34"/>
                <a:gd name="T62" fmla="*/ 2147483646 w 30"/>
                <a:gd name="T63" fmla="*/ 2147483646 h 34"/>
                <a:gd name="T64" fmla="*/ 2147483646 w 30"/>
                <a:gd name="T65" fmla="*/ 2147483646 h 34"/>
                <a:gd name="T66" fmla="*/ 2147483646 w 30"/>
                <a:gd name="T67" fmla="*/ 2147483646 h 34"/>
                <a:gd name="T68" fmla="*/ 2147483646 w 30"/>
                <a:gd name="T69" fmla="*/ 2147483646 h 34"/>
                <a:gd name="T70" fmla="*/ 2147483646 w 30"/>
                <a:gd name="T71" fmla="*/ 2147483646 h 34"/>
                <a:gd name="T72" fmla="*/ 2147483646 w 30"/>
                <a:gd name="T73" fmla="*/ 2147483646 h 34"/>
                <a:gd name="T74" fmla="*/ 2147483646 w 30"/>
                <a:gd name="T75" fmla="*/ 2147483646 h 34"/>
                <a:gd name="T76" fmla="*/ 2147483646 w 30"/>
                <a:gd name="T77" fmla="*/ 2147483646 h 34"/>
                <a:gd name="T78" fmla="*/ 2147483646 w 30"/>
                <a:gd name="T79" fmla="*/ 2147483646 h 34"/>
                <a:gd name="T80" fmla="*/ 2147483646 w 30"/>
                <a:gd name="T81" fmla="*/ 2147483646 h 34"/>
                <a:gd name="T82" fmla="*/ 2147483646 w 30"/>
                <a:gd name="T83" fmla="*/ 2147483646 h 34"/>
                <a:gd name="T84" fmla="*/ 2147483646 w 30"/>
                <a:gd name="T85" fmla="*/ 2147483646 h 34"/>
                <a:gd name="T86" fmla="*/ 2147483646 w 30"/>
                <a:gd name="T87" fmla="*/ 2147483646 h 34"/>
                <a:gd name="T88" fmla="*/ 2147483646 w 30"/>
                <a:gd name="T89" fmla="*/ 2147483646 h 34"/>
                <a:gd name="T90" fmla="*/ 2147483646 w 30"/>
                <a:gd name="T91" fmla="*/ 2147483646 h 34"/>
                <a:gd name="T92" fmla="*/ 2147483646 w 30"/>
                <a:gd name="T93" fmla="*/ 2147483646 h 34"/>
                <a:gd name="T94" fmla="*/ 2147483646 w 30"/>
                <a:gd name="T95" fmla="*/ 2147483646 h 34"/>
                <a:gd name="T96" fmla="*/ 2147483646 w 30"/>
                <a:gd name="T97" fmla="*/ 2147483646 h 34"/>
                <a:gd name="T98" fmla="*/ 2147483646 w 30"/>
                <a:gd name="T99" fmla="*/ 2147483646 h 34"/>
                <a:gd name="T100" fmla="*/ 2147483646 w 30"/>
                <a:gd name="T101" fmla="*/ 2147483646 h 34"/>
                <a:gd name="T102" fmla="*/ 2147483646 w 30"/>
                <a:gd name="T103" fmla="*/ 2147483646 h 34"/>
                <a:gd name="T104" fmla="*/ 2147483646 w 30"/>
                <a:gd name="T105" fmla="*/ 2147483646 h 3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0" h="34">
                  <a:moveTo>
                    <a:pt x="14" y="34"/>
                  </a:move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2" y="32"/>
                    <a:pt x="11" y="31"/>
                  </a:cubicBezTo>
                  <a:cubicBezTo>
                    <a:pt x="11" y="31"/>
                    <a:pt x="10" y="31"/>
                    <a:pt x="9" y="31"/>
                  </a:cubicBezTo>
                  <a:cubicBezTo>
                    <a:pt x="7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3"/>
                    <a:pt x="5" y="3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ubicBezTo>
                    <a:pt x="4" y="30"/>
                    <a:pt x="4" y="28"/>
                    <a:pt x="3" y="27"/>
                  </a:cubicBezTo>
                  <a:cubicBezTo>
                    <a:pt x="3" y="26"/>
                    <a:pt x="3" y="26"/>
                    <a:pt x="3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2" y="23"/>
                    <a:pt x="2" y="22"/>
                    <a:pt x="2" y="22"/>
                  </a:cubicBezTo>
                  <a:cubicBezTo>
                    <a:pt x="2" y="21"/>
                    <a:pt x="2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19"/>
                    <a:pt x="1" y="18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2"/>
                    <a:pt x="2" y="12"/>
                    <a:pt x="2" y="12"/>
                  </a:cubicBezTo>
                  <a:cubicBezTo>
                    <a:pt x="2" y="12"/>
                    <a:pt x="2" y="11"/>
                    <a:pt x="2" y="10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3" y="7"/>
                    <a:pt x="2" y="6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4" y="4"/>
                    <a:pt x="5" y="3"/>
                  </a:cubicBezTo>
                  <a:cubicBezTo>
                    <a:pt x="6" y="3"/>
                    <a:pt x="6" y="2"/>
                    <a:pt x="7" y="2"/>
                  </a:cubicBezTo>
                  <a:cubicBezTo>
                    <a:pt x="7" y="1"/>
                    <a:pt x="8" y="1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1" y="4"/>
                    <a:pt x="11" y="5"/>
                    <a:pt x="12" y="6"/>
                  </a:cubicBezTo>
                  <a:cubicBezTo>
                    <a:pt x="13" y="6"/>
                    <a:pt x="14" y="7"/>
                    <a:pt x="15" y="7"/>
                  </a:cubicBezTo>
                  <a:cubicBezTo>
                    <a:pt x="17" y="8"/>
                    <a:pt x="18" y="8"/>
                    <a:pt x="19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1" y="9"/>
                    <a:pt x="22" y="9"/>
                    <a:pt x="23" y="11"/>
                  </a:cubicBezTo>
                  <a:cubicBezTo>
                    <a:pt x="23" y="12"/>
                    <a:pt x="23" y="12"/>
                    <a:pt x="23" y="13"/>
                  </a:cubicBezTo>
                  <a:cubicBezTo>
                    <a:pt x="23" y="13"/>
                    <a:pt x="23" y="14"/>
                    <a:pt x="23" y="14"/>
                  </a:cubicBezTo>
                  <a:cubicBezTo>
                    <a:pt x="24" y="16"/>
                    <a:pt x="24" y="16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7"/>
                  </a:cubicBezTo>
                  <a:cubicBezTo>
                    <a:pt x="28" y="17"/>
                    <a:pt x="28" y="17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9" y="19"/>
                    <a:pt x="30" y="22"/>
                    <a:pt x="29" y="24"/>
                  </a:cubicBezTo>
                  <a:cubicBezTo>
                    <a:pt x="29" y="25"/>
                    <a:pt x="29" y="26"/>
                    <a:pt x="28" y="26"/>
                  </a:cubicBezTo>
                  <a:cubicBezTo>
                    <a:pt x="28" y="26"/>
                    <a:pt x="27" y="26"/>
                    <a:pt x="27" y="26"/>
                  </a:cubicBezTo>
                  <a:cubicBezTo>
                    <a:pt x="26" y="25"/>
                    <a:pt x="25" y="24"/>
                    <a:pt x="25" y="24"/>
                  </a:cubicBezTo>
                  <a:cubicBezTo>
                    <a:pt x="24" y="24"/>
                    <a:pt x="23" y="25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19" y="26"/>
                    <a:pt x="19" y="27"/>
                    <a:pt x="18" y="29"/>
                  </a:cubicBezTo>
                  <a:cubicBezTo>
                    <a:pt x="18" y="30"/>
                    <a:pt x="18" y="31"/>
                    <a:pt x="18" y="31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6" y="31"/>
                    <a:pt x="16" y="31"/>
                    <a:pt x="15" y="31"/>
                  </a:cubicBezTo>
                  <a:cubicBezTo>
                    <a:pt x="14" y="31"/>
                    <a:pt x="14" y="31"/>
                    <a:pt x="14" y="32"/>
                  </a:cubicBezTo>
                  <a:lnTo>
                    <a:pt x="14" y="34"/>
                  </a:lnTo>
                  <a:close/>
                  <a:moveTo>
                    <a:pt x="2" y="19"/>
                  </a:moveTo>
                  <a:cubicBezTo>
                    <a:pt x="3" y="20"/>
                    <a:pt x="3" y="21"/>
                    <a:pt x="3" y="21"/>
                  </a:cubicBezTo>
                  <a:cubicBezTo>
                    <a:pt x="3" y="22"/>
                    <a:pt x="3" y="23"/>
                    <a:pt x="4" y="23"/>
                  </a:cubicBezTo>
                  <a:cubicBezTo>
                    <a:pt x="4" y="24"/>
                    <a:pt x="4" y="25"/>
                    <a:pt x="4" y="25"/>
                  </a:cubicBezTo>
                  <a:cubicBezTo>
                    <a:pt x="4" y="26"/>
                    <a:pt x="4" y="26"/>
                    <a:pt x="4" y="27"/>
                  </a:cubicBezTo>
                  <a:cubicBezTo>
                    <a:pt x="5" y="28"/>
                    <a:pt x="5" y="29"/>
                    <a:pt x="5" y="31"/>
                  </a:cubicBezTo>
                  <a:cubicBezTo>
                    <a:pt x="5" y="31"/>
                    <a:pt x="5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7" y="32"/>
                    <a:pt x="9" y="30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30"/>
                    <a:pt x="11" y="30"/>
                  </a:cubicBezTo>
                  <a:cubicBezTo>
                    <a:pt x="12" y="30"/>
                    <a:pt x="13" y="30"/>
                    <a:pt x="13" y="31"/>
                  </a:cubicBezTo>
                  <a:cubicBezTo>
                    <a:pt x="14" y="30"/>
                    <a:pt x="14" y="30"/>
                    <a:pt x="15" y="30"/>
                  </a:cubicBezTo>
                  <a:cubicBezTo>
                    <a:pt x="16" y="30"/>
                    <a:pt x="16" y="30"/>
                    <a:pt x="17" y="30"/>
                  </a:cubicBezTo>
                  <a:cubicBezTo>
                    <a:pt x="17" y="30"/>
                    <a:pt x="17" y="29"/>
                    <a:pt x="17" y="29"/>
                  </a:cubicBezTo>
                  <a:cubicBezTo>
                    <a:pt x="17" y="27"/>
                    <a:pt x="18" y="25"/>
                    <a:pt x="20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2" y="23"/>
                    <a:pt x="23" y="23"/>
                    <a:pt x="25" y="23"/>
                  </a:cubicBezTo>
                  <a:cubicBezTo>
                    <a:pt x="26" y="23"/>
                    <a:pt x="27" y="24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3"/>
                    <a:pt x="28" y="22"/>
                  </a:cubicBezTo>
                  <a:cubicBezTo>
                    <a:pt x="28" y="20"/>
                    <a:pt x="28" y="20"/>
                    <a:pt x="27" y="19"/>
                  </a:cubicBezTo>
                  <a:cubicBezTo>
                    <a:pt x="26" y="19"/>
                    <a:pt x="26" y="18"/>
                    <a:pt x="26" y="18"/>
                  </a:cubicBezTo>
                  <a:cubicBezTo>
                    <a:pt x="26" y="17"/>
                    <a:pt x="27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3" y="17"/>
                    <a:pt x="23" y="17"/>
                    <a:pt x="22" y="14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2" y="12"/>
                    <a:pt x="22" y="11"/>
                  </a:cubicBezTo>
                  <a:cubicBezTo>
                    <a:pt x="21" y="11"/>
                    <a:pt x="21" y="11"/>
                    <a:pt x="20" y="11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8" y="9"/>
                    <a:pt x="16" y="9"/>
                    <a:pt x="15" y="8"/>
                  </a:cubicBezTo>
                  <a:cubicBezTo>
                    <a:pt x="14" y="8"/>
                    <a:pt x="13" y="8"/>
                    <a:pt x="11" y="7"/>
                  </a:cubicBezTo>
                  <a:cubicBezTo>
                    <a:pt x="10" y="6"/>
                    <a:pt x="10" y="4"/>
                    <a:pt x="10" y="3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3"/>
                    <a:pt x="7" y="3"/>
                    <a:pt x="6" y="4"/>
                  </a:cubicBezTo>
                  <a:cubicBezTo>
                    <a:pt x="5" y="4"/>
                    <a:pt x="4" y="5"/>
                    <a:pt x="2" y="4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3" y="8"/>
                    <a:pt x="3" y="9"/>
                    <a:pt x="3" y="10"/>
                  </a:cubicBezTo>
                  <a:cubicBezTo>
                    <a:pt x="3" y="11"/>
                    <a:pt x="3" y="12"/>
                    <a:pt x="3" y="13"/>
                  </a:cubicBezTo>
                  <a:cubicBezTo>
                    <a:pt x="3" y="13"/>
                    <a:pt x="2" y="14"/>
                    <a:pt x="2" y="16"/>
                  </a:cubicBezTo>
                  <a:cubicBezTo>
                    <a:pt x="2" y="16"/>
                    <a:pt x="2" y="16"/>
                    <a:pt x="3" y="16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3" y="18"/>
                    <a:pt x="3" y="18"/>
                    <a:pt x="2" y="18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1" name="Freeform 104"/>
            <p:cNvSpPr/>
            <p:nvPr/>
          </p:nvSpPr>
          <p:spPr bwMode="auto">
            <a:xfrm>
              <a:off x="7542471" y="3192509"/>
              <a:ext cx="37779" cy="37771"/>
            </a:xfrm>
            <a:custGeom>
              <a:avLst/>
              <a:gdLst>
                <a:gd name="T0" fmla="*/ 2147483646 w 5"/>
                <a:gd name="T1" fmla="*/ 0 h 5"/>
                <a:gd name="T2" fmla="*/ 2147483646 w 5"/>
                <a:gd name="T3" fmla="*/ 2147483646 h 5"/>
                <a:gd name="T4" fmla="*/ 2147483646 w 5"/>
                <a:gd name="T5" fmla="*/ 0 h 5"/>
                <a:gd name="T6" fmla="*/ 2147483646 w 5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cubicBezTo>
                    <a:pt x="5" y="2"/>
                    <a:pt x="1" y="5"/>
                    <a:pt x="1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3" y="0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2" name="Freeform 105"/>
            <p:cNvSpPr>
              <a:spLocks noEditPoints="1"/>
            </p:cNvSpPr>
            <p:nvPr/>
          </p:nvSpPr>
          <p:spPr bwMode="auto">
            <a:xfrm>
              <a:off x="7542471" y="3186213"/>
              <a:ext cx="44075" cy="34622"/>
            </a:xfrm>
            <a:custGeom>
              <a:avLst/>
              <a:gdLst>
                <a:gd name="T0" fmla="*/ 2147483646 w 6"/>
                <a:gd name="T1" fmla="*/ 2147483646 h 5"/>
                <a:gd name="T2" fmla="*/ 0 w 6"/>
                <a:gd name="T3" fmla="*/ 2147483646 h 5"/>
                <a:gd name="T4" fmla="*/ 0 w 6"/>
                <a:gd name="T5" fmla="*/ 2147483646 h 5"/>
                <a:gd name="T6" fmla="*/ 0 w 6"/>
                <a:gd name="T7" fmla="*/ 2147483646 h 5"/>
                <a:gd name="T8" fmla="*/ 2147483646 w 6"/>
                <a:gd name="T9" fmla="*/ 0 h 5"/>
                <a:gd name="T10" fmla="*/ 2147483646 w 6"/>
                <a:gd name="T11" fmla="*/ 0 h 5"/>
                <a:gd name="T12" fmla="*/ 2147483646 w 6"/>
                <a:gd name="T13" fmla="*/ 2147483646 h 5"/>
                <a:gd name="T14" fmla="*/ 2147483646 w 6"/>
                <a:gd name="T15" fmla="*/ 2147483646 h 5"/>
                <a:gd name="T16" fmla="*/ 2147483646 w 6"/>
                <a:gd name="T17" fmla="*/ 2147483646 h 5"/>
                <a:gd name="T18" fmla="*/ 2147483646 w 6"/>
                <a:gd name="T19" fmla="*/ 2147483646 h 5"/>
                <a:gd name="T20" fmla="*/ 2147483646 w 6"/>
                <a:gd name="T21" fmla="*/ 2147483646 h 5"/>
                <a:gd name="T22" fmla="*/ 2147483646 w 6"/>
                <a:gd name="T23" fmla="*/ 2147483646 h 5"/>
                <a:gd name="T24" fmla="*/ 2147483646 w 6"/>
                <a:gd name="T25" fmla="*/ 2147483646 h 5"/>
                <a:gd name="T26" fmla="*/ 2147483646 w 6"/>
                <a:gd name="T27" fmla="*/ 2147483646 h 5"/>
                <a:gd name="T28" fmla="*/ 2147483646 w 6"/>
                <a:gd name="T29" fmla="*/ 2147483646 h 5"/>
                <a:gd name="T30" fmla="*/ 2147483646 w 6"/>
                <a:gd name="T31" fmla="*/ 2147483646 h 5"/>
                <a:gd name="T32" fmla="*/ 2147483646 w 6"/>
                <a:gd name="T33" fmla="*/ 2147483646 h 5"/>
                <a:gd name="T34" fmla="*/ 2147483646 w 6"/>
                <a:gd name="T35" fmla="*/ 2147483646 h 5"/>
                <a:gd name="T36" fmla="*/ 2147483646 w 6"/>
                <a:gd name="T37" fmla="*/ 2147483646 h 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cubicBezTo>
                    <a:pt x="1" y="5"/>
                    <a:pt x="0" y="5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3"/>
                    <a:pt x="3" y="5"/>
                    <a:pt x="1" y="5"/>
                  </a:cubicBezTo>
                  <a:close/>
                  <a:moveTo>
                    <a:pt x="4" y="1"/>
                  </a:move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4" y="3"/>
                    <a:pt x="5" y="2"/>
                  </a:cubicBezTo>
                  <a:cubicBezTo>
                    <a:pt x="4" y="1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3" name="Freeform 106"/>
            <p:cNvSpPr/>
            <p:nvPr/>
          </p:nvSpPr>
          <p:spPr bwMode="auto">
            <a:xfrm>
              <a:off x="7139495" y="3094935"/>
              <a:ext cx="676874" cy="708197"/>
            </a:xfrm>
            <a:custGeom>
              <a:avLst/>
              <a:gdLst>
                <a:gd name="T0" fmla="*/ 2147483646 w 91"/>
                <a:gd name="T1" fmla="*/ 2147483646 h 95"/>
                <a:gd name="T2" fmla="*/ 2147483646 w 91"/>
                <a:gd name="T3" fmla="*/ 2147483646 h 95"/>
                <a:gd name="T4" fmla="*/ 2147483646 w 91"/>
                <a:gd name="T5" fmla="*/ 2147483646 h 95"/>
                <a:gd name="T6" fmla="*/ 2147483646 w 91"/>
                <a:gd name="T7" fmla="*/ 2147483646 h 95"/>
                <a:gd name="T8" fmla="*/ 2147483646 w 91"/>
                <a:gd name="T9" fmla="*/ 2147483646 h 95"/>
                <a:gd name="T10" fmla="*/ 2147483646 w 91"/>
                <a:gd name="T11" fmla="*/ 2147483646 h 95"/>
                <a:gd name="T12" fmla="*/ 2147483646 w 91"/>
                <a:gd name="T13" fmla="*/ 2147483646 h 95"/>
                <a:gd name="T14" fmla="*/ 2147483646 w 91"/>
                <a:gd name="T15" fmla="*/ 2147483646 h 95"/>
                <a:gd name="T16" fmla="*/ 2147483646 w 91"/>
                <a:gd name="T17" fmla="*/ 2147483646 h 95"/>
                <a:gd name="T18" fmla="*/ 2147483646 w 91"/>
                <a:gd name="T19" fmla="*/ 2147483646 h 95"/>
                <a:gd name="T20" fmla="*/ 2147483646 w 91"/>
                <a:gd name="T21" fmla="*/ 2147483646 h 95"/>
                <a:gd name="T22" fmla="*/ 2147483646 w 91"/>
                <a:gd name="T23" fmla="*/ 2147483646 h 95"/>
                <a:gd name="T24" fmla="*/ 2147483646 w 91"/>
                <a:gd name="T25" fmla="*/ 2147483646 h 95"/>
                <a:gd name="T26" fmla="*/ 2147483646 w 91"/>
                <a:gd name="T27" fmla="*/ 2147483646 h 95"/>
                <a:gd name="T28" fmla="*/ 2147483646 w 91"/>
                <a:gd name="T29" fmla="*/ 2147483646 h 95"/>
                <a:gd name="T30" fmla="*/ 2147483646 w 91"/>
                <a:gd name="T31" fmla="*/ 2147483646 h 95"/>
                <a:gd name="T32" fmla="*/ 2147483646 w 91"/>
                <a:gd name="T33" fmla="*/ 2147483646 h 95"/>
                <a:gd name="T34" fmla="*/ 2147483646 w 91"/>
                <a:gd name="T35" fmla="*/ 2147483646 h 95"/>
                <a:gd name="T36" fmla="*/ 2147483646 w 91"/>
                <a:gd name="T37" fmla="*/ 2147483646 h 95"/>
                <a:gd name="T38" fmla="*/ 2147483646 w 91"/>
                <a:gd name="T39" fmla="*/ 2147483646 h 95"/>
                <a:gd name="T40" fmla="*/ 2147483646 w 91"/>
                <a:gd name="T41" fmla="*/ 2147483646 h 95"/>
                <a:gd name="T42" fmla="*/ 2147483646 w 91"/>
                <a:gd name="T43" fmla="*/ 2147483646 h 95"/>
                <a:gd name="T44" fmla="*/ 2147483646 w 91"/>
                <a:gd name="T45" fmla="*/ 2147483646 h 95"/>
                <a:gd name="T46" fmla="*/ 2147483646 w 91"/>
                <a:gd name="T47" fmla="*/ 2147483646 h 95"/>
                <a:gd name="T48" fmla="*/ 2147483646 w 91"/>
                <a:gd name="T49" fmla="*/ 2147483646 h 95"/>
                <a:gd name="T50" fmla="*/ 2147483646 w 91"/>
                <a:gd name="T51" fmla="*/ 2147483646 h 95"/>
                <a:gd name="T52" fmla="*/ 2147483646 w 91"/>
                <a:gd name="T53" fmla="*/ 2147483646 h 95"/>
                <a:gd name="T54" fmla="*/ 2147483646 w 91"/>
                <a:gd name="T55" fmla="*/ 2147483646 h 95"/>
                <a:gd name="T56" fmla="*/ 2147483646 w 91"/>
                <a:gd name="T57" fmla="*/ 2147483646 h 95"/>
                <a:gd name="T58" fmla="*/ 2147483646 w 91"/>
                <a:gd name="T59" fmla="*/ 2147483646 h 95"/>
                <a:gd name="T60" fmla="*/ 2147483646 w 91"/>
                <a:gd name="T61" fmla="*/ 2147483646 h 95"/>
                <a:gd name="T62" fmla="*/ 2147483646 w 91"/>
                <a:gd name="T63" fmla="*/ 2147483646 h 95"/>
                <a:gd name="T64" fmla="*/ 2147483646 w 91"/>
                <a:gd name="T65" fmla="*/ 2147483646 h 95"/>
                <a:gd name="T66" fmla="*/ 2147483646 w 91"/>
                <a:gd name="T67" fmla="*/ 2147483646 h 95"/>
                <a:gd name="T68" fmla="*/ 2147483646 w 91"/>
                <a:gd name="T69" fmla="*/ 2147483646 h 95"/>
                <a:gd name="T70" fmla="*/ 2147483646 w 91"/>
                <a:gd name="T71" fmla="*/ 2147483646 h 95"/>
                <a:gd name="T72" fmla="*/ 2147483646 w 91"/>
                <a:gd name="T73" fmla="*/ 2147483646 h 95"/>
                <a:gd name="T74" fmla="*/ 2147483646 w 91"/>
                <a:gd name="T75" fmla="*/ 2147483646 h 95"/>
                <a:gd name="T76" fmla="*/ 2147483646 w 91"/>
                <a:gd name="T77" fmla="*/ 2147483646 h 95"/>
                <a:gd name="T78" fmla="*/ 2147483646 w 91"/>
                <a:gd name="T79" fmla="*/ 2147483646 h 9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91" h="95">
                  <a:moveTo>
                    <a:pt x="45" y="73"/>
                  </a:moveTo>
                  <a:cubicBezTo>
                    <a:pt x="46" y="73"/>
                    <a:pt x="47" y="74"/>
                    <a:pt x="47" y="76"/>
                  </a:cubicBezTo>
                  <a:cubicBezTo>
                    <a:pt x="47" y="78"/>
                    <a:pt x="46" y="77"/>
                    <a:pt x="45" y="78"/>
                  </a:cubicBezTo>
                  <a:cubicBezTo>
                    <a:pt x="42" y="81"/>
                    <a:pt x="40" y="83"/>
                    <a:pt x="38" y="85"/>
                  </a:cubicBezTo>
                  <a:cubicBezTo>
                    <a:pt x="40" y="85"/>
                    <a:pt x="41" y="86"/>
                    <a:pt x="42" y="88"/>
                  </a:cubicBezTo>
                  <a:cubicBezTo>
                    <a:pt x="44" y="86"/>
                    <a:pt x="47" y="91"/>
                    <a:pt x="48" y="92"/>
                  </a:cubicBezTo>
                  <a:cubicBezTo>
                    <a:pt x="47" y="93"/>
                    <a:pt x="47" y="94"/>
                    <a:pt x="48" y="95"/>
                  </a:cubicBezTo>
                  <a:cubicBezTo>
                    <a:pt x="49" y="93"/>
                    <a:pt x="50" y="91"/>
                    <a:pt x="52" y="90"/>
                  </a:cubicBezTo>
                  <a:cubicBezTo>
                    <a:pt x="54" y="88"/>
                    <a:pt x="55" y="87"/>
                    <a:pt x="56" y="84"/>
                  </a:cubicBezTo>
                  <a:cubicBezTo>
                    <a:pt x="57" y="82"/>
                    <a:pt x="59" y="81"/>
                    <a:pt x="59" y="79"/>
                  </a:cubicBezTo>
                  <a:cubicBezTo>
                    <a:pt x="59" y="77"/>
                    <a:pt x="58" y="75"/>
                    <a:pt x="59" y="73"/>
                  </a:cubicBezTo>
                  <a:cubicBezTo>
                    <a:pt x="61" y="70"/>
                    <a:pt x="67" y="67"/>
                    <a:pt x="71" y="67"/>
                  </a:cubicBezTo>
                  <a:cubicBezTo>
                    <a:pt x="73" y="67"/>
                    <a:pt x="75" y="66"/>
                    <a:pt x="76" y="64"/>
                  </a:cubicBezTo>
                  <a:cubicBezTo>
                    <a:pt x="77" y="61"/>
                    <a:pt x="79" y="60"/>
                    <a:pt x="79" y="57"/>
                  </a:cubicBezTo>
                  <a:cubicBezTo>
                    <a:pt x="80" y="55"/>
                    <a:pt x="81" y="53"/>
                    <a:pt x="81" y="51"/>
                  </a:cubicBezTo>
                  <a:cubicBezTo>
                    <a:pt x="81" y="48"/>
                    <a:pt x="81" y="46"/>
                    <a:pt x="81" y="43"/>
                  </a:cubicBezTo>
                  <a:cubicBezTo>
                    <a:pt x="81" y="43"/>
                    <a:pt x="83" y="43"/>
                    <a:pt x="83" y="42"/>
                  </a:cubicBezTo>
                  <a:cubicBezTo>
                    <a:pt x="84" y="41"/>
                    <a:pt x="84" y="40"/>
                    <a:pt x="85" y="39"/>
                  </a:cubicBezTo>
                  <a:cubicBezTo>
                    <a:pt x="86" y="37"/>
                    <a:pt x="89" y="36"/>
                    <a:pt x="90" y="33"/>
                  </a:cubicBezTo>
                  <a:cubicBezTo>
                    <a:pt x="91" y="31"/>
                    <a:pt x="91" y="29"/>
                    <a:pt x="90" y="27"/>
                  </a:cubicBezTo>
                  <a:cubicBezTo>
                    <a:pt x="90" y="23"/>
                    <a:pt x="87" y="25"/>
                    <a:pt x="85" y="24"/>
                  </a:cubicBezTo>
                  <a:cubicBezTo>
                    <a:pt x="83" y="22"/>
                    <a:pt x="81" y="20"/>
                    <a:pt x="79" y="19"/>
                  </a:cubicBezTo>
                  <a:cubicBezTo>
                    <a:pt x="76" y="19"/>
                    <a:pt x="74" y="19"/>
                    <a:pt x="71" y="18"/>
                  </a:cubicBezTo>
                  <a:cubicBezTo>
                    <a:pt x="70" y="18"/>
                    <a:pt x="70" y="18"/>
                    <a:pt x="69" y="19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8" y="18"/>
                    <a:pt x="68" y="18"/>
                  </a:cubicBezTo>
                  <a:cubicBezTo>
                    <a:pt x="68" y="16"/>
                    <a:pt x="68" y="16"/>
                    <a:pt x="67" y="16"/>
                  </a:cubicBezTo>
                  <a:cubicBezTo>
                    <a:pt x="66" y="14"/>
                    <a:pt x="62" y="14"/>
                    <a:pt x="61" y="14"/>
                  </a:cubicBezTo>
                  <a:cubicBezTo>
                    <a:pt x="60" y="14"/>
                    <a:pt x="58" y="17"/>
                    <a:pt x="57" y="18"/>
                  </a:cubicBezTo>
                  <a:cubicBezTo>
                    <a:pt x="58" y="16"/>
                    <a:pt x="54" y="16"/>
                    <a:pt x="52" y="17"/>
                  </a:cubicBezTo>
                  <a:cubicBezTo>
                    <a:pt x="53" y="16"/>
                    <a:pt x="54" y="17"/>
                    <a:pt x="54" y="17"/>
                  </a:cubicBezTo>
                  <a:cubicBezTo>
                    <a:pt x="55" y="16"/>
                    <a:pt x="54" y="15"/>
                    <a:pt x="54" y="14"/>
                  </a:cubicBezTo>
                  <a:cubicBezTo>
                    <a:pt x="54" y="15"/>
                    <a:pt x="53" y="15"/>
                    <a:pt x="53" y="15"/>
                  </a:cubicBezTo>
                  <a:cubicBezTo>
                    <a:pt x="51" y="12"/>
                    <a:pt x="56" y="12"/>
                    <a:pt x="56" y="9"/>
                  </a:cubicBezTo>
                  <a:cubicBezTo>
                    <a:pt x="56" y="9"/>
                    <a:pt x="55" y="9"/>
                    <a:pt x="55" y="8"/>
                  </a:cubicBezTo>
                  <a:cubicBezTo>
                    <a:pt x="55" y="8"/>
                    <a:pt x="54" y="7"/>
                    <a:pt x="54" y="6"/>
                  </a:cubicBezTo>
                  <a:cubicBezTo>
                    <a:pt x="54" y="6"/>
                    <a:pt x="53" y="2"/>
                    <a:pt x="52" y="3"/>
                  </a:cubicBezTo>
                  <a:cubicBezTo>
                    <a:pt x="50" y="5"/>
                    <a:pt x="50" y="7"/>
                    <a:pt x="47" y="8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3" y="7"/>
                    <a:pt x="42" y="8"/>
                    <a:pt x="42" y="8"/>
                  </a:cubicBezTo>
                  <a:cubicBezTo>
                    <a:pt x="41" y="8"/>
                    <a:pt x="40" y="8"/>
                    <a:pt x="38" y="8"/>
                  </a:cubicBezTo>
                  <a:cubicBezTo>
                    <a:pt x="37" y="9"/>
                    <a:pt x="36" y="10"/>
                    <a:pt x="35" y="9"/>
                  </a:cubicBezTo>
                  <a:cubicBezTo>
                    <a:pt x="31" y="8"/>
                    <a:pt x="34" y="5"/>
                    <a:pt x="34" y="3"/>
                  </a:cubicBezTo>
                  <a:cubicBezTo>
                    <a:pt x="34" y="3"/>
                    <a:pt x="32" y="1"/>
                    <a:pt x="32" y="1"/>
                  </a:cubicBezTo>
                  <a:cubicBezTo>
                    <a:pt x="31" y="0"/>
                    <a:pt x="31" y="2"/>
                    <a:pt x="30" y="2"/>
                  </a:cubicBezTo>
                  <a:cubicBezTo>
                    <a:pt x="26" y="3"/>
                    <a:pt x="25" y="4"/>
                    <a:pt x="22" y="3"/>
                  </a:cubicBezTo>
                  <a:cubicBezTo>
                    <a:pt x="22" y="4"/>
                    <a:pt x="23" y="4"/>
                    <a:pt x="23" y="5"/>
                  </a:cubicBezTo>
                  <a:cubicBezTo>
                    <a:pt x="22" y="7"/>
                    <a:pt x="23" y="7"/>
                    <a:pt x="25" y="7"/>
                  </a:cubicBezTo>
                  <a:cubicBezTo>
                    <a:pt x="24" y="8"/>
                    <a:pt x="22" y="9"/>
                    <a:pt x="21" y="10"/>
                  </a:cubicBezTo>
                  <a:cubicBezTo>
                    <a:pt x="20" y="10"/>
                    <a:pt x="20" y="11"/>
                    <a:pt x="18" y="11"/>
                  </a:cubicBezTo>
                  <a:cubicBezTo>
                    <a:pt x="17" y="11"/>
                    <a:pt x="17" y="9"/>
                    <a:pt x="16" y="10"/>
                  </a:cubicBezTo>
                  <a:cubicBezTo>
                    <a:pt x="16" y="8"/>
                    <a:pt x="15" y="8"/>
                    <a:pt x="13" y="8"/>
                  </a:cubicBezTo>
                  <a:cubicBezTo>
                    <a:pt x="13" y="9"/>
                    <a:pt x="11" y="8"/>
                    <a:pt x="10" y="8"/>
                  </a:cubicBezTo>
                  <a:cubicBezTo>
                    <a:pt x="9" y="11"/>
                    <a:pt x="11" y="10"/>
                    <a:pt x="11" y="11"/>
                  </a:cubicBezTo>
                  <a:cubicBezTo>
                    <a:pt x="7" y="10"/>
                    <a:pt x="11" y="14"/>
                    <a:pt x="11" y="16"/>
                  </a:cubicBezTo>
                  <a:cubicBezTo>
                    <a:pt x="10" y="17"/>
                    <a:pt x="10" y="19"/>
                    <a:pt x="10" y="21"/>
                  </a:cubicBezTo>
                  <a:cubicBezTo>
                    <a:pt x="9" y="22"/>
                    <a:pt x="9" y="22"/>
                    <a:pt x="7" y="23"/>
                  </a:cubicBezTo>
                  <a:cubicBezTo>
                    <a:pt x="6" y="23"/>
                    <a:pt x="5" y="23"/>
                    <a:pt x="4" y="24"/>
                  </a:cubicBezTo>
                  <a:cubicBezTo>
                    <a:pt x="2" y="25"/>
                    <a:pt x="3" y="26"/>
                    <a:pt x="2" y="28"/>
                  </a:cubicBezTo>
                  <a:cubicBezTo>
                    <a:pt x="2" y="28"/>
                    <a:pt x="0" y="29"/>
                    <a:pt x="1" y="30"/>
                  </a:cubicBezTo>
                  <a:cubicBezTo>
                    <a:pt x="1" y="32"/>
                    <a:pt x="3" y="33"/>
                    <a:pt x="3" y="34"/>
                  </a:cubicBezTo>
                  <a:cubicBezTo>
                    <a:pt x="4" y="34"/>
                    <a:pt x="4" y="35"/>
                    <a:pt x="5" y="35"/>
                  </a:cubicBezTo>
                  <a:cubicBezTo>
                    <a:pt x="6" y="36"/>
                    <a:pt x="7" y="35"/>
                    <a:pt x="8" y="34"/>
                  </a:cubicBezTo>
                  <a:cubicBezTo>
                    <a:pt x="8" y="35"/>
                    <a:pt x="8" y="37"/>
                    <a:pt x="8" y="38"/>
                  </a:cubicBezTo>
                  <a:cubicBezTo>
                    <a:pt x="8" y="38"/>
                    <a:pt x="13" y="38"/>
                    <a:pt x="13" y="38"/>
                  </a:cubicBezTo>
                  <a:cubicBezTo>
                    <a:pt x="14" y="38"/>
                    <a:pt x="21" y="32"/>
                    <a:pt x="20" y="36"/>
                  </a:cubicBezTo>
                  <a:cubicBezTo>
                    <a:pt x="20" y="38"/>
                    <a:pt x="20" y="39"/>
                    <a:pt x="21" y="41"/>
                  </a:cubicBezTo>
                  <a:cubicBezTo>
                    <a:pt x="22" y="41"/>
                    <a:pt x="22" y="41"/>
                    <a:pt x="23" y="41"/>
                  </a:cubicBezTo>
                  <a:cubicBezTo>
                    <a:pt x="24" y="42"/>
                    <a:pt x="24" y="42"/>
                    <a:pt x="25" y="42"/>
                  </a:cubicBezTo>
                  <a:cubicBezTo>
                    <a:pt x="27" y="43"/>
                    <a:pt x="33" y="44"/>
                    <a:pt x="32" y="47"/>
                  </a:cubicBezTo>
                  <a:cubicBezTo>
                    <a:pt x="31" y="48"/>
                    <a:pt x="31" y="50"/>
                    <a:pt x="33" y="50"/>
                  </a:cubicBezTo>
                  <a:cubicBezTo>
                    <a:pt x="34" y="50"/>
                    <a:pt x="35" y="51"/>
                    <a:pt x="36" y="51"/>
                  </a:cubicBezTo>
                  <a:cubicBezTo>
                    <a:pt x="37" y="51"/>
                    <a:pt x="36" y="52"/>
                    <a:pt x="36" y="53"/>
                  </a:cubicBezTo>
                  <a:cubicBezTo>
                    <a:pt x="36" y="53"/>
                    <a:pt x="37" y="53"/>
                    <a:pt x="37" y="54"/>
                  </a:cubicBezTo>
                  <a:cubicBezTo>
                    <a:pt x="38" y="55"/>
                    <a:pt x="38" y="55"/>
                    <a:pt x="38" y="56"/>
                  </a:cubicBezTo>
                  <a:cubicBezTo>
                    <a:pt x="38" y="58"/>
                    <a:pt x="37" y="59"/>
                    <a:pt x="37" y="61"/>
                  </a:cubicBezTo>
                  <a:cubicBezTo>
                    <a:pt x="37" y="63"/>
                    <a:pt x="37" y="64"/>
                    <a:pt x="39" y="65"/>
                  </a:cubicBezTo>
                  <a:cubicBezTo>
                    <a:pt x="40" y="65"/>
                    <a:pt x="42" y="64"/>
                    <a:pt x="42" y="66"/>
                  </a:cubicBezTo>
                  <a:cubicBezTo>
                    <a:pt x="43" y="69"/>
                    <a:pt x="43" y="69"/>
                    <a:pt x="45" y="69"/>
                  </a:cubicBezTo>
                  <a:cubicBezTo>
                    <a:pt x="46" y="69"/>
                    <a:pt x="45" y="73"/>
                    <a:pt x="45" y="73"/>
                  </a:cubicBez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4" name="Freeform 107"/>
            <p:cNvSpPr>
              <a:spLocks noEditPoints="1"/>
            </p:cNvSpPr>
            <p:nvPr/>
          </p:nvSpPr>
          <p:spPr bwMode="auto">
            <a:xfrm>
              <a:off x="7139495" y="3094935"/>
              <a:ext cx="676874" cy="714493"/>
            </a:xfrm>
            <a:custGeom>
              <a:avLst/>
              <a:gdLst>
                <a:gd name="T0" fmla="*/ 2147483646 w 91"/>
                <a:gd name="T1" fmla="*/ 2147483646 h 96"/>
                <a:gd name="T2" fmla="*/ 2147483646 w 91"/>
                <a:gd name="T3" fmla="*/ 2147483646 h 96"/>
                <a:gd name="T4" fmla="*/ 2147483646 w 91"/>
                <a:gd name="T5" fmla="*/ 2147483646 h 96"/>
                <a:gd name="T6" fmla="*/ 2147483646 w 91"/>
                <a:gd name="T7" fmla="*/ 2147483646 h 96"/>
                <a:gd name="T8" fmla="*/ 2147483646 w 91"/>
                <a:gd name="T9" fmla="*/ 2147483646 h 96"/>
                <a:gd name="T10" fmla="*/ 2147483646 w 91"/>
                <a:gd name="T11" fmla="*/ 2147483646 h 96"/>
                <a:gd name="T12" fmla="*/ 2147483646 w 91"/>
                <a:gd name="T13" fmla="*/ 2147483646 h 96"/>
                <a:gd name="T14" fmla="*/ 2147483646 w 91"/>
                <a:gd name="T15" fmla="*/ 2147483646 h 96"/>
                <a:gd name="T16" fmla="*/ 2147483646 w 91"/>
                <a:gd name="T17" fmla="*/ 2147483646 h 96"/>
                <a:gd name="T18" fmla="*/ 0 w 91"/>
                <a:gd name="T19" fmla="*/ 2147483646 h 96"/>
                <a:gd name="T20" fmla="*/ 2147483646 w 91"/>
                <a:gd name="T21" fmla="*/ 2147483646 h 96"/>
                <a:gd name="T22" fmla="*/ 2147483646 w 91"/>
                <a:gd name="T23" fmla="*/ 2147483646 h 96"/>
                <a:gd name="T24" fmla="*/ 2147483646 w 91"/>
                <a:gd name="T25" fmla="*/ 2147483646 h 96"/>
                <a:gd name="T26" fmla="*/ 2147483646 w 91"/>
                <a:gd name="T27" fmla="*/ 2147483646 h 96"/>
                <a:gd name="T28" fmla="*/ 2147483646 w 91"/>
                <a:gd name="T29" fmla="*/ 2147483646 h 96"/>
                <a:gd name="T30" fmla="*/ 2147483646 w 91"/>
                <a:gd name="T31" fmla="*/ 2147483646 h 96"/>
                <a:gd name="T32" fmla="*/ 2147483646 w 91"/>
                <a:gd name="T33" fmla="*/ 2147483646 h 96"/>
                <a:gd name="T34" fmla="*/ 2147483646 w 91"/>
                <a:gd name="T35" fmla="*/ 2147483646 h 96"/>
                <a:gd name="T36" fmla="*/ 2147483646 w 91"/>
                <a:gd name="T37" fmla="*/ 2147483646 h 96"/>
                <a:gd name="T38" fmla="*/ 2147483646 w 91"/>
                <a:gd name="T39" fmla="*/ 2147483646 h 96"/>
                <a:gd name="T40" fmla="*/ 2147483646 w 91"/>
                <a:gd name="T41" fmla="*/ 2147483646 h 96"/>
                <a:gd name="T42" fmla="*/ 2147483646 w 91"/>
                <a:gd name="T43" fmla="*/ 2147483646 h 96"/>
                <a:gd name="T44" fmla="*/ 2147483646 w 91"/>
                <a:gd name="T45" fmla="*/ 2147483646 h 96"/>
                <a:gd name="T46" fmla="*/ 2147483646 w 91"/>
                <a:gd name="T47" fmla="*/ 2147483646 h 96"/>
                <a:gd name="T48" fmla="*/ 2147483646 w 91"/>
                <a:gd name="T49" fmla="*/ 2147483646 h 96"/>
                <a:gd name="T50" fmla="*/ 2147483646 w 91"/>
                <a:gd name="T51" fmla="*/ 2147483646 h 96"/>
                <a:gd name="T52" fmla="*/ 2147483646 w 91"/>
                <a:gd name="T53" fmla="*/ 2147483646 h 96"/>
                <a:gd name="T54" fmla="*/ 2147483646 w 91"/>
                <a:gd name="T55" fmla="*/ 2147483646 h 96"/>
                <a:gd name="T56" fmla="*/ 2147483646 w 91"/>
                <a:gd name="T57" fmla="*/ 2147483646 h 96"/>
                <a:gd name="T58" fmla="*/ 2147483646 w 91"/>
                <a:gd name="T59" fmla="*/ 2147483646 h 96"/>
                <a:gd name="T60" fmla="*/ 2147483646 w 91"/>
                <a:gd name="T61" fmla="*/ 2147483646 h 96"/>
                <a:gd name="T62" fmla="*/ 2147483646 w 91"/>
                <a:gd name="T63" fmla="*/ 2147483646 h 96"/>
                <a:gd name="T64" fmla="*/ 2147483646 w 91"/>
                <a:gd name="T65" fmla="*/ 2147483646 h 96"/>
                <a:gd name="T66" fmla="*/ 2147483646 w 91"/>
                <a:gd name="T67" fmla="*/ 2147483646 h 96"/>
                <a:gd name="T68" fmla="*/ 2147483646 w 91"/>
                <a:gd name="T69" fmla="*/ 2147483646 h 96"/>
                <a:gd name="T70" fmla="*/ 2147483646 w 91"/>
                <a:gd name="T71" fmla="*/ 2147483646 h 96"/>
                <a:gd name="T72" fmla="*/ 2147483646 w 91"/>
                <a:gd name="T73" fmla="*/ 2147483646 h 96"/>
                <a:gd name="T74" fmla="*/ 2147483646 w 91"/>
                <a:gd name="T75" fmla="*/ 2147483646 h 96"/>
                <a:gd name="T76" fmla="*/ 2147483646 w 91"/>
                <a:gd name="T77" fmla="*/ 2147483646 h 96"/>
                <a:gd name="T78" fmla="*/ 2147483646 w 91"/>
                <a:gd name="T79" fmla="*/ 2147483646 h 96"/>
                <a:gd name="T80" fmla="*/ 2147483646 w 91"/>
                <a:gd name="T81" fmla="*/ 2147483646 h 96"/>
                <a:gd name="T82" fmla="*/ 2147483646 w 91"/>
                <a:gd name="T83" fmla="*/ 2147483646 h 96"/>
                <a:gd name="T84" fmla="*/ 2147483646 w 91"/>
                <a:gd name="T85" fmla="*/ 2147483646 h 96"/>
                <a:gd name="T86" fmla="*/ 2147483646 w 91"/>
                <a:gd name="T87" fmla="*/ 2147483646 h 96"/>
                <a:gd name="T88" fmla="*/ 2147483646 w 91"/>
                <a:gd name="T89" fmla="*/ 2147483646 h 96"/>
                <a:gd name="T90" fmla="*/ 2147483646 w 91"/>
                <a:gd name="T91" fmla="*/ 2147483646 h 96"/>
                <a:gd name="T92" fmla="*/ 2147483646 w 91"/>
                <a:gd name="T93" fmla="*/ 2147483646 h 96"/>
                <a:gd name="T94" fmla="*/ 2147483646 w 91"/>
                <a:gd name="T95" fmla="*/ 2147483646 h 96"/>
                <a:gd name="T96" fmla="*/ 2147483646 w 91"/>
                <a:gd name="T97" fmla="*/ 2147483646 h 96"/>
                <a:gd name="T98" fmla="*/ 2147483646 w 91"/>
                <a:gd name="T99" fmla="*/ 2147483646 h 96"/>
                <a:gd name="T100" fmla="*/ 2147483646 w 91"/>
                <a:gd name="T101" fmla="*/ 2147483646 h 96"/>
                <a:gd name="T102" fmla="*/ 2147483646 w 91"/>
                <a:gd name="T103" fmla="*/ 2147483646 h 96"/>
                <a:gd name="T104" fmla="*/ 2147483646 w 91"/>
                <a:gd name="T105" fmla="*/ 2147483646 h 96"/>
                <a:gd name="T106" fmla="*/ 2147483646 w 91"/>
                <a:gd name="T107" fmla="*/ 2147483646 h 96"/>
                <a:gd name="T108" fmla="*/ 2147483646 w 91"/>
                <a:gd name="T109" fmla="*/ 2147483646 h 96"/>
                <a:gd name="T110" fmla="*/ 2147483646 w 91"/>
                <a:gd name="T111" fmla="*/ 2147483646 h 9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91" h="96">
                  <a:moveTo>
                    <a:pt x="48" y="96"/>
                  </a:moveTo>
                  <a:cubicBezTo>
                    <a:pt x="47" y="95"/>
                    <a:pt x="47" y="95"/>
                    <a:pt x="47" y="95"/>
                  </a:cubicBezTo>
                  <a:cubicBezTo>
                    <a:pt x="47" y="94"/>
                    <a:pt x="47" y="93"/>
                    <a:pt x="48" y="92"/>
                  </a:cubicBezTo>
                  <a:cubicBezTo>
                    <a:pt x="47" y="92"/>
                    <a:pt x="47" y="91"/>
                    <a:pt x="46" y="91"/>
                  </a:cubicBezTo>
                  <a:cubicBezTo>
                    <a:pt x="45" y="89"/>
                    <a:pt x="43" y="87"/>
                    <a:pt x="42" y="88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6"/>
                    <a:pt x="39" y="86"/>
                    <a:pt x="38" y="86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9" y="83"/>
                    <a:pt x="41" y="82"/>
                    <a:pt x="43" y="80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5" y="77"/>
                    <a:pt x="45" y="77"/>
                    <a:pt x="46" y="77"/>
                  </a:cubicBezTo>
                  <a:cubicBezTo>
                    <a:pt x="46" y="77"/>
                    <a:pt x="46" y="77"/>
                    <a:pt x="47" y="75"/>
                  </a:cubicBezTo>
                  <a:cubicBezTo>
                    <a:pt x="47" y="75"/>
                    <a:pt x="47" y="75"/>
                    <a:pt x="46" y="74"/>
                  </a:cubicBezTo>
                  <a:cubicBezTo>
                    <a:pt x="46" y="74"/>
                    <a:pt x="46" y="74"/>
                    <a:pt x="45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1"/>
                    <a:pt x="45" y="70"/>
                    <a:pt x="45" y="70"/>
                  </a:cubicBezTo>
                  <a:cubicBezTo>
                    <a:pt x="43" y="69"/>
                    <a:pt x="42" y="69"/>
                    <a:pt x="42" y="67"/>
                  </a:cubicBezTo>
                  <a:cubicBezTo>
                    <a:pt x="42" y="67"/>
                    <a:pt x="42" y="66"/>
                    <a:pt x="42" y="66"/>
                  </a:cubicBezTo>
                  <a:cubicBezTo>
                    <a:pt x="42" y="65"/>
                    <a:pt x="41" y="65"/>
                    <a:pt x="41" y="65"/>
                  </a:cubicBezTo>
                  <a:cubicBezTo>
                    <a:pt x="41" y="65"/>
                    <a:pt x="41" y="65"/>
                    <a:pt x="40" y="66"/>
                  </a:cubicBezTo>
                  <a:cubicBezTo>
                    <a:pt x="40" y="66"/>
                    <a:pt x="39" y="66"/>
                    <a:pt x="39" y="66"/>
                  </a:cubicBezTo>
                  <a:cubicBezTo>
                    <a:pt x="37" y="65"/>
                    <a:pt x="37" y="63"/>
                    <a:pt x="36" y="62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0"/>
                    <a:pt x="37" y="59"/>
                    <a:pt x="37" y="58"/>
                  </a:cubicBezTo>
                  <a:cubicBezTo>
                    <a:pt x="37" y="57"/>
                    <a:pt x="37" y="57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5"/>
                    <a:pt x="37" y="55"/>
                    <a:pt x="37" y="54"/>
                  </a:cubicBezTo>
                  <a:cubicBezTo>
                    <a:pt x="37" y="54"/>
                    <a:pt x="37" y="54"/>
                    <a:pt x="36" y="54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2"/>
                    <a:pt x="36" y="52"/>
                  </a:cubicBezTo>
                  <a:cubicBezTo>
                    <a:pt x="36" y="52"/>
                    <a:pt x="36" y="51"/>
                    <a:pt x="36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2" y="51"/>
                    <a:pt x="32" y="51"/>
                    <a:pt x="31" y="50"/>
                  </a:cubicBezTo>
                  <a:cubicBezTo>
                    <a:pt x="31" y="49"/>
                    <a:pt x="31" y="48"/>
                    <a:pt x="31" y="47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4"/>
                    <a:pt x="28" y="44"/>
                    <a:pt x="27" y="43"/>
                  </a:cubicBezTo>
                  <a:cubicBezTo>
                    <a:pt x="26" y="43"/>
                    <a:pt x="26" y="43"/>
                    <a:pt x="25" y="43"/>
                  </a:cubicBezTo>
                  <a:cubicBezTo>
                    <a:pt x="25" y="43"/>
                    <a:pt x="24" y="43"/>
                    <a:pt x="24" y="42"/>
                  </a:cubicBezTo>
                  <a:cubicBezTo>
                    <a:pt x="24" y="42"/>
                    <a:pt x="24" y="42"/>
                    <a:pt x="23" y="42"/>
                  </a:cubicBezTo>
                  <a:cubicBezTo>
                    <a:pt x="22" y="42"/>
                    <a:pt x="22" y="42"/>
                    <a:pt x="21" y="41"/>
                  </a:cubicBezTo>
                  <a:cubicBezTo>
                    <a:pt x="19" y="40"/>
                    <a:pt x="19" y="38"/>
                    <a:pt x="20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5"/>
                    <a:pt x="20" y="35"/>
                  </a:cubicBezTo>
                  <a:cubicBezTo>
                    <a:pt x="20" y="35"/>
                    <a:pt x="19" y="35"/>
                    <a:pt x="19" y="35"/>
                  </a:cubicBezTo>
                  <a:cubicBezTo>
                    <a:pt x="18" y="35"/>
                    <a:pt x="16" y="37"/>
                    <a:pt x="15" y="38"/>
                  </a:cubicBezTo>
                  <a:cubicBezTo>
                    <a:pt x="14" y="38"/>
                    <a:pt x="14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1" y="39"/>
                    <a:pt x="8" y="39"/>
                    <a:pt x="8" y="38"/>
                  </a:cubicBezTo>
                  <a:cubicBezTo>
                    <a:pt x="7" y="38"/>
                    <a:pt x="7" y="37"/>
                    <a:pt x="7" y="35"/>
                  </a:cubicBezTo>
                  <a:cubicBezTo>
                    <a:pt x="7" y="36"/>
                    <a:pt x="6" y="36"/>
                    <a:pt x="5" y="36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3"/>
                    <a:pt x="2" y="33"/>
                    <a:pt x="1" y="32"/>
                  </a:cubicBezTo>
                  <a:cubicBezTo>
                    <a:pt x="1" y="32"/>
                    <a:pt x="0" y="31"/>
                    <a:pt x="0" y="31"/>
                  </a:cubicBezTo>
                  <a:cubicBezTo>
                    <a:pt x="0" y="29"/>
                    <a:pt x="1" y="28"/>
                    <a:pt x="1" y="28"/>
                  </a:cubicBezTo>
                  <a:cubicBezTo>
                    <a:pt x="1" y="28"/>
                    <a:pt x="2" y="28"/>
                    <a:pt x="2" y="27"/>
                  </a:cubicBezTo>
                  <a:cubicBezTo>
                    <a:pt x="2" y="27"/>
                    <a:pt x="2" y="27"/>
                    <a:pt x="2" y="26"/>
                  </a:cubicBezTo>
                  <a:cubicBezTo>
                    <a:pt x="2" y="25"/>
                    <a:pt x="2" y="25"/>
                    <a:pt x="3" y="24"/>
                  </a:cubicBezTo>
                  <a:cubicBezTo>
                    <a:pt x="4" y="23"/>
                    <a:pt x="6" y="22"/>
                    <a:pt x="7" y="22"/>
                  </a:cubicBezTo>
                  <a:cubicBezTo>
                    <a:pt x="7" y="22"/>
                    <a:pt x="7" y="22"/>
                    <a:pt x="8" y="22"/>
                  </a:cubicBezTo>
                  <a:cubicBezTo>
                    <a:pt x="9" y="22"/>
                    <a:pt x="9" y="22"/>
                    <a:pt x="9" y="2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4"/>
                    <a:pt x="9" y="14"/>
                  </a:cubicBezTo>
                  <a:cubicBezTo>
                    <a:pt x="9" y="13"/>
                    <a:pt x="8" y="12"/>
                    <a:pt x="9" y="11"/>
                  </a:cubicBezTo>
                  <a:cubicBezTo>
                    <a:pt x="9" y="11"/>
                    <a:pt x="10" y="11"/>
                    <a:pt x="10" y="10"/>
                  </a:cubicBezTo>
                  <a:cubicBezTo>
                    <a:pt x="9" y="10"/>
                    <a:pt x="9" y="10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1" y="8"/>
                  </a:cubicBezTo>
                  <a:cubicBezTo>
                    <a:pt x="11" y="8"/>
                    <a:pt x="11" y="8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6" y="8"/>
                    <a:pt x="17" y="9"/>
                  </a:cubicBezTo>
                  <a:cubicBezTo>
                    <a:pt x="17" y="9"/>
                    <a:pt x="17" y="9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20" y="10"/>
                    <a:pt x="21" y="9"/>
                  </a:cubicBezTo>
                  <a:cubicBezTo>
                    <a:pt x="22" y="9"/>
                    <a:pt x="23" y="8"/>
                    <a:pt x="23" y="8"/>
                  </a:cubicBezTo>
                  <a:cubicBezTo>
                    <a:pt x="23" y="8"/>
                    <a:pt x="23" y="7"/>
                    <a:pt x="23" y="7"/>
                  </a:cubicBezTo>
                  <a:cubicBezTo>
                    <a:pt x="22" y="7"/>
                    <a:pt x="22" y="6"/>
                    <a:pt x="22" y="5"/>
                  </a:cubicBezTo>
                  <a:cubicBezTo>
                    <a:pt x="22" y="5"/>
                    <a:pt x="22" y="4"/>
                    <a:pt x="22" y="4"/>
                  </a:cubicBezTo>
                  <a:cubicBezTo>
                    <a:pt x="21" y="4"/>
                    <a:pt x="21" y="3"/>
                    <a:pt x="21" y="3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6" y="3"/>
                    <a:pt x="26" y="3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0"/>
                    <a:pt x="31" y="0"/>
                    <a:pt x="33" y="0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4" y="2"/>
                    <a:pt x="34" y="2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4"/>
                    <a:pt x="34" y="5"/>
                    <a:pt x="34" y="5"/>
                  </a:cubicBezTo>
                  <a:cubicBezTo>
                    <a:pt x="33" y="7"/>
                    <a:pt x="33" y="8"/>
                    <a:pt x="35" y="9"/>
                  </a:cubicBezTo>
                  <a:cubicBezTo>
                    <a:pt x="36" y="9"/>
                    <a:pt x="36" y="9"/>
                    <a:pt x="37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9" y="7"/>
                    <a:pt x="40" y="7"/>
                    <a:pt x="41" y="8"/>
                  </a:cubicBezTo>
                  <a:cubicBezTo>
                    <a:pt x="41" y="8"/>
                    <a:pt x="41" y="8"/>
                    <a:pt x="42" y="8"/>
                  </a:cubicBezTo>
                  <a:cubicBezTo>
                    <a:pt x="42" y="8"/>
                    <a:pt x="42" y="7"/>
                    <a:pt x="42" y="7"/>
                  </a:cubicBezTo>
                  <a:cubicBezTo>
                    <a:pt x="42" y="7"/>
                    <a:pt x="43" y="6"/>
                    <a:pt x="44" y="6"/>
                  </a:cubicBezTo>
                  <a:cubicBezTo>
                    <a:pt x="45" y="6"/>
                    <a:pt x="45" y="7"/>
                    <a:pt x="46" y="7"/>
                  </a:cubicBezTo>
                  <a:cubicBezTo>
                    <a:pt x="46" y="7"/>
                    <a:pt x="47" y="7"/>
                    <a:pt x="47" y="7"/>
                  </a:cubicBezTo>
                  <a:cubicBezTo>
                    <a:pt x="49" y="7"/>
                    <a:pt x="49" y="6"/>
                    <a:pt x="50" y="5"/>
                  </a:cubicBezTo>
                  <a:cubicBezTo>
                    <a:pt x="51" y="4"/>
                    <a:pt x="51" y="3"/>
                    <a:pt x="52" y="3"/>
                  </a:cubicBezTo>
                  <a:cubicBezTo>
                    <a:pt x="52" y="2"/>
                    <a:pt x="52" y="2"/>
                    <a:pt x="53" y="2"/>
                  </a:cubicBezTo>
                  <a:cubicBezTo>
                    <a:pt x="53" y="2"/>
                    <a:pt x="54" y="3"/>
                    <a:pt x="55" y="6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7"/>
                    <a:pt x="55" y="8"/>
                    <a:pt x="55" y="8"/>
                  </a:cubicBezTo>
                  <a:cubicBezTo>
                    <a:pt x="55" y="8"/>
                    <a:pt x="56" y="8"/>
                    <a:pt x="56" y="8"/>
                  </a:cubicBezTo>
                  <a:cubicBezTo>
                    <a:pt x="56" y="8"/>
                    <a:pt x="57" y="8"/>
                    <a:pt x="57" y="9"/>
                  </a:cubicBezTo>
                  <a:cubicBezTo>
                    <a:pt x="57" y="10"/>
                    <a:pt x="56" y="11"/>
                    <a:pt x="55" y="12"/>
                  </a:cubicBezTo>
                  <a:cubicBezTo>
                    <a:pt x="54" y="13"/>
                    <a:pt x="53" y="14"/>
                    <a:pt x="53" y="14"/>
                  </a:cubicBezTo>
                  <a:cubicBezTo>
                    <a:pt x="53" y="14"/>
                    <a:pt x="54" y="14"/>
                    <a:pt x="54" y="14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5" y="15"/>
                    <a:pt x="55" y="16"/>
                    <a:pt x="55" y="16"/>
                  </a:cubicBezTo>
                  <a:cubicBezTo>
                    <a:pt x="56" y="16"/>
                    <a:pt x="57" y="16"/>
                    <a:pt x="58" y="17"/>
                  </a:cubicBezTo>
                  <a:cubicBezTo>
                    <a:pt x="59" y="15"/>
                    <a:pt x="60" y="14"/>
                    <a:pt x="61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3" y="14"/>
                    <a:pt x="66" y="14"/>
                    <a:pt x="67" y="16"/>
                  </a:cubicBezTo>
                  <a:cubicBezTo>
                    <a:pt x="68" y="15"/>
                    <a:pt x="68" y="16"/>
                    <a:pt x="69" y="16"/>
                  </a:cubicBezTo>
                  <a:cubicBezTo>
                    <a:pt x="69" y="16"/>
                    <a:pt x="69" y="17"/>
                    <a:pt x="69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7"/>
                    <a:pt x="71" y="17"/>
                    <a:pt x="72" y="18"/>
                  </a:cubicBezTo>
                  <a:cubicBezTo>
                    <a:pt x="73" y="18"/>
                    <a:pt x="74" y="18"/>
                    <a:pt x="76" y="18"/>
                  </a:cubicBezTo>
                  <a:cubicBezTo>
                    <a:pt x="77" y="18"/>
                    <a:pt x="78" y="18"/>
                    <a:pt x="79" y="19"/>
                  </a:cubicBezTo>
                  <a:cubicBezTo>
                    <a:pt x="81" y="19"/>
                    <a:pt x="83" y="21"/>
                    <a:pt x="84" y="22"/>
                  </a:cubicBezTo>
                  <a:cubicBezTo>
                    <a:pt x="85" y="22"/>
                    <a:pt x="85" y="23"/>
                    <a:pt x="86" y="23"/>
                  </a:cubicBezTo>
                  <a:cubicBezTo>
                    <a:pt x="86" y="24"/>
                    <a:pt x="87" y="24"/>
                    <a:pt x="88" y="24"/>
                  </a:cubicBezTo>
                  <a:cubicBezTo>
                    <a:pt x="89" y="24"/>
                    <a:pt x="90" y="24"/>
                    <a:pt x="91" y="26"/>
                  </a:cubicBezTo>
                  <a:cubicBezTo>
                    <a:pt x="91" y="29"/>
                    <a:pt x="91" y="32"/>
                    <a:pt x="90" y="34"/>
                  </a:cubicBezTo>
                  <a:cubicBezTo>
                    <a:pt x="90" y="35"/>
                    <a:pt x="88" y="36"/>
                    <a:pt x="87" y="37"/>
                  </a:cubicBezTo>
                  <a:cubicBezTo>
                    <a:pt x="87" y="38"/>
                    <a:pt x="86" y="38"/>
                    <a:pt x="85" y="39"/>
                  </a:cubicBezTo>
                  <a:cubicBezTo>
                    <a:pt x="85" y="40"/>
                    <a:pt x="85" y="40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3" y="43"/>
                    <a:pt x="83" y="43"/>
                    <a:pt x="82" y="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45"/>
                    <a:pt x="82" y="46"/>
                    <a:pt x="82" y="47"/>
                  </a:cubicBezTo>
                  <a:cubicBezTo>
                    <a:pt x="82" y="48"/>
                    <a:pt x="82" y="50"/>
                    <a:pt x="82" y="51"/>
                  </a:cubicBezTo>
                  <a:cubicBezTo>
                    <a:pt x="81" y="52"/>
                    <a:pt x="81" y="53"/>
                    <a:pt x="81" y="54"/>
                  </a:cubicBezTo>
                  <a:cubicBezTo>
                    <a:pt x="80" y="55"/>
                    <a:pt x="80" y="56"/>
                    <a:pt x="80" y="57"/>
                  </a:cubicBezTo>
                  <a:cubicBezTo>
                    <a:pt x="80" y="59"/>
                    <a:pt x="79" y="60"/>
                    <a:pt x="78" y="61"/>
                  </a:cubicBezTo>
                  <a:cubicBezTo>
                    <a:pt x="78" y="62"/>
                    <a:pt x="77" y="63"/>
                    <a:pt x="77" y="64"/>
                  </a:cubicBezTo>
                  <a:cubicBezTo>
                    <a:pt x="76" y="67"/>
                    <a:pt x="72" y="67"/>
                    <a:pt x="71" y="67"/>
                  </a:cubicBezTo>
                  <a:cubicBezTo>
                    <a:pt x="67" y="67"/>
                    <a:pt x="62" y="71"/>
                    <a:pt x="60" y="74"/>
                  </a:cubicBezTo>
                  <a:cubicBezTo>
                    <a:pt x="59" y="75"/>
                    <a:pt x="59" y="76"/>
                    <a:pt x="59" y="77"/>
                  </a:cubicBezTo>
                  <a:cubicBezTo>
                    <a:pt x="60" y="77"/>
                    <a:pt x="60" y="78"/>
                    <a:pt x="59" y="79"/>
                  </a:cubicBezTo>
                  <a:cubicBezTo>
                    <a:pt x="59" y="81"/>
                    <a:pt x="58" y="81"/>
                    <a:pt x="58" y="82"/>
                  </a:cubicBezTo>
                  <a:cubicBezTo>
                    <a:pt x="57" y="83"/>
                    <a:pt x="57" y="84"/>
                    <a:pt x="56" y="84"/>
                  </a:cubicBezTo>
                  <a:cubicBezTo>
                    <a:pt x="55" y="86"/>
                    <a:pt x="54" y="89"/>
                    <a:pt x="52" y="90"/>
                  </a:cubicBezTo>
                  <a:cubicBezTo>
                    <a:pt x="51" y="91"/>
                    <a:pt x="51" y="92"/>
                    <a:pt x="50" y="93"/>
                  </a:cubicBezTo>
                  <a:cubicBezTo>
                    <a:pt x="49" y="94"/>
                    <a:pt x="49" y="95"/>
                    <a:pt x="48" y="96"/>
                  </a:cubicBezTo>
                  <a:close/>
                  <a:moveTo>
                    <a:pt x="42" y="87"/>
                  </a:moveTo>
                  <a:cubicBezTo>
                    <a:pt x="44" y="87"/>
                    <a:pt x="45" y="88"/>
                    <a:pt x="47" y="90"/>
                  </a:cubicBezTo>
                  <a:cubicBezTo>
                    <a:pt x="48" y="91"/>
                    <a:pt x="48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1"/>
                    <a:pt x="50" y="90"/>
                    <a:pt x="51" y="90"/>
                  </a:cubicBezTo>
                  <a:cubicBezTo>
                    <a:pt x="53" y="88"/>
                    <a:pt x="54" y="86"/>
                    <a:pt x="55" y="84"/>
                  </a:cubicBezTo>
                  <a:cubicBezTo>
                    <a:pt x="56" y="83"/>
                    <a:pt x="56" y="82"/>
                    <a:pt x="57" y="82"/>
                  </a:cubicBezTo>
                  <a:cubicBezTo>
                    <a:pt x="57" y="81"/>
                    <a:pt x="58" y="80"/>
                    <a:pt x="58" y="79"/>
                  </a:cubicBezTo>
                  <a:cubicBezTo>
                    <a:pt x="58" y="78"/>
                    <a:pt x="58" y="77"/>
                    <a:pt x="58" y="77"/>
                  </a:cubicBezTo>
                  <a:cubicBezTo>
                    <a:pt x="58" y="76"/>
                    <a:pt x="58" y="74"/>
                    <a:pt x="59" y="73"/>
                  </a:cubicBezTo>
                  <a:cubicBezTo>
                    <a:pt x="61" y="70"/>
                    <a:pt x="67" y="66"/>
                    <a:pt x="71" y="66"/>
                  </a:cubicBezTo>
                  <a:cubicBezTo>
                    <a:pt x="73" y="66"/>
                    <a:pt x="75" y="66"/>
                    <a:pt x="76" y="64"/>
                  </a:cubicBezTo>
                  <a:cubicBezTo>
                    <a:pt x="76" y="62"/>
                    <a:pt x="77" y="61"/>
                    <a:pt x="77" y="60"/>
                  </a:cubicBezTo>
                  <a:cubicBezTo>
                    <a:pt x="78" y="59"/>
                    <a:pt x="79" y="58"/>
                    <a:pt x="79" y="57"/>
                  </a:cubicBezTo>
                  <a:cubicBezTo>
                    <a:pt x="79" y="56"/>
                    <a:pt x="79" y="55"/>
                    <a:pt x="80" y="54"/>
                  </a:cubicBezTo>
                  <a:cubicBezTo>
                    <a:pt x="80" y="53"/>
                    <a:pt x="80" y="52"/>
                    <a:pt x="80" y="51"/>
                  </a:cubicBezTo>
                  <a:cubicBezTo>
                    <a:pt x="81" y="49"/>
                    <a:pt x="81" y="48"/>
                    <a:pt x="81" y="47"/>
                  </a:cubicBezTo>
                  <a:cubicBezTo>
                    <a:pt x="80" y="46"/>
                    <a:pt x="80" y="45"/>
                    <a:pt x="81" y="43"/>
                  </a:cubicBezTo>
                  <a:cubicBezTo>
                    <a:pt x="81" y="43"/>
                    <a:pt x="81" y="42"/>
                    <a:pt x="82" y="42"/>
                  </a:cubicBezTo>
                  <a:cubicBezTo>
                    <a:pt x="82" y="42"/>
                    <a:pt x="83" y="42"/>
                    <a:pt x="83" y="42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4" y="40"/>
                    <a:pt x="84" y="39"/>
                    <a:pt x="84" y="38"/>
                  </a:cubicBezTo>
                  <a:cubicBezTo>
                    <a:pt x="85" y="38"/>
                    <a:pt x="86" y="37"/>
                    <a:pt x="87" y="36"/>
                  </a:cubicBezTo>
                  <a:cubicBezTo>
                    <a:pt x="88" y="35"/>
                    <a:pt x="89" y="34"/>
                    <a:pt x="89" y="33"/>
                  </a:cubicBezTo>
                  <a:cubicBezTo>
                    <a:pt x="90" y="31"/>
                    <a:pt x="90" y="29"/>
                    <a:pt x="90" y="27"/>
                  </a:cubicBezTo>
                  <a:cubicBezTo>
                    <a:pt x="89" y="25"/>
                    <a:pt x="89" y="25"/>
                    <a:pt x="88" y="25"/>
                  </a:cubicBezTo>
                  <a:cubicBezTo>
                    <a:pt x="87" y="25"/>
                    <a:pt x="86" y="25"/>
                    <a:pt x="85" y="24"/>
                  </a:cubicBezTo>
                  <a:cubicBezTo>
                    <a:pt x="84" y="24"/>
                    <a:pt x="84" y="23"/>
                    <a:pt x="83" y="23"/>
                  </a:cubicBezTo>
                  <a:cubicBezTo>
                    <a:pt x="82" y="22"/>
                    <a:pt x="80" y="20"/>
                    <a:pt x="79" y="20"/>
                  </a:cubicBezTo>
                  <a:cubicBezTo>
                    <a:pt x="78" y="20"/>
                    <a:pt x="77" y="19"/>
                    <a:pt x="76" y="19"/>
                  </a:cubicBezTo>
                  <a:cubicBezTo>
                    <a:pt x="74" y="19"/>
                    <a:pt x="73" y="19"/>
                    <a:pt x="71" y="19"/>
                  </a:cubicBezTo>
                  <a:cubicBezTo>
                    <a:pt x="71" y="18"/>
                    <a:pt x="70" y="19"/>
                    <a:pt x="69" y="19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5"/>
                    <a:pt x="63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0" y="15"/>
                    <a:pt x="58" y="18"/>
                    <a:pt x="58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7"/>
                  </a:cubicBezTo>
                  <a:cubicBezTo>
                    <a:pt x="56" y="17"/>
                    <a:pt x="56" y="17"/>
                    <a:pt x="55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8"/>
                    <a:pt x="53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2" y="17"/>
                    <a:pt x="52" y="16"/>
                    <a:pt x="53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3"/>
                    <a:pt x="53" y="12"/>
                    <a:pt x="54" y="11"/>
                  </a:cubicBezTo>
                  <a:cubicBezTo>
                    <a:pt x="55" y="11"/>
                    <a:pt x="55" y="10"/>
                    <a:pt x="55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4" y="9"/>
                    <a:pt x="54" y="9"/>
                  </a:cubicBezTo>
                  <a:cubicBezTo>
                    <a:pt x="54" y="8"/>
                    <a:pt x="54" y="8"/>
                    <a:pt x="54" y="7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3" y="5"/>
                    <a:pt x="53" y="4"/>
                    <a:pt x="53" y="4"/>
                  </a:cubicBezTo>
                  <a:cubicBezTo>
                    <a:pt x="52" y="4"/>
                    <a:pt x="52" y="5"/>
                    <a:pt x="51" y="5"/>
                  </a:cubicBezTo>
                  <a:cubicBezTo>
                    <a:pt x="50" y="7"/>
                    <a:pt x="50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6" y="8"/>
                    <a:pt x="46" y="8"/>
                    <a:pt x="45" y="8"/>
                  </a:cubicBezTo>
                  <a:cubicBezTo>
                    <a:pt x="45" y="8"/>
                    <a:pt x="45" y="7"/>
                    <a:pt x="44" y="7"/>
                  </a:cubicBezTo>
                  <a:cubicBezTo>
                    <a:pt x="44" y="7"/>
                    <a:pt x="43" y="8"/>
                    <a:pt x="43" y="8"/>
                  </a:cubicBezTo>
                  <a:cubicBezTo>
                    <a:pt x="43" y="8"/>
                    <a:pt x="42" y="9"/>
                    <a:pt x="42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0" y="9"/>
                    <a:pt x="39" y="8"/>
                    <a:pt x="39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7" y="10"/>
                    <a:pt x="36" y="10"/>
                    <a:pt x="34" y="10"/>
                  </a:cubicBezTo>
                  <a:cubicBezTo>
                    <a:pt x="32" y="9"/>
                    <a:pt x="32" y="7"/>
                    <a:pt x="33" y="5"/>
                  </a:cubicBezTo>
                  <a:cubicBezTo>
                    <a:pt x="33" y="4"/>
                    <a:pt x="33" y="4"/>
                    <a:pt x="33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2" y="2"/>
                    <a:pt x="32" y="1"/>
                    <a:pt x="32" y="1"/>
                  </a:cubicBezTo>
                  <a:cubicBezTo>
                    <a:pt x="32" y="1"/>
                    <a:pt x="32" y="1"/>
                    <a:pt x="31" y="1"/>
                  </a:cubicBezTo>
                  <a:cubicBezTo>
                    <a:pt x="31" y="2"/>
                    <a:pt x="31" y="2"/>
                    <a:pt x="30" y="3"/>
                  </a:cubicBezTo>
                  <a:cubicBezTo>
                    <a:pt x="28" y="3"/>
                    <a:pt x="27" y="4"/>
                    <a:pt x="25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4"/>
                    <a:pt x="23" y="4"/>
                    <a:pt x="23" y="5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4" y="7"/>
                    <a:pt x="24" y="7"/>
                  </a:cubicBezTo>
                  <a:cubicBezTo>
                    <a:pt x="24" y="7"/>
                    <a:pt x="24" y="7"/>
                    <a:pt x="25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8"/>
                    <a:pt x="23" y="10"/>
                    <a:pt x="21" y="10"/>
                  </a:cubicBezTo>
                  <a:cubicBezTo>
                    <a:pt x="20" y="11"/>
                    <a:pt x="20" y="11"/>
                    <a:pt x="18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6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1" y="10"/>
                    <a:pt x="12" y="10"/>
                    <a:pt x="12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3"/>
                    <a:pt x="10" y="13"/>
                  </a:cubicBezTo>
                  <a:cubicBezTo>
                    <a:pt x="11" y="14"/>
                    <a:pt x="11" y="15"/>
                    <a:pt x="11" y="16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8" y="23"/>
                  </a:cubicBezTo>
                  <a:cubicBezTo>
                    <a:pt x="8" y="23"/>
                    <a:pt x="7" y="23"/>
                    <a:pt x="7" y="23"/>
                  </a:cubicBezTo>
                  <a:cubicBezTo>
                    <a:pt x="6" y="24"/>
                    <a:pt x="5" y="24"/>
                    <a:pt x="4" y="25"/>
                  </a:cubicBezTo>
                  <a:cubicBezTo>
                    <a:pt x="3" y="25"/>
                    <a:pt x="3" y="26"/>
                    <a:pt x="3" y="26"/>
                  </a:cubicBezTo>
                  <a:cubicBezTo>
                    <a:pt x="3" y="27"/>
                    <a:pt x="3" y="27"/>
                    <a:pt x="3" y="28"/>
                  </a:cubicBezTo>
                  <a:cubicBezTo>
                    <a:pt x="2" y="28"/>
                    <a:pt x="2" y="29"/>
                    <a:pt x="2" y="29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1"/>
                    <a:pt x="2" y="31"/>
                    <a:pt x="2" y="32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5"/>
                    <a:pt x="6" y="34"/>
                    <a:pt x="7" y="34"/>
                  </a:cubicBezTo>
                  <a:cubicBezTo>
                    <a:pt x="7" y="34"/>
                    <a:pt x="8" y="34"/>
                    <a:pt x="8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5"/>
                    <a:pt x="9" y="35"/>
                  </a:cubicBezTo>
                  <a:cubicBezTo>
                    <a:pt x="9" y="35"/>
                    <a:pt x="8" y="37"/>
                    <a:pt x="9" y="37"/>
                  </a:cubicBezTo>
                  <a:cubicBezTo>
                    <a:pt x="9" y="37"/>
                    <a:pt x="12" y="37"/>
                    <a:pt x="13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7"/>
                    <a:pt x="14" y="37"/>
                    <a:pt x="14" y="37"/>
                  </a:cubicBezTo>
                  <a:cubicBezTo>
                    <a:pt x="16" y="35"/>
                    <a:pt x="18" y="34"/>
                    <a:pt x="19" y="34"/>
                  </a:cubicBezTo>
                  <a:cubicBezTo>
                    <a:pt x="20" y="34"/>
                    <a:pt x="20" y="34"/>
                    <a:pt x="20" y="35"/>
                  </a:cubicBezTo>
                  <a:cubicBezTo>
                    <a:pt x="21" y="35"/>
                    <a:pt x="21" y="36"/>
                    <a:pt x="21" y="36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0" y="38"/>
                    <a:pt x="20" y="39"/>
                    <a:pt x="22" y="40"/>
                  </a:cubicBezTo>
                  <a:cubicBezTo>
                    <a:pt x="22" y="41"/>
                    <a:pt x="22" y="41"/>
                    <a:pt x="23" y="41"/>
                  </a:cubicBezTo>
                  <a:cubicBezTo>
                    <a:pt x="24" y="41"/>
                    <a:pt x="25" y="41"/>
                    <a:pt x="25" y="41"/>
                  </a:cubicBezTo>
                  <a:cubicBezTo>
                    <a:pt x="25" y="42"/>
                    <a:pt x="25" y="42"/>
                    <a:pt x="26" y="42"/>
                  </a:cubicBezTo>
                  <a:cubicBezTo>
                    <a:pt x="26" y="42"/>
                    <a:pt x="26" y="42"/>
                    <a:pt x="27" y="42"/>
                  </a:cubicBezTo>
                  <a:cubicBezTo>
                    <a:pt x="29" y="43"/>
                    <a:pt x="31" y="43"/>
                    <a:pt x="32" y="45"/>
                  </a:cubicBezTo>
                  <a:cubicBezTo>
                    <a:pt x="32" y="46"/>
                    <a:pt x="33" y="46"/>
                    <a:pt x="32" y="47"/>
                  </a:cubicBezTo>
                  <a:cubicBezTo>
                    <a:pt x="32" y="48"/>
                    <a:pt x="32" y="49"/>
                    <a:pt x="3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7" y="50"/>
                  </a:cubicBezTo>
                  <a:cubicBezTo>
                    <a:pt x="37" y="51"/>
                    <a:pt x="37" y="51"/>
                    <a:pt x="37" y="52"/>
                  </a:cubicBezTo>
                  <a:cubicBezTo>
                    <a:pt x="37" y="52"/>
                    <a:pt x="37" y="52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8" y="53"/>
                    <a:pt x="38" y="54"/>
                  </a:cubicBezTo>
                  <a:cubicBezTo>
                    <a:pt x="38" y="55"/>
                    <a:pt x="38" y="55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8"/>
                    <a:pt x="38" y="58"/>
                  </a:cubicBezTo>
                  <a:cubicBezTo>
                    <a:pt x="38" y="59"/>
                    <a:pt x="38" y="60"/>
                    <a:pt x="38" y="60"/>
                  </a:cubicBezTo>
                  <a:cubicBezTo>
                    <a:pt x="38" y="61"/>
                    <a:pt x="38" y="61"/>
                    <a:pt x="38" y="62"/>
                  </a:cubicBezTo>
                  <a:cubicBezTo>
                    <a:pt x="38" y="63"/>
                    <a:pt x="38" y="64"/>
                    <a:pt x="39" y="64"/>
                  </a:cubicBezTo>
                  <a:cubicBezTo>
                    <a:pt x="39" y="65"/>
                    <a:pt x="40" y="64"/>
                    <a:pt x="40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6"/>
                    <a:pt x="43" y="67"/>
                    <a:pt x="43" y="67"/>
                  </a:cubicBezTo>
                  <a:cubicBezTo>
                    <a:pt x="43" y="68"/>
                    <a:pt x="43" y="68"/>
                    <a:pt x="45" y="68"/>
                  </a:cubicBezTo>
                  <a:cubicBezTo>
                    <a:pt x="45" y="68"/>
                    <a:pt x="46" y="69"/>
                    <a:pt x="46" y="69"/>
                  </a:cubicBezTo>
                  <a:cubicBezTo>
                    <a:pt x="46" y="69"/>
                    <a:pt x="46" y="71"/>
                    <a:pt x="46" y="73"/>
                  </a:cubicBezTo>
                  <a:cubicBezTo>
                    <a:pt x="46" y="73"/>
                    <a:pt x="47" y="73"/>
                    <a:pt x="47" y="74"/>
                  </a:cubicBezTo>
                  <a:cubicBezTo>
                    <a:pt x="48" y="74"/>
                    <a:pt x="48" y="75"/>
                    <a:pt x="48" y="76"/>
                  </a:cubicBezTo>
                  <a:cubicBezTo>
                    <a:pt x="47" y="77"/>
                    <a:pt x="47" y="78"/>
                    <a:pt x="46" y="78"/>
                  </a:cubicBezTo>
                  <a:cubicBezTo>
                    <a:pt x="46" y="78"/>
                    <a:pt x="46" y="78"/>
                    <a:pt x="45" y="79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2" y="82"/>
                    <a:pt x="41" y="83"/>
                    <a:pt x="39" y="85"/>
                  </a:cubicBezTo>
                  <a:cubicBezTo>
                    <a:pt x="41" y="85"/>
                    <a:pt x="42" y="86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lose/>
                  <a:moveTo>
                    <a:pt x="53" y="16"/>
                  </a:moveTo>
                  <a:cubicBezTo>
                    <a:pt x="53" y="16"/>
                    <a:pt x="53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5"/>
                    <a:pt x="54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5" name="Freeform 108"/>
            <p:cNvSpPr/>
            <p:nvPr/>
          </p:nvSpPr>
          <p:spPr bwMode="auto">
            <a:xfrm>
              <a:off x="7533026" y="3192509"/>
              <a:ext cx="9445" cy="6295"/>
            </a:xfrm>
            <a:custGeom>
              <a:avLst/>
              <a:gdLst>
                <a:gd name="T0" fmla="*/ 2147483646 w 1"/>
                <a:gd name="T1" fmla="*/ 0 h 1"/>
                <a:gd name="T2" fmla="*/ 0 w 1"/>
                <a:gd name="T3" fmla="*/ 2147483646 h 1"/>
                <a:gd name="T4" fmla="*/ 2147483646 w 1"/>
                <a:gd name="T5" fmla="*/ 0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6" name="Freeform 109"/>
            <p:cNvSpPr/>
            <p:nvPr/>
          </p:nvSpPr>
          <p:spPr bwMode="auto">
            <a:xfrm>
              <a:off x="7533026" y="3176772"/>
              <a:ext cx="37779" cy="31475"/>
            </a:xfrm>
            <a:custGeom>
              <a:avLst/>
              <a:gdLst>
                <a:gd name="T0" fmla="*/ 0 w 5"/>
                <a:gd name="T1" fmla="*/ 2147483646 h 4"/>
                <a:gd name="T2" fmla="*/ 0 w 5"/>
                <a:gd name="T3" fmla="*/ 2147483646 h 4"/>
                <a:gd name="T4" fmla="*/ 0 w 5"/>
                <a:gd name="T5" fmla="*/ 2147483646 h 4"/>
                <a:gd name="T6" fmla="*/ 2147483646 w 5"/>
                <a:gd name="T7" fmla="*/ 2147483646 h 4"/>
                <a:gd name="T8" fmla="*/ 2147483646 w 5"/>
                <a:gd name="T9" fmla="*/ 0 h 4"/>
                <a:gd name="T10" fmla="*/ 2147483646 w 5"/>
                <a:gd name="T11" fmla="*/ 2147483646 h 4"/>
                <a:gd name="T12" fmla="*/ 2147483646 w 5"/>
                <a:gd name="T13" fmla="*/ 2147483646 h 4"/>
                <a:gd name="T14" fmla="*/ 2147483646 w 5"/>
                <a:gd name="T15" fmla="*/ 2147483646 h 4"/>
                <a:gd name="T16" fmla="*/ 2147483646 w 5"/>
                <a:gd name="T17" fmla="*/ 2147483646 h 4"/>
                <a:gd name="T18" fmla="*/ 2147483646 w 5"/>
                <a:gd name="T19" fmla="*/ 2147483646 h 4"/>
                <a:gd name="T20" fmla="*/ 2147483646 w 5"/>
                <a:gd name="T21" fmla="*/ 2147483646 h 4"/>
                <a:gd name="T22" fmla="*/ 0 w 5"/>
                <a:gd name="T23" fmla="*/ 2147483646 h 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7" name="Freeform 110"/>
            <p:cNvSpPr/>
            <p:nvPr/>
          </p:nvSpPr>
          <p:spPr bwMode="auto">
            <a:xfrm>
              <a:off x="7564508" y="3186213"/>
              <a:ext cx="0" cy="6295"/>
            </a:xfrm>
            <a:custGeom>
              <a:avLst/>
              <a:gdLst>
                <a:gd name="T0" fmla="*/ 2147483646 h 1"/>
                <a:gd name="T1" fmla="*/ 2147483646 h 1"/>
                <a:gd name="T2" fmla="*/ 2147483646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8" name="Freeform 111"/>
            <p:cNvSpPr/>
            <p:nvPr/>
          </p:nvSpPr>
          <p:spPr bwMode="auto">
            <a:xfrm>
              <a:off x="7558212" y="3186213"/>
              <a:ext cx="28334" cy="12589"/>
            </a:xfrm>
            <a:custGeom>
              <a:avLst/>
              <a:gdLst>
                <a:gd name="T0" fmla="*/ 0 w 4"/>
                <a:gd name="T1" fmla="*/ 2147483646 h 2"/>
                <a:gd name="T2" fmla="*/ 0 w 4"/>
                <a:gd name="T3" fmla="*/ 2147483646 h 2"/>
                <a:gd name="T4" fmla="*/ 2147483646 w 4"/>
                <a:gd name="T5" fmla="*/ 0 h 2"/>
                <a:gd name="T6" fmla="*/ 2147483646 w 4"/>
                <a:gd name="T7" fmla="*/ 0 h 2"/>
                <a:gd name="T8" fmla="*/ 2147483646 w 4"/>
                <a:gd name="T9" fmla="*/ 0 h 2"/>
                <a:gd name="T10" fmla="*/ 2147483646 w 4"/>
                <a:gd name="T11" fmla="*/ 2147483646 h 2"/>
                <a:gd name="T12" fmla="*/ 2147483646 w 4"/>
                <a:gd name="T13" fmla="*/ 2147483646 h 2"/>
                <a:gd name="T14" fmla="*/ 0 w 4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9" name="Freeform 112"/>
            <p:cNvSpPr/>
            <p:nvPr/>
          </p:nvSpPr>
          <p:spPr bwMode="auto">
            <a:xfrm>
              <a:off x="7548767" y="3176772"/>
              <a:ext cx="9445" cy="9443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0" name="Freeform 113"/>
            <p:cNvSpPr/>
            <p:nvPr/>
          </p:nvSpPr>
          <p:spPr bwMode="auto">
            <a:xfrm>
              <a:off x="7542471" y="3176772"/>
              <a:ext cx="22038" cy="15738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2147483646 w 3"/>
                <a:gd name="T9" fmla="*/ 0 h 2"/>
                <a:gd name="T10" fmla="*/ 2147483646 w 3"/>
                <a:gd name="T11" fmla="*/ 0 h 2"/>
                <a:gd name="T12" fmla="*/ 2147483646 w 3"/>
                <a:gd name="T13" fmla="*/ 2147483646 h 2"/>
                <a:gd name="T14" fmla="*/ 2147483646 w 3"/>
                <a:gd name="T15" fmla="*/ 2147483646 h 2"/>
                <a:gd name="T16" fmla="*/ 2147483646 w 3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1" name="Freeform 114"/>
            <p:cNvSpPr/>
            <p:nvPr/>
          </p:nvSpPr>
          <p:spPr bwMode="auto">
            <a:xfrm>
              <a:off x="7101716" y="3497821"/>
              <a:ext cx="163709" cy="786886"/>
            </a:xfrm>
            <a:custGeom>
              <a:avLst/>
              <a:gdLst>
                <a:gd name="T0" fmla="*/ 2147483646 w 22"/>
                <a:gd name="T1" fmla="*/ 2147483646 h 106"/>
                <a:gd name="T2" fmla="*/ 2147483646 w 22"/>
                <a:gd name="T3" fmla="*/ 2147483646 h 106"/>
                <a:gd name="T4" fmla="*/ 2147483646 w 22"/>
                <a:gd name="T5" fmla="*/ 2147483646 h 106"/>
                <a:gd name="T6" fmla="*/ 2147483646 w 22"/>
                <a:gd name="T7" fmla="*/ 2147483646 h 106"/>
                <a:gd name="T8" fmla="*/ 2147483646 w 22"/>
                <a:gd name="T9" fmla="*/ 2147483646 h 106"/>
                <a:gd name="T10" fmla="*/ 2147483646 w 22"/>
                <a:gd name="T11" fmla="*/ 2147483646 h 106"/>
                <a:gd name="T12" fmla="*/ 2147483646 w 22"/>
                <a:gd name="T13" fmla="*/ 2147483646 h 106"/>
                <a:gd name="T14" fmla="*/ 2147483646 w 22"/>
                <a:gd name="T15" fmla="*/ 2147483646 h 106"/>
                <a:gd name="T16" fmla="*/ 2147483646 w 22"/>
                <a:gd name="T17" fmla="*/ 2147483646 h 106"/>
                <a:gd name="T18" fmla="*/ 2147483646 w 22"/>
                <a:gd name="T19" fmla="*/ 2147483646 h 106"/>
                <a:gd name="T20" fmla="*/ 2147483646 w 22"/>
                <a:gd name="T21" fmla="*/ 2147483646 h 106"/>
                <a:gd name="T22" fmla="*/ 2147483646 w 22"/>
                <a:gd name="T23" fmla="*/ 2147483646 h 106"/>
                <a:gd name="T24" fmla="*/ 2147483646 w 22"/>
                <a:gd name="T25" fmla="*/ 2147483646 h 106"/>
                <a:gd name="T26" fmla="*/ 2147483646 w 22"/>
                <a:gd name="T27" fmla="*/ 2147483646 h 106"/>
                <a:gd name="T28" fmla="*/ 2147483646 w 22"/>
                <a:gd name="T29" fmla="*/ 2147483646 h 106"/>
                <a:gd name="T30" fmla="*/ 2147483646 w 22"/>
                <a:gd name="T31" fmla="*/ 2147483646 h 106"/>
                <a:gd name="T32" fmla="*/ 2147483646 w 22"/>
                <a:gd name="T33" fmla="*/ 2147483646 h 106"/>
                <a:gd name="T34" fmla="*/ 2147483646 w 22"/>
                <a:gd name="T35" fmla="*/ 2147483646 h 106"/>
                <a:gd name="T36" fmla="*/ 2147483646 w 22"/>
                <a:gd name="T37" fmla="*/ 2147483646 h 106"/>
                <a:gd name="T38" fmla="*/ 2147483646 w 22"/>
                <a:gd name="T39" fmla="*/ 2147483646 h 106"/>
                <a:gd name="T40" fmla="*/ 2147483646 w 22"/>
                <a:gd name="T41" fmla="*/ 2147483646 h 106"/>
                <a:gd name="T42" fmla="*/ 2147483646 w 22"/>
                <a:gd name="T43" fmla="*/ 2147483646 h 106"/>
                <a:gd name="T44" fmla="*/ 2147483646 w 22"/>
                <a:gd name="T45" fmla="*/ 2147483646 h 106"/>
                <a:gd name="T46" fmla="*/ 2147483646 w 22"/>
                <a:gd name="T47" fmla="*/ 2147483646 h 106"/>
                <a:gd name="T48" fmla="*/ 2147483646 w 22"/>
                <a:gd name="T49" fmla="*/ 2147483646 h 106"/>
                <a:gd name="T50" fmla="*/ 2147483646 w 22"/>
                <a:gd name="T51" fmla="*/ 2147483646 h 106"/>
                <a:gd name="T52" fmla="*/ 2147483646 w 22"/>
                <a:gd name="T53" fmla="*/ 2147483646 h 106"/>
                <a:gd name="T54" fmla="*/ 2147483646 w 22"/>
                <a:gd name="T55" fmla="*/ 2147483646 h 106"/>
                <a:gd name="T56" fmla="*/ 2147483646 w 22"/>
                <a:gd name="T57" fmla="*/ 2147483646 h 106"/>
                <a:gd name="T58" fmla="*/ 2147483646 w 22"/>
                <a:gd name="T59" fmla="*/ 2147483646 h 106"/>
                <a:gd name="T60" fmla="*/ 2147483646 w 22"/>
                <a:gd name="T61" fmla="*/ 2147483646 h 106"/>
                <a:gd name="T62" fmla="*/ 2147483646 w 22"/>
                <a:gd name="T63" fmla="*/ 2147483646 h 106"/>
                <a:gd name="T64" fmla="*/ 2147483646 w 22"/>
                <a:gd name="T65" fmla="*/ 2147483646 h 106"/>
                <a:gd name="T66" fmla="*/ 2147483646 w 22"/>
                <a:gd name="T67" fmla="*/ 2147483646 h 106"/>
                <a:gd name="T68" fmla="*/ 2147483646 w 22"/>
                <a:gd name="T69" fmla="*/ 2147483646 h 106"/>
                <a:gd name="T70" fmla="*/ 2147483646 w 22"/>
                <a:gd name="T71" fmla="*/ 2147483646 h 106"/>
                <a:gd name="T72" fmla="*/ 2147483646 w 22"/>
                <a:gd name="T73" fmla="*/ 2147483646 h 106"/>
                <a:gd name="T74" fmla="*/ 2147483646 w 22"/>
                <a:gd name="T75" fmla="*/ 2147483646 h 106"/>
                <a:gd name="T76" fmla="*/ 2147483646 w 22"/>
                <a:gd name="T77" fmla="*/ 2147483646 h 106"/>
                <a:gd name="T78" fmla="*/ 2147483646 w 22"/>
                <a:gd name="T79" fmla="*/ 2147483646 h 106"/>
                <a:gd name="T80" fmla="*/ 2147483646 w 22"/>
                <a:gd name="T81" fmla="*/ 2147483646 h 106"/>
                <a:gd name="T82" fmla="*/ 2147483646 w 22"/>
                <a:gd name="T83" fmla="*/ 2147483646 h 106"/>
                <a:gd name="T84" fmla="*/ 2147483646 w 22"/>
                <a:gd name="T85" fmla="*/ 2147483646 h 106"/>
                <a:gd name="T86" fmla="*/ 2147483646 w 22"/>
                <a:gd name="T87" fmla="*/ 0 h 10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2" h="106">
                  <a:moveTo>
                    <a:pt x="13" y="1"/>
                  </a:moveTo>
                  <a:cubicBezTo>
                    <a:pt x="14" y="5"/>
                    <a:pt x="15" y="10"/>
                    <a:pt x="13" y="13"/>
                  </a:cubicBezTo>
                  <a:cubicBezTo>
                    <a:pt x="12" y="15"/>
                    <a:pt x="14" y="17"/>
                    <a:pt x="13" y="19"/>
                  </a:cubicBezTo>
                  <a:cubicBezTo>
                    <a:pt x="12" y="21"/>
                    <a:pt x="12" y="23"/>
                    <a:pt x="12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1" y="29"/>
                    <a:pt x="11" y="30"/>
                    <a:pt x="11" y="31"/>
                  </a:cubicBezTo>
                  <a:cubicBezTo>
                    <a:pt x="10" y="33"/>
                    <a:pt x="11" y="35"/>
                    <a:pt x="11" y="37"/>
                  </a:cubicBezTo>
                  <a:cubicBezTo>
                    <a:pt x="11" y="40"/>
                    <a:pt x="9" y="49"/>
                    <a:pt x="7" y="49"/>
                  </a:cubicBezTo>
                  <a:cubicBezTo>
                    <a:pt x="7" y="50"/>
                    <a:pt x="7" y="51"/>
                    <a:pt x="7" y="51"/>
                  </a:cubicBezTo>
                  <a:cubicBezTo>
                    <a:pt x="6" y="51"/>
                    <a:pt x="6" y="53"/>
                    <a:pt x="6" y="54"/>
                  </a:cubicBezTo>
                  <a:cubicBezTo>
                    <a:pt x="6" y="56"/>
                    <a:pt x="7" y="57"/>
                    <a:pt x="6" y="59"/>
                  </a:cubicBezTo>
                  <a:cubicBezTo>
                    <a:pt x="6" y="59"/>
                    <a:pt x="5" y="63"/>
                    <a:pt x="5" y="63"/>
                  </a:cubicBezTo>
                  <a:cubicBezTo>
                    <a:pt x="6" y="65"/>
                    <a:pt x="7" y="63"/>
                    <a:pt x="9" y="64"/>
                  </a:cubicBezTo>
                  <a:cubicBezTo>
                    <a:pt x="9" y="64"/>
                    <a:pt x="8" y="65"/>
                    <a:pt x="8" y="65"/>
                  </a:cubicBezTo>
                  <a:cubicBezTo>
                    <a:pt x="9" y="65"/>
                    <a:pt x="9" y="66"/>
                    <a:pt x="9" y="67"/>
                  </a:cubicBezTo>
                  <a:cubicBezTo>
                    <a:pt x="9" y="67"/>
                    <a:pt x="9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8"/>
                    <a:pt x="8" y="71"/>
                    <a:pt x="7" y="72"/>
                  </a:cubicBezTo>
                  <a:cubicBezTo>
                    <a:pt x="7" y="72"/>
                    <a:pt x="8" y="73"/>
                    <a:pt x="8" y="74"/>
                  </a:cubicBezTo>
                  <a:cubicBezTo>
                    <a:pt x="8" y="75"/>
                    <a:pt x="5" y="75"/>
                    <a:pt x="7" y="76"/>
                  </a:cubicBezTo>
                  <a:cubicBezTo>
                    <a:pt x="7" y="76"/>
                    <a:pt x="6" y="77"/>
                    <a:pt x="6" y="77"/>
                  </a:cubicBezTo>
                  <a:cubicBezTo>
                    <a:pt x="6" y="77"/>
                    <a:pt x="7" y="77"/>
                    <a:pt x="7" y="77"/>
                  </a:cubicBezTo>
                  <a:cubicBezTo>
                    <a:pt x="7" y="77"/>
                    <a:pt x="7" y="77"/>
                    <a:pt x="6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6" y="78"/>
                    <a:pt x="6" y="78"/>
                    <a:pt x="6" y="79"/>
                  </a:cubicBezTo>
                  <a:cubicBezTo>
                    <a:pt x="6" y="79"/>
                    <a:pt x="6" y="78"/>
                    <a:pt x="7" y="78"/>
                  </a:cubicBezTo>
                  <a:cubicBezTo>
                    <a:pt x="6" y="79"/>
                    <a:pt x="6" y="79"/>
                    <a:pt x="6" y="80"/>
                  </a:cubicBezTo>
                  <a:cubicBezTo>
                    <a:pt x="6" y="80"/>
                    <a:pt x="6" y="79"/>
                    <a:pt x="6" y="79"/>
                  </a:cubicBezTo>
                  <a:cubicBezTo>
                    <a:pt x="5" y="79"/>
                    <a:pt x="5" y="79"/>
                    <a:pt x="5" y="80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78"/>
                    <a:pt x="4" y="77"/>
                    <a:pt x="3" y="78"/>
                  </a:cubicBezTo>
                  <a:cubicBezTo>
                    <a:pt x="5" y="80"/>
                    <a:pt x="0" y="80"/>
                    <a:pt x="2" y="81"/>
                  </a:cubicBezTo>
                  <a:cubicBezTo>
                    <a:pt x="2" y="79"/>
                    <a:pt x="5" y="81"/>
                    <a:pt x="5" y="82"/>
                  </a:cubicBezTo>
                  <a:cubicBezTo>
                    <a:pt x="5" y="82"/>
                    <a:pt x="4" y="83"/>
                    <a:pt x="4" y="83"/>
                  </a:cubicBezTo>
                  <a:cubicBezTo>
                    <a:pt x="5" y="83"/>
                    <a:pt x="5" y="83"/>
                    <a:pt x="5" y="84"/>
                  </a:cubicBezTo>
                  <a:cubicBezTo>
                    <a:pt x="6" y="84"/>
                    <a:pt x="6" y="85"/>
                    <a:pt x="7" y="86"/>
                  </a:cubicBezTo>
                  <a:cubicBezTo>
                    <a:pt x="6" y="85"/>
                    <a:pt x="5" y="85"/>
                    <a:pt x="5" y="85"/>
                  </a:cubicBezTo>
                  <a:cubicBezTo>
                    <a:pt x="5" y="85"/>
                    <a:pt x="5" y="86"/>
                    <a:pt x="5" y="86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7"/>
                    <a:pt x="5" y="86"/>
                    <a:pt x="6" y="87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88"/>
                    <a:pt x="5" y="89"/>
                    <a:pt x="5" y="90"/>
                  </a:cubicBezTo>
                  <a:cubicBezTo>
                    <a:pt x="5" y="89"/>
                    <a:pt x="5" y="89"/>
                    <a:pt x="6" y="89"/>
                  </a:cubicBezTo>
                  <a:cubicBezTo>
                    <a:pt x="6" y="89"/>
                    <a:pt x="6" y="90"/>
                    <a:pt x="6" y="91"/>
                  </a:cubicBezTo>
                  <a:cubicBezTo>
                    <a:pt x="3" y="91"/>
                    <a:pt x="4" y="93"/>
                    <a:pt x="5" y="94"/>
                  </a:cubicBezTo>
                  <a:cubicBezTo>
                    <a:pt x="4" y="94"/>
                    <a:pt x="5" y="95"/>
                    <a:pt x="6" y="95"/>
                  </a:cubicBezTo>
                  <a:cubicBezTo>
                    <a:pt x="4" y="95"/>
                    <a:pt x="5" y="96"/>
                    <a:pt x="6" y="97"/>
                  </a:cubicBezTo>
                  <a:cubicBezTo>
                    <a:pt x="6" y="97"/>
                    <a:pt x="6" y="99"/>
                    <a:pt x="7" y="99"/>
                  </a:cubicBezTo>
                  <a:cubicBezTo>
                    <a:pt x="7" y="99"/>
                    <a:pt x="7" y="98"/>
                    <a:pt x="6" y="98"/>
                  </a:cubicBezTo>
                  <a:cubicBezTo>
                    <a:pt x="7" y="98"/>
                    <a:pt x="7" y="99"/>
                    <a:pt x="7" y="99"/>
                  </a:cubicBezTo>
                  <a:cubicBezTo>
                    <a:pt x="7" y="99"/>
                    <a:pt x="7" y="99"/>
                    <a:pt x="7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98"/>
                    <a:pt x="9" y="100"/>
                    <a:pt x="8" y="101"/>
                  </a:cubicBezTo>
                  <a:cubicBezTo>
                    <a:pt x="11" y="101"/>
                    <a:pt x="13" y="103"/>
                    <a:pt x="10" y="105"/>
                  </a:cubicBezTo>
                  <a:cubicBezTo>
                    <a:pt x="9" y="105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5"/>
                    <a:pt x="10" y="106"/>
                    <a:pt x="11" y="106"/>
                  </a:cubicBezTo>
                  <a:cubicBezTo>
                    <a:pt x="13" y="106"/>
                    <a:pt x="12" y="104"/>
                    <a:pt x="12" y="103"/>
                  </a:cubicBezTo>
                  <a:cubicBezTo>
                    <a:pt x="13" y="101"/>
                    <a:pt x="16" y="100"/>
                    <a:pt x="18" y="100"/>
                  </a:cubicBezTo>
                  <a:cubicBezTo>
                    <a:pt x="16" y="100"/>
                    <a:pt x="14" y="99"/>
                    <a:pt x="11" y="99"/>
                  </a:cubicBezTo>
                  <a:cubicBezTo>
                    <a:pt x="8" y="99"/>
                    <a:pt x="9" y="97"/>
                    <a:pt x="9" y="95"/>
                  </a:cubicBezTo>
                  <a:cubicBezTo>
                    <a:pt x="8" y="95"/>
                    <a:pt x="7" y="95"/>
                    <a:pt x="7" y="95"/>
                  </a:cubicBezTo>
                  <a:cubicBezTo>
                    <a:pt x="7" y="93"/>
                    <a:pt x="6" y="91"/>
                    <a:pt x="7" y="90"/>
                  </a:cubicBezTo>
                  <a:cubicBezTo>
                    <a:pt x="9" y="87"/>
                    <a:pt x="8" y="86"/>
                    <a:pt x="9" y="84"/>
                  </a:cubicBezTo>
                  <a:cubicBezTo>
                    <a:pt x="9" y="82"/>
                    <a:pt x="13" y="76"/>
                    <a:pt x="10" y="74"/>
                  </a:cubicBezTo>
                  <a:cubicBezTo>
                    <a:pt x="10" y="74"/>
                    <a:pt x="11" y="74"/>
                    <a:pt x="11" y="74"/>
                  </a:cubicBezTo>
                  <a:cubicBezTo>
                    <a:pt x="10" y="73"/>
                    <a:pt x="10" y="72"/>
                    <a:pt x="10" y="71"/>
                  </a:cubicBezTo>
                  <a:cubicBezTo>
                    <a:pt x="10" y="69"/>
                    <a:pt x="10" y="68"/>
                    <a:pt x="10" y="67"/>
                  </a:cubicBezTo>
                  <a:cubicBezTo>
                    <a:pt x="9" y="66"/>
                    <a:pt x="10" y="66"/>
                    <a:pt x="10" y="65"/>
                  </a:cubicBezTo>
                  <a:cubicBezTo>
                    <a:pt x="11" y="64"/>
                    <a:pt x="10" y="63"/>
                    <a:pt x="10" y="62"/>
                  </a:cubicBezTo>
                  <a:cubicBezTo>
                    <a:pt x="10" y="61"/>
                    <a:pt x="10" y="60"/>
                    <a:pt x="10" y="59"/>
                  </a:cubicBezTo>
                  <a:cubicBezTo>
                    <a:pt x="10" y="58"/>
                    <a:pt x="12" y="56"/>
                    <a:pt x="12" y="55"/>
                  </a:cubicBezTo>
                  <a:cubicBezTo>
                    <a:pt x="12" y="53"/>
                    <a:pt x="11" y="51"/>
                    <a:pt x="12" y="49"/>
                  </a:cubicBezTo>
                  <a:cubicBezTo>
                    <a:pt x="12" y="49"/>
                    <a:pt x="13" y="48"/>
                    <a:pt x="13" y="47"/>
                  </a:cubicBezTo>
                  <a:cubicBezTo>
                    <a:pt x="13" y="46"/>
                    <a:pt x="13" y="46"/>
                    <a:pt x="13" y="45"/>
                  </a:cubicBezTo>
                  <a:cubicBezTo>
                    <a:pt x="15" y="43"/>
                    <a:pt x="15" y="42"/>
                    <a:pt x="14" y="39"/>
                  </a:cubicBezTo>
                  <a:cubicBezTo>
                    <a:pt x="14" y="37"/>
                    <a:pt x="13" y="35"/>
                    <a:pt x="14" y="33"/>
                  </a:cubicBezTo>
                  <a:cubicBezTo>
                    <a:pt x="14" y="32"/>
                    <a:pt x="14" y="31"/>
                    <a:pt x="15" y="29"/>
                  </a:cubicBezTo>
                  <a:cubicBezTo>
                    <a:pt x="15" y="27"/>
                    <a:pt x="16" y="26"/>
                    <a:pt x="17" y="24"/>
                  </a:cubicBezTo>
                  <a:cubicBezTo>
                    <a:pt x="17" y="23"/>
                    <a:pt x="18" y="23"/>
                    <a:pt x="18" y="23"/>
                  </a:cubicBezTo>
                  <a:cubicBezTo>
                    <a:pt x="18" y="21"/>
                    <a:pt x="18" y="20"/>
                    <a:pt x="18" y="19"/>
                  </a:cubicBezTo>
                  <a:cubicBezTo>
                    <a:pt x="18" y="17"/>
                    <a:pt x="18" y="17"/>
                    <a:pt x="20" y="16"/>
                  </a:cubicBezTo>
                  <a:cubicBezTo>
                    <a:pt x="22" y="15"/>
                    <a:pt x="21" y="12"/>
                    <a:pt x="19" y="12"/>
                  </a:cubicBezTo>
                  <a:cubicBezTo>
                    <a:pt x="18" y="12"/>
                    <a:pt x="19" y="9"/>
                    <a:pt x="18" y="8"/>
                  </a:cubicBezTo>
                  <a:cubicBezTo>
                    <a:pt x="17" y="5"/>
                    <a:pt x="18" y="6"/>
                    <a:pt x="18" y="4"/>
                  </a:cubicBezTo>
                  <a:cubicBezTo>
                    <a:pt x="18" y="3"/>
                    <a:pt x="17" y="3"/>
                    <a:pt x="16" y="2"/>
                  </a:cubicBezTo>
                  <a:cubicBezTo>
                    <a:pt x="16" y="1"/>
                    <a:pt x="16" y="0"/>
                    <a:pt x="15" y="0"/>
                  </a:cubicBezTo>
                  <a:cubicBezTo>
                    <a:pt x="15" y="1"/>
                    <a:pt x="14" y="1"/>
                    <a:pt x="13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2" name="Freeform 115"/>
            <p:cNvSpPr>
              <a:spLocks noEditPoints="1"/>
            </p:cNvSpPr>
            <p:nvPr/>
          </p:nvSpPr>
          <p:spPr bwMode="auto">
            <a:xfrm>
              <a:off x="7111161" y="3488379"/>
              <a:ext cx="154264" cy="802624"/>
            </a:xfrm>
            <a:custGeom>
              <a:avLst/>
              <a:gdLst>
                <a:gd name="T0" fmla="*/ 2147483646 w 21"/>
                <a:gd name="T1" fmla="*/ 2147483646 h 108"/>
                <a:gd name="T2" fmla="*/ 2147483646 w 21"/>
                <a:gd name="T3" fmla="*/ 2147483646 h 108"/>
                <a:gd name="T4" fmla="*/ 2147483646 w 21"/>
                <a:gd name="T5" fmla="*/ 2147483646 h 108"/>
                <a:gd name="T6" fmla="*/ 2147483646 w 21"/>
                <a:gd name="T7" fmla="*/ 2147483646 h 108"/>
                <a:gd name="T8" fmla="*/ 2147483646 w 21"/>
                <a:gd name="T9" fmla="*/ 2147483646 h 108"/>
                <a:gd name="T10" fmla="*/ 2147483646 w 21"/>
                <a:gd name="T11" fmla="*/ 2147483646 h 108"/>
                <a:gd name="T12" fmla="*/ 2147483646 w 21"/>
                <a:gd name="T13" fmla="*/ 2147483646 h 108"/>
                <a:gd name="T14" fmla="*/ 2147483646 w 21"/>
                <a:gd name="T15" fmla="*/ 2147483646 h 108"/>
                <a:gd name="T16" fmla="*/ 2147483646 w 21"/>
                <a:gd name="T17" fmla="*/ 2147483646 h 108"/>
                <a:gd name="T18" fmla="*/ 2147483646 w 21"/>
                <a:gd name="T19" fmla="*/ 2147483646 h 108"/>
                <a:gd name="T20" fmla="*/ 2147483646 w 21"/>
                <a:gd name="T21" fmla="*/ 2147483646 h 108"/>
                <a:gd name="T22" fmla="*/ 2147483646 w 21"/>
                <a:gd name="T23" fmla="*/ 2147483646 h 108"/>
                <a:gd name="T24" fmla="*/ 2147483646 w 21"/>
                <a:gd name="T25" fmla="*/ 2147483646 h 108"/>
                <a:gd name="T26" fmla="*/ 2147483646 w 21"/>
                <a:gd name="T27" fmla="*/ 2147483646 h 108"/>
                <a:gd name="T28" fmla="*/ 2147483646 w 21"/>
                <a:gd name="T29" fmla="*/ 2147483646 h 108"/>
                <a:gd name="T30" fmla="*/ 2147483646 w 21"/>
                <a:gd name="T31" fmla="*/ 2147483646 h 108"/>
                <a:gd name="T32" fmla="*/ 2147483646 w 21"/>
                <a:gd name="T33" fmla="*/ 2147483646 h 108"/>
                <a:gd name="T34" fmla="*/ 2147483646 w 21"/>
                <a:gd name="T35" fmla="*/ 2147483646 h 108"/>
                <a:gd name="T36" fmla="*/ 2147483646 w 21"/>
                <a:gd name="T37" fmla="*/ 2147483646 h 108"/>
                <a:gd name="T38" fmla="*/ 2147483646 w 21"/>
                <a:gd name="T39" fmla="*/ 2147483646 h 108"/>
                <a:gd name="T40" fmla="*/ 2147483646 w 21"/>
                <a:gd name="T41" fmla="*/ 2147483646 h 108"/>
                <a:gd name="T42" fmla="*/ 2147483646 w 21"/>
                <a:gd name="T43" fmla="*/ 2147483646 h 108"/>
                <a:gd name="T44" fmla="*/ 2147483646 w 21"/>
                <a:gd name="T45" fmla="*/ 2147483646 h 108"/>
                <a:gd name="T46" fmla="*/ 2147483646 w 21"/>
                <a:gd name="T47" fmla="*/ 2147483646 h 108"/>
                <a:gd name="T48" fmla="*/ 2147483646 w 21"/>
                <a:gd name="T49" fmla="*/ 2147483646 h 108"/>
                <a:gd name="T50" fmla="*/ 2147483646 w 21"/>
                <a:gd name="T51" fmla="*/ 2147483646 h 108"/>
                <a:gd name="T52" fmla="*/ 2147483646 w 21"/>
                <a:gd name="T53" fmla="*/ 2147483646 h 108"/>
                <a:gd name="T54" fmla="*/ 2147483646 w 21"/>
                <a:gd name="T55" fmla="*/ 2147483646 h 108"/>
                <a:gd name="T56" fmla="*/ 2147483646 w 21"/>
                <a:gd name="T57" fmla="*/ 2147483646 h 108"/>
                <a:gd name="T58" fmla="*/ 2147483646 w 21"/>
                <a:gd name="T59" fmla="*/ 2147483646 h 108"/>
                <a:gd name="T60" fmla="*/ 2147483646 w 21"/>
                <a:gd name="T61" fmla="*/ 2147483646 h 108"/>
                <a:gd name="T62" fmla="*/ 2147483646 w 21"/>
                <a:gd name="T63" fmla="*/ 2147483646 h 108"/>
                <a:gd name="T64" fmla="*/ 2147483646 w 21"/>
                <a:gd name="T65" fmla="*/ 2147483646 h 108"/>
                <a:gd name="T66" fmla="*/ 2147483646 w 21"/>
                <a:gd name="T67" fmla="*/ 2147483646 h 108"/>
                <a:gd name="T68" fmla="*/ 2147483646 w 21"/>
                <a:gd name="T69" fmla="*/ 2147483646 h 108"/>
                <a:gd name="T70" fmla="*/ 2147483646 w 21"/>
                <a:gd name="T71" fmla="*/ 2147483646 h 108"/>
                <a:gd name="T72" fmla="*/ 2147483646 w 21"/>
                <a:gd name="T73" fmla="*/ 2147483646 h 108"/>
                <a:gd name="T74" fmla="*/ 2147483646 w 21"/>
                <a:gd name="T75" fmla="*/ 2147483646 h 108"/>
                <a:gd name="T76" fmla="*/ 2147483646 w 21"/>
                <a:gd name="T77" fmla="*/ 2147483646 h 108"/>
                <a:gd name="T78" fmla="*/ 2147483646 w 21"/>
                <a:gd name="T79" fmla="*/ 2147483646 h 108"/>
                <a:gd name="T80" fmla="*/ 2147483646 w 21"/>
                <a:gd name="T81" fmla="*/ 2147483646 h 108"/>
                <a:gd name="T82" fmla="*/ 2147483646 w 21"/>
                <a:gd name="T83" fmla="*/ 2147483646 h 108"/>
                <a:gd name="T84" fmla="*/ 2147483646 w 21"/>
                <a:gd name="T85" fmla="*/ 2147483646 h 108"/>
                <a:gd name="T86" fmla="*/ 2147483646 w 21"/>
                <a:gd name="T87" fmla="*/ 2147483646 h 108"/>
                <a:gd name="T88" fmla="*/ 2147483646 w 21"/>
                <a:gd name="T89" fmla="*/ 2147483646 h 108"/>
                <a:gd name="T90" fmla="*/ 2147483646 w 21"/>
                <a:gd name="T91" fmla="*/ 2147483646 h 108"/>
                <a:gd name="T92" fmla="*/ 2147483646 w 21"/>
                <a:gd name="T93" fmla="*/ 2147483646 h 108"/>
                <a:gd name="T94" fmla="*/ 2147483646 w 21"/>
                <a:gd name="T95" fmla="*/ 2147483646 h 108"/>
                <a:gd name="T96" fmla="*/ 2147483646 w 21"/>
                <a:gd name="T97" fmla="*/ 2147483646 h 108"/>
                <a:gd name="T98" fmla="*/ 2147483646 w 21"/>
                <a:gd name="T99" fmla="*/ 2147483646 h 108"/>
                <a:gd name="T100" fmla="*/ 2147483646 w 21"/>
                <a:gd name="T101" fmla="*/ 2147483646 h 108"/>
                <a:gd name="T102" fmla="*/ 2147483646 w 21"/>
                <a:gd name="T103" fmla="*/ 2147483646 h 108"/>
                <a:gd name="T104" fmla="*/ 2147483646 w 21"/>
                <a:gd name="T105" fmla="*/ 2147483646 h 108"/>
                <a:gd name="T106" fmla="*/ 2147483646 w 21"/>
                <a:gd name="T107" fmla="*/ 2147483646 h 108"/>
                <a:gd name="T108" fmla="*/ 2147483646 w 21"/>
                <a:gd name="T109" fmla="*/ 2147483646 h 108"/>
                <a:gd name="T110" fmla="*/ 2147483646 w 21"/>
                <a:gd name="T111" fmla="*/ 2147483646 h 108"/>
                <a:gd name="T112" fmla="*/ 2147483646 w 21"/>
                <a:gd name="T113" fmla="*/ 2147483646 h 108"/>
                <a:gd name="T114" fmla="*/ 2147483646 w 21"/>
                <a:gd name="T115" fmla="*/ 2147483646 h 108"/>
                <a:gd name="T116" fmla="*/ 2147483646 w 21"/>
                <a:gd name="T117" fmla="*/ 2147483646 h 108"/>
                <a:gd name="T118" fmla="*/ 2147483646 w 21"/>
                <a:gd name="T119" fmla="*/ 2147483646 h 108"/>
                <a:gd name="T120" fmla="*/ 2147483646 w 21"/>
                <a:gd name="T121" fmla="*/ 2147483646 h 108"/>
                <a:gd name="T122" fmla="*/ 2147483646 w 21"/>
                <a:gd name="T123" fmla="*/ 2147483646 h 108"/>
                <a:gd name="T124" fmla="*/ 2147483646 w 21"/>
                <a:gd name="T125" fmla="*/ 2147483646 h 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1" h="108">
                  <a:moveTo>
                    <a:pt x="10" y="108"/>
                  </a:moveTo>
                  <a:cubicBezTo>
                    <a:pt x="9" y="108"/>
                    <a:pt x="8" y="107"/>
                    <a:pt x="7" y="105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9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0"/>
                    <a:pt x="5" y="100"/>
                    <a:pt x="5" y="99"/>
                  </a:cubicBezTo>
                  <a:cubicBezTo>
                    <a:pt x="5" y="99"/>
                    <a:pt x="5" y="98"/>
                    <a:pt x="4" y="98"/>
                  </a:cubicBezTo>
                  <a:cubicBezTo>
                    <a:pt x="4" y="98"/>
                    <a:pt x="3" y="97"/>
                    <a:pt x="3" y="96"/>
                  </a:cubicBezTo>
                  <a:cubicBezTo>
                    <a:pt x="3" y="96"/>
                    <a:pt x="4" y="96"/>
                    <a:pt x="4" y="96"/>
                  </a:cubicBezTo>
                  <a:cubicBezTo>
                    <a:pt x="3" y="96"/>
                    <a:pt x="3" y="96"/>
                    <a:pt x="3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4"/>
                    <a:pt x="2" y="94"/>
                    <a:pt x="2" y="93"/>
                  </a:cubicBezTo>
                  <a:cubicBezTo>
                    <a:pt x="2" y="92"/>
                    <a:pt x="3" y="92"/>
                    <a:pt x="3" y="92"/>
                  </a:cubicBezTo>
                  <a:cubicBezTo>
                    <a:pt x="3" y="88"/>
                    <a:pt x="3" y="88"/>
                    <a:pt x="3" y="88"/>
                  </a:cubicBezTo>
                  <a:cubicBezTo>
                    <a:pt x="3" y="87"/>
                    <a:pt x="2" y="87"/>
                    <a:pt x="2" y="86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2" y="84"/>
                    <a:pt x="2" y="84"/>
                    <a:pt x="2" y="84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3" y="82"/>
                    <a:pt x="2" y="82"/>
                    <a:pt x="2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2" y="84"/>
                    <a:pt x="2" y="84"/>
                    <a:pt x="2" y="84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0" y="82"/>
                    <a:pt x="0" y="82"/>
                    <a:pt x="0" y="81"/>
                  </a:cubicBezTo>
                  <a:cubicBezTo>
                    <a:pt x="0" y="81"/>
                    <a:pt x="1" y="80"/>
                    <a:pt x="1" y="80"/>
                  </a:cubicBezTo>
                  <a:cubicBezTo>
                    <a:pt x="1" y="80"/>
                    <a:pt x="2" y="80"/>
                    <a:pt x="2" y="80"/>
                  </a:cubicBezTo>
                  <a:cubicBezTo>
                    <a:pt x="2" y="80"/>
                    <a:pt x="2" y="79"/>
                    <a:pt x="1" y="79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3" y="78"/>
                    <a:pt x="4" y="78"/>
                    <a:pt x="4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6"/>
                  </a:cubicBezTo>
                  <a:cubicBezTo>
                    <a:pt x="5" y="76"/>
                    <a:pt x="6" y="75"/>
                    <a:pt x="6" y="75"/>
                  </a:cubicBezTo>
                  <a:cubicBezTo>
                    <a:pt x="6" y="75"/>
                    <a:pt x="7" y="75"/>
                    <a:pt x="7" y="75"/>
                  </a:cubicBezTo>
                  <a:cubicBezTo>
                    <a:pt x="7" y="75"/>
                    <a:pt x="6" y="74"/>
                    <a:pt x="6" y="74"/>
                  </a:cubicBezTo>
                  <a:cubicBezTo>
                    <a:pt x="6" y="74"/>
                    <a:pt x="5" y="73"/>
                    <a:pt x="6" y="72"/>
                  </a:cubicBezTo>
                  <a:cubicBezTo>
                    <a:pt x="6" y="72"/>
                    <a:pt x="7" y="69"/>
                    <a:pt x="7" y="68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6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4" y="66"/>
                    <a:pt x="4" y="65"/>
                    <a:pt x="4" y="65"/>
                  </a:cubicBezTo>
                  <a:cubicBezTo>
                    <a:pt x="3" y="64"/>
                    <a:pt x="4" y="60"/>
                    <a:pt x="5" y="59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6"/>
                    <a:pt x="4" y="56"/>
                    <a:pt x="4" y="55"/>
                  </a:cubicBezTo>
                  <a:cubicBezTo>
                    <a:pt x="4" y="55"/>
                    <a:pt x="4" y="54"/>
                    <a:pt x="4" y="54"/>
                  </a:cubicBezTo>
                  <a:cubicBezTo>
                    <a:pt x="4" y="53"/>
                    <a:pt x="4" y="52"/>
                    <a:pt x="5" y="51"/>
                  </a:cubicBezTo>
                  <a:cubicBezTo>
                    <a:pt x="5" y="51"/>
                    <a:pt x="6" y="51"/>
                    <a:pt x="5" y="51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7" y="49"/>
                    <a:pt x="10" y="41"/>
                    <a:pt x="9" y="39"/>
                  </a:cubicBezTo>
                  <a:cubicBezTo>
                    <a:pt x="9" y="38"/>
                    <a:pt x="9" y="38"/>
                    <a:pt x="9" y="37"/>
                  </a:cubicBezTo>
                  <a:cubicBezTo>
                    <a:pt x="9" y="35"/>
                    <a:pt x="8" y="33"/>
                    <a:pt x="9" y="32"/>
                  </a:cubicBezTo>
                  <a:cubicBezTo>
                    <a:pt x="10" y="31"/>
                    <a:pt x="10" y="31"/>
                    <a:pt x="9" y="30"/>
                  </a:cubicBezTo>
                  <a:cubicBezTo>
                    <a:pt x="9" y="30"/>
                    <a:pt x="9" y="29"/>
                    <a:pt x="9" y="29"/>
                  </a:cubicBezTo>
                  <a:cubicBezTo>
                    <a:pt x="9" y="28"/>
                    <a:pt x="10" y="28"/>
                    <a:pt x="10" y="27"/>
                  </a:cubicBezTo>
                  <a:cubicBezTo>
                    <a:pt x="10" y="27"/>
                    <a:pt x="10" y="26"/>
                    <a:pt x="10" y="26"/>
                  </a:cubicBezTo>
                  <a:cubicBezTo>
                    <a:pt x="10" y="25"/>
                    <a:pt x="11" y="24"/>
                    <a:pt x="11" y="23"/>
                  </a:cubicBezTo>
                  <a:cubicBezTo>
                    <a:pt x="11" y="22"/>
                    <a:pt x="11" y="21"/>
                    <a:pt x="11" y="20"/>
                  </a:cubicBezTo>
                  <a:cubicBezTo>
                    <a:pt x="12" y="19"/>
                    <a:pt x="12" y="18"/>
                    <a:pt x="11" y="17"/>
                  </a:cubicBezTo>
                  <a:cubicBezTo>
                    <a:pt x="11" y="16"/>
                    <a:pt x="11" y="15"/>
                    <a:pt x="12" y="14"/>
                  </a:cubicBezTo>
                  <a:cubicBezTo>
                    <a:pt x="13" y="12"/>
                    <a:pt x="12" y="7"/>
                    <a:pt x="12" y="4"/>
                  </a:cubicBezTo>
                  <a:cubicBezTo>
                    <a:pt x="12" y="3"/>
                    <a:pt x="12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1"/>
                    <a:pt x="13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1"/>
                    <a:pt x="16" y="2"/>
                    <a:pt x="16" y="3"/>
                  </a:cubicBezTo>
                  <a:cubicBezTo>
                    <a:pt x="16" y="3"/>
                    <a:pt x="16" y="3"/>
                    <a:pt x="17" y="4"/>
                  </a:cubicBezTo>
                  <a:cubicBezTo>
                    <a:pt x="17" y="4"/>
                    <a:pt x="17" y="4"/>
                    <a:pt x="17" y="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7"/>
                    <a:pt x="17" y="7"/>
                    <a:pt x="17" y="8"/>
                  </a:cubicBezTo>
                  <a:cubicBezTo>
                    <a:pt x="18" y="9"/>
                    <a:pt x="18" y="10"/>
                    <a:pt x="18" y="11"/>
                  </a:cubicBezTo>
                  <a:cubicBezTo>
                    <a:pt x="18" y="11"/>
                    <a:pt x="18" y="13"/>
                    <a:pt x="19" y="13"/>
                  </a:cubicBezTo>
                  <a:cubicBezTo>
                    <a:pt x="20" y="13"/>
                    <a:pt x="21" y="14"/>
                    <a:pt x="21" y="15"/>
                  </a:cubicBezTo>
                  <a:cubicBezTo>
                    <a:pt x="21" y="16"/>
                    <a:pt x="21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7" y="18"/>
                    <a:pt x="17" y="18"/>
                    <a:pt x="17" y="20"/>
                  </a:cubicBezTo>
                  <a:cubicBezTo>
                    <a:pt x="17" y="21"/>
                    <a:pt x="17" y="22"/>
                    <a:pt x="17" y="22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4"/>
                    <a:pt x="17" y="25"/>
                    <a:pt x="17" y="25"/>
                  </a:cubicBezTo>
                  <a:cubicBezTo>
                    <a:pt x="17" y="25"/>
                    <a:pt x="16" y="25"/>
                    <a:pt x="16" y="25"/>
                  </a:cubicBezTo>
                  <a:cubicBezTo>
                    <a:pt x="16" y="26"/>
                    <a:pt x="16" y="26"/>
                    <a:pt x="15" y="27"/>
                  </a:cubicBezTo>
                  <a:cubicBezTo>
                    <a:pt x="15" y="28"/>
                    <a:pt x="14" y="29"/>
                    <a:pt x="14" y="30"/>
                  </a:cubicBezTo>
                  <a:cubicBezTo>
                    <a:pt x="14" y="31"/>
                    <a:pt x="14" y="31"/>
                    <a:pt x="14" y="32"/>
                  </a:cubicBezTo>
                  <a:cubicBezTo>
                    <a:pt x="14" y="33"/>
                    <a:pt x="14" y="34"/>
                    <a:pt x="13" y="35"/>
                  </a:cubicBezTo>
                  <a:cubicBezTo>
                    <a:pt x="12" y="36"/>
                    <a:pt x="13" y="38"/>
                    <a:pt x="13" y="39"/>
                  </a:cubicBezTo>
                  <a:cubicBezTo>
                    <a:pt x="13" y="39"/>
                    <a:pt x="14" y="40"/>
                    <a:pt x="14" y="40"/>
                  </a:cubicBezTo>
                  <a:cubicBezTo>
                    <a:pt x="14" y="43"/>
                    <a:pt x="14" y="44"/>
                    <a:pt x="13" y="46"/>
                  </a:cubicBezTo>
                  <a:cubicBezTo>
                    <a:pt x="13" y="47"/>
                    <a:pt x="13" y="47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9"/>
                    <a:pt x="12" y="50"/>
                    <a:pt x="12" y="50"/>
                  </a:cubicBezTo>
                  <a:cubicBezTo>
                    <a:pt x="12" y="50"/>
                    <a:pt x="11" y="50"/>
                    <a:pt x="11" y="51"/>
                  </a:cubicBezTo>
                  <a:cubicBezTo>
                    <a:pt x="11" y="52"/>
                    <a:pt x="11" y="53"/>
                    <a:pt x="11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1" y="56"/>
                    <a:pt x="11" y="58"/>
                    <a:pt x="10" y="59"/>
                  </a:cubicBezTo>
                  <a:cubicBezTo>
                    <a:pt x="10" y="59"/>
                    <a:pt x="10" y="60"/>
                    <a:pt x="10" y="61"/>
                  </a:cubicBezTo>
                  <a:cubicBezTo>
                    <a:pt x="10" y="61"/>
                    <a:pt x="10" y="62"/>
                    <a:pt x="10" y="62"/>
                  </a:cubicBezTo>
                  <a:cubicBezTo>
                    <a:pt x="10" y="63"/>
                    <a:pt x="10" y="63"/>
                    <a:pt x="9" y="64"/>
                  </a:cubicBezTo>
                  <a:cubicBezTo>
                    <a:pt x="9" y="64"/>
                    <a:pt x="10" y="64"/>
                    <a:pt x="10" y="65"/>
                  </a:cubicBezTo>
                  <a:cubicBezTo>
                    <a:pt x="10" y="65"/>
                    <a:pt x="10" y="65"/>
                    <a:pt x="10" y="66"/>
                  </a:cubicBezTo>
                  <a:cubicBezTo>
                    <a:pt x="10" y="66"/>
                    <a:pt x="10" y="67"/>
                    <a:pt x="9" y="67"/>
                  </a:cubicBezTo>
                  <a:cubicBezTo>
                    <a:pt x="9" y="67"/>
                    <a:pt x="9" y="68"/>
                    <a:pt x="9" y="68"/>
                  </a:cubicBezTo>
                  <a:cubicBezTo>
                    <a:pt x="9" y="69"/>
                    <a:pt x="9" y="70"/>
                    <a:pt x="10" y="72"/>
                  </a:cubicBezTo>
                  <a:cubicBezTo>
                    <a:pt x="10" y="72"/>
                    <a:pt x="10" y="72"/>
                    <a:pt x="10" y="73"/>
                  </a:cubicBezTo>
                  <a:cubicBezTo>
                    <a:pt x="10" y="73"/>
                    <a:pt x="10" y="74"/>
                    <a:pt x="11" y="74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11" y="77"/>
                    <a:pt x="10" y="80"/>
                    <a:pt x="9" y="83"/>
                  </a:cubicBezTo>
                  <a:cubicBezTo>
                    <a:pt x="9" y="84"/>
                    <a:pt x="8" y="84"/>
                    <a:pt x="8" y="85"/>
                  </a:cubicBezTo>
                  <a:cubicBezTo>
                    <a:pt x="8" y="86"/>
                    <a:pt x="8" y="86"/>
                    <a:pt x="8" y="87"/>
                  </a:cubicBezTo>
                  <a:cubicBezTo>
                    <a:pt x="8" y="88"/>
                    <a:pt x="8" y="89"/>
                    <a:pt x="7" y="91"/>
                  </a:cubicBezTo>
                  <a:cubicBezTo>
                    <a:pt x="6" y="92"/>
                    <a:pt x="6" y="94"/>
                    <a:pt x="6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96"/>
                    <a:pt x="8" y="96"/>
                    <a:pt x="8" y="97"/>
                  </a:cubicBezTo>
                  <a:cubicBezTo>
                    <a:pt x="8" y="99"/>
                    <a:pt x="9" y="100"/>
                    <a:pt x="10" y="100"/>
                  </a:cubicBezTo>
                  <a:cubicBezTo>
                    <a:pt x="12" y="100"/>
                    <a:pt x="15" y="100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6" y="102"/>
                    <a:pt x="16" y="102"/>
                  </a:cubicBezTo>
                  <a:cubicBezTo>
                    <a:pt x="14" y="102"/>
                    <a:pt x="12" y="103"/>
                    <a:pt x="12" y="104"/>
                  </a:cubicBezTo>
                  <a:cubicBezTo>
                    <a:pt x="12" y="104"/>
                    <a:pt x="12" y="105"/>
                    <a:pt x="12" y="105"/>
                  </a:cubicBezTo>
                  <a:cubicBezTo>
                    <a:pt x="12" y="106"/>
                    <a:pt x="12" y="108"/>
                    <a:pt x="10" y="108"/>
                  </a:cubicBezTo>
                  <a:close/>
                  <a:moveTo>
                    <a:pt x="9" y="106"/>
                  </a:moveTo>
                  <a:cubicBezTo>
                    <a:pt x="9" y="106"/>
                    <a:pt x="10" y="106"/>
                    <a:pt x="10" y="106"/>
                  </a:cubicBezTo>
                  <a:cubicBezTo>
                    <a:pt x="10" y="106"/>
                    <a:pt x="11" y="106"/>
                    <a:pt x="11" y="105"/>
                  </a:cubicBezTo>
                  <a:cubicBezTo>
                    <a:pt x="10" y="105"/>
                    <a:pt x="10" y="106"/>
                    <a:pt x="9" y="106"/>
                  </a:cubicBezTo>
                  <a:close/>
                  <a:moveTo>
                    <a:pt x="8" y="102"/>
                  </a:moveTo>
                  <a:cubicBezTo>
                    <a:pt x="9" y="102"/>
                    <a:pt x="10" y="102"/>
                    <a:pt x="11" y="103"/>
                  </a:cubicBezTo>
                  <a:cubicBezTo>
                    <a:pt x="11" y="102"/>
                    <a:pt x="12" y="102"/>
                    <a:pt x="13" y="101"/>
                  </a:cubicBezTo>
                  <a:cubicBezTo>
                    <a:pt x="12" y="101"/>
                    <a:pt x="11" y="101"/>
                    <a:pt x="10" y="101"/>
                  </a:cubicBezTo>
                  <a:cubicBezTo>
                    <a:pt x="9" y="101"/>
                    <a:pt x="9" y="101"/>
                    <a:pt x="8" y="100"/>
                  </a:cubicBezTo>
                  <a:cubicBezTo>
                    <a:pt x="8" y="101"/>
                    <a:pt x="8" y="101"/>
                    <a:pt x="8" y="102"/>
                  </a:cubicBezTo>
                  <a:close/>
                  <a:moveTo>
                    <a:pt x="7" y="100"/>
                  </a:move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1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lose/>
                  <a:moveTo>
                    <a:pt x="5" y="98"/>
                  </a:move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7"/>
                    <a:pt x="7" y="97"/>
                  </a:cubicBezTo>
                  <a:cubicBezTo>
                    <a:pt x="7" y="97"/>
                    <a:pt x="7" y="96"/>
                    <a:pt x="7" y="96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5" y="97"/>
                    <a:pt x="5" y="97"/>
                    <a:pt x="4" y="97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5" y="97"/>
                    <a:pt x="5" y="98"/>
                    <a:pt x="5" y="98"/>
                  </a:cubicBezTo>
                  <a:close/>
                  <a:moveTo>
                    <a:pt x="5" y="89"/>
                  </a:moveTo>
                  <a:cubicBezTo>
                    <a:pt x="5" y="90"/>
                    <a:pt x="5" y="90"/>
                    <a:pt x="5" y="90"/>
                  </a:cubicBezTo>
                  <a:cubicBezTo>
                    <a:pt x="5" y="90"/>
                    <a:pt x="5" y="91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4" y="92"/>
                    <a:pt x="4" y="93"/>
                    <a:pt x="4" y="93"/>
                  </a:cubicBezTo>
                  <a:cubicBezTo>
                    <a:pt x="4" y="93"/>
                    <a:pt x="4" y="94"/>
                    <a:pt x="5" y="9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5" y="93"/>
                    <a:pt x="5" y="92"/>
                    <a:pt x="6" y="90"/>
                  </a:cubicBezTo>
                  <a:cubicBezTo>
                    <a:pt x="6" y="90"/>
                    <a:pt x="6" y="89"/>
                    <a:pt x="7" y="89"/>
                  </a:cubicBezTo>
                  <a:lnTo>
                    <a:pt x="5" y="89"/>
                  </a:lnTo>
                  <a:close/>
                  <a:moveTo>
                    <a:pt x="4" y="88"/>
                  </a:moveTo>
                  <a:cubicBezTo>
                    <a:pt x="4" y="89"/>
                    <a:pt x="4" y="89"/>
                    <a:pt x="4" y="89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4" y="88"/>
                    <a:pt x="4" y="88"/>
                    <a:pt x="4" y="88"/>
                  </a:cubicBezTo>
                  <a:close/>
                  <a:moveTo>
                    <a:pt x="4" y="87"/>
                  </a:moveTo>
                  <a:cubicBezTo>
                    <a:pt x="5" y="87"/>
                    <a:pt x="5" y="87"/>
                    <a:pt x="5" y="88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8"/>
                    <a:pt x="7" y="88"/>
                    <a:pt x="7" y="87"/>
                  </a:cubicBezTo>
                  <a:cubicBezTo>
                    <a:pt x="7" y="86"/>
                    <a:pt x="7" y="86"/>
                    <a:pt x="7" y="85"/>
                  </a:cubicBezTo>
                  <a:cubicBezTo>
                    <a:pt x="7" y="84"/>
                    <a:pt x="8" y="83"/>
                    <a:pt x="8" y="82"/>
                  </a:cubicBezTo>
                  <a:cubicBezTo>
                    <a:pt x="9" y="80"/>
                    <a:pt x="10" y="77"/>
                    <a:pt x="9" y="76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8" y="76"/>
                    <a:pt x="7" y="76"/>
                    <a:pt x="6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6" y="77"/>
                    <a:pt x="6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6" y="80"/>
                    <a:pt x="6" y="81"/>
                    <a:pt x="5" y="81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5" y="82"/>
                    <a:pt x="5" y="83"/>
                    <a:pt x="5" y="83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5" y="84"/>
                    <a:pt x="5" y="84"/>
                  </a:cubicBezTo>
                  <a:cubicBezTo>
                    <a:pt x="5" y="85"/>
                    <a:pt x="6" y="86"/>
                    <a:pt x="6" y="86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4" y="87"/>
                    <a:pt x="4" y="87"/>
                    <a:pt x="4" y="87"/>
                  </a:cubicBezTo>
                  <a:close/>
                  <a:moveTo>
                    <a:pt x="3" y="84"/>
                  </a:moveTo>
                  <a:cubicBezTo>
                    <a:pt x="3" y="85"/>
                    <a:pt x="3" y="85"/>
                    <a:pt x="3" y="85"/>
                  </a:cubicBezTo>
                  <a:cubicBezTo>
                    <a:pt x="3" y="85"/>
                    <a:pt x="3" y="85"/>
                    <a:pt x="3" y="85"/>
                  </a:cubicBezTo>
                  <a:cubicBezTo>
                    <a:pt x="3" y="85"/>
                    <a:pt x="3" y="85"/>
                    <a:pt x="3" y="85"/>
                  </a:cubicBezTo>
                  <a:cubicBezTo>
                    <a:pt x="3" y="85"/>
                    <a:pt x="3" y="85"/>
                    <a:pt x="3" y="84"/>
                  </a:cubicBezTo>
                  <a:close/>
                  <a:moveTo>
                    <a:pt x="2" y="81"/>
                  </a:moveTo>
                  <a:cubicBezTo>
                    <a:pt x="3" y="81"/>
                    <a:pt x="3" y="81"/>
                    <a:pt x="4" y="82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80"/>
                    <a:pt x="3" y="80"/>
                  </a:cubicBezTo>
                  <a:cubicBezTo>
                    <a:pt x="3" y="80"/>
                    <a:pt x="2" y="81"/>
                    <a:pt x="2" y="81"/>
                  </a:cubicBezTo>
                  <a:close/>
                  <a:moveTo>
                    <a:pt x="7" y="73"/>
                  </a:moveTo>
                  <a:cubicBezTo>
                    <a:pt x="7" y="73"/>
                    <a:pt x="7" y="73"/>
                    <a:pt x="7" y="73"/>
                  </a:cubicBezTo>
                  <a:cubicBezTo>
                    <a:pt x="7" y="74"/>
                    <a:pt x="8" y="74"/>
                    <a:pt x="8" y="75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9" y="75"/>
                    <a:pt x="9" y="75"/>
                    <a:pt x="9" y="74"/>
                  </a:cubicBezTo>
                  <a:cubicBezTo>
                    <a:pt x="9" y="74"/>
                    <a:pt x="9" y="73"/>
                    <a:pt x="8" y="73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1"/>
                    <a:pt x="8" y="70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8" y="70"/>
                    <a:pt x="7" y="72"/>
                    <a:pt x="7" y="73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6"/>
                    <a:pt x="9" y="66"/>
                    <a:pt x="9" y="65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lose/>
                  <a:moveTo>
                    <a:pt x="7" y="51"/>
                  </a:moveTo>
                  <a:cubicBezTo>
                    <a:pt x="7" y="52"/>
                    <a:pt x="6" y="52"/>
                    <a:pt x="6" y="53"/>
                  </a:cubicBezTo>
                  <a:cubicBezTo>
                    <a:pt x="5" y="53"/>
                    <a:pt x="5" y="53"/>
                    <a:pt x="6" y="54"/>
                  </a:cubicBezTo>
                  <a:cubicBezTo>
                    <a:pt x="6" y="54"/>
                    <a:pt x="6" y="55"/>
                    <a:pt x="6" y="55"/>
                  </a:cubicBezTo>
                  <a:cubicBezTo>
                    <a:pt x="6" y="55"/>
                    <a:pt x="6" y="56"/>
                    <a:pt x="6" y="56"/>
                  </a:cubicBezTo>
                  <a:cubicBezTo>
                    <a:pt x="6" y="58"/>
                    <a:pt x="6" y="59"/>
                    <a:pt x="6" y="60"/>
                  </a:cubicBezTo>
                  <a:cubicBezTo>
                    <a:pt x="5" y="61"/>
                    <a:pt x="5" y="64"/>
                    <a:pt x="5" y="64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7" y="64"/>
                    <a:pt x="8" y="64"/>
                    <a:pt x="8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8" y="64"/>
                    <a:pt x="8" y="64"/>
                    <a:pt x="8" y="63"/>
                  </a:cubicBezTo>
                  <a:cubicBezTo>
                    <a:pt x="8" y="63"/>
                    <a:pt x="8" y="63"/>
                    <a:pt x="8" y="62"/>
                  </a:cubicBezTo>
                  <a:cubicBezTo>
                    <a:pt x="8" y="62"/>
                    <a:pt x="9" y="61"/>
                    <a:pt x="9" y="60"/>
                  </a:cubicBezTo>
                  <a:cubicBezTo>
                    <a:pt x="9" y="60"/>
                    <a:pt x="9" y="59"/>
                    <a:pt x="9" y="58"/>
                  </a:cubicBezTo>
                  <a:cubicBezTo>
                    <a:pt x="10" y="57"/>
                    <a:pt x="10" y="56"/>
                    <a:pt x="10" y="56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1"/>
                    <a:pt x="10" y="50"/>
                  </a:cubicBezTo>
                  <a:cubicBezTo>
                    <a:pt x="10" y="50"/>
                    <a:pt x="11" y="49"/>
                    <a:pt x="11" y="49"/>
                  </a:cubicBezTo>
                  <a:cubicBezTo>
                    <a:pt x="11" y="49"/>
                    <a:pt x="12" y="49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1" y="47"/>
                    <a:pt x="11" y="46"/>
                    <a:pt x="12" y="45"/>
                  </a:cubicBezTo>
                  <a:cubicBezTo>
                    <a:pt x="13" y="43"/>
                    <a:pt x="13" y="43"/>
                    <a:pt x="13" y="41"/>
                  </a:cubicBezTo>
                  <a:cubicBezTo>
                    <a:pt x="12" y="40"/>
                    <a:pt x="12" y="40"/>
                    <a:pt x="12" y="39"/>
                  </a:cubicBezTo>
                  <a:cubicBezTo>
                    <a:pt x="12" y="38"/>
                    <a:pt x="11" y="36"/>
                    <a:pt x="12" y="34"/>
                  </a:cubicBezTo>
                  <a:cubicBezTo>
                    <a:pt x="12" y="33"/>
                    <a:pt x="13" y="32"/>
                    <a:pt x="13" y="32"/>
                  </a:cubicBezTo>
                  <a:cubicBezTo>
                    <a:pt x="13" y="31"/>
                    <a:pt x="13" y="30"/>
                    <a:pt x="13" y="30"/>
                  </a:cubicBezTo>
                  <a:cubicBezTo>
                    <a:pt x="13" y="28"/>
                    <a:pt x="14" y="27"/>
                    <a:pt x="14" y="27"/>
                  </a:cubicBezTo>
                  <a:cubicBezTo>
                    <a:pt x="15" y="26"/>
                    <a:pt x="15" y="25"/>
                    <a:pt x="15" y="25"/>
                  </a:cubicBezTo>
                  <a:cubicBezTo>
                    <a:pt x="15" y="24"/>
                    <a:pt x="16" y="24"/>
                    <a:pt x="16" y="24"/>
                  </a:cubicBezTo>
                  <a:cubicBezTo>
                    <a:pt x="16" y="24"/>
                    <a:pt x="17" y="24"/>
                    <a:pt x="17" y="24"/>
                  </a:cubicBezTo>
                  <a:cubicBezTo>
                    <a:pt x="17" y="23"/>
                    <a:pt x="16" y="23"/>
                    <a:pt x="16" y="23"/>
                  </a:cubicBezTo>
                  <a:cubicBezTo>
                    <a:pt x="16" y="22"/>
                    <a:pt x="16" y="21"/>
                    <a:pt x="16" y="20"/>
                  </a:cubicBezTo>
                  <a:cubicBezTo>
                    <a:pt x="16" y="18"/>
                    <a:pt x="17" y="17"/>
                    <a:pt x="19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6"/>
                    <a:pt x="20" y="16"/>
                    <a:pt x="20" y="15"/>
                  </a:cubicBezTo>
                  <a:cubicBezTo>
                    <a:pt x="20" y="15"/>
                    <a:pt x="19" y="14"/>
                    <a:pt x="18" y="14"/>
                  </a:cubicBezTo>
                  <a:cubicBezTo>
                    <a:pt x="17" y="14"/>
                    <a:pt x="17" y="12"/>
                    <a:pt x="17" y="11"/>
                  </a:cubicBezTo>
                  <a:cubicBezTo>
                    <a:pt x="17" y="10"/>
                    <a:pt x="17" y="9"/>
                    <a:pt x="17" y="9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6" y="6"/>
                    <a:pt x="16" y="5"/>
                    <a:pt x="16" y="5"/>
                  </a:cubicBezTo>
                  <a:cubicBezTo>
                    <a:pt x="16" y="5"/>
                    <a:pt x="16" y="4"/>
                    <a:pt x="16" y="4"/>
                  </a:cubicBezTo>
                  <a:cubicBezTo>
                    <a:pt x="15" y="4"/>
                    <a:pt x="15" y="4"/>
                    <a:pt x="15" y="3"/>
                  </a:cubicBezTo>
                  <a:cubicBezTo>
                    <a:pt x="15" y="2"/>
                    <a:pt x="15" y="2"/>
                    <a:pt x="14" y="1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3" y="3"/>
                    <a:pt x="13" y="3"/>
                    <a:pt x="13" y="4"/>
                  </a:cubicBezTo>
                  <a:cubicBezTo>
                    <a:pt x="14" y="7"/>
                    <a:pt x="14" y="12"/>
                    <a:pt x="13" y="15"/>
                  </a:cubicBezTo>
                  <a:cubicBezTo>
                    <a:pt x="12" y="15"/>
                    <a:pt x="12" y="16"/>
                    <a:pt x="13" y="17"/>
                  </a:cubicBezTo>
                  <a:cubicBezTo>
                    <a:pt x="13" y="18"/>
                    <a:pt x="13" y="19"/>
                    <a:pt x="13" y="20"/>
                  </a:cubicBezTo>
                  <a:cubicBezTo>
                    <a:pt x="12" y="21"/>
                    <a:pt x="12" y="22"/>
                    <a:pt x="12" y="23"/>
                  </a:cubicBezTo>
                  <a:cubicBezTo>
                    <a:pt x="12" y="24"/>
                    <a:pt x="12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8"/>
                    <a:pt x="10" y="29"/>
                    <a:pt x="10" y="29"/>
                  </a:cubicBezTo>
                  <a:cubicBezTo>
                    <a:pt x="10" y="29"/>
                    <a:pt x="10" y="30"/>
                    <a:pt x="11" y="30"/>
                  </a:cubicBezTo>
                  <a:cubicBezTo>
                    <a:pt x="11" y="31"/>
                    <a:pt x="11" y="32"/>
                    <a:pt x="10" y="32"/>
                  </a:cubicBezTo>
                  <a:cubicBezTo>
                    <a:pt x="10" y="34"/>
                    <a:pt x="10" y="35"/>
                    <a:pt x="10" y="37"/>
                  </a:cubicBezTo>
                  <a:cubicBezTo>
                    <a:pt x="10" y="37"/>
                    <a:pt x="10" y="38"/>
                    <a:pt x="10" y="38"/>
                  </a:cubicBezTo>
                  <a:cubicBezTo>
                    <a:pt x="11" y="41"/>
                    <a:pt x="9" y="49"/>
                    <a:pt x="7" y="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3" name="Freeform 116"/>
            <p:cNvSpPr/>
            <p:nvPr/>
          </p:nvSpPr>
          <p:spPr bwMode="auto">
            <a:xfrm>
              <a:off x="7139495" y="4246936"/>
              <a:ext cx="9445" cy="9443"/>
            </a:xfrm>
            <a:custGeom>
              <a:avLst/>
              <a:gdLst>
                <a:gd name="T0" fmla="*/ 2147483646 w 1"/>
                <a:gd name="T1" fmla="*/ 0 h 1"/>
                <a:gd name="T2" fmla="*/ 0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4" name="Freeform 117"/>
            <p:cNvSpPr/>
            <p:nvPr/>
          </p:nvSpPr>
          <p:spPr bwMode="auto">
            <a:xfrm>
              <a:off x="7139495" y="4218608"/>
              <a:ext cx="22038" cy="44066"/>
            </a:xfrm>
            <a:custGeom>
              <a:avLst/>
              <a:gdLst>
                <a:gd name="T0" fmla="*/ 0 w 3"/>
                <a:gd name="T1" fmla="*/ 2147483646 h 6"/>
                <a:gd name="T2" fmla="*/ 0 w 3"/>
                <a:gd name="T3" fmla="*/ 2147483646 h 6"/>
                <a:gd name="T4" fmla="*/ 0 w 3"/>
                <a:gd name="T5" fmla="*/ 2147483646 h 6"/>
                <a:gd name="T6" fmla="*/ 0 w 3"/>
                <a:gd name="T7" fmla="*/ 2147483646 h 6"/>
                <a:gd name="T8" fmla="*/ 2147483646 w 3"/>
                <a:gd name="T9" fmla="*/ 0 h 6"/>
                <a:gd name="T10" fmla="*/ 2147483646 w 3"/>
                <a:gd name="T11" fmla="*/ 2147483646 h 6"/>
                <a:gd name="T12" fmla="*/ 2147483646 w 3"/>
                <a:gd name="T13" fmla="*/ 2147483646 h 6"/>
                <a:gd name="T14" fmla="*/ 0 w 3"/>
                <a:gd name="T15" fmla="*/ 2147483646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5" name="Freeform 118"/>
            <p:cNvSpPr/>
            <p:nvPr/>
          </p:nvSpPr>
          <p:spPr bwMode="auto">
            <a:xfrm>
              <a:off x="7139495" y="4234347"/>
              <a:ext cx="59817" cy="44066"/>
            </a:xfrm>
            <a:custGeom>
              <a:avLst/>
              <a:gdLst>
                <a:gd name="T0" fmla="*/ 2147483646 w 8"/>
                <a:gd name="T1" fmla="*/ 2147483646 h 6"/>
                <a:gd name="T2" fmla="*/ 2147483646 w 8"/>
                <a:gd name="T3" fmla="*/ 2147483646 h 6"/>
                <a:gd name="T4" fmla="*/ 2147483646 w 8"/>
                <a:gd name="T5" fmla="*/ 0 h 6"/>
                <a:gd name="T6" fmla="*/ 2147483646 w 8"/>
                <a:gd name="T7" fmla="*/ 2147483646 h 6"/>
                <a:gd name="T8" fmla="*/ 2147483646 w 8"/>
                <a:gd name="T9" fmla="*/ 2147483646 h 6"/>
                <a:gd name="T10" fmla="*/ 2147483646 w 8"/>
                <a:gd name="T11" fmla="*/ 2147483646 h 6"/>
                <a:gd name="T12" fmla="*/ 2147483646 w 8"/>
                <a:gd name="T13" fmla="*/ 2147483646 h 6"/>
                <a:gd name="T14" fmla="*/ 2147483646 w 8"/>
                <a:gd name="T15" fmla="*/ 2147483646 h 6"/>
                <a:gd name="T16" fmla="*/ 2147483646 w 8"/>
                <a:gd name="T17" fmla="*/ 2147483646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0"/>
                    <a:pt x="3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4" y="1"/>
                    <a:pt x="2" y="2"/>
                    <a:pt x="3" y="3"/>
                  </a:cubicBezTo>
                  <a:cubicBezTo>
                    <a:pt x="4" y="5"/>
                    <a:pt x="4" y="3"/>
                    <a:pt x="5" y="3"/>
                  </a:cubicBezTo>
                  <a:cubicBezTo>
                    <a:pt x="8" y="4"/>
                    <a:pt x="3" y="4"/>
                    <a:pt x="4" y="6"/>
                  </a:cubicBezTo>
                  <a:cubicBezTo>
                    <a:pt x="3" y="6"/>
                    <a:pt x="3" y="5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2" y="3"/>
                    <a:pt x="0" y="4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6" name="Freeform 119"/>
            <p:cNvSpPr>
              <a:spLocks noEditPoints="1"/>
            </p:cNvSpPr>
            <p:nvPr/>
          </p:nvSpPr>
          <p:spPr bwMode="auto">
            <a:xfrm>
              <a:off x="7139495" y="4224903"/>
              <a:ext cx="44075" cy="59803"/>
            </a:xfrm>
            <a:custGeom>
              <a:avLst/>
              <a:gdLst>
                <a:gd name="T0" fmla="*/ 2147483646 w 6"/>
                <a:gd name="T1" fmla="*/ 2147483646 h 8"/>
                <a:gd name="T2" fmla="*/ 2147483646 w 6"/>
                <a:gd name="T3" fmla="*/ 2147483646 h 8"/>
                <a:gd name="T4" fmla="*/ 2147483646 w 6"/>
                <a:gd name="T5" fmla="*/ 2147483646 h 8"/>
                <a:gd name="T6" fmla="*/ 2147483646 w 6"/>
                <a:gd name="T7" fmla="*/ 2147483646 h 8"/>
                <a:gd name="T8" fmla="*/ 2147483646 w 6"/>
                <a:gd name="T9" fmla="*/ 2147483646 h 8"/>
                <a:gd name="T10" fmla="*/ 2147483646 w 6"/>
                <a:gd name="T11" fmla="*/ 2147483646 h 8"/>
                <a:gd name="T12" fmla="*/ 2147483646 w 6"/>
                <a:gd name="T13" fmla="*/ 2147483646 h 8"/>
                <a:gd name="T14" fmla="*/ 2147483646 w 6"/>
                <a:gd name="T15" fmla="*/ 2147483646 h 8"/>
                <a:gd name="T16" fmla="*/ 2147483646 w 6"/>
                <a:gd name="T17" fmla="*/ 2147483646 h 8"/>
                <a:gd name="T18" fmla="*/ 2147483646 w 6"/>
                <a:gd name="T19" fmla="*/ 2147483646 h 8"/>
                <a:gd name="T20" fmla="*/ 2147483646 w 6"/>
                <a:gd name="T21" fmla="*/ 0 h 8"/>
                <a:gd name="T22" fmla="*/ 2147483646 w 6"/>
                <a:gd name="T23" fmla="*/ 2147483646 h 8"/>
                <a:gd name="T24" fmla="*/ 2147483646 w 6"/>
                <a:gd name="T25" fmla="*/ 2147483646 h 8"/>
                <a:gd name="T26" fmla="*/ 2147483646 w 6"/>
                <a:gd name="T27" fmla="*/ 2147483646 h 8"/>
                <a:gd name="T28" fmla="*/ 2147483646 w 6"/>
                <a:gd name="T29" fmla="*/ 2147483646 h 8"/>
                <a:gd name="T30" fmla="*/ 2147483646 w 6"/>
                <a:gd name="T31" fmla="*/ 2147483646 h 8"/>
                <a:gd name="T32" fmla="*/ 2147483646 w 6"/>
                <a:gd name="T33" fmla="*/ 2147483646 h 8"/>
                <a:gd name="T34" fmla="*/ 2147483646 w 6"/>
                <a:gd name="T35" fmla="*/ 2147483646 h 8"/>
                <a:gd name="T36" fmla="*/ 2147483646 w 6"/>
                <a:gd name="T37" fmla="*/ 2147483646 h 8"/>
                <a:gd name="T38" fmla="*/ 2147483646 w 6"/>
                <a:gd name="T39" fmla="*/ 2147483646 h 8"/>
                <a:gd name="T40" fmla="*/ 2147483646 w 6"/>
                <a:gd name="T41" fmla="*/ 2147483646 h 8"/>
                <a:gd name="T42" fmla="*/ 2147483646 w 6"/>
                <a:gd name="T43" fmla="*/ 2147483646 h 8"/>
                <a:gd name="T44" fmla="*/ 2147483646 w 6"/>
                <a:gd name="T45" fmla="*/ 2147483646 h 8"/>
                <a:gd name="T46" fmla="*/ 2147483646 w 6"/>
                <a:gd name="T47" fmla="*/ 2147483646 h 8"/>
                <a:gd name="T48" fmla="*/ 2147483646 w 6"/>
                <a:gd name="T49" fmla="*/ 2147483646 h 8"/>
                <a:gd name="T50" fmla="*/ 2147483646 w 6"/>
                <a:gd name="T51" fmla="*/ 2147483646 h 8"/>
                <a:gd name="T52" fmla="*/ 2147483646 w 6"/>
                <a:gd name="T53" fmla="*/ 2147483646 h 8"/>
                <a:gd name="T54" fmla="*/ 2147483646 w 6"/>
                <a:gd name="T55" fmla="*/ 2147483646 h 8"/>
                <a:gd name="T56" fmla="*/ 2147483646 w 6"/>
                <a:gd name="T57" fmla="*/ 2147483646 h 8"/>
                <a:gd name="T58" fmla="*/ 2147483646 w 6"/>
                <a:gd name="T59" fmla="*/ 2147483646 h 8"/>
                <a:gd name="T60" fmla="*/ 2147483646 w 6"/>
                <a:gd name="T61" fmla="*/ 2147483646 h 8"/>
                <a:gd name="T62" fmla="*/ 2147483646 w 6"/>
                <a:gd name="T63" fmla="*/ 2147483646 h 8"/>
                <a:gd name="T64" fmla="*/ 2147483646 w 6"/>
                <a:gd name="T65" fmla="*/ 2147483646 h 8"/>
                <a:gd name="T66" fmla="*/ 2147483646 w 6"/>
                <a:gd name="T67" fmla="*/ 2147483646 h 8"/>
                <a:gd name="T68" fmla="*/ 2147483646 w 6"/>
                <a:gd name="T69" fmla="*/ 2147483646 h 8"/>
                <a:gd name="T70" fmla="*/ 2147483646 w 6"/>
                <a:gd name="T71" fmla="*/ 2147483646 h 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2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4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5" y="6"/>
                    <a:pt x="4" y="6"/>
                    <a:pt x="4" y="7"/>
                  </a:cubicBezTo>
                  <a:lnTo>
                    <a:pt x="4" y="8"/>
                  </a:lnTo>
                  <a:close/>
                  <a:moveTo>
                    <a:pt x="3" y="5"/>
                  </a:moveTo>
                  <a:cubicBezTo>
                    <a:pt x="3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4" y="5"/>
                    <a:pt x="3" y="5"/>
                  </a:cubicBezTo>
                  <a:close/>
                  <a:moveTo>
                    <a:pt x="2" y="3"/>
                  </a:move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7" name="Freeform 120"/>
            <p:cNvSpPr/>
            <p:nvPr/>
          </p:nvSpPr>
          <p:spPr bwMode="auto">
            <a:xfrm>
              <a:off x="7139495" y="4218608"/>
              <a:ext cx="9445" cy="6295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8" name="Freeform 121"/>
            <p:cNvSpPr/>
            <p:nvPr/>
          </p:nvSpPr>
          <p:spPr bwMode="auto">
            <a:xfrm>
              <a:off x="7133198" y="4187134"/>
              <a:ext cx="22038" cy="69246"/>
            </a:xfrm>
            <a:custGeom>
              <a:avLst/>
              <a:gdLst>
                <a:gd name="T0" fmla="*/ 2147483646 w 3"/>
                <a:gd name="T1" fmla="*/ 2147483646 h 9"/>
                <a:gd name="T2" fmla="*/ 2147483646 w 3"/>
                <a:gd name="T3" fmla="*/ 2147483646 h 9"/>
                <a:gd name="T4" fmla="*/ 2147483646 w 3"/>
                <a:gd name="T5" fmla="*/ 2147483646 h 9"/>
                <a:gd name="T6" fmla="*/ 0 w 3"/>
                <a:gd name="T7" fmla="*/ 0 h 9"/>
                <a:gd name="T8" fmla="*/ 2147483646 w 3"/>
                <a:gd name="T9" fmla="*/ 2147483646 h 9"/>
                <a:gd name="T10" fmla="*/ 2147483646 w 3"/>
                <a:gd name="T11" fmla="*/ 2147483646 h 9"/>
                <a:gd name="T12" fmla="*/ 2147483646 w 3"/>
                <a:gd name="T13" fmla="*/ 2147483646 h 9"/>
                <a:gd name="T14" fmla="*/ 2147483646 w 3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9">
                  <a:moveTo>
                    <a:pt x="3" y="9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3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9" name="Freeform 122"/>
            <p:cNvSpPr/>
            <p:nvPr/>
          </p:nvSpPr>
          <p:spPr bwMode="auto">
            <a:xfrm>
              <a:off x="7139495" y="4224903"/>
              <a:ext cx="0" cy="9443"/>
            </a:xfrm>
            <a:custGeom>
              <a:avLst/>
              <a:gdLst>
                <a:gd name="T0" fmla="*/ 0 h 1"/>
                <a:gd name="T1" fmla="*/ 2147483646 h 1"/>
                <a:gd name="T2" fmla="*/ 0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0" name="Freeform 123"/>
            <p:cNvSpPr/>
            <p:nvPr/>
          </p:nvSpPr>
          <p:spPr bwMode="auto">
            <a:xfrm>
              <a:off x="7133198" y="4218608"/>
              <a:ext cx="37779" cy="44066"/>
            </a:xfrm>
            <a:custGeom>
              <a:avLst/>
              <a:gdLst>
                <a:gd name="T0" fmla="*/ 2147483646 w 5"/>
                <a:gd name="T1" fmla="*/ 2147483646 h 6"/>
                <a:gd name="T2" fmla="*/ 2147483646 w 5"/>
                <a:gd name="T3" fmla="*/ 2147483646 h 6"/>
                <a:gd name="T4" fmla="*/ 0 w 5"/>
                <a:gd name="T5" fmla="*/ 2147483646 h 6"/>
                <a:gd name="T6" fmla="*/ 0 w 5"/>
                <a:gd name="T7" fmla="*/ 2147483646 h 6"/>
                <a:gd name="T8" fmla="*/ 0 w 5"/>
                <a:gd name="T9" fmla="*/ 2147483646 h 6"/>
                <a:gd name="T10" fmla="*/ 0 w 5"/>
                <a:gd name="T11" fmla="*/ 2147483646 h 6"/>
                <a:gd name="T12" fmla="*/ 0 w 5"/>
                <a:gd name="T13" fmla="*/ 0 h 6"/>
                <a:gd name="T14" fmla="*/ 2147483646 w 5"/>
                <a:gd name="T15" fmla="*/ 0 h 6"/>
                <a:gd name="T16" fmla="*/ 2147483646 w 5"/>
                <a:gd name="T17" fmla="*/ 2147483646 h 6"/>
                <a:gd name="T18" fmla="*/ 2147483646 w 5"/>
                <a:gd name="T19" fmla="*/ 2147483646 h 6"/>
                <a:gd name="T20" fmla="*/ 2147483646 w 5"/>
                <a:gd name="T21" fmla="*/ 2147483646 h 6"/>
                <a:gd name="T22" fmla="*/ 2147483646 w 5"/>
                <a:gd name="T23" fmla="*/ 2147483646 h 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lnTo>
                    <a:pt x="5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1" name="Freeform 124"/>
            <p:cNvSpPr/>
            <p:nvPr/>
          </p:nvSpPr>
          <p:spPr bwMode="auto">
            <a:xfrm>
              <a:off x="7126902" y="4209167"/>
              <a:ext cx="6296" cy="9443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0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2" name="Freeform 125"/>
            <p:cNvSpPr/>
            <p:nvPr/>
          </p:nvSpPr>
          <p:spPr bwMode="auto">
            <a:xfrm>
              <a:off x="7111161" y="4202871"/>
              <a:ext cx="22038" cy="31475"/>
            </a:xfrm>
            <a:custGeom>
              <a:avLst/>
              <a:gdLst>
                <a:gd name="T0" fmla="*/ 0 w 3"/>
                <a:gd name="T1" fmla="*/ 2147483646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2147483646 w 3"/>
                <a:gd name="T7" fmla="*/ 0 h 4"/>
                <a:gd name="T8" fmla="*/ 2147483646 w 3"/>
                <a:gd name="T9" fmla="*/ 2147483646 h 4"/>
                <a:gd name="T10" fmla="*/ 2147483646 w 3"/>
                <a:gd name="T11" fmla="*/ 2147483646 h 4"/>
                <a:gd name="T12" fmla="*/ 2147483646 w 3"/>
                <a:gd name="T13" fmla="*/ 2147483646 h 4"/>
                <a:gd name="T14" fmla="*/ 2147483646 w 3"/>
                <a:gd name="T15" fmla="*/ 2147483646 h 4"/>
                <a:gd name="T16" fmla="*/ 0 w 3"/>
                <a:gd name="T17" fmla="*/ 2147483646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2" y="3"/>
                    <a:pt x="2" y="3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3" name="Freeform 126"/>
            <p:cNvSpPr/>
            <p:nvPr/>
          </p:nvSpPr>
          <p:spPr bwMode="auto">
            <a:xfrm>
              <a:off x="7126902" y="4196575"/>
              <a:ext cx="6296" cy="12589"/>
            </a:xfrm>
            <a:custGeom>
              <a:avLst/>
              <a:gdLst>
                <a:gd name="T0" fmla="*/ 2147483646 w 1"/>
                <a:gd name="T1" fmla="*/ 2147483646 h 2"/>
                <a:gd name="T2" fmla="*/ 2147483646 w 1"/>
                <a:gd name="T3" fmla="*/ 2147483646 h 2"/>
                <a:gd name="T4" fmla="*/ 0 w 1"/>
                <a:gd name="T5" fmla="*/ 0 h 2"/>
                <a:gd name="T6" fmla="*/ 2147483646 w 1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4" name="Freeform 127"/>
            <p:cNvSpPr/>
            <p:nvPr/>
          </p:nvSpPr>
          <p:spPr bwMode="auto">
            <a:xfrm>
              <a:off x="7126902" y="4180839"/>
              <a:ext cx="12593" cy="37771"/>
            </a:xfrm>
            <a:custGeom>
              <a:avLst/>
              <a:gdLst>
                <a:gd name="T0" fmla="*/ 2147483646 w 2"/>
                <a:gd name="T1" fmla="*/ 2147483646 h 5"/>
                <a:gd name="T2" fmla="*/ 2147483646 w 2"/>
                <a:gd name="T3" fmla="*/ 2147483646 h 5"/>
                <a:gd name="T4" fmla="*/ 0 w 2"/>
                <a:gd name="T5" fmla="*/ 2147483646 h 5"/>
                <a:gd name="T6" fmla="*/ 0 w 2"/>
                <a:gd name="T7" fmla="*/ 0 h 5"/>
                <a:gd name="T8" fmla="*/ 2147483646 w 2"/>
                <a:gd name="T9" fmla="*/ 2147483646 h 5"/>
                <a:gd name="T10" fmla="*/ 2147483646 w 2"/>
                <a:gd name="T11" fmla="*/ 2147483646 h 5"/>
                <a:gd name="T12" fmla="*/ 2147483646 w 2"/>
                <a:gd name="T13" fmla="*/ 2147483646 h 5"/>
                <a:gd name="T14" fmla="*/ 2147483646 w 2"/>
                <a:gd name="T15" fmla="*/ 2147483646 h 5"/>
                <a:gd name="T16" fmla="*/ 2147483646 w 2"/>
                <a:gd name="T17" fmla="*/ 214748364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5" name="Freeform 128"/>
            <p:cNvSpPr/>
            <p:nvPr/>
          </p:nvSpPr>
          <p:spPr bwMode="auto">
            <a:xfrm>
              <a:off x="7133198" y="4187134"/>
              <a:ext cx="6296" cy="15738"/>
            </a:xfrm>
            <a:custGeom>
              <a:avLst/>
              <a:gdLst>
                <a:gd name="T0" fmla="*/ 0 w 1"/>
                <a:gd name="T1" fmla="*/ 2147483646 h 2"/>
                <a:gd name="T2" fmla="*/ 0 w 1"/>
                <a:gd name="T3" fmla="*/ 0 h 2"/>
                <a:gd name="T4" fmla="*/ 2147483646 w 1"/>
                <a:gd name="T5" fmla="*/ 2147483646 h 2"/>
                <a:gd name="T6" fmla="*/ 0 w 1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6" name="Freeform 129"/>
            <p:cNvSpPr/>
            <p:nvPr/>
          </p:nvSpPr>
          <p:spPr bwMode="auto">
            <a:xfrm>
              <a:off x="7117457" y="4180839"/>
              <a:ext cx="31482" cy="28328"/>
            </a:xfrm>
            <a:custGeom>
              <a:avLst/>
              <a:gdLst>
                <a:gd name="T0" fmla="*/ 2147483646 w 4"/>
                <a:gd name="T1" fmla="*/ 2147483646 h 4"/>
                <a:gd name="T2" fmla="*/ 2147483646 w 4"/>
                <a:gd name="T3" fmla="*/ 2147483646 h 4"/>
                <a:gd name="T4" fmla="*/ 2147483646 w 4"/>
                <a:gd name="T5" fmla="*/ 2147483646 h 4"/>
                <a:gd name="T6" fmla="*/ 2147483646 w 4"/>
                <a:gd name="T7" fmla="*/ 2147483646 h 4"/>
                <a:gd name="T8" fmla="*/ 0 w 4"/>
                <a:gd name="T9" fmla="*/ 0 h 4"/>
                <a:gd name="T10" fmla="*/ 2147483646 w 4"/>
                <a:gd name="T11" fmla="*/ 2147483646 h 4"/>
                <a:gd name="T12" fmla="*/ 2147483646 w 4"/>
                <a:gd name="T13" fmla="*/ 2147483646 h 4"/>
                <a:gd name="T14" fmla="*/ 2147483646 w 4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2"/>
                    <a:pt x="3" y="2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7" name="Freeform 130"/>
            <p:cNvSpPr/>
            <p:nvPr/>
          </p:nvSpPr>
          <p:spPr bwMode="auto">
            <a:xfrm>
              <a:off x="7117457" y="4187134"/>
              <a:ext cx="9445" cy="9444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0 h 1"/>
                <a:gd name="T4" fmla="*/ 2147483646 w 1"/>
                <a:gd name="T5" fmla="*/ 2147483646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8" name="Freeform 131"/>
            <p:cNvSpPr/>
            <p:nvPr/>
          </p:nvSpPr>
          <p:spPr bwMode="auto">
            <a:xfrm>
              <a:off x="7101716" y="4180839"/>
              <a:ext cx="31482" cy="22033"/>
            </a:xfrm>
            <a:custGeom>
              <a:avLst/>
              <a:gdLst>
                <a:gd name="T0" fmla="*/ 2147483646 w 4"/>
                <a:gd name="T1" fmla="*/ 2147483646 h 3"/>
                <a:gd name="T2" fmla="*/ 0 w 4"/>
                <a:gd name="T3" fmla="*/ 0 h 3"/>
                <a:gd name="T4" fmla="*/ 2147483646 w 4"/>
                <a:gd name="T5" fmla="*/ 0 h 3"/>
                <a:gd name="T6" fmla="*/ 2147483646 w 4"/>
                <a:gd name="T7" fmla="*/ 2147483646 h 3"/>
                <a:gd name="T8" fmla="*/ 2147483646 w 4"/>
                <a:gd name="T9" fmla="*/ 2147483646 h 3"/>
                <a:gd name="T10" fmla="*/ 2147483646 w 4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2"/>
                    <a:pt x="3" y="2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9" name="Freeform 132"/>
            <p:cNvSpPr/>
            <p:nvPr/>
          </p:nvSpPr>
          <p:spPr bwMode="auto">
            <a:xfrm>
              <a:off x="7117457" y="4165101"/>
              <a:ext cx="0" cy="9443"/>
            </a:xfrm>
            <a:custGeom>
              <a:avLst/>
              <a:gdLst>
                <a:gd name="T0" fmla="*/ 2147483646 h 1"/>
                <a:gd name="T1" fmla="*/ 2147483646 h 1"/>
                <a:gd name="T2" fmla="*/ 2147483646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0" name="Freeform 133"/>
            <p:cNvSpPr/>
            <p:nvPr/>
          </p:nvSpPr>
          <p:spPr bwMode="auto">
            <a:xfrm>
              <a:off x="7089123" y="4165101"/>
              <a:ext cx="37779" cy="15738"/>
            </a:xfrm>
            <a:custGeom>
              <a:avLst/>
              <a:gdLst>
                <a:gd name="T0" fmla="*/ 2147483646 w 5"/>
                <a:gd name="T1" fmla="*/ 2147483646 h 2"/>
                <a:gd name="T2" fmla="*/ 0 w 5"/>
                <a:gd name="T3" fmla="*/ 0 h 2"/>
                <a:gd name="T4" fmla="*/ 2147483646 w 5"/>
                <a:gd name="T5" fmla="*/ 0 h 2"/>
                <a:gd name="T6" fmla="*/ 2147483646 w 5"/>
                <a:gd name="T7" fmla="*/ 0 h 2"/>
                <a:gd name="T8" fmla="*/ 2147483646 w 5"/>
                <a:gd name="T9" fmla="*/ 2147483646 h 2"/>
                <a:gd name="T10" fmla="*/ 2147483646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lnTo>
                    <a:pt x="5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1" name="Freeform 134"/>
            <p:cNvSpPr/>
            <p:nvPr/>
          </p:nvSpPr>
          <p:spPr bwMode="auto">
            <a:xfrm>
              <a:off x="7117457" y="4143068"/>
              <a:ext cx="22038" cy="37771"/>
            </a:xfrm>
            <a:custGeom>
              <a:avLst/>
              <a:gdLst>
                <a:gd name="T0" fmla="*/ 2147483646 w 3"/>
                <a:gd name="T1" fmla="*/ 2147483646 h 5"/>
                <a:gd name="T2" fmla="*/ 2147483646 w 3"/>
                <a:gd name="T3" fmla="*/ 0 h 5"/>
                <a:gd name="T4" fmla="*/ 2147483646 w 3"/>
                <a:gd name="T5" fmla="*/ 2147483646 h 5"/>
                <a:gd name="T6" fmla="*/ 0 w 3"/>
                <a:gd name="T7" fmla="*/ 2147483646 h 5"/>
                <a:gd name="T8" fmla="*/ 2147483646 w 3"/>
                <a:gd name="T9" fmla="*/ 2147483646 h 5"/>
                <a:gd name="T10" fmla="*/ 2147483646 w 3"/>
                <a:gd name="T11" fmla="*/ 214748364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5">
                  <a:moveTo>
                    <a:pt x="1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3" y="1"/>
                    <a:pt x="2" y="3"/>
                    <a:pt x="2" y="5"/>
                  </a:cubicBezTo>
                  <a:cubicBezTo>
                    <a:pt x="1" y="4"/>
                    <a:pt x="2" y="3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0" y="2"/>
                    <a:pt x="1" y="2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2" name="Freeform 135"/>
            <p:cNvSpPr/>
            <p:nvPr/>
          </p:nvSpPr>
          <p:spPr bwMode="auto">
            <a:xfrm>
              <a:off x="7089123" y="4136773"/>
              <a:ext cx="50372" cy="50361"/>
            </a:xfrm>
            <a:custGeom>
              <a:avLst/>
              <a:gdLst>
                <a:gd name="T0" fmla="*/ 2147483646 w 7"/>
                <a:gd name="T1" fmla="*/ 2147483646 h 7"/>
                <a:gd name="T2" fmla="*/ 2147483646 w 7"/>
                <a:gd name="T3" fmla="*/ 2147483646 h 7"/>
                <a:gd name="T4" fmla="*/ 2147483646 w 7"/>
                <a:gd name="T5" fmla="*/ 2147483646 h 7"/>
                <a:gd name="T6" fmla="*/ 2147483646 w 7"/>
                <a:gd name="T7" fmla="*/ 2147483646 h 7"/>
                <a:gd name="T8" fmla="*/ 0 w 7"/>
                <a:gd name="T9" fmla="*/ 2147483646 h 7"/>
                <a:gd name="T10" fmla="*/ 2147483646 w 7"/>
                <a:gd name="T11" fmla="*/ 2147483646 h 7"/>
                <a:gd name="T12" fmla="*/ 2147483646 w 7"/>
                <a:gd name="T13" fmla="*/ 2147483646 h 7"/>
                <a:gd name="T14" fmla="*/ 2147483646 w 7"/>
                <a:gd name="T15" fmla="*/ 2147483646 h 7"/>
                <a:gd name="T16" fmla="*/ 2147483646 w 7"/>
                <a:gd name="T17" fmla="*/ 0 h 7"/>
                <a:gd name="T18" fmla="*/ 2147483646 w 7"/>
                <a:gd name="T19" fmla="*/ 2147483646 h 7"/>
                <a:gd name="T20" fmla="*/ 2147483646 w 7"/>
                <a:gd name="T21" fmla="*/ 2147483646 h 7"/>
                <a:gd name="T22" fmla="*/ 2147483646 w 7"/>
                <a:gd name="T23" fmla="*/ 2147483646 h 7"/>
                <a:gd name="T24" fmla="*/ 2147483646 w 7"/>
                <a:gd name="T25" fmla="*/ 2147483646 h 7"/>
                <a:gd name="T26" fmla="*/ 2147483646 w 7"/>
                <a:gd name="T27" fmla="*/ 2147483646 h 7"/>
                <a:gd name="T28" fmla="*/ 2147483646 w 7"/>
                <a:gd name="T29" fmla="*/ 2147483646 h 7"/>
                <a:gd name="T30" fmla="*/ 2147483646 w 7"/>
                <a:gd name="T31" fmla="*/ 2147483646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" h="7">
                  <a:moveTo>
                    <a:pt x="6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2"/>
                    <a:pt x="7" y="3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lnTo>
                    <a:pt x="6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3" name="Freeform 136"/>
            <p:cNvSpPr/>
            <p:nvPr/>
          </p:nvSpPr>
          <p:spPr bwMode="auto">
            <a:xfrm>
              <a:off x="7117457" y="4136773"/>
              <a:ext cx="0" cy="15738"/>
            </a:xfrm>
            <a:custGeom>
              <a:avLst/>
              <a:gdLst>
                <a:gd name="T0" fmla="*/ 2147483646 h 2"/>
                <a:gd name="T1" fmla="*/ 2147483646 h 2"/>
                <a:gd name="T2" fmla="*/ 2147483646 h 2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2">
                  <a:moveTo>
                    <a:pt x="0" y="1"/>
                  </a:moveTo>
                  <a:cubicBezTo>
                    <a:pt x="0" y="1"/>
                    <a:pt x="0" y="0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4" name="Freeform 137"/>
            <p:cNvSpPr/>
            <p:nvPr/>
          </p:nvSpPr>
          <p:spPr bwMode="auto">
            <a:xfrm>
              <a:off x="7111161" y="4136773"/>
              <a:ext cx="15741" cy="28328"/>
            </a:xfrm>
            <a:custGeom>
              <a:avLst/>
              <a:gdLst>
                <a:gd name="T0" fmla="*/ 0 w 2"/>
                <a:gd name="T1" fmla="*/ 2147483646 h 4"/>
                <a:gd name="T2" fmla="*/ 0 w 2"/>
                <a:gd name="T3" fmla="*/ 0 h 4"/>
                <a:gd name="T4" fmla="*/ 2147483646 w 2"/>
                <a:gd name="T5" fmla="*/ 0 h 4"/>
                <a:gd name="T6" fmla="*/ 2147483646 w 2"/>
                <a:gd name="T7" fmla="*/ 0 h 4"/>
                <a:gd name="T8" fmla="*/ 2147483646 w 2"/>
                <a:gd name="T9" fmla="*/ 0 h 4"/>
                <a:gd name="T10" fmla="*/ 2147483646 w 2"/>
                <a:gd name="T11" fmla="*/ 2147483646 h 4"/>
                <a:gd name="T12" fmla="*/ 2147483646 w 2"/>
                <a:gd name="T13" fmla="*/ 2147483646 h 4"/>
                <a:gd name="T14" fmla="*/ 0 w 2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2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5" name="Freeform 138"/>
            <p:cNvSpPr/>
            <p:nvPr/>
          </p:nvSpPr>
          <p:spPr bwMode="auto">
            <a:xfrm>
              <a:off x="7117457" y="4130477"/>
              <a:ext cx="9445" cy="12589"/>
            </a:xfrm>
            <a:custGeom>
              <a:avLst/>
              <a:gdLst>
                <a:gd name="T0" fmla="*/ 0 w 1"/>
                <a:gd name="T1" fmla="*/ 0 h 2"/>
                <a:gd name="T2" fmla="*/ 2147483646 w 1"/>
                <a:gd name="T3" fmla="*/ 2147483646 h 2"/>
                <a:gd name="T4" fmla="*/ 0 w 1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6" name="Freeform 139"/>
            <p:cNvSpPr/>
            <p:nvPr/>
          </p:nvSpPr>
          <p:spPr bwMode="auto">
            <a:xfrm>
              <a:off x="7111161" y="4130478"/>
              <a:ext cx="22038" cy="34623"/>
            </a:xfrm>
            <a:custGeom>
              <a:avLst/>
              <a:gdLst>
                <a:gd name="T0" fmla="*/ 2147483646 w 3"/>
                <a:gd name="T1" fmla="*/ 2147483646 h 5"/>
                <a:gd name="T2" fmla="*/ 2147483646 w 3"/>
                <a:gd name="T3" fmla="*/ 2147483646 h 5"/>
                <a:gd name="T4" fmla="*/ 0 w 3"/>
                <a:gd name="T5" fmla="*/ 2147483646 h 5"/>
                <a:gd name="T6" fmla="*/ 0 w 3"/>
                <a:gd name="T7" fmla="*/ 0 h 5"/>
                <a:gd name="T8" fmla="*/ 0 w 3"/>
                <a:gd name="T9" fmla="*/ 0 h 5"/>
                <a:gd name="T10" fmla="*/ 2147483646 w 3"/>
                <a:gd name="T11" fmla="*/ 0 h 5"/>
                <a:gd name="T12" fmla="*/ 2147483646 w 3"/>
                <a:gd name="T13" fmla="*/ 2147483646 h 5"/>
                <a:gd name="T14" fmla="*/ 2147483646 w 3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lnTo>
                    <a:pt x="3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7" name="Freeform 140"/>
            <p:cNvSpPr/>
            <p:nvPr/>
          </p:nvSpPr>
          <p:spPr bwMode="auto">
            <a:xfrm>
              <a:off x="7133198" y="4114740"/>
              <a:ext cx="0" cy="6295"/>
            </a:xfrm>
            <a:custGeom>
              <a:avLst/>
              <a:gdLst>
                <a:gd name="T0" fmla="*/ 2147483646 h 1"/>
                <a:gd name="T1" fmla="*/ 2147483646 h 1"/>
                <a:gd name="T2" fmla="*/ 0 h 1"/>
                <a:gd name="T3" fmla="*/ 2147483646 h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0" y="T0"/>
                </a:cxn>
                <a:cxn ang="T5">
                  <a:pos x="0" y="T1"/>
                </a:cxn>
                <a:cxn ang="T6">
                  <a:pos x="0" y="T2"/>
                </a:cxn>
                <a:cxn ang="T7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8" name="Freeform 141"/>
            <p:cNvSpPr/>
            <p:nvPr/>
          </p:nvSpPr>
          <p:spPr bwMode="auto">
            <a:xfrm>
              <a:off x="7126902" y="4114740"/>
              <a:ext cx="22038" cy="22033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0 w 3"/>
                <a:gd name="T5" fmla="*/ 2147483646 h 3"/>
                <a:gd name="T6" fmla="*/ 0 w 3"/>
                <a:gd name="T7" fmla="*/ 2147483646 h 3"/>
                <a:gd name="T8" fmla="*/ 2147483646 w 3"/>
                <a:gd name="T9" fmla="*/ 0 h 3"/>
                <a:gd name="T10" fmla="*/ 2147483646 w 3"/>
                <a:gd name="T11" fmla="*/ 0 h 3"/>
                <a:gd name="T12" fmla="*/ 2147483646 w 3"/>
                <a:gd name="T13" fmla="*/ 2147483646 h 3"/>
                <a:gd name="T14" fmla="*/ 2147483646 w 3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9" name="Freeform 142"/>
            <p:cNvSpPr/>
            <p:nvPr/>
          </p:nvSpPr>
          <p:spPr bwMode="auto">
            <a:xfrm>
              <a:off x="7139495" y="4054937"/>
              <a:ext cx="9445" cy="629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0" name="Freeform 143"/>
            <p:cNvSpPr/>
            <p:nvPr/>
          </p:nvSpPr>
          <p:spPr bwMode="auto">
            <a:xfrm>
              <a:off x="7117457" y="4048642"/>
              <a:ext cx="31482" cy="22033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2147483646 w 4"/>
                <a:gd name="T7" fmla="*/ 2147483646 h 3"/>
                <a:gd name="T8" fmla="*/ 0 w 4"/>
                <a:gd name="T9" fmla="*/ 2147483646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2147483646 w 4"/>
                <a:gd name="T17" fmla="*/ 0 h 3"/>
                <a:gd name="T18" fmla="*/ 2147483646 w 4"/>
                <a:gd name="T19" fmla="*/ 2147483646 h 3"/>
                <a:gd name="T20" fmla="*/ 2147483646 w 4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4" y="1"/>
                    <a:pt x="4" y="2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1" name="Freeform 144"/>
            <p:cNvSpPr/>
            <p:nvPr/>
          </p:nvSpPr>
          <p:spPr bwMode="auto">
            <a:xfrm>
              <a:off x="7133198" y="4039198"/>
              <a:ext cx="44075" cy="15738"/>
            </a:xfrm>
            <a:custGeom>
              <a:avLst/>
              <a:gdLst>
                <a:gd name="T0" fmla="*/ 2147483646 w 6"/>
                <a:gd name="T1" fmla="*/ 0 h 2"/>
                <a:gd name="T2" fmla="*/ 2147483646 w 6"/>
                <a:gd name="T3" fmla="*/ 0 h 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6" h="2">
                  <a:moveTo>
                    <a:pt x="3" y="0"/>
                  </a:moveTo>
                  <a:cubicBezTo>
                    <a:pt x="6" y="2"/>
                    <a:pt x="0" y="1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2" name="Freeform 145"/>
            <p:cNvSpPr/>
            <p:nvPr/>
          </p:nvSpPr>
          <p:spPr bwMode="auto">
            <a:xfrm>
              <a:off x="7139495" y="4032904"/>
              <a:ext cx="31482" cy="22033"/>
            </a:xfrm>
            <a:custGeom>
              <a:avLst/>
              <a:gdLst>
                <a:gd name="T0" fmla="*/ 2147483646 w 4"/>
                <a:gd name="T1" fmla="*/ 2147483646 h 3"/>
                <a:gd name="T2" fmla="*/ 0 w 4"/>
                <a:gd name="T3" fmla="*/ 2147483646 h 3"/>
                <a:gd name="T4" fmla="*/ 2147483646 w 4"/>
                <a:gd name="T5" fmla="*/ 0 h 3"/>
                <a:gd name="T6" fmla="*/ 2147483646 w 4"/>
                <a:gd name="T7" fmla="*/ 0 h 3"/>
                <a:gd name="T8" fmla="*/ 2147483646 w 4"/>
                <a:gd name="T9" fmla="*/ 0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2" y="3"/>
                    <a:pt x="1" y="2"/>
                    <a:pt x="0" y="2"/>
                  </a:cubicBezTo>
                  <a:cubicBezTo>
                    <a:pt x="0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4" y="1"/>
                    <a:pt x="3" y="2"/>
                  </a:cubicBezTo>
                  <a:cubicBezTo>
                    <a:pt x="3" y="2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3" name="Freeform 146"/>
            <p:cNvSpPr/>
            <p:nvPr/>
          </p:nvSpPr>
          <p:spPr bwMode="auto">
            <a:xfrm>
              <a:off x="7133198" y="3973101"/>
              <a:ext cx="22038" cy="59803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2147483646 h 8"/>
                <a:gd name="T4" fmla="*/ 2147483646 w 3"/>
                <a:gd name="T5" fmla="*/ 0 h 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8">
                  <a:moveTo>
                    <a:pt x="1" y="0"/>
                  </a:moveTo>
                  <a:cubicBezTo>
                    <a:pt x="3" y="1"/>
                    <a:pt x="2" y="4"/>
                    <a:pt x="2" y="5"/>
                  </a:cubicBezTo>
                  <a:cubicBezTo>
                    <a:pt x="0" y="8"/>
                    <a:pt x="0" y="2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4" name="Freeform 147"/>
            <p:cNvSpPr>
              <a:spLocks noEditPoints="1"/>
            </p:cNvSpPr>
            <p:nvPr/>
          </p:nvSpPr>
          <p:spPr bwMode="auto">
            <a:xfrm>
              <a:off x="7126902" y="3973101"/>
              <a:ext cx="28334" cy="44066"/>
            </a:xfrm>
            <a:custGeom>
              <a:avLst/>
              <a:gdLst>
                <a:gd name="T0" fmla="*/ 2147483646 w 4"/>
                <a:gd name="T1" fmla="*/ 2147483646 h 6"/>
                <a:gd name="T2" fmla="*/ 2147483646 w 4"/>
                <a:gd name="T3" fmla="*/ 2147483646 h 6"/>
                <a:gd name="T4" fmla="*/ 2147483646 w 4"/>
                <a:gd name="T5" fmla="*/ 0 h 6"/>
                <a:gd name="T6" fmla="*/ 2147483646 w 4"/>
                <a:gd name="T7" fmla="*/ 0 h 6"/>
                <a:gd name="T8" fmla="*/ 2147483646 w 4"/>
                <a:gd name="T9" fmla="*/ 0 h 6"/>
                <a:gd name="T10" fmla="*/ 2147483646 w 4"/>
                <a:gd name="T11" fmla="*/ 2147483646 h 6"/>
                <a:gd name="T12" fmla="*/ 2147483646 w 4"/>
                <a:gd name="T13" fmla="*/ 2147483646 h 6"/>
                <a:gd name="T14" fmla="*/ 2147483646 w 4"/>
                <a:gd name="T15" fmla="*/ 2147483646 h 6"/>
                <a:gd name="T16" fmla="*/ 2147483646 w 4"/>
                <a:gd name="T17" fmla="*/ 2147483646 h 6"/>
                <a:gd name="T18" fmla="*/ 2147483646 w 4"/>
                <a:gd name="T19" fmla="*/ 2147483646 h 6"/>
                <a:gd name="T20" fmla="*/ 2147483646 w 4"/>
                <a:gd name="T21" fmla="*/ 2147483646 h 6"/>
                <a:gd name="T22" fmla="*/ 2147483646 w 4"/>
                <a:gd name="T23" fmla="*/ 2147483646 h 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cubicBezTo>
                    <a:pt x="2" y="6"/>
                    <a:pt x="1" y="6"/>
                    <a:pt x="1" y="6"/>
                  </a:cubicBezTo>
                  <a:cubicBezTo>
                    <a:pt x="0" y="4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"/>
                    <a:pt x="4" y="5"/>
                    <a:pt x="3" y="5"/>
                  </a:cubicBezTo>
                  <a:cubicBezTo>
                    <a:pt x="3" y="6"/>
                    <a:pt x="2" y="6"/>
                    <a:pt x="2" y="6"/>
                  </a:cubicBezTo>
                  <a:close/>
                  <a:moveTo>
                    <a:pt x="2" y="1"/>
                  </a:moveTo>
                  <a:cubicBezTo>
                    <a:pt x="2" y="3"/>
                    <a:pt x="2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4"/>
                    <a:pt x="3" y="2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5" name="Freeform 148"/>
            <p:cNvSpPr/>
            <p:nvPr/>
          </p:nvSpPr>
          <p:spPr bwMode="auto">
            <a:xfrm>
              <a:off x="7013565" y="3164182"/>
              <a:ext cx="103892" cy="116459"/>
            </a:xfrm>
            <a:custGeom>
              <a:avLst/>
              <a:gdLst>
                <a:gd name="T0" fmla="*/ 2147483646 w 14"/>
                <a:gd name="T1" fmla="*/ 2147483646 h 16"/>
                <a:gd name="T2" fmla="*/ 2147483646 w 14"/>
                <a:gd name="T3" fmla="*/ 2147483646 h 16"/>
                <a:gd name="T4" fmla="*/ 2147483646 w 14"/>
                <a:gd name="T5" fmla="*/ 2147483646 h 16"/>
                <a:gd name="T6" fmla="*/ 2147483646 w 14"/>
                <a:gd name="T7" fmla="*/ 2147483646 h 16"/>
                <a:gd name="T8" fmla="*/ 2147483646 w 14"/>
                <a:gd name="T9" fmla="*/ 2147483646 h 16"/>
                <a:gd name="T10" fmla="*/ 2147483646 w 14"/>
                <a:gd name="T11" fmla="*/ 2147483646 h 16"/>
                <a:gd name="T12" fmla="*/ 2147483646 w 14"/>
                <a:gd name="T13" fmla="*/ 2147483646 h 16"/>
                <a:gd name="T14" fmla="*/ 2147483646 w 14"/>
                <a:gd name="T15" fmla="*/ 2147483646 h 16"/>
                <a:gd name="T16" fmla="*/ 2147483646 w 14"/>
                <a:gd name="T17" fmla="*/ 2147483646 h 16"/>
                <a:gd name="T18" fmla="*/ 2147483646 w 14"/>
                <a:gd name="T19" fmla="*/ 2147483646 h 16"/>
                <a:gd name="T20" fmla="*/ 2147483646 w 14"/>
                <a:gd name="T21" fmla="*/ 2147483646 h 16"/>
                <a:gd name="T22" fmla="*/ 2147483646 w 14"/>
                <a:gd name="T23" fmla="*/ 2147483646 h 16"/>
                <a:gd name="T24" fmla="*/ 2147483646 w 14"/>
                <a:gd name="T25" fmla="*/ 2147483646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4" h="16">
                  <a:moveTo>
                    <a:pt x="14" y="4"/>
                  </a:moveTo>
                  <a:cubicBezTo>
                    <a:pt x="13" y="3"/>
                    <a:pt x="10" y="4"/>
                    <a:pt x="9" y="3"/>
                  </a:cubicBezTo>
                  <a:cubicBezTo>
                    <a:pt x="8" y="1"/>
                    <a:pt x="6" y="0"/>
                    <a:pt x="4" y="1"/>
                  </a:cubicBezTo>
                  <a:cubicBezTo>
                    <a:pt x="2" y="2"/>
                    <a:pt x="4" y="4"/>
                    <a:pt x="2" y="6"/>
                  </a:cubicBezTo>
                  <a:cubicBezTo>
                    <a:pt x="0" y="7"/>
                    <a:pt x="2" y="11"/>
                    <a:pt x="3" y="9"/>
                  </a:cubicBezTo>
                  <a:cubicBezTo>
                    <a:pt x="4" y="10"/>
                    <a:pt x="3" y="11"/>
                    <a:pt x="3" y="11"/>
                  </a:cubicBezTo>
                  <a:cubicBezTo>
                    <a:pt x="2" y="12"/>
                    <a:pt x="2" y="13"/>
                    <a:pt x="2" y="14"/>
                  </a:cubicBezTo>
                  <a:cubicBezTo>
                    <a:pt x="4" y="13"/>
                    <a:pt x="4" y="16"/>
                    <a:pt x="6" y="15"/>
                  </a:cubicBezTo>
                  <a:cubicBezTo>
                    <a:pt x="7" y="14"/>
                    <a:pt x="6" y="13"/>
                    <a:pt x="6" y="13"/>
                  </a:cubicBezTo>
                  <a:cubicBezTo>
                    <a:pt x="7" y="12"/>
                    <a:pt x="7" y="12"/>
                    <a:pt x="8" y="11"/>
                  </a:cubicBezTo>
                  <a:cubicBezTo>
                    <a:pt x="8" y="10"/>
                    <a:pt x="11" y="10"/>
                    <a:pt x="12" y="9"/>
                  </a:cubicBezTo>
                  <a:cubicBezTo>
                    <a:pt x="12" y="8"/>
                    <a:pt x="14" y="6"/>
                    <a:pt x="14" y="6"/>
                  </a:cubicBezTo>
                  <a:cubicBezTo>
                    <a:pt x="14" y="5"/>
                    <a:pt x="13" y="4"/>
                    <a:pt x="14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6" name="Freeform 149"/>
            <p:cNvSpPr>
              <a:spLocks noEditPoints="1"/>
            </p:cNvSpPr>
            <p:nvPr/>
          </p:nvSpPr>
          <p:spPr bwMode="auto">
            <a:xfrm>
              <a:off x="7013565" y="3164182"/>
              <a:ext cx="113337" cy="116459"/>
            </a:xfrm>
            <a:custGeom>
              <a:avLst/>
              <a:gdLst>
                <a:gd name="T0" fmla="*/ 2147483646 w 15"/>
                <a:gd name="T1" fmla="*/ 2147483646 h 16"/>
                <a:gd name="T2" fmla="*/ 2147483646 w 15"/>
                <a:gd name="T3" fmla="*/ 2147483646 h 16"/>
                <a:gd name="T4" fmla="*/ 2147483646 w 15"/>
                <a:gd name="T5" fmla="*/ 2147483646 h 16"/>
                <a:gd name="T6" fmla="*/ 2147483646 w 15"/>
                <a:gd name="T7" fmla="*/ 2147483646 h 16"/>
                <a:gd name="T8" fmla="*/ 2147483646 w 15"/>
                <a:gd name="T9" fmla="*/ 2147483646 h 16"/>
                <a:gd name="T10" fmla="*/ 2147483646 w 15"/>
                <a:gd name="T11" fmla="*/ 2147483646 h 16"/>
                <a:gd name="T12" fmla="*/ 2147483646 w 15"/>
                <a:gd name="T13" fmla="*/ 2147483646 h 16"/>
                <a:gd name="T14" fmla="*/ 2147483646 w 15"/>
                <a:gd name="T15" fmla="*/ 2147483646 h 16"/>
                <a:gd name="T16" fmla="*/ 2147483646 w 15"/>
                <a:gd name="T17" fmla="*/ 2147483646 h 16"/>
                <a:gd name="T18" fmla="*/ 2147483646 w 15"/>
                <a:gd name="T19" fmla="*/ 2147483646 h 16"/>
                <a:gd name="T20" fmla="*/ 2147483646 w 15"/>
                <a:gd name="T21" fmla="*/ 2147483646 h 16"/>
                <a:gd name="T22" fmla="*/ 2147483646 w 15"/>
                <a:gd name="T23" fmla="*/ 2147483646 h 16"/>
                <a:gd name="T24" fmla="*/ 2147483646 w 15"/>
                <a:gd name="T25" fmla="*/ 2147483646 h 16"/>
                <a:gd name="T26" fmla="*/ 2147483646 w 15"/>
                <a:gd name="T27" fmla="*/ 2147483646 h 16"/>
                <a:gd name="T28" fmla="*/ 2147483646 w 15"/>
                <a:gd name="T29" fmla="*/ 2147483646 h 16"/>
                <a:gd name="T30" fmla="*/ 2147483646 w 15"/>
                <a:gd name="T31" fmla="*/ 2147483646 h 16"/>
                <a:gd name="T32" fmla="*/ 2147483646 w 15"/>
                <a:gd name="T33" fmla="*/ 2147483646 h 16"/>
                <a:gd name="T34" fmla="*/ 2147483646 w 15"/>
                <a:gd name="T35" fmla="*/ 2147483646 h 16"/>
                <a:gd name="T36" fmla="*/ 2147483646 w 15"/>
                <a:gd name="T37" fmla="*/ 2147483646 h 16"/>
                <a:gd name="T38" fmla="*/ 2147483646 w 15"/>
                <a:gd name="T39" fmla="*/ 2147483646 h 16"/>
                <a:gd name="T40" fmla="*/ 2147483646 w 15"/>
                <a:gd name="T41" fmla="*/ 2147483646 h 16"/>
                <a:gd name="T42" fmla="*/ 2147483646 w 15"/>
                <a:gd name="T43" fmla="*/ 2147483646 h 16"/>
                <a:gd name="T44" fmla="*/ 2147483646 w 15"/>
                <a:gd name="T45" fmla="*/ 2147483646 h 16"/>
                <a:gd name="T46" fmla="*/ 2147483646 w 15"/>
                <a:gd name="T47" fmla="*/ 2147483646 h 16"/>
                <a:gd name="T48" fmla="*/ 2147483646 w 15"/>
                <a:gd name="T49" fmla="*/ 2147483646 h 16"/>
                <a:gd name="T50" fmla="*/ 2147483646 w 15"/>
                <a:gd name="T51" fmla="*/ 2147483646 h 16"/>
                <a:gd name="T52" fmla="*/ 2147483646 w 15"/>
                <a:gd name="T53" fmla="*/ 2147483646 h 16"/>
                <a:gd name="T54" fmla="*/ 2147483646 w 15"/>
                <a:gd name="T55" fmla="*/ 2147483646 h 16"/>
                <a:gd name="T56" fmla="*/ 2147483646 w 15"/>
                <a:gd name="T57" fmla="*/ 2147483646 h 16"/>
                <a:gd name="T58" fmla="*/ 2147483646 w 15"/>
                <a:gd name="T59" fmla="*/ 2147483646 h 16"/>
                <a:gd name="T60" fmla="*/ 2147483646 w 15"/>
                <a:gd name="T61" fmla="*/ 2147483646 h 16"/>
                <a:gd name="T62" fmla="*/ 2147483646 w 15"/>
                <a:gd name="T63" fmla="*/ 2147483646 h 16"/>
                <a:gd name="T64" fmla="*/ 2147483646 w 15"/>
                <a:gd name="T65" fmla="*/ 2147483646 h 16"/>
                <a:gd name="T66" fmla="*/ 2147483646 w 15"/>
                <a:gd name="T67" fmla="*/ 2147483646 h 16"/>
                <a:gd name="T68" fmla="*/ 2147483646 w 15"/>
                <a:gd name="T69" fmla="*/ 2147483646 h 16"/>
                <a:gd name="T70" fmla="*/ 2147483646 w 15"/>
                <a:gd name="T71" fmla="*/ 2147483646 h 16"/>
                <a:gd name="T72" fmla="*/ 2147483646 w 15"/>
                <a:gd name="T73" fmla="*/ 2147483646 h 16"/>
                <a:gd name="T74" fmla="*/ 2147483646 w 15"/>
                <a:gd name="T75" fmla="*/ 2147483646 h 16"/>
                <a:gd name="T76" fmla="*/ 2147483646 w 15"/>
                <a:gd name="T77" fmla="*/ 2147483646 h 16"/>
                <a:gd name="T78" fmla="*/ 2147483646 w 15"/>
                <a:gd name="T79" fmla="*/ 2147483646 h 16"/>
                <a:gd name="T80" fmla="*/ 2147483646 w 15"/>
                <a:gd name="T81" fmla="*/ 2147483646 h 16"/>
                <a:gd name="T82" fmla="*/ 2147483646 w 15"/>
                <a:gd name="T83" fmla="*/ 2147483646 h 16"/>
                <a:gd name="T84" fmla="*/ 2147483646 w 15"/>
                <a:gd name="T85" fmla="*/ 2147483646 h 16"/>
                <a:gd name="T86" fmla="*/ 2147483646 w 15"/>
                <a:gd name="T87" fmla="*/ 2147483646 h 16"/>
                <a:gd name="T88" fmla="*/ 2147483646 w 15"/>
                <a:gd name="T89" fmla="*/ 2147483646 h 16"/>
                <a:gd name="T90" fmla="*/ 2147483646 w 15"/>
                <a:gd name="T91" fmla="*/ 2147483646 h 16"/>
                <a:gd name="T92" fmla="*/ 2147483646 w 15"/>
                <a:gd name="T93" fmla="*/ 2147483646 h 16"/>
                <a:gd name="T94" fmla="*/ 2147483646 w 15"/>
                <a:gd name="T95" fmla="*/ 2147483646 h 16"/>
                <a:gd name="T96" fmla="*/ 2147483646 w 15"/>
                <a:gd name="T97" fmla="*/ 2147483646 h 16"/>
                <a:gd name="T98" fmla="*/ 2147483646 w 15"/>
                <a:gd name="T99" fmla="*/ 2147483646 h 16"/>
                <a:gd name="T100" fmla="*/ 2147483646 w 15"/>
                <a:gd name="T101" fmla="*/ 2147483646 h 16"/>
                <a:gd name="T102" fmla="*/ 2147483646 w 15"/>
                <a:gd name="T103" fmla="*/ 2147483646 h 16"/>
                <a:gd name="T104" fmla="*/ 2147483646 w 15"/>
                <a:gd name="T105" fmla="*/ 2147483646 h 16"/>
                <a:gd name="T106" fmla="*/ 2147483646 w 15"/>
                <a:gd name="T107" fmla="*/ 2147483646 h 16"/>
                <a:gd name="T108" fmla="*/ 2147483646 w 15"/>
                <a:gd name="T109" fmla="*/ 2147483646 h 16"/>
                <a:gd name="T110" fmla="*/ 2147483646 w 15"/>
                <a:gd name="T111" fmla="*/ 2147483646 h 16"/>
                <a:gd name="T112" fmla="*/ 2147483646 w 15"/>
                <a:gd name="T113" fmla="*/ 2147483646 h 1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" h="16">
                  <a:moveTo>
                    <a:pt x="5" y="16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5"/>
                    <a:pt x="4" y="15"/>
                  </a:cubicBezTo>
                  <a:cubicBezTo>
                    <a:pt x="3" y="14"/>
                    <a:pt x="3" y="14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2" y="11"/>
                    <a:pt x="2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3" y="10"/>
                    <a:pt x="3" y="10"/>
                    <a:pt x="2" y="10"/>
                  </a:cubicBezTo>
                  <a:cubicBezTo>
                    <a:pt x="2" y="10"/>
                    <a:pt x="1" y="9"/>
                    <a:pt x="1" y="8"/>
                  </a:cubicBezTo>
                  <a:cubicBezTo>
                    <a:pt x="0" y="7"/>
                    <a:pt x="0" y="6"/>
                    <a:pt x="1" y="5"/>
                  </a:cubicBezTo>
                  <a:cubicBezTo>
                    <a:pt x="2" y="5"/>
                    <a:pt x="2" y="4"/>
                    <a:pt x="2" y="3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6" y="0"/>
                    <a:pt x="8" y="0"/>
                    <a:pt x="10" y="2"/>
                  </a:cubicBezTo>
                  <a:cubicBezTo>
                    <a:pt x="10" y="3"/>
                    <a:pt x="11" y="3"/>
                    <a:pt x="11" y="3"/>
                  </a:cubicBezTo>
                  <a:cubicBezTo>
                    <a:pt x="12" y="3"/>
                    <a:pt x="14" y="3"/>
                    <a:pt x="14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5"/>
                    <a:pt x="15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4" y="6"/>
                    <a:pt x="14" y="7"/>
                    <a:pt x="13" y="8"/>
                  </a:cubicBezTo>
                  <a:cubicBezTo>
                    <a:pt x="13" y="8"/>
                    <a:pt x="12" y="9"/>
                    <a:pt x="12" y="9"/>
                  </a:cubicBezTo>
                  <a:cubicBezTo>
                    <a:pt x="12" y="10"/>
                    <a:pt x="11" y="10"/>
                    <a:pt x="10" y="10"/>
                  </a:cubicBezTo>
                  <a:cubicBezTo>
                    <a:pt x="9" y="11"/>
                    <a:pt x="8" y="11"/>
                    <a:pt x="8" y="11"/>
                  </a:cubicBezTo>
                  <a:cubicBezTo>
                    <a:pt x="8" y="12"/>
                    <a:pt x="8" y="12"/>
                    <a:pt x="7" y="12"/>
                  </a:cubicBezTo>
                  <a:cubicBezTo>
                    <a:pt x="7" y="12"/>
                    <a:pt x="7" y="13"/>
                    <a:pt x="7" y="13"/>
                  </a:cubicBezTo>
                  <a:cubicBezTo>
                    <a:pt x="7" y="13"/>
                    <a:pt x="7" y="13"/>
                    <a:pt x="7" y="14"/>
                  </a:cubicBezTo>
                  <a:cubicBezTo>
                    <a:pt x="7" y="14"/>
                    <a:pt x="7" y="15"/>
                    <a:pt x="6" y="15"/>
                  </a:cubicBezTo>
                  <a:cubicBezTo>
                    <a:pt x="6" y="15"/>
                    <a:pt x="5" y="16"/>
                    <a:pt x="5" y="16"/>
                  </a:cubicBezTo>
                  <a:close/>
                  <a:moveTo>
                    <a:pt x="3" y="13"/>
                  </a:moveTo>
                  <a:cubicBezTo>
                    <a:pt x="4" y="13"/>
                    <a:pt x="4" y="14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5" y="13"/>
                    <a:pt x="6" y="12"/>
                  </a:cubicBezTo>
                  <a:cubicBezTo>
                    <a:pt x="6" y="12"/>
                    <a:pt x="6" y="12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8" y="10"/>
                    <a:pt x="10" y="9"/>
                  </a:cubicBezTo>
                  <a:cubicBezTo>
                    <a:pt x="10" y="9"/>
                    <a:pt x="11" y="9"/>
                    <a:pt x="11" y="8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3" y="7"/>
                    <a:pt x="13" y="6"/>
                    <a:pt x="13" y="6"/>
                  </a:cubicBezTo>
                  <a:cubicBezTo>
                    <a:pt x="13" y="5"/>
                    <a:pt x="13" y="5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2" y="4"/>
                    <a:pt x="11" y="4"/>
                  </a:cubicBezTo>
                  <a:cubicBezTo>
                    <a:pt x="10" y="4"/>
                    <a:pt x="9" y="4"/>
                    <a:pt x="9" y="3"/>
                  </a:cubicBezTo>
                  <a:cubicBezTo>
                    <a:pt x="8" y="1"/>
                    <a:pt x="6" y="1"/>
                    <a:pt x="5" y="2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2" y="6"/>
                    <a:pt x="2" y="7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10"/>
                    <a:pt x="3" y="11"/>
                    <a:pt x="3" y="12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7" name="Freeform 150"/>
            <p:cNvSpPr/>
            <p:nvPr/>
          </p:nvSpPr>
          <p:spPr bwMode="auto">
            <a:xfrm>
              <a:off x="7460616" y="3072903"/>
              <a:ext cx="72410" cy="91279"/>
            </a:xfrm>
            <a:custGeom>
              <a:avLst/>
              <a:gdLst>
                <a:gd name="T0" fmla="*/ 2147483646 w 10"/>
                <a:gd name="T1" fmla="*/ 2147483646 h 12"/>
                <a:gd name="T2" fmla="*/ 2147483646 w 10"/>
                <a:gd name="T3" fmla="*/ 2147483646 h 12"/>
                <a:gd name="T4" fmla="*/ 2147483646 w 10"/>
                <a:gd name="T5" fmla="*/ 2147483646 h 12"/>
                <a:gd name="T6" fmla="*/ 2147483646 w 10"/>
                <a:gd name="T7" fmla="*/ 2147483646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12">
                  <a:moveTo>
                    <a:pt x="2" y="10"/>
                  </a:moveTo>
                  <a:cubicBezTo>
                    <a:pt x="5" y="8"/>
                    <a:pt x="0" y="0"/>
                    <a:pt x="7" y="4"/>
                  </a:cubicBezTo>
                  <a:cubicBezTo>
                    <a:pt x="10" y="6"/>
                    <a:pt x="9" y="6"/>
                    <a:pt x="7" y="9"/>
                  </a:cubicBezTo>
                  <a:cubicBezTo>
                    <a:pt x="7" y="10"/>
                    <a:pt x="4" y="12"/>
                    <a:pt x="2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8" name="Freeform 151"/>
            <p:cNvSpPr>
              <a:spLocks noEditPoints="1"/>
            </p:cNvSpPr>
            <p:nvPr/>
          </p:nvSpPr>
          <p:spPr bwMode="auto">
            <a:xfrm>
              <a:off x="7476357" y="3088641"/>
              <a:ext cx="56668" cy="66098"/>
            </a:xfrm>
            <a:custGeom>
              <a:avLst/>
              <a:gdLst>
                <a:gd name="T0" fmla="*/ 2147483646 w 8"/>
                <a:gd name="T1" fmla="*/ 2147483646 h 9"/>
                <a:gd name="T2" fmla="*/ 0 w 8"/>
                <a:gd name="T3" fmla="*/ 2147483646 h 9"/>
                <a:gd name="T4" fmla="*/ 0 w 8"/>
                <a:gd name="T5" fmla="*/ 2147483646 h 9"/>
                <a:gd name="T6" fmla="*/ 0 w 8"/>
                <a:gd name="T7" fmla="*/ 2147483646 h 9"/>
                <a:gd name="T8" fmla="*/ 2147483646 w 8"/>
                <a:gd name="T9" fmla="*/ 2147483646 h 9"/>
                <a:gd name="T10" fmla="*/ 2147483646 w 8"/>
                <a:gd name="T11" fmla="*/ 2147483646 h 9"/>
                <a:gd name="T12" fmla="*/ 2147483646 w 8"/>
                <a:gd name="T13" fmla="*/ 0 h 9"/>
                <a:gd name="T14" fmla="*/ 2147483646 w 8"/>
                <a:gd name="T15" fmla="*/ 2147483646 h 9"/>
                <a:gd name="T16" fmla="*/ 2147483646 w 8"/>
                <a:gd name="T17" fmla="*/ 2147483646 h 9"/>
                <a:gd name="T18" fmla="*/ 2147483646 w 8"/>
                <a:gd name="T19" fmla="*/ 2147483646 h 9"/>
                <a:gd name="T20" fmla="*/ 2147483646 w 8"/>
                <a:gd name="T21" fmla="*/ 2147483646 h 9"/>
                <a:gd name="T22" fmla="*/ 2147483646 w 8"/>
                <a:gd name="T23" fmla="*/ 2147483646 h 9"/>
                <a:gd name="T24" fmla="*/ 2147483646 w 8"/>
                <a:gd name="T25" fmla="*/ 2147483646 h 9"/>
                <a:gd name="T26" fmla="*/ 2147483646 w 8"/>
                <a:gd name="T27" fmla="*/ 2147483646 h 9"/>
                <a:gd name="T28" fmla="*/ 2147483646 w 8"/>
                <a:gd name="T29" fmla="*/ 2147483646 h 9"/>
                <a:gd name="T30" fmla="*/ 2147483646 w 8"/>
                <a:gd name="T31" fmla="*/ 2147483646 h 9"/>
                <a:gd name="T32" fmla="*/ 2147483646 w 8"/>
                <a:gd name="T33" fmla="*/ 2147483646 h 9"/>
                <a:gd name="T34" fmla="*/ 2147483646 w 8"/>
                <a:gd name="T35" fmla="*/ 2147483646 h 9"/>
                <a:gd name="T36" fmla="*/ 2147483646 w 8"/>
                <a:gd name="T37" fmla="*/ 2147483646 h 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" h="9">
                  <a:moveTo>
                    <a:pt x="2" y="9"/>
                  </a:moveTo>
                  <a:cubicBezTo>
                    <a:pt x="1" y="9"/>
                    <a:pt x="1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7"/>
                    <a:pt x="1" y="5"/>
                    <a:pt x="1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6" y="2"/>
                    <a:pt x="7" y="3"/>
                    <a:pt x="7" y="4"/>
                  </a:cubicBezTo>
                  <a:cubicBezTo>
                    <a:pt x="8" y="5"/>
                    <a:pt x="7" y="6"/>
                    <a:pt x="6" y="7"/>
                  </a:cubicBezTo>
                  <a:cubicBezTo>
                    <a:pt x="5" y="8"/>
                    <a:pt x="4" y="9"/>
                    <a:pt x="2" y="9"/>
                  </a:cubicBezTo>
                  <a:close/>
                  <a:moveTo>
                    <a:pt x="1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4" y="7"/>
                    <a:pt x="5" y="7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6" y="3"/>
                    <a:pt x="6" y="3"/>
                    <a:pt x="4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5"/>
                    <a:pt x="2" y="7"/>
                    <a:pt x="1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9" name="Freeform 152"/>
            <p:cNvSpPr/>
            <p:nvPr/>
          </p:nvSpPr>
          <p:spPr bwMode="auto">
            <a:xfrm>
              <a:off x="7356724" y="3044575"/>
              <a:ext cx="88151" cy="125902"/>
            </a:xfrm>
            <a:custGeom>
              <a:avLst/>
              <a:gdLst>
                <a:gd name="T0" fmla="*/ 2147483646 w 12"/>
                <a:gd name="T1" fmla="*/ 2147483646 h 17"/>
                <a:gd name="T2" fmla="*/ 2147483646 w 12"/>
                <a:gd name="T3" fmla="*/ 2147483646 h 17"/>
                <a:gd name="T4" fmla="*/ 2147483646 w 12"/>
                <a:gd name="T5" fmla="*/ 0 h 17"/>
                <a:gd name="T6" fmla="*/ 2147483646 w 12"/>
                <a:gd name="T7" fmla="*/ 2147483646 h 17"/>
                <a:gd name="T8" fmla="*/ 2147483646 w 12"/>
                <a:gd name="T9" fmla="*/ 2147483646 h 17"/>
                <a:gd name="T10" fmla="*/ 2147483646 w 12"/>
                <a:gd name="T11" fmla="*/ 2147483646 h 17"/>
                <a:gd name="T12" fmla="*/ 2147483646 w 12"/>
                <a:gd name="T13" fmla="*/ 2147483646 h 17"/>
                <a:gd name="T14" fmla="*/ 2147483646 w 12"/>
                <a:gd name="T15" fmla="*/ 2147483646 h 17"/>
                <a:gd name="T16" fmla="*/ 2147483646 w 12"/>
                <a:gd name="T17" fmla="*/ 2147483646 h 17"/>
                <a:gd name="T18" fmla="*/ 2147483646 w 12"/>
                <a:gd name="T19" fmla="*/ 2147483646 h 17"/>
                <a:gd name="T20" fmla="*/ 2147483646 w 12"/>
                <a:gd name="T21" fmla="*/ 2147483646 h 17"/>
                <a:gd name="T22" fmla="*/ 2147483646 w 12"/>
                <a:gd name="T23" fmla="*/ 2147483646 h 1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" h="17">
                  <a:moveTo>
                    <a:pt x="2" y="8"/>
                  </a:moveTo>
                  <a:cubicBezTo>
                    <a:pt x="1" y="6"/>
                    <a:pt x="0" y="4"/>
                    <a:pt x="3" y="3"/>
                  </a:cubicBezTo>
                  <a:cubicBezTo>
                    <a:pt x="0" y="3"/>
                    <a:pt x="4" y="0"/>
                    <a:pt x="5" y="0"/>
                  </a:cubicBezTo>
                  <a:cubicBezTo>
                    <a:pt x="5" y="1"/>
                    <a:pt x="7" y="2"/>
                    <a:pt x="7" y="2"/>
                  </a:cubicBezTo>
                  <a:cubicBezTo>
                    <a:pt x="7" y="4"/>
                    <a:pt x="8" y="4"/>
                    <a:pt x="9" y="5"/>
                  </a:cubicBezTo>
                  <a:cubicBezTo>
                    <a:pt x="12" y="8"/>
                    <a:pt x="8" y="7"/>
                    <a:pt x="8" y="10"/>
                  </a:cubicBezTo>
                  <a:cubicBezTo>
                    <a:pt x="8" y="11"/>
                    <a:pt x="9" y="11"/>
                    <a:pt x="10" y="12"/>
                  </a:cubicBezTo>
                  <a:cubicBezTo>
                    <a:pt x="11" y="13"/>
                    <a:pt x="11" y="14"/>
                    <a:pt x="12" y="15"/>
                  </a:cubicBezTo>
                  <a:cubicBezTo>
                    <a:pt x="10" y="14"/>
                    <a:pt x="8" y="16"/>
                    <a:pt x="7" y="16"/>
                  </a:cubicBezTo>
                  <a:cubicBezTo>
                    <a:pt x="5" y="17"/>
                    <a:pt x="5" y="15"/>
                    <a:pt x="4" y="14"/>
                  </a:cubicBezTo>
                  <a:cubicBezTo>
                    <a:pt x="3" y="13"/>
                    <a:pt x="5" y="11"/>
                    <a:pt x="5" y="10"/>
                  </a:cubicBezTo>
                  <a:cubicBezTo>
                    <a:pt x="4" y="9"/>
                    <a:pt x="3" y="7"/>
                    <a:pt x="2" y="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0" name="Freeform 153"/>
            <p:cNvSpPr>
              <a:spLocks noEditPoints="1"/>
            </p:cNvSpPr>
            <p:nvPr/>
          </p:nvSpPr>
          <p:spPr bwMode="auto">
            <a:xfrm>
              <a:off x="7356724" y="3044575"/>
              <a:ext cx="110189" cy="125902"/>
            </a:xfrm>
            <a:custGeom>
              <a:avLst/>
              <a:gdLst>
                <a:gd name="T0" fmla="*/ 2147483646 w 15"/>
                <a:gd name="T1" fmla="*/ 2147483646 h 17"/>
                <a:gd name="T2" fmla="*/ 2147483646 w 15"/>
                <a:gd name="T3" fmla="*/ 2147483646 h 17"/>
                <a:gd name="T4" fmla="*/ 2147483646 w 15"/>
                <a:gd name="T5" fmla="*/ 2147483646 h 17"/>
                <a:gd name="T6" fmla="*/ 2147483646 w 15"/>
                <a:gd name="T7" fmla="*/ 2147483646 h 17"/>
                <a:gd name="T8" fmla="*/ 2147483646 w 15"/>
                <a:gd name="T9" fmla="*/ 2147483646 h 17"/>
                <a:gd name="T10" fmla="*/ 2147483646 w 15"/>
                <a:gd name="T11" fmla="*/ 2147483646 h 17"/>
                <a:gd name="T12" fmla="*/ 2147483646 w 15"/>
                <a:gd name="T13" fmla="*/ 2147483646 h 17"/>
                <a:gd name="T14" fmla="*/ 2147483646 w 15"/>
                <a:gd name="T15" fmla="*/ 2147483646 h 17"/>
                <a:gd name="T16" fmla="*/ 0 w 15"/>
                <a:gd name="T17" fmla="*/ 2147483646 h 17"/>
                <a:gd name="T18" fmla="*/ 2147483646 w 15"/>
                <a:gd name="T19" fmla="*/ 2147483646 h 17"/>
                <a:gd name="T20" fmla="*/ 2147483646 w 15"/>
                <a:gd name="T21" fmla="*/ 2147483646 h 17"/>
                <a:gd name="T22" fmla="*/ 2147483646 w 15"/>
                <a:gd name="T23" fmla="*/ 0 h 17"/>
                <a:gd name="T24" fmla="*/ 2147483646 w 15"/>
                <a:gd name="T25" fmla="*/ 0 h 17"/>
                <a:gd name="T26" fmla="*/ 2147483646 w 15"/>
                <a:gd name="T27" fmla="*/ 2147483646 h 17"/>
                <a:gd name="T28" fmla="*/ 2147483646 w 15"/>
                <a:gd name="T29" fmla="*/ 2147483646 h 17"/>
                <a:gd name="T30" fmla="*/ 2147483646 w 15"/>
                <a:gd name="T31" fmla="*/ 2147483646 h 17"/>
                <a:gd name="T32" fmla="*/ 2147483646 w 15"/>
                <a:gd name="T33" fmla="*/ 2147483646 h 17"/>
                <a:gd name="T34" fmla="*/ 2147483646 w 15"/>
                <a:gd name="T35" fmla="*/ 2147483646 h 17"/>
                <a:gd name="T36" fmla="*/ 2147483646 w 15"/>
                <a:gd name="T37" fmla="*/ 2147483646 h 17"/>
                <a:gd name="T38" fmla="*/ 2147483646 w 15"/>
                <a:gd name="T39" fmla="*/ 2147483646 h 17"/>
                <a:gd name="T40" fmla="*/ 2147483646 w 15"/>
                <a:gd name="T41" fmla="*/ 2147483646 h 17"/>
                <a:gd name="T42" fmla="*/ 2147483646 w 15"/>
                <a:gd name="T43" fmla="*/ 2147483646 h 17"/>
                <a:gd name="T44" fmla="*/ 2147483646 w 15"/>
                <a:gd name="T45" fmla="*/ 2147483646 h 17"/>
                <a:gd name="T46" fmla="*/ 2147483646 w 15"/>
                <a:gd name="T47" fmla="*/ 2147483646 h 17"/>
                <a:gd name="T48" fmla="*/ 2147483646 w 15"/>
                <a:gd name="T49" fmla="*/ 2147483646 h 17"/>
                <a:gd name="T50" fmla="*/ 2147483646 w 15"/>
                <a:gd name="T51" fmla="*/ 2147483646 h 17"/>
                <a:gd name="T52" fmla="*/ 2147483646 w 15"/>
                <a:gd name="T53" fmla="*/ 2147483646 h 17"/>
                <a:gd name="T54" fmla="*/ 2147483646 w 15"/>
                <a:gd name="T55" fmla="*/ 2147483646 h 17"/>
                <a:gd name="T56" fmla="*/ 2147483646 w 15"/>
                <a:gd name="T57" fmla="*/ 2147483646 h 17"/>
                <a:gd name="T58" fmla="*/ 2147483646 w 15"/>
                <a:gd name="T59" fmla="*/ 2147483646 h 17"/>
                <a:gd name="T60" fmla="*/ 2147483646 w 15"/>
                <a:gd name="T61" fmla="*/ 2147483646 h 17"/>
                <a:gd name="T62" fmla="*/ 2147483646 w 15"/>
                <a:gd name="T63" fmla="*/ 2147483646 h 17"/>
                <a:gd name="T64" fmla="*/ 2147483646 w 15"/>
                <a:gd name="T65" fmla="*/ 2147483646 h 17"/>
                <a:gd name="T66" fmla="*/ 2147483646 w 15"/>
                <a:gd name="T67" fmla="*/ 2147483646 h 17"/>
                <a:gd name="T68" fmla="*/ 2147483646 w 15"/>
                <a:gd name="T69" fmla="*/ 2147483646 h 17"/>
                <a:gd name="T70" fmla="*/ 2147483646 w 15"/>
                <a:gd name="T71" fmla="*/ 2147483646 h 17"/>
                <a:gd name="T72" fmla="*/ 2147483646 w 15"/>
                <a:gd name="T73" fmla="*/ 2147483646 h 17"/>
                <a:gd name="T74" fmla="*/ 2147483646 w 15"/>
                <a:gd name="T75" fmla="*/ 2147483646 h 17"/>
                <a:gd name="T76" fmla="*/ 2147483646 w 15"/>
                <a:gd name="T77" fmla="*/ 2147483646 h 17"/>
                <a:gd name="T78" fmla="*/ 2147483646 w 15"/>
                <a:gd name="T79" fmla="*/ 2147483646 h 17"/>
                <a:gd name="T80" fmla="*/ 2147483646 w 15"/>
                <a:gd name="T81" fmla="*/ 2147483646 h 17"/>
                <a:gd name="T82" fmla="*/ 2147483646 w 15"/>
                <a:gd name="T83" fmla="*/ 2147483646 h 17"/>
                <a:gd name="T84" fmla="*/ 2147483646 w 15"/>
                <a:gd name="T85" fmla="*/ 2147483646 h 17"/>
                <a:gd name="T86" fmla="*/ 2147483646 w 15"/>
                <a:gd name="T87" fmla="*/ 2147483646 h 17"/>
                <a:gd name="T88" fmla="*/ 2147483646 w 15"/>
                <a:gd name="T89" fmla="*/ 2147483646 h 17"/>
                <a:gd name="T90" fmla="*/ 2147483646 w 15"/>
                <a:gd name="T91" fmla="*/ 2147483646 h 17"/>
                <a:gd name="T92" fmla="*/ 2147483646 w 15"/>
                <a:gd name="T93" fmla="*/ 2147483646 h 17"/>
                <a:gd name="T94" fmla="*/ 2147483646 w 15"/>
                <a:gd name="T95" fmla="*/ 2147483646 h 17"/>
                <a:gd name="T96" fmla="*/ 2147483646 w 15"/>
                <a:gd name="T97" fmla="*/ 2147483646 h 17"/>
                <a:gd name="T98" fmla="*/ 2147483646 w 15"/>
                <a:gd name="T99" fmla="*/ 2147483646 h 17"/>
                <a:gd name="T100" fmla="*/ 2147483646 w 15"/>
                <a:gd name="T101" fmla="*/ 2147483646 h 17"/>
                <a:gd name="T102" fmla="*/ 2147483646 w 15"/>
                <a:gd name="T103" fmla="*/ 2147483646 h 17"/>
                <a:gd name="T104" fmla="*/ 2147483646 w 15"/>
                <a:gd name="T105" fmla="*/ 2147483646 h 17"/>
                <a:gd name="T106" fmla="*/ 2147483646 w 15"/>
                <a:gd name="T107" fmla="*/ 2147483646 h 1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5" h="17">
                  <a:moveTo>
                    <a:pt x="6" y="17"/>
                  </a:moveTo>
                  <a:cubicBezTo>
                    <a:pt x="5" y="17"/>
                    <a:pt x="4" y="16"/>
                    <a:pt x="4" y="15"/>
                  </a:cubicBezTo>
                  <a:cubicBezTo>
                    <a:pt x="4" y="15"/>
                    <a:pt x="4" y="14"/>
                    <a:pt x="4" y="14"/>
                  </a:cubicBezTo>
                  <a:cubicBezTo>
                    <a:pt x="3" y="13"/>
                    <a:pt x="3" y="12"/>
                    <a:pt x="4" y="11"/>
                  </a:cubicBezTo>
                  <a:cubicBezTo>
                    <a:pt x="4" y="11"/>
                    <a:pt x="4" y="11"/>
                    <a:pt x="4" y="10"/>
                  </a:cubicBezTo>
                  <a:cubicBezTo>
                    <a:pt x="4" y="9"/>
                    <a:pt x="3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7" y="1"/>
                    <a:pt x="7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10" y="4"/>
                  </a:cubicBezTo>
                  <a:cubicBezTo>
                    <a:pt x="11" y="5"/>
                    <a:pt x="11" y="6"/>
                    <a:pt x="11" y="7"/>
                  </a:cubicBezTo>
                  <a:cubicBezTo>
                    <a:pt x="11" y="7"/>
                    <a:pt x="10" y="8"/>
                    <a:pt x="10" y="8"/>
                  </a:cubicBezTo>
                  <a:cubicBezTo>
                    <a:pt x="9" y="9"/>
                    <a:pt x="8" y="9"/>
                    <a:pt x="8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1"/>
                    <a:pt x="10" y="11"/>
                    <a:pt x="10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1" y="14"/>
                    <a:pt x="12" y="14"/>
                    <a:pt x="12" y="15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0" y="15"/>
                    <a:pt x="9" y="16"/>
                    <a:pt x="8" y="16"/>
                  </a:cubicBezTo>
                  <a:cubicBezTo>
                    <a:pt x="8" y="17"/>
                    <a:pt x="7" y="17"/>
                    <a:pt x="7" y="17"/>
                  </a:cubicBezTo>
                  <a:cubicBezTo>
                    <a:pt x="7" y="17"/>
                    <a:pt x="7" y="17"/>
                    <a:pt x="6" y="17"/>
                  </a:cubicBezTo>
                  <a:close/>
                  <a:moveTo>
                    <a:pt x="2" y="7"/>
                  </a:moveTo>
                  <a:cubicBezTo>
                    <a:pt x="4" y="7"/>
                    <a:pt x="5" y="9"/>
                    <a:pt x="5" y="10"/>
                  </a:cubicBezTo>
                  <a:cubicBezTo>
                    <a:pt x="5" y="11"/>
                    <a:pt x="5" y="11"/>
                    <a:pt x="5" y="12"/>
                  </a:cubicBezTo>
                  <a:cubicBezTo>
                    <a:pt x="4" y="13"/>
                    <a:pt x="4" y="13"/>
                    <a:pt x="5" y="14"/>
                  </a:cubicBezTo>
                  <a:cubicBezTo>
                    <a:pt x="5" y="14"/>
                    <a:pt x="5" y="14"/>
                    <a:pt x="5" y="15"/>
                  </a:cubicBezTo>
                  <a:cubicBezTo>
                    <a:pt x="6" y="16"/>
                    <a:pt x="6" y="16"/>
                    <a:pt x="7" y="16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3"/>
                    <a:pt x="10" y="13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2"/>
                    <a:pt x="7" y="11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7"/>
                    <a:pt x="10" y="7"/>
                    <a:pt x="10" y="6"/>
                  </a:cubicBezTo>
                  <a:cubicBezTo>
                    <a:pt x="10" y="6"/>
                    <a:pt x="10" y="6"/>
                    <a:pt x="9" y="5"/>
                  </a:cubicBezTo>
                  <a:cubicBezTo>
                    <a:pt x="9" y="5"/>
                    <a:pt x="8" y="5"/>
                    <a:pt x="8" y="4"/>
                  </a:cubicBezTo>
                  <a:cubicBezTo>
                    <a:pt x="7" y="4"/>
                    <a:pt x="7" y="4"/>
                    <a:pt x="6" y="3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4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3"/>
                    <a:pt x="3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1" name="Freeform 154"/>
            <p:cNvSpPr/>
            <p:nvPr/>
          </p:nvSpPr>
          <p:spPr bwMode="auto">
            <a:xfrm>
              <a:off x="7334686" y="3519855"/>
              <a:ext cx="147968" cy="154230"/>
            </a:xfrm>
            <a:custGeom>
              <a:avLst/>
              <a:gdLst>
                <a:gd name="T0" fmla="*/ 2147483646 w 20"/>
                <a:gd name="T1" fmla="*/ 2147483646 h 21"/>
                <a:gd name="T2" fmla="*/ 2147483646 w 20"/>
                <a:gd name="T3" fmla="*/ 2147483646 h 21"/>
                <a:gd name="T4" fmla="*/ 0 w 20"/>
                <a:gd name="T5" fmla="*/ 2147483646 h 21"/>
                <a:gd name="T6" fmla="*/ 2147483646 w 20"/>
                <a:gd name="T7" fmla="*/ 2147483646 h 21"/>
                <a:gd name="T8" fmla="*/ 2147483646 w 20"/>
                <a:gd name="T9" fmla="*/ 2147483646 h 21"/>
                <a:gd name="T10" fmla="*/ 2147483646 w 20"/>
                <a:gd name="T11" fmla="*/ 2147483646 h 21"/>
                <a:gd name="T12" fmla="*/ 2147483646 w 20"/>
                <a:gd name="T13" fmla="*/ 2147483646 h 21"/>
                <a:gd name="T14" fmla="*/ 2147483646 w 20"/>
                <a:gd name="T15" fmla="*/ 2147483646 h 21"/>
                <a:gd name="T16" fmla="*/ 2147483646 w 20"/>
                <a:gd name="T17" fmla="*/ 2147483646 h 21"/>
                <a:gd name="T18" fmla="*/ 2147483646 w 20"/>
                <a:gd name="T19" fmla="*/ 2147483646 h 21"/>
                <a:gd name="T20" fmla="*/ 2147483646 w 20"/>
                <a:gd name="T21" fmla="*/ 2147483646 h 21"/>
                <a:gd name="T22" fmla="*/ 2147483646 w 20"/>
                <a:gd name="T23" fmla="*/ 2147483646 h 21"/>
                <a:gd name="T24" fmla="*/ 2147483646 w 20"/>
                <a:gd name="T25" fmla="*/ 2147483646 h 21"/>
                <a:gd name="T26" fmla="*/ 2147483646 w 20"/>
                <a:gd name="T27" fmla="*/ 2147483646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0" h="21">
                  <a:moveTo>
                    <a:pt x="11" y="3"/>
                  </a:moveTo>
                  <a:cubicBezTo>
                    <a:pt x="9" y="0"/>
                    <a:pt x="6" y="1"/>
                    <a:pt x="4" y="1"/>
                  </a:cubicBezTo>
                  <a:cubicBezTo>
                    <a:pt x="1" y="2"/>
                    <a:pt x="1" y="6"/>
                    <a:pt x="0" y="8"/>
                  </a:cubicBezTo>
                  <a:cubicBezTo>
                    <a:pt x="2" y="9"/>
                    <a:pt x="3" y="11"/>
                    <a:pt x="4" y="12"/>
                  </a:cubicBezTo>
                  <a:cubicBezTo>
                    <a:pt x="5" y="13"/>
                    <a:pt x="7" y="12"/>
                    <a:pt x="7" y="13"/>
                  </a:cubicBezTo>
                  <a:cubicBezTo>
                    <a:pt x="9" y="14"/>
                    <a:pt x="10" y="15"/>
                    <a:pt x="11" y="15"/>
                  </a:cubicBezTo>
                  <a:cubicBezTo>
                    <a:pt x="13" y="17"/>
                    <a:pt x="9" y="19"/>
                    <a:pt x="10" y="20"/>
                  </a:cubicBezTo>
                  <a:cubicBezTo>
                    <a:pt x="11" y="21"/>
                    <a:pt x="16" y="21"/>
                    <a:pt x="17" y="21"/>
                  </a:cubicBezTo>
                  <a:cubicBezTo>
                    <a:pt x="19" y="20"/>
                    <a:pt x="19" y="18"/>
                    <a:pt x="19" y="15"/>
                  </a:cubicBezTo>
                  <a:cubicBezTo>
                    <a:pt x="19" y="15"/>
                    <a:pt x="20" y="13"/>
                    <a:pt x="19" y="12"/>
                  </a:cubicBezTo>
                  <a:cubicBezTo>
                    <a:pt x="19" y="12"/>
                    <a:pt x="17" y="12"/>
                    <a:pt x="17" y="12"/>
                  </a:cubicBezTo>
                  <a:cubicBezTo>
                    <a:pt x="17" y="11"/>
                    <a:pt x="17" y="9"/>
                    <a:pt x="16" y="8"/>
                  </a:cubicBezTo>
                  <a:cubicBezTo>
                    <a:pt x="15" y="7"/>
                    <a:pt x="14" y="8"/>
                    <a:pt x="13" y="8"/>
                  </a:cubicBezTo>
                  <a:cubicBezTo>
                    <a:pt x="11" y="7"/>
                    <a:pt x="11" y="5"/>
                    <a:pt x="11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2" name="Freeform 155"/>
            <p:cNvSpPr>
              <a:spLocks noEditPoints="1"/>
            </p:cNvSpPr>
            <p:nvPr/>
          </p:nvSpPr>
          <p:spPr bwMode="auto">
            <a:xfrm>
              <a:off x="7325241" y="3519855"/>
              <a:ext cx="157412" cy="163672"/>
            </a:xfrm>
            <a:custGeom>
              <a:avLst/>
              <a:gdLst>
                <a:gd name="T0" fmla="*/ 2147483646 w 21"/>
                <a:gd name="T1" fmla="*/ 2147483646 h 22"/>
                <a:gd name="T2" fmla="*/ 2147483646 w 21"/>
                <a:gd name="T3" fmla="*/ 2147483646 h 22"/>
                <a:gd name="T4" fmla="*/ 2147483646 w 21"/>
                <a:gd name="T5" fmla="*/ 2147483646 h 22"/>
                <a:gd name="T6" fmla="*/ 2147483646 w 21"/>
                <a:gd name="T7" fmla="*/ 2147483646 h 22"/>
                <a:gd name="T8" fmla="*/ 2147483646 w 21"/>
                <a:gd name="T9" fmla="*/ 2147483646 h 22"/>
                <a:gd name="T10" fmla="*/ 2147483646 w 21"/>
                <a:gd name="T11" fmla="*/ 2147483646 h 22"/>
                <a:gd name="T12" fmla="*/ 2147483646 w 21"/>
                <a:gd name="T13" fmla="*/ 2147483646 h 22"/>
                <a:gd name="T14" fmla="*/ 2147483646 w 21"/>
                <a:gd name="T15" fmla="*/ 2147483646 h 22"/>
                <a:gd name="T16" fmla="*/ 2147483646 w 21"/>
                <a:gd name="T17" fmla="*/ 2147483646 h 22"/>
                <a:gd name="T18" fmla="*/ 2147483646 w 21"/>
                <a:gd name="T19" fmla="*/ 2147483646 h 22"/>
                <a:gd name="T20" fmla="*/ 0 w 21"/>
                <a:gd name="T21" fmla="*/ 2147483646 h 22"/>
                <a:gd name="T22" fmla="*/ 2147483646 w 21"/>
                <a:gd name="T23" fmla="*/ 2147483646 h 22"/>
                <a:gd name="T24" fmla="*/ 2147483646 w 21"/>
                <a:gd name="T25" fmla="*/ 2147483646 h 22"/>
                <a:gd name="T26" fmla="*/ 2147483646 w 21"/>
                <a:gd name="T27" fmla="*/ 2147483646 h 22"/>
                <a:gd name="T28" fmla="*/ 2147483646 w 21"/>
                <a:gd name="T29" fmla="*/ 2147483646 h 22"/>
                <a:gd name="T30" fmla="*/ 2147483646 w 21"/>
                <a:gd name="T31" fmla="*/ 0 h 22"/>
                <a:gd name="T32" fmla="*/ 2147483646 w 21"/>
                <a:gd name="T33" fmla="*/ 2147483646 h 22"/>
                <a:gd name="T34" fmla="*/ 2147483646 w 21"/>
                <a:gd name="T35" fmla="*/ 2147483646 h 22"/>
                <a:gd name="T36" fmla="*/ 2147483646 w 21"/>
                <a:gd name="T37" fmla="*/ 2147483646 h 22"/>
                <a:gd name="T38" fmla="*/ 2147483646 w 21"/>
                <a:gd name="T39" fmla="*/ 2147483646 h 22"/>
                <a:gd name="T40" fmla="*/ 2147483646 w 21"/>
                <a:gd name="T41" fmla="*/ 2147483646 h 22"/>
                <a:gd name="T42" fmla="*/ 2147483646 w 21"/>
                <a:gd name="T43" fmla="*/ 2147483646 h 22"/>
                <a:gd name="T44" fmla="*/ 2147483646 w 21"/>
                <a:gd name="T45" fmla="*/ 2147483646 h 22"/>
                <a:gd name="T46" fmla="*/ 2147483646 w 21"/>
                <a:gd name="T47" fmla="*/ 2147483646 h 22"/>
                <a:gd name="T48" fmla="*/ 2147483646 w 21"/>
                <a:gd name="T49" fmla="*/ 2147483646 h 22"/>
                <a:gd name="T50" fmla="*/ 2147483646 w 21"/>
                <a:gd name="T51" fmla="*/ 2147483646 h 22"/>
                <a:gd name="T52" fmla="*/ 2147483646 w 21"/>
                <a:gd name="T53" fmla="*/ 2147483646 h 22"/>
                <a:gd name="T54" fmla="*/ 2147483646 w 21"/>
                <a:gd name="T55" fmla="*/ 2147483646 h 22"/>
                <a:gd name="T56" fmla="*/ 2147483646 w 21"/>
                <a:gd name="T57" fmla="*/ 2147483646 h 22"/>
                <a:gd name="T58" fmla="*/ 2147483646 w 21"/>
                <a:gd name="T59" fmla="*/ 2147483646 h 22"/>
                <a:gd name="T60" fmla="*/ 2147483646 w 21"/>
                <a:gd name="T61" fmla="*/ 2147483646 h 22"/>
                <a:gd name="T62" fmla="*/ 2147483646 w 21"/>
                <a:gd name="T63" fmla="*/ 2147483646 h 22"/>
                <a:gd name="T64" fmla="*/ 2147483646 w 21"/>
                <a:gd name="T65" fmla="*/ 2147483646 h 22"/>
                <a:gd name="T66" fmla="*/ 2147483646 w 21"/>
                <a:gd name="T67" fmla="*/ 2147483646 h 22"/>
                <a:gd name="T68" fmla="*/ 2147483646 w 21"/>
                <a:gd name="T69" fmla="*/ 2147483646 h 22"/>
                <a:gd name="T70" fmla="*/ 2147483646 w 21"/>
                <a:gd name="T71" fmla="*/ 2147483646 h 22"/>
                <a:gd name="T72" fmla="*/ 2147483646 w 21"/>
                <a:gd name="T73" fmla="*/ 2147483646 h 22"/>
                <a:gd name="T74" fmla="*/ 2147483646 w 21"/>
                <a:gd name="T75" fmla="*/ 2147483646 h 22"/>
                <a:gd name="T76" fmla="*/ 2147483646 w 21"/>
                <a:gd name="T77" fmla="*/ 2147483646 h 22"/>
                <a:gd name="T78" fmla="*/ 2147483646 w 21"/>
                <a:gd name="T79" fmla="*/ 2147483646 h 22"/>
                <a:gd name="T80" fmla="*/ 2147483646 w 21"/>
                <a:gd name="T81" fmla="*/ 2147483646 h 22"/>
                <a:gd name="T82" fmla="*/ 2147483646 w 21"/>
                <a:gd name="T83" fmla="*/ 2147483646 h 22"/>
                <a:gd name="T84" fmla="*/ 2147483646 w 21"/>
                <a:gd name="T85" fmla="*/ 2147483646 h 22"/>
                <a:gd name="T86" fmla="*/ 2147483646 w 21"/>
                <a:gd name="T87" fmla="*/ 2147483646 h 22"/>
                <a:gd name="T88" fmla="*/ 2147483646 w 21"/>
                <a:gd name="T89" fmla="*/ 2147483646 h 22"/>
                <a:gd name="T90" fmla="*/ 2147483646 w 21"/>
                <a:gd name="T91" fmla="*/ 2147483646 h 22"/>
                <a:gd name="T92" fmla="*/ 2147483646 w 21"/>
                <a:gd name="T93" fmla="*/ 2147483646 h 22"/>
                <a:gd name="T94" fmla="*/ 2147483646 w 21"/>
                <a:gd name="T95" fmla="*/ 2147483646 h 22"/>
                <a:gd name="T96" fmla="*/ 2147483646 w 21"/>
                <a:gd name="T97" fmla="*/ 2147483646 h 22"/>
                <a:gd name="T98" fmla="*/ 2147483646 w 21"/>
                <a:gd name="T99" fmla="*/ 2147483646 h 22"/>
                <a:gd name="T100" fmla="*/ 2147483646 w 21"/>
                <a:gd name="T101" fmla="*/ 2147483646 h 22"/>
                <a:gd name="T102" fmla="*/ 2147483646 w 21"/>
                <a:gd name="T103" fmla="*/ 2147483646 h 22"/>
                <a:gd name="T104" fmla="*/ 2147483646 w 21"/>
                <a:gd name="T105" fmla="*/ 2147483646 h 22"/>
                <a:gd name="T106" fmla="*/ 2147483646 w 21"/>
                <a:gd name="T107" fmla="*/ 2147483646 h 22"/>
                <a:gd name="T108" fmla="*/ 2147483646 w 21"/>
                <a:gd name="T109" fmla="*/ 2147483646 h 22"/>
                <a:gd name="T110" fmla="*/ 2147483646 w 21"/>
                <a:gd name="T111" fmla="*/ 2147483646 h 22"/>
                <a:gd name="T112" fmla="*/ 2147483646 w 21"/>
                <a:gd name="T113" fmla="*/ 2147483646 h 22"/>
                <a:gd name="T114" fmla="*/ 2147483646 w 21"/>
                <a:gd name="T115" fmla="*/ 2147483646 h 22"/>
                <a:gd name="T116" fmla="*/ 2147483646 w 21"/>
                <a:gd name="T117" fmla="*/ 2147483646 h 22"/>
                <a:gd name="T118" fmla="*/ 2147483646 w 21"/>
                <a:gd name="T119" fmla="*/ 2147483646 h 22"/>
                <a:gd name="T120" fmla="*/ 2147483646 w 21"/>
                <a:gd name="T121" fmla="*/ 2147483646 h 22"/>
                <a:gd name="T122" fmla="*/ 2147483646 w 21"/>
                <a:gd name="T123" fmla="*/ 2147483646 h 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1" h="22">
                  <a:moveTo>
                    <a:pt x="16" y="22"/>
                  </a:moveTo>
                  <a:cubicBezTo>
                    <a:pt x="16" y="22"/>
                    <a:pt x="12" y="22"/>
                    <a:pt x="11" y="21"/>
                  </a:cubicBezTo>
                  <a:cubicBezTo>
                    <a:pt x="10" y="20"/>
                    <a:pt x="11" y="18"/>
                    <a:pt x="11" y="18"/>
                  </a:cubicBezTo>
                  <a:cubicBezTo>
                    <a:pt x="12" y="17"/>
                    <a:pt x="12" y="17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0" y="15"/>
                    <a:pt x="9" y="14"/>
                    <a:pt x="8" y="13"/>
                  </a:cubicBezTo>
                  <a:cubicBezTo>
                    <a:pt x="8" y="13"/>
                    <a:pt x="7" y="13"/>
                    <a:pt x="7" y="13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4" y="12"/>
                    <a:pt x="4" y="11"/>
                    <a:pt x="3" y="11"/>
                  </a:cubicBezTo>
                  <a:cubicBezTo>
                    <a:pt x="3" y="10"/>
                    <a:pt x="2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4"/>
                    <a:pt x="2" y="2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2" y="1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4"/>
                    <a:pt x="13" y="4"/>
                  </a:cubicBezTo>
                  <a:cubicBezTo>
                    <a:pt x="13" y="6"/>
                    <a:pt x="13" y="7"/>
                    <a:pt x="14" y="8"/>
                  </a:cubicBezTo>
                  <a:cubicBezTo>
                    <a:pt x="15" y="8"/>
                    <a:pt x="15" y="7"/>
                    <a:pt x="15" y="7"/>
                  </a:cubicBezTo>
                  <a:cubicBezTo>
                    <a:pt x="16" y="7"/>
                    <a:pt x="17" y="7"/>
                    <a:pt x="18" y="8"/>
                  </a:cubicBezTo>
                  <a:cubicBezTo>
                    <a:pt x="18" y="8"/>
                    <a:pt x="18" y="9"/>
                    <a:pt x="18" y="11"/>
                  </a:cubicBezTo>
                  <a:cubicBezTo>
                    <a:pt x="18" y="11"/>
                    <a:pt x="18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20" y="11"/>
                    <a:pt x="20" y="11"/>
                  </a:cubicBezTo>
                  <a:cubicBezTo>
                    <a:pt x="20" y="11"/>
                    <a:pt x="21" y="11"/>
                    <a:pt x="21" y="12"/>
                  </a:cubicBezTo>
                  <a:cubicBezTo>
                    <a:pt x="21" y="12"/>
                    <a:pt x="21" y="14"/>
                    <a:pt x="21" y="15"/>
                  </a:cubicBezTo>
                  <a:cubicBezTo>
                    <a:pt x="21" y="15"/>
                    <a:pt x="21" y="15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0" y="18"/>
                    <a:pt x="20" y="20"/>
                    <a:pt x="18" y="22"/>
                  </a:cubicBezTo>
                  <a:cubicBezTo>
                    <a:pt x="17" y="22"/>
                    <a:pt x="17" y="22"/>
                    <a:pt x="16" y="22"/>
                  </a:cubicBezTo>
                  <a:close/>
                  <a:moveTo>
                    <a:pt x="2" y="8"/>
                  </a:moveTo>
                  <a:cubicBezTo>
                    <a:pt x="3" y="8"/>
                    <a:pt x="4" y="9"/>
                    <a:pt x="4" y="10"/>
                  </a:cubicBezTo>
                  <a:cubicBezTo>
                    <a:pt x="5" y="11"/>
                    <a:pt x="5" y="11"/>
                    <a:pt x="6" y="12"/>
                  </a:cubicBezTo>
                  <a:cubicBezTo>
                    <a:pt x="6" y="12"/>
                    <a:pt x="6" y="12"/>
                    <a:pt x="7" y="12"/>
                  </a:cubicBezTo>
                  <a:cubicBezTo>
                    <a:pt x="8" y="12"/>
                    <a:pt x="8" y="12"/>
                    <a:pt x="9" y="13"/>
                  </a:cubicBezTo>
                  <a:cubicBezTo>
                    <a:pt x="10" y="13"/>
                    <a:pt x="11" y="14"/>
                    <a:pt x="12" y="15"/>
                  </a:cubicBezTo>
                  <a:cubicBezTo>
                    <a:pt x="13" y="15"/>
                    <a:pt x="13" y="16"/>
                    <a:pt x="13" y="16"/>
                  </a:cubicBezTo>
                  <a:cubicBezTo>
                    <a:pt x="13" y="17"/>
                    <a:pt x="13" y="18"/>
                    <a:pt x="12" y="18"/>
                  </a:cubicBezTo>
                  <a:cubicBezTo>
                    <a:pt x="12" y="19"/>
                    <a:pt x="11" y="20"/>
                    <a:pt x="12" y="20"/>
                  </a:cubicBezTo>
                  <a:cubicBezTo>
                    <a:pt x="12" y="20"/>
                    <a:pt x="14" y="21"/>
                    <a:pt x="16" y="21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9" y="20"/>
                    <a:pt x="19" y="18"/>
                    <a:pt x="20" y="16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4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3"/>
                    <a:pt x="17" y="12"/>
                    <a:pt x="17" y="12"/>
                  </a:cubicBezTo>
                  <a:cubicBezTo>
                    <a:pt x="17" y="12"/>
                    <a:pt x="17" y="11"/>
                    <a:pt x="17" y="11"/>
                  </a:cubicBezTo>
                  <a:cubicBezTo>
                    <a:pt x="17" y="10"/>
                    <a:pt x="17" y="9"/>
                    <a:pt x="17" y="9"/>
                  </a:cubicBezTo>
                  <a:cubicBezTo>
                    <a:pt x="16" y="8"/>
                    <a:pt x="16" y="8"/>
                    <a:pt x="16" y="9"/>
                  </a:cubicBezTo>
                  <a:cubicBezTo>
                    <a:pt x="15" y="9"/>
                    <a:pt x="15" y="9"/>
                    <a:pt x="14" y="9"/>
                  </a:cubicBezTo>
                  <a:cubicBezTo>
                    <a:pt x="12" y="8"/>
                    <a:pt x="11" y="6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  <a:cubicBezTo>
                    <a:pt x="11" y="2"/>
                    <a:pt x="10" y="1"/>
                    <a:pt x="9" y="1"/>
                  </a:cubicBezTo>
                  <a:cubicBezTo>
                    <a:pt x="8" y="1"/>
                    <a:pt x="6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3"/>
                    <a:pt x="3" y="4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3" name="Freeform 156"/>
            <p:cNvSpPr/>
            <p:nvPr/>
          </p:nvSpPr>
          <p:spPr bwMode="auto">
            <a:xfrm>
              <a:off x="7013565" y="3186214"/>
              <a:ext cx="217229" cy="333640"/>
            </a:xfrm>
            <a:custGeom>
              <a:avLst/>
              <a:gdLst>
                <a:gd name="T0" fmla="*/ 2147483646 w 29"/>
                <a:gd name="T1" fmla="*/ 2147483646 h 45"/>
                <a:gd name="T2" fmla="*/ 2147483646 w 29"/>
                <a:gd name="T3" fmla="*/ 2147483646 h 45"/>
                <a:gd name="T4" fmla="*/ 2147483646 w 29"/>
                <a:gd name="T5" fmla="*/ 2147483646 h 45"/>
                <a:gd name="T6" fmla="*/ 2147483646 w 29"/>
                <a:gd name="T7" fmla="*/ 2147483646 h 45"/>
                <a:gd name="T8" fmla="*/ 2147483646 w 29"/>
                <a:gd name="T9" fmla="*/ 2147483646 h 45"/>
                <a:gd name="T10" fmla="*/ 2147483646 w 29"/>
                <a:gd name="T11" fmla="*/ 2147483646 h 45"/>
                <a:gd name="T12" fmla="*/ 2147483646 w 29"/>
                <a:gd name="T13" fmla="*/ 2147483646 h 45"/>
                <a:gd name="T14" fmla="*/ 2147483646 w 29"/>
                <a:gd name="T15" fmla="*/ 2147483646 h 45"/>
                <a:gd name="T16" fmla="*/ 2147483646 w 29"/>
                <a:gd name="T17" fmla="*/ 2147483646 h 45"/>
                <a:gd name="T18" fmla="*/ 2147483646 w 29"/>
                <a:gd name="T19" fmla="*/ 2147483646 h 45"/>
                <a:gd name="T20" fmla="*/ 2147483646 w 29"/>
                <a:gd name="T21" fmla="*/ 2147483646 h 45"/>
                <a:gd name="T22" fmla="*/ 2147483646 w 29"/>
                <a:gd name="T23" fmla="*/ 2147483646 h 45"/>
                <a:gd name="T24" fmla="*/ 2147483646 w 29"/>
                <a:gd name="T25" fmla="*/ 2147483646 h 45"/>
                <a:gd name="T26" fmla="*/ 2147483646 w 29"/>
                <a:gd name="T27" fmla="*/ 2147483646 h 45"/>
                <a:gd name="T28" fmla="*/ 2147483646 w 29"/>
                <a:gd name="T29" fmla="*/ 2147483646 h 45"/>
                <a:gd name="T30" fmla="*/ 2147483646 w 29"/>
                <a:gd name="T31" fmla="*/ 2147483646 h 45"/>
                <a:gd name="T32" fmla="*/ 2147483646 w 29"/>
                <a:gd name="T33" fmla="*/ 2147483646 h 45"/>
                <a:gd name="T34" fmla="*/ 2147483646 w 29"/>
                <a:gd name="T35" fmla="*/ 2147483646 h 45"/>
                <a:gd name="T36" fmla="*/ 2147483646 w 29"/>
                <a:gd name="T37" fmla="*/ 2147483646 h 45"/>
                <a:gd name="T38" fmla="*/ 2147483646 w 29"/>
                <a:gd name="T39" fmla="*/ 2147483646 h 45"/>
                <a:gd name="T40" fmla="*/ 2147483646 w 29"/>
                <a:gd name="T41" fmla="*/ 2147483646 h 45"/>
                <a:gd name="T42" fmla="*/ 2147483646 w 29"/>
                <a:gd name="T43" fmla="*/ 2147483646 h 45"/>
                <a:gd name="T44" fmla="*/ 2147483646 w 29"/>
                <a:gd name="T45" fmla="*/ 2147483646 h 45"/>
                <a:gd name="T46" fmla="*/ 2147483646 w 29"/>
                <a:gd name="T47" fmla="*/ 2147483646 h 45"/>
                <a:gd name="T48" fmla="*/ 2147483646 w 29"/>
                <a:gd name="T49" fmla="*/ 2147483646 h 45"/>
                <a:gd name="T50" fmla="*/ 2147483646 w 29"/>
                <a:gd name="T51" fmla="*/ 2147483646 h 45"/>
                <a:gd name="T52" fmla="*/ 2147483646 w 29"/>
                <a:gd name="T53" fmla="*/ 2147483646 h 45"/>
                <a:gd name="T54" fmla="*/ 2147483646 w 29"/>
                <a:gd name="T55" fmla="*/ 2147483646 h 45"/>
                <a:gd name="T56" fmla="*/ 2147483646 w 29"/>
                <a:gd name="T57" fmla="*/ 2147483646 h 45"/>
                <a:gd name="T58" fmla="*/ 2147483646 w 29"/>
                <a:gd name="T59" fmla="*/ 2147483646 h 45"/>
                <a:gd name="T60" fmla="*/ 2147483646 w 29"/>
                <a:gd name="T61" fmla="*/ 2147483646 h 45"/>
                <a:gd name="T62" fmla="*/ 2147483646 w 29"/>
                <a:gd name="T63" fmla="*/ 2147483646 h 45"/>
                <a:gd name="T64" fmla="*/ 2147483646 w 29"/>
                <a:gd name="T65" fmla="*/ 2147483646 h 45"/>
                <a:gd name="T66" fmla="*/ 2147483646 w 29"/>
                <a:gd name="T67" fmla="*/ 2147483646 h 45"/>
                <a:gd name="T68" fmla="*/ 2147483646 w 29"/>
                <a:gd name="T69" fmla="*/ 2147483646 h 4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" h="45">
                  <a:moveTo>
                    <a:pt x="27" y="42"/>
                  </a:moveTo>
                  <a:cubicBezTo>
                    <a:pt x="26" y="45"/>
                    <a:pt x="24" y="42"/>
                    <a:pt x="23" y="41"/>
                  </a:cubicBezTo>
                  <a:cubicBezTo>
                    <a:pt x="21" y="40"/>
                    <a:pt x="19" y="39"/>
                    <a:pt x="17" y="38"/>
                  </a:cubicBezTo>
                  <a:cubicBezTo>
                    <a:pt x="15" y="37"/>
                    <a:pt x="14" y="36"/>
                    <a:pt x="12" y="34"/>
                  </a:cubicBezTo>
                  <a:cubicBezTo>
                    <a:pt x="11" y="33"/>
                    <a:pt x="12" y="33"/>
                    <a:pt x="12" y="32"/>
                  </a:cubicBezTo>
                  <a:cubicBezTo>
                    <a:pt x="11" y="31"/>
                    <a:pt x="10" y="30"/>
                    <a:pt x="10" y="29"/>
                  </a:cubicBezTo>
                  <a:cubicBezTo>
                    <a:pt x="9" y="27"/>
                    <a:pt x="8" y="25"/>
                    <a:pt x="7" y="23"/>
                  </a:cubicBezTo>
                  <a:cubicBezTo>
                    <a:pt x="6" y="21"/>
                    <a:pt x="5" y="20"/>
                    <a:pt x="4" y="18"/>
                  </a:cubicBezTo>
                  <a:cubicBezTo>
                    <a:pt x="4" y="17"/>
                    <a:pt x="3" y="16"/>
                    <a:pt x="3" y="16"/>
                  </a:cubicBezTo>
                  <a:cubicBezTo>
                    <a:pt x="2" y="15"/>
                    <a:pt x="1" y="15"/>
                    <a:pt x="1" y="14"/>
                  </a:cubicBezTo>
                  <a:cubicBezTo>
                    <a:pt x="0" y="14"/>
                    <a:pt x="1" y="14"/>
                    <a:pt x="1" y="13"/>
                  </a:cubicBezTo>
                  <a:cubicBezTo>
                    <a:pt x="0" y="11"/>
                    <a:pt x="0" y="11"/>
                    <a:pt x="2" y="9"/>
                  </a:cubicBezTo>
                  <a:cubicBezTo>
                    <a:pt x="3" y="10"/>
                    <a:pt x="2" y="10"/>
                    <a:pt x="2" y="11"/>
                  </a:cubicBezTo>
                  <a:cubicBezTo>
                    <a:pt x="4" y="10"/>
                    <a:pt x="4" y="13"/>
                    <a:pt x="6" y="12"/>
                  </a:cubicBezTo>
                  <a:cubicBezTo>
                    <a:pt x="7" y="11"/>
                    <a:pt x="6" y="10"/>
                    <a:pt x="6" y="10"/>
                  </a:cubicBezTo>
                  <a:cubicBezTo>
                    <a:pt x="7" y="9"/>
                    <a:pt x="7" y="9"/>
                    <a:pt x="8" y="8"/>
                  </a:cubicBezTo>
                  <a:cubicBezTo>
                    <a:pt x="8" y="7"/>
                    <a:pt x="11" y="7"/>
                    <a:pt x="12" y="6"/>
                  </a:cubicBezTo>
                  <a:cubicBezTo>
                    <a:pt x="12" y="5"/>
                    <a:pt x="14" y="3"/>
                    <a:pt x="14" y="3"/>
                  </a:cubicBezTo>
                  <a:cubicBezTo>
                    <a:pt x="13" y="1"/>
                    <a:pt x="14" y="0"/>
                    <a:pt x="16" y="2"/>
                  </a:cubicBezTo>
                  <a:cubicBezTo>
                    <a:pt x="17" y="3"/>
                    <a:pt x="19" y="4"/>
                    <a:pt x="19" y="5"/>
                  </a:cubicBezTo>
                  <a:cubicBezTo>
                    <a:pt x="20" y="8"/>
                    <a:pt x="29" y="3"/>
                    <a:pt x="25" y="9"/>
                  </a:cubicBezTo>
                  <a:cubicBezTo>
                    <a:pt x="25" y="9"/>
                    <a:pt x="26" y="10"/>
                    <a:pt x="26" y="10"/>
                  </a:cubicBezTo>
                  <a:cubicBezTo>
                    <a:pt x="24" y="11"/>
                    <a:pt x="19" y="11"/>
                    <a:pt x="19" y="14"/>
                  </a:cubicBezTo>
                  <a:cubicBezTo>
                    <a:pt x="19" y="16"/>
                    <a:pt x="18" y="16"/>
                    <a:pt x="18" y="18"/>
                  </a:cubicBezTo>
                  <a:cubicBezTo>
                    <a:pt x="17" y="20"/>
                    <a:pt x="20" y="20"/>
                    <a:pt x="20" y="22"/>
                  </a:cubicBezTo>
                  <a:cubicBezTo>
                    <a:pt x="21" y="22"/>
                    <a:pt x="21" y="23"/>
                    <a:pt x="22" y="23"/>
                  </a:cubicBezTo>
                  <a:cubicBezTo>
                    <a:pt x="23" y="24"/>
                    <a:pt x="24" y="23"/>
                    <a:pt x="25" y="22"/>
                  </a:cubicBezTo>
                  <a:cubicBezTo>
                    <a:pt x="25" y="24"/>
                    <a:pt x="24" y="26"/>
                    <a:pt x="27" y="26"/>
                  </a:cubicBezTo>
                  <a:cubicBezTo>
                    <a:pt x="28" y="26"/>
                    <a:pt x="28" y="28"/>
                    <a:pt x="29" y="29"/>
                  </a:cubicBezTo>
                  <a:cubicBezTo>
                    <a:pt x="29" y="30"/>
                    <a:pt x="29" y="30"/>
                    <a:pt x="29" y="31"/>
                  </a:cubicBezTo>
                  <a:cubicBezTo>
                    <a:pt x="29" y="32"/>
                    <a:pt x="29" y="33"/>
                    <a:pt x="29" y="34"/>
                  </a:cubicBezTo>
                  <a:cubicBezTo>
                    <a:pt x="28" y="35"/>
                    <a:pt x="28" y="34"/>
                    <a:pt x="28" y="35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7" y="38"/>
                    <a:pt x="29" y="38"/>
                    <a:pt x="29" y="39"/>
                  </a:cubicBezTo>
                  <a:cubicBezTo>
                    <a:pt x="28" y="40"/>
                    <a:pt x="27" y="40"/>
                    <a:pt x="27" y="4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4" name="Freeform 157"/>
            <p:cNvSpPr>
              <a:spLocks noEditPoints="1"/>
            </p:cNvSpPr>
            <p:nvPr/>
          </p:nvSpPr>
          <p:spPr bwMode="auto">
            <a:xfrm>
              <a:off x="7007268" y="3186214"/>
              <a:ext cx="229822" cy="327345"/>
            </a:xfrm>
            <a:custGeom>
              <a:avLst/>
              <a:gdLst>
                <a:gd name="T0" fmla="*/ 2147483646 w 31"/>
                <a:gd name="T1" fmla="*/ 2147483646 h 44"/>
                <a:gd name="T2" fmla="*/ 2147483646 w 31"/>
                <a:gd name="T3" fmla="*/ 2147483646 h 44"/>
                <a:gd name="T4" fmla="*/ 2147483646 w 31"/>
                <a:gd name="T5" fmla="*/ 2147483646 h 44"/>
                <a:gd name="T6" fmla="*/ 2147483646 w 31"/>
                <a:gd name="T7" fmla="*/ 2147483646 h 44"/>
                <a:gd name="T8" fmla="*/ 2147483646 w 31"/>
                <a:gd name="T9" fmla="*/ 2147483646 h 44"/>
                <a:gd name="T10" fmla="*/ 2147483646 w 31"/>
                <a:gd name="T11" fmla="*/ 2147483646 h 44"/>
                <a:gd name="T12" fmla="*/ 2147483646 w 31"/>
                <a:gd name="T13" fmla="*/ 2147483646 h 44"/>
                <a:gd name="T14" fmla="*/ 2147483646 w 31"/>
                <a:gd name="T15" fmla="*/ 2147483646 h 44"/>
                <a:gd name="T16" fmla="*/ 2147483646 w 31"/>
                <a:gd name="T17" fmla="*/ 2147483646 h 44"/>
                <a:gd name="T18" fmla="*/ 2147483646 w 31"/>
                <a:gd name="T19" fmla="*/ 2147483646 h 44"/>
                <a:gd name="T20" fmla="*/ 2147483646 w 31"/>
                <a:gd name="T21" fmla="*/ 2147483646 h 44"/>
                <a:gd name="T22" fmla="*/ 2147483646 w 31"/>
                <a:gd name="T23" fmla="*/ 2147483646 h 44"/>
                <a:gd name="T24" fmla="*/ 2147483646 w 31"/>
                <a:gd name="T25" fmla="*/ 2147483646 h 44"/>
                <a:gd name="T26" fmla="*/ 2147483646 w 31"/>
                <a:gd name="T27" fmla="*/ 2147483646 h 44"/>
                <a:gd name="T28" fmla="*/ 2147483646 w 31"/>
                <a:gd name="T29" fmla="*/ 2147483646 h 44"/>
                <a:gd name="T30" fmla="*/ 2147483646 w 31"/>
                <a:gd name="T31" fmla="*/ 2147483646 h 44"/>
                <a:gd name="T32" fmla="*/ 2147483646 w 31"/>
                <a:gd name="T33" fmla="*/ 2147483646 h 44"/>
                <a:gd name="T34" fmla="*/ 2147483646 w 31"/>
                <a:gd name="T35" fmla="*/ 2147483646 h 44"/>
                <a:gd name="T36" fmla="*/ 2147483646 w 31"/>
                <a:gd name="T37" fmla="*/ 2147483646 h 44"/>
                <a:gd name="T38" fmla="*/ 2147483646 w 31"/>
                <a:gd name="T39" fmla="*/ 2147483646 h 44"/>
                <a:gd name="T40" fmla="*/ 2147483646 w 31"/>
                <a:gd name="T41" fmla="*/ 2147483646 h 44"/>
                <a:gd name="T42" fmla="*/ 2147483646 w 31"/>
                <a:gd name="T43" fmla="*/ 2147483646 h 44"/>
                <a:gd name="T44" fmla="*/ 2147483646 w 31"/>
                <a:gd name="T45" fmla="*/ 2147483646 h 44"/>
                <a:gd name="T46" fmla="*/ 2147483646 w 31"/>
                <a:gd name="T47" fmla="*/ 2147483646 h 44"/>
                <a:gd name="T48" fmla="*/ 2147483646 w 31"/>
                <a:gd name="T49" fmla="*/ 2147483646 h 44"/>
                <a:gd name="T50" fmla="*/ 2147483646 w 31"/>
                <a:gd name="T51" fmla="*/ 2147483646 h 44"/>
                <a:gd name="T52" fmla="*/ 2147483646 w 31"/>
                <a:gd name="T53" fmla="*/ 2147483646 h 44"/>
                <a:gd name="T54" fmla="*/ 2147483646 w 31"/>
                <a:gd name="T55" fmla="*/ 2147483646 h 44"/>
                <a:gd name="T56" fmla="*/ 2147483646 w 31"/>
                <a:gd name="T57" fmla="*/ 2147483646 h 44"/>
                <a:gd name="T58" fmla="*/ 2147483646 w 31"/>
                <a:gd name="T59" fmla="*/ 2147483646 h 44"/>
                <a:gd name="T60" fmla="*/ 2147483646 w 31"/>
                <a:gd name="T61" fmla="*/ 2147483646 h 44"/>
                <a:gd name="T62" fmla="*/ 2147483646 w 31"/>
                <a:gd name="T63" fmla="*/ 2147483646 h 44"/>
                <a:gd name="T64" fmla="*/ 2147483646 w 31"/>
                <a:gd name="T65" fmla="*/ 2147483646 h 44"/>
                <a:gd name="T66" fmla="*/ 2147483646 w 31"/>
                <a:gd name="T67" fmla="*/ 2147483646 h 44"/>
                <a:gd name="T68" fmla="*/ 2147483646 w 31"/>
                <a:gd name="T69" fmla="*/ 2147483646 h 44"/>
                <a:gd name="T70" fmla="*/ 2147483646 w 31"/>
                <a:gd name="T71" fmla="*/ 2147483646 h 44"/>
                <a:gd name="T72" fmla="*/ 2147483646 w 31"/>
                <a:gd name="T73" fmla="*/ 2147483646 h 44"/>
                <a:gd name="T74" fmla="*/ 2147483646 w 31"/>
                <a:gd name="T75" fmla="*/ 2147483646 h 44"/>
                <a:gd name="T76" fmla="*/ 2147483646 w 31"/>
                <a:gd name="T77" fmla="*/ 2147483646 h 44"/>
                <a:gd name="T78" fmla="*/ 2147483646 w 31"/>
                <a:gd name="T79" fmla="*/ 2147483646 h 44"/>
                <a:gd name="T80" fmla="*/ 2147483646 w 31"/>
                <a:gd name="T81" fmla="*/ 2147483646 h 44"/>
                <a:gd name="T82" fmla="*/ 2147483646 w 31"/>
                <a:gd name="T83" fmla="*/ 2147483646 h 44"/>
                <a:gd name="T84" fmla="*/ 2147483646 w 31"/>
                <a:gd name="T85" fmla="*/ 2147483646 h 44"/>
                <a:gd name="T86" fmla="*/ 2147483646 w 31"/>
                <a:gd name="T87" fmla="*/ 2147483646 h 44"/>
                <a:gd name="T88" fmla="*/ 2147483646 w 31"/>
                <a:gd name="T89" fmla="*/ 2147483646 h 44"/>
                <a:gd name="T90" fmla="*/ 2147483646 w 31"/>
                <a:gd name="T91" fmla="*/ 2147483646 h 44"/>
                <a:gd name="T92" fmla="*/ 2147483646 w 31"/>
                <a:gd name="T93" fmla="*/ 2147483646 h 44"/>
                <a:gd name="T94" fmla="*/ 2147483646 w 31"/>
                <a:gd name="T95" fmla="*/ 2147483646 h 44"/>
                <a:gd name="T96" fmla="*/ 2147483646 w 31"/>
                <a:gd name="T97" fmla="*/ 2147483646 h 44"/>
                <a:gd name="T98" fmla="*/ 2147483646 w 31"/>
                <a:gd name="T99" fmla="*/ 2147483646 h 44"/>
                <a:gd name="T100" fmla="*/ 2147483646 w 31"/>
                <a:gd name="T101" fmla="*/ 2147483646 h 4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" h="44">
                  <a:moveTo>
                    <a:pt x="27" y="44"/>
                  </a:moveTo>
                  <a:cubicBezTo>
                    <a:pt x="26" y="44"/>
                    <a:pt x="24" y="43"/>
                    <a:pt x="24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2" y="41"/>
                    <a:pt x="21" y="40"/>
                    <a:pt x="20" y="40"/>
                  </a:cubicBezTo>
                  <a:cubicBezTo>
                    <a:pt x="20" y="40"/>
                    <a:pt x="19" y="39"/>
                    <a:pt x="18" y="39"/>
                  </a:cubicBezTo>
                  <a:cubicBezTo>
                    <a:pt x="16" y="37"/>
                    <a:pt x="14" y="36"/>
                    <a:pt x="13" y="35"/>
                  </a:cubicBezTo>
                  <a:cubicBezTo>
                    <a:pt x="12" y="34"/>
                    <a:pt x="12" y="33"/>
                    <a:pt x="12" y="32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1"/>
                    <a:pt x="11" y="30"/>
                    <a:pt x="11" y="30"/>
                  </a:cubicBezTo>
                  <a:cubicBezTo>
                    <a:pt x="11" y="30"/>
                    <a:pt x="10" y="29"/>
                    <a:pt x="10" y="29"/>
                  </a:cubicBezTo>
                  <a:cubicBezTo>
                    <a:pt x="9" y="27"/>
                    <a:pt x="8" y="26"/>
                    <a:pt x="8" y="2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2"/>
                    <a:pt x="6" y="21"/>
                    <a:pt x="6" y="20"/>
                  </a:cubicBezTo>
                  <a:cubicBezTo>
                    <a:pt x="5" y="19"/>
                    <a:pt x="5" y="19"/>
                    <a:pt x="5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7"/>
                    <a:pt x="4" y="17"/>
                    <a:pt x="3" y="16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3"/>
                    <a:pt x="1" y="13"/>
                  </a:cubicBezTo>
                  <a:cubicBezTo>
                    <a:pt x="0" y="11"/>
                    <a:pt x="1" y="10"/>
                    <a:pt x="3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5" y="11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6" y="10"/>
                    <a:pt x="7" y="9"/>
                  </a:cubicBezTo>
                  <a:cubicBezTo>
                    <a:pt x="7" y="9"/>
                    <a:pt x="7" y="9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9" y="7"/>
                    <a:pt x="11" y="6"/>
                  </a:cubicBezTo>
                  <a:cubicBezTo>
                    <a:pt x="11" y="6"/>
                    <a:pt x="12" y="6"/>
                    <a:pt x="12" y="5"/>
                  </a:cubicBezTo>
                  <a:cubicBezTo>
                    <a:pt x="13" y="5"/>
                    <a:pt x="13" y="5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7" y="2"/>
                    <a:pt x="18" y="2"/>
                    <a:pt x="18" y="3"/>
                  </a:cubicBezTo>
                  <a:cubicBezTo>
                    <a:pt x="19" y="3"/>
                    <a:pt x="20" y="4"/>
                    <a:pt x="21" y="5"/>
                  </a:cubicBezTo>
                  <a:cubicBezTo>
                    <a:pt x="21" y="5"/>
                    <a:pt x="21" y="6"/>
                    <a:pt x="22" y="6"/>
                  </a:cubicBezTo>
                  <a:cubicBezTo>
                    <a:pt x="23" y="6"/>
                    <a:pt x="23" y="6"/>
                    <a:pt x="24" y="6"/>
                  </a:cubicBezTo>
                  <a:cubicBezTo>
                    <a:pt x="24" y="6"/>
                    <a:pt x="25" y="5"/>
                    <a:pt x="25" y="5"/>
                  </a:cubicBezTo>
                  <a:cubicBezTo>
                    <a:pt x="26" y="5"/>
                    <a:pt x="27" y="6"/>
                    <a:pt x="27" y="6"/>
                  </a:cubicBezTo>
                  <a:cubicBezTo>
                    <a:pt x="28" y="7"/>
                    <a:pt x="27" y="8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4" y="11"/>
                    <a:pt x="21" y="12"/>
                    <a:pt x="21" y="15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7"/>
                    <a:pt x="19" y="17"/>
                    <a:pt x="19" y="18"/>
                  </a:cubicBezTo>
                  <a:cubicBezTo>
                    <a:pt x="19" y="19"/>
                    <a:pt x="19" y="19"/>
                    <a:pt x="20" y="20"/>
                  </a:cubicBezTo>
                  <a:cubicBezTo>
                    <a:pt x="20" y="20"/>
                    <a:pt x="21" y="21"/>
                    <a:pt x="21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3"/>
                    <a:pt x="24" y="22"/>
                    <a:pt x="25" y="22"/>
                  </a:cubicBezTo>
                  <a:cubicBezTo>
                    <a:pt x="25" y="22"/>
                    <a:pt x="26" y="22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3"/>
                    <a:pt x="27" y="23"/>
                  </a:cubicBezTo>
                  <a:cubicBezTo>
                    <a:pt x="27" y="24"/>
                    <a:pt x="26" y="25"/>
                    <a:pt x="27" y="25"/>
                  </a:cubicBezTo>
                  <a:cubicBezTo>
                    <a:pt x="27" y="25"/>
                    <a:pt x="27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25"/>
                    <a:pt x="29" y="27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1" y="29"/>
                    <a:pt x="30" y="30"/>
                    <a:pt x="30" y="30"/>
                  </a:cubicBezTo>
                  <a:cubicBezTo>
                    <a:pt x="30" y="30"/>
                    <a:pt x="30" y="31"/>
                    <a:pt x="30" y="31"/>
                  </a:cubicBezTo>
                  <a:cubicBezTo>
                    <a:pt x="30" y="31"/>
                    <a:pt x="30" y="32"/>
                    <a:pt x="30" y="32"/>
                  </a:cubicBezTo>
                  <a:cubicBezTo>
                    <a:pt x="30" y="33"/>
                    <a:pt x="30" y="33"/>
                    <a:pt x="30" y="3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6"/>
                    <a:pt x="30" y="36"/>
                    <a:pt x="29" y="37"/>
                  </a:cubicBezTo>
                  <a:cubicBezTo>
                    <a:pt x="29" y="37"/>
                    <a:pt x="29" y="37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0" y="40"/>
                    <a:pt x="29" y="41"/>
                  </a:cubicBezTo>
                  <a:cubicBezTo>
                    <a:pt x="29" y="41"/>
                    <a:pt x="29" y="41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8" y="43"/>
                    <a:pt x="27" y="44"/>
                    <a:pt x="27" y="44"/>
                  </a:cubicBezTo>
                  <a:close/>
                  <a:moveTo>
                    <a:pt x="2" y="14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5" y="16"/>
                    <a:pt x="5" y="16"/>
                    <a:pt x="5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8"/>
                    <a:pt x="6" y="19"/>
                    <a:pt x="7" y="20"/>
                  </a:cubicBezTo>
                  <a:cubicBezTo>
                    <a:pt x="7" y="20"/>
                    <a:pt x="8" y="21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5"/>
                    <a:pt x="10" y="27"/>
                    <a:pt x="11" y="28"/>
                  </a:cubicBezTo>
                  <a:cubicBezTo>
                    <a:pt x="11" y="29"/>
                    <a:pt x="12" y="29"/>
                    <a:pt x="12" y="29"/>
                  </a:cubicBezTo>
                  <a:cubicBezTo>
                    <a:pt x="12" y="30"/>
                    <a:pt x="13" y="31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3"/>
                    <a:pt x="13" y="33"/>
                    <a:pt x="14" y="34"/>
                  </a:cubicBezTo>
                  <a:cubicBezTo>
                    <a:pt x="15" y="35"/>
                    <a:pt x="17" y="36"/>
                    <a:pt x="19" y="38"/>
                  </a:cubicBezTo>
                  <a:cubicBezTo>
                    <a:pt x="19" y="38"/>
                    <a:pt x="20" y="39"/>
                    <a:pt x="21" y="39"/>
                  </a:cubicBezTo>
                  <a:cubicBezTo>
                    <a:pt x="22" y="39"/>
                    <a:pt x="23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2"/>
                    <a:pt x="27" y="42"/>
                  </a:cubicBezTo>
                  <a:cubicBezTo>
                    <a:pt x="27" y="42"/>
                    <a:pt x="27" y="42"/>
                    <a:pt x="28" y="41"/>
                  </a:cubicBezTo>
                  <a:cubicBezTo>
                    <a:pt x="28" y="41"/>
                    <a:pt x="28" y="40"/>
                    <a:pt x="28" y="4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8"/>
                  </a:cubicBezTo>
                  <a:cubicBezTo>
                    <a:pt x="28" y="38"/>
                    <a:pt x="28" y="37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5"/>
                    <a:pt x="28" y="35"/>
                    <a:pt x="28" y="35"/>
                  </a:cubicBezTo>
                  <a:cubicBezTo>
                    <a:pt x="28" y="35"/>
                    <a:pt x="28" y="35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3"/>
                    <a:pt x="29" y="33"/>
                    <a:pt x="29" y="32"/>
                  </a:cubicBezTo>
                  <a:cubicBezTo>
                    <a:pt x="29" y="32"/>
                    <a:pt x="29" y="31"/>
                    <a:pt x="29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8"/>
                    <a:pt x="29" y="28"/>
                  </a:cubicBezTo>
                  <a:cubicBezTo>
                    <a:pt x="29" y="28"/>
                    <a:pt x="28" y="26"/>
                    <a:pt x="28" y="26"/>
                  </a:cubicBezTo>
                  <a:cubicBezTo>
                    <a:pt x="27" y="27"/>
                    <a:pt x="26" y="26"/>
                    <a:pt x="26" y="26"/>
                  </a:cubicBezTo>
                  <a:cubicBezTo>
                    <a:pt x="25" y="25"/>
                    <a:pt x="25" y="24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4"/>
                    <a:pt x="24" y="24"/>
                    <a:pt x="23" y="24"/>
                  </a:cubicBezTo>
                  <a:cubicBezTo>
                    <a:pt x="22" y="24"/>
                    <a:pt x="22" y="23"/>
                    <a:pt x="22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0" y="21"/>
                    <a:pt x="19" y="20"/>
                  </a:cubicBezTo>
                  <a:cubicBezTo>
                    <a:pt x="19" y="20"/>
                    <a:pt x="18" y="19"/>
                    <a:pt x="18" y="18"/>
                  </a:cubicBezTo>
                  <a:cubicBezTo>
                    <a:pt x="18" y="17"/>
                    <a:pt x="19" y="16"/>
                    <a:pt x="19" y="16"/>
                  </a:cubicBezTo>
                  <a:cubicBezTo>
                    <a:pt x="19" y="15"/>
                    <a:pt x="20" y="15"/>
                    <a:pt x="20" y="14"/>
                  </a:cubicBezTo>
                  <a:cubicBezTo>
                    <a:pt x="20" y="12"/>
                    <a:pt x="23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5" y="7"/>
                  </a:cubicBezTo>
                  <a:cubicBezTo>
                    <a:pt x="25" y="7"/>
                    <a:pt x="24" y="7"/>
                    <a:pt x="24" y="7"/>
                  </a:cubicBezTo>
                  <a:cubicBezTo>
                    <a:pt x="23" y="7"/>
                    <a:pt x="23" y="7"/>
                    <a:pt x="22" y="7"/>
                  </a:cubicBezTo>
                  <a:cubicBezTo>
                    <a:pt x="22" y="7"/>
                    <a:pt x="20" y="7"/>
                    <a:pt x="19" y="5"/>
                  </a:cubicBezTo>
                  <a:cubicBezTo>
                    <a:pt x="19" y="5"/>
                    <a:pt x="18" y="4"/>
                    <a:pt x="18" y="3"/>
                  </a:cubicBezTo>
                  <a:cubicBezTo>
                    <a:pt x="17" y="3"/>
                    <a:pt x="17" y="3"/>
                    <a:pt x="16" y="2"/>
                  </a:cubicBezTo>
                  <a:cubicBezTo>
                    <a:pt x="16" y="2"/>
                    <a:pt x="15" y="1"/>
                    <a:pt x="15" y="1"/>
                  </a:cubicBezTo>
                  <a:cubicBezTo>
                    <a:pt x="15" y="2"/>
                    <a:pt x="15" y="2"/>
                    <a:pt x="16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5" y="4"/>
                    <a:pt x="14" y="5"/>
                  </a:cubicBezTo>
                  <a:cubicBezTo>
                    <a:pt x="14" y="5"/>
                    <a:pt x="13" y="6"/>
                    <a:pt x="13" y="6"/>
                  </a:cubicBezTo>
                  <a:cubicBezTo>
                    <a:pt x="13" y="7"/>
                    <a:pt x="12" y="7"/>
                    <a:pt x="11" y="7"/>
                  </a:cubicBezTo>
                  <a:cubicBezTo>
                    <a:pt x="10" y="8"/>
                    <a:pt x="9" y="8"/>
                    <a:pt x="9" y="8"/>
                  </a:cubicBezTo>
                  <a:cubicBezTo>
                    <a:pt x="9" y="9"/>
                    <a:pt x="9" y="9"/>
                    <a:pt x="8" y="9"/>
                  </a:cubicBezTo>
                  <a:cubicBezTo>
                    <a:pt x="8" y="9"/>
                    <a:pt x="8" y="10"/>
                    <a:pt x="8" y="10"/>
                  </a:cubicBezTo>
                  <a:cubicBezTo>
                    <a:pt x="8" y="10"/>
                    <a:pt x="8" y="10"/>
                    <a:pt x="8" y="11"/>
                  </a:cubicBezTo>
                  <a:cubicBezTo>
                    <a:pt x="8" y="11"/>
                    <a:pt x="8" y="12"/>
                    <a:pt x="7" y="12"/>
                  </a:cubicBezTo>
                  <a:cubicBezTo>
                    <a:pt x="7" y="12"/>
                    <a:pt x="6" y="13"/>
                    <a:pt x="6" y="13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4" y="11"/>
                    <a:pt x="4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0"/>
                  </a:cubicBezTo>
                  <a:cubicBezTo>
                    <a:pt x="2" y="11"/>
                    <a:pt x="2" y="12"/>
                    <a:pt x="3" y="13"/>
                  </a:cubicBezTo>
                  <a:cubicBezTo>
                    <a:pt x="3" y="13"/>
                    <a:pt x="3" y="14"/>
                    <a:pt x="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5" name="Freeform 158"/>
            <p:cNvSpPr/>
            <p:nvPr/>
          </p:nvSpPr>
          <p:spPr bwMode="auto">
            <a:xfrm>
              <a:off x="7416541" y="3088641"/>
              <a:ext cx="81854" cy="75541"/>
            </a:xfrm>
            <a:custGeom>
              <a:avLst/>
              <a:gdLst>
                <a:gd name="T0" fmla="*/ 2147483646 w 11"/>
                <a:gd name="T1" fmla="*/ 2147483646 h 10"/>
                <a:gd name="T2" fmla="*/ 2147483646 w 11"/>
                <a:gd name="T3" fmla="*/ 2147483646 h 10"/>
                <a:gd name="T4" fmla="*/ 0 w 11"/>
                <a:gd name="T5" fmla="*/ 2147483646 h 10"/>
                <a:gd name="T6" fmla="*/ 2147483646 w 11"/>
                <a:gd name="T7" fmla="*/ 2147483646 h 10"/>
                <a:gd name="T8" fmla="*/ 2147483646 w 11"/>
                <a:gd name="T9" fmla="*/ 0 h 10"/>
                <a:gd name="T10" fmla="*/ 2147483646 w 11"/>
                <a:gd name="T11" fmla="*/ 0 h 10"/>
                <a:gd name="T12" fmla="*/ 2147483646 w 11"/>
                <a:gd name="T13" fmla="*/ 2147483646 h 10"/>
                <a:gd name="T14" fmla="*/ 2147483646 w 11"/>
                <a:gd name="T15" fmla="*/ 2147483646 h 10"/>
                <a:gd name="T16" fmla="*/ 2147483646 w 11"/>
                <a:gd name="T17" fmla="*/ 2147483646 h 10"/>
                <a:gd name="T18" fmla="*/ 2147483646 w 11"/>
                <a:gd name="T19" fmla="*/ 2147483646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" h="10">
                  <a:moveTo>
                    <a:pt x="4" y="9"/>
                  </a:moveTo>
                  <a:cubicBezTo>
                    <a:pt x="3" y="8"/>
                    <a:pt x="2" y="6"/>
                    <a:pt x="1" y="6"/>
                  </a:cubicBezTo>
                  <a:cubicBezTo>
                    <a:pt x="0" y="5"/>
                    <a:pt x="0" y="4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5" y="0"/>
                    <a:pt x="7" y="0"/>
                    <a:pt x="8" y="0"/>
                  </a:cubicBezTo>
                  <a:cubicBezTo>
                    <a:pt x="11" y="1"/>
                    <a:pt x="9" y="1"/>
                    <a:pt x="9" y="2"/>
                  </a:cubicBezTo>
                  <a:cubicBezTo>
                    <a:pt x="9" y="4"/>
                    <a:pt x="10" y="5"/>
                    <a:pt x="9" y="7"/>
                  </a:cubicBezTo>
                  <a:cubicBezTo>
                    <a:pt x="9" y="9"/>
                    <a:pt x="7" y="8"/>
                    <a:pt x="6" y="8"/>
                  </a:cubicBezTo>
                  <a:cubicBezTo>
                    <a:pt x="5" y="8"/>
                    <a:pt x="6" y="10"/>
                    <a:pt x="4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6" name="Freeform 159"/>
            <p:cNvSpPr>
              <a:spLocks noEditPoints="1"/>
            </p:cNvSpPr>
            <p:nvPr/>
          </p:nvSpPr>
          <p:spPr bwMode="auto">
            <a:xfrm>
              <a:off x="7407096" y="3082345"/>
              <a:ext cx="81854" cy="81836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2147483646 w 11"/>
                <a:gd name="T5" fmla="*/ 2147483646 h 11"/>
                <a:gd name="T6" fmla="*/ 2147483646 w 11"/>
                <a:gd name="T7" fmla="*/ 2147483646 h 11"/>
                <a:gd name="T8" fmla="*/ 2147483646 w 11"/>
                <a:gd name="T9" fmla="*/ 2147483646 h 11"/>
                <a:gd name="T10" fmla="*/ 2147483646 w 11"/>
                <a:gd name="T11" fmla="*/ 2147483646 h 11"/>
                <a:gd name="T12" fmla="*/ 2147483646 w 11"/>
                <a:gd name="T13" fmla="*/ 2147483646 h 11"/>
                <a:gd name="T14" fmla="*/ 2147483646 w 11"/>
                <a:gd name="T15" fmla="*/ 2147483646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2147483646 w 11"/>
                <a:gd name="T21" fmla="*/ 0 h 11"/>
                <a:gd name="T22" fmla="*/ 2147483646 w 11"/>
                <a:gd name="T23" fmla="*/ 0 h 11"/>
                <a:gd name="T24" fmla="*/ 2147483646 w 11"/>
                <a:gd name="T25" fmla="*/ 2147483646 h 11"/>
                <a:gd name="T26" fmla="*/ 2147483646 w 11"/>
                <a:gd name="T27" fmla="*/ 2147483646 h 11"/>
                <a:gd name="T28" fmla="*/ 2147483646 w 11"/>
                <a:gd name="T29" fmla="*/ 2147483646 h 11"/>
                <a:gd name="T30" fmla="*/ 2147483646 w 11"/>
                <a:gd name="T31" fmla="*/ 2147483646 h 11"/>
                <a:gd name="T32" fmla="*/ 2147483646 w 11"/>
                <a:gd name="T33" fmla="*/ 2147483646 h 11"/>
                <a:gd name="T34" fmla="*/ 2147483646 w 11"/>
                <a:gd name="T35" fmla="*/ 2147483646 h 11"/>
                <a:gd name="T36" fmla="*/ 2147483646 w 11"/>
                <a:gd name="T37" fmla="*/ 2147483646 h 11"/>
                <a:gd name="T38" fmla="*/ 2147483646 w 11"/>
                <a:gd name="T39" fmla="*/ 2147483646 h 11"/>
                <a:gd name="T40" fmla="*/ 2147483646 w 11"/>
                <a:gd name="T41" fmla="*/ 2147483646 h 11"/>
                <a:gd name="T42" fmla="*/ 2147483646 w 11"/>
                <a:gd name="T43" fmla="*/ 2147483646 h 11"/>
                <a:gd name="T44" fmla="*/ 2147483646 w 11"/>
                <a:gd name="T45" fmla="*/ 2147483646 h 11"/>
                <a:gd name="T46" fmla="*/ 2147483646 w 11"/>
                <a:gd name="T47" fmla="*/ 2147483646 h 11"/>
                <a:gd name="T48" fmla="*/ 2147483646 w 11"/>
                <a:gd name="T49" fmla="*/ 2147483646 h 11"/>
                <a:gd name="T50" fmla="*/ 2147483646 w 11"/>
                <a:gd name="T51" fmla="*/ 2147483646 h 11"/>
                <a:gd name="T52" fmla="*/ 2147483646 w 11"/>
                <a:gd name="T53" fmla="*/ 2147483646 h 11"/>
                <a:gd name="T54" fmla="*/ 2147483646 w 11"/>
                <a:gd name="T55" fmla="*/ 2147483646 h 11"/>
                <a:gd name="T56" fmla="*/ 2147483646 w 11"/>
                <a:gd name="T57" fmla="*/ 2147483646 h 11"/>
                <a:gd name="T58" fmla="*/ 2147483646 w 11"/>
                <a:gd name="T59" fmla="*/ 2147483646 h 11"/>
                <a:gd name="T60" fmla="*/ 2147483646 w 11"/>
                <a:gd name="T61" fmla="*/ 2147483646 h 11"/>
                <a:gd name="T62" fmla="*/ 2147483646 w 11"/>
                <a:gd name="T63" fmla="*/ 2147483646 h 11"/>
                <a:gd name="T64" fmla="*/ 2147483646 w 11"/>
                <a:gd name="T65" fmla="*/ 2147483646 h 11"/>
                <a:gd name="T66" fmla="*/ 2147483646 w 11"/>
                <a:gd name="T67" fmla="*/ 2147483646 h 11"/>
                <a:gd name="T68" fmla="*/ 2147483646 w 11"/>
                <a:gd name="T69" fmla="*/ 2147483646 h 11"/>
                <a:gd name="T70" fmla="*/ 2147483646 w 11"/>
                <a:gd name="T71" fmla="*/ 2147483646 h 11"/>
                <a:gd name="T72" fmla="*/ 2147483646 w 11"/>
                <a:gd name="T73" fmla="*/ 2147483646 h 11"/>
                <a:gd name="T74" fmla="*/ 2147483646 w 11"/>
                <a:gd name="T75" fmla="*/ 2147483646 h 11"/>
                <a:gd name="T76" fmla="*/ 2147483646 w 11"/>
                <a:gd name="T77" fmla="*/ 2147483646 h 11"/>
                <a:gd name="T78" fmla="*/ 2147483646 w 11"/>
                <a:gd name="T79" fmla="*/ 2147483646 h 11"/>
                <a:gd name="T80" fmla="*/ 2147483646 w 11"/>
                <a:gd name="T81" fmla="*/ 2147483646 h 11"/>
                <a:gd name="T82" fmla="*/ 2147483646 w 11"/>
                <a:gd name="T83" fmla="*/ 2147483646 h 11"/>
                <a:gd name="T84" fmla="*/ 2147483646 w 11"/>
                <a:gd name="T85" fmla="*/ 2147483646 h 11"/>
                <a:gd name="T86" fmla="*/ 2147483646 w 11"/>
                <a:gd name="T87" fmla="*/ 2147483646 h 11"/>
                <a:gd name="T88" fmla="*/ 2147483646 w 11"/>
                <a:gd name="T89" fmla="*/ 2147483646 h 11"/>
                <a:gd name="T90" fmla="*/ 2147483646 w 11"/>
                <a:gd name="T91" fmla="*/ 2147483646 h 11"/>
                <a:gd name="T92" fmla="*/ 2147483646 w 11"/>
                <a:gd name="T93" fmla="*/ 2147483646 h 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9"/>
                    <a:pt x="3" y="9"/>
                  </a:cubicBezTo>
                  <a:cubicBezTo>
                    <a:pt x="3" y="8"/>
                    <a:pt x="3" y="7"/>
                    <a:pt x="2" y="7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8" y="0"/>
                    <a:pt x="10" y="1"/>
                  </a:cubicBezTo>
                  <a:cubicBezTo>
                    <a:pt x="10" y="1"/>
                    <a:pt x="11" y="1"/>
                    <a:pt x="11" y="1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4"/>
                    <a:pt x="10" y="5"/>
                    <a:pt x="11" y="5"/>
                  </a:cubicBezTo>
                  <a:cubicBezTo>
                    <a:pt x="11" y="6"/>
                    <a:pt x="11" y="7"/>
                    <a:pt x="11" y="8"/>
                  </a:cubicBezTo>
                  <a:cubicBezTo>
                    <a:pt x="11" y="9"/>
                    <a:pt x="10" y="10"/>
                    <a:pt x="9" y="10"/>
                  </a:cubicBezTo>
                  <a:cubicBezTo>
                    <a:pt x="9" y="10"/>
                    <a:pt x="9" y="10"/>
                    <a:pt x="8" y="9"/>
                  </a:cubicBezTo>
                  <a:cubicBezTo>
                    <a:pt x="8" y="9"/>
                    <a:pt x="8" y="9"/>
                    <a:pt x="7" y="9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7" y="10"/>
                    <a:pt x="6" y="11"/>
                    <a:pt x="5" y="11"/>
                  </a:cubicBezTo>
                  <a:close/>
                  <a:moveTo>
                    <a:pt x="5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6" y="9"/>
                    <a:pt x="6" y="8"/>
                    <a:pt x="7" y="8"/>
                  </a:cubicBezTo>
                  <a:cubicBezTo>
                    <a:pt x="8" y="8"/>
                    <a:pt x="8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0" y="7"/>
                    <a:pt x="10" y="6"/>
                    <a:pt x="9" y="5"/>
                  </a:cubicBezTo>
                  <a:cubicBezTo>
                    <a:pt x="9" y="5"/>
                    <a:pt x="9" y="4"/>
                    <a:pt x="9" y="4"/>
                  </a:cubicBezTo>
                  <a:cubicBezTo>
                    <a:pt x="9" y="3"/>
                    <a:pt x="9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9" y="2"/>
                  </a:cubicBezTo>
                  <a:cubicBezTo>
                    <a:pt x="8" y="1"/>
                    <a:pt x="7" y="1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5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4" y="7"/>
                    <a:pt x="4" y="8"/>
                  </a:cubicBezTo>
                  <a:cubicBezTo>
                    <a:pt x="5" y="9"/>
                    <a:pt x="5" y="9"/>
                    <a:pt x="5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7" name="Freeform 160"/>
            <p:cNvSpPr/>
            <p:nvPr/>
          </p:nvSpPr>
          <p:spPr bwMode="auto">
            <a:xfrm>
              <a:off x="7347279" y="3006804"/>
              <a:ext cx="15741" cy="15738"/>
            </a:xfrm>
            <a:custGeom>
              <a:avLst/>
              <a:gdLst>
                <a:gd name="T0" fmla="*/ 2147483646 w 2"/>
                <a:gd name="T1" fmla="*/ 0 h 2"/>
                <a:gd name="T2" fmla="*/ 0 w 2"/>
                <a:gd name="T3" fmla="*/ 2147483646 h 2"/>
                <a:gd name="T4" fmla="*/ 2147483646 w 2"/>
                <a:gd name="T5" fmla="*/ 0 h 2"/>
                <a:gd name="T6" fmla="*/ 2147483646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1" y="2"/>
                    <a:pt x="0" y="1"/>
                  </a:cubicBezTo>
                  <a:cubicBezTo>
                    <a:pt x="1" y="0"/>
                    <a:pt x="1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8" name="Freeform 161"/>
            <p:cNvSpPr/>
            <p:nvPr/>
          </p:nvSpPr>
          <p:spPr bwMode="auto">
            <a:xfrm>
              <a:off x="7340983" y="3000509"/>
              <a:ext cx="28334" cy="22033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0 w 4"/>
                <a:gd name="T5" fmla="*/ 2147483646 h 3"/>
                <a:gd name="T6" fmla="*/ 2147483646 w 4"/>
                <a:gd name="T7" fmla="*/ 2147483646 h 3"/>
                <a:gd name="T8" fmla="*/ 2147483646 w 4"/>
                <a:gd name="T9" fmla="*/ 2147483646 h 3"/>
                <a:gd name="T10" fmla="*/ 2147483646 w 4"/>
                <a:gd name="T11" fmla="*/ 2147483646 h 3"/>
                <a:gd name="T12" fmla="*/ 2147483646 w 4"/>
                <a:gd name="T13" fmla="*/ 0 h 3"/>
                <a:gd name="T14" fmla="*/ 2147483646 w 4"/>
                <a:gd name="T15" fmla="*/ 0 h 3"/>
                <a:gd name="T16" fmla="*/ 2147483646 w 4"/>
                <a:gd name="T17" fmla="*/ 0 h 3"/>
                <a:gd name="T18" fmla="*/ 2147483646 w 4"/>
                <a:gd name="T19" fmla="*/ 0 h 3"/>
                <a:gd name="T20" fmla="*/ 2147483646 w 4"/>
                <a:gd name="T21" fmla="*/ 0 h 3"/>
                <a:gd name="T22" fmla="*/ 2147483646 w 4"/>
                <a:gd name="T23" fmla="*/ 2147483646 h 3"/>
                <a:gd name="T24" fmla="*/ 2147483646 w 4"/>
                <a:gd name="T25" fmla="*/ 2147483646 h 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9" name="Freeform 162"/>
            <p:cNvSpPr/>
            <p:nvPr/>
          </p:nvSpPr>
          <p:spPr bwMode="auto">
            <a:xfrm>
              <a:off x="7407096" y="3727592"/>
              <a:ext cx="91299" cy="103869"/>
            </a:xfrm>
            <a:custGeom>
              <a:avLst/>
              <a:gdLst>
                <a:gd name="T0" fmla="*/ 2147483646 w 12"/>
                <a:gd name="T1" fmla="*/ 0 h 14"/>
                <a:gd name="T2" fmla="*/ 2147483646 w 12"/>
                <a:gd name="T3" fmla="*/ 2147483646 h 14"/>
                <a:gd name="T4" fmla="*/ 2147483646 w 12"/>
                <a:gd name="T5" fmla="*/ 2147483646 h 14"/>
                <a:gd name="T6" fmla="*/ 2147483646 w 12"/>
                <a:gd name="T7" fmla="*/ 2147483646 h 14"/>
                <a:gd name="T8" fmla="*/ 2147483646 w 12"/>
                <a:gd name="T9" fmla="*/ 2147483646 h 14"/>
                <a:gd name="T10" fmla="*/ 2147483646 w 12"/>
                <a:gd name="T11" fmla="*/ 2147483646 h 14"/>
                <a:gd name="T12" fmla="*/ 2147483646 w 12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14">
                  <a:moveTo>
                    <a:pt x="2" y="0"/>
                  </a:moveTo>
                  <a:cubicBezTo>
                    <a:pt x="4" y="0"/>
                    <a:pt x="5" y="1"/>
                    <a:pt x="6" y="3"/>
                  </a:cubicBezTo>
                  <a:cubicBezTo>
                    <a:pt x="8" y="1"/>
                    <a:pt x="11" y="6"/>
                    <a:pt x="12" y="7"/>
                  </a:cubicBezTo>
                  <a:cubicBezTo>
                    <a:pt x="11" y="9"/>
                    <a:pt x="12" y="12"/>
                    <a:pt x="10" y="13"/>
                  </a:cubicBezTo>
                  <a:cubicBezTo>
                    <a:pt x="7" y="14"/>
                    <a:pt x="5" y="13"/>
                    <a:pt x="3" y="12"/>
                  </a:cubicBezTo>
                  <a:cubicBezTo>
                    <a:pt x="0" y="11"/>
                    <a:pt x="0" y="11"/>
                    <a:pt x="1" y="8"/>
                  </a:cubicBezTo>
                  <a:cubicBezTo>
                    <a:pt x="1" y="6"/>
                    <a:pt x="1" y="2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0" name="Freeform 163"/>
            <p:cNvSpPr>
              <a:spLocks noEditPoints="1"/>
            </p:cNvSpPr>
            <p:nvPr/>
          </p:nvSpPr>
          <p:spPr bwMode="auto">
            <a:xfrm>
              <a:off x="7407096" y="3727592"/>
              <a:ext cx="97596" cy="103869"/>
            </a:xfrm>
            <a:custGeom>
              <a:avLst/>
              <a:gdLst>
                <a:gd name="T0" fmla="*/ 2147483646 w 13"/>
                <a:gd name="T1" fmla="*/ 2147483646 h 14"/>
                <a:gd name="T2" fmla="*/ 2147483646 w 13"/>
                <a:gd name="T3" fmla="*/ 2147483646 h 14"/>
                <a:gd name="T4" fmla="*/ 2147483646 w 13"/>
                <a:gd name="T5" fmla="*/ 2147483646 h 14"/>
                <a:gd name="T6" fmla="*/ 0 w 13"/>
                <a:gd name="T7" fmla="*/ 2147483646 h 14"/>
                <a:gd name="T8" fmla="*/ 0 w 13"/>
                <a:gd name="T9" fmla="*/ 2147483646 h 14"/>
                <a:gd name="T10" fmla="*/ 0 w 13"/>
                <a:gd name="T11" fmla="*/ 2147483646 h 14"/>
                <a:gd name="T12" fmla="*/ 2147483646 w 13"/>
                <a:gd name="T13" fmla="*/ 0 h 14"/>
                <a:gd name="T14" fmla="*/ 2147483646 w 13"/>
                <a:gd name="T15" fmla="*/ 0 h 14"/>
                <a:gd name="T16" fmla="*/ 2147483646 w 13"/>
                <a:gd name="T17" fmla="*/ 0 h 14"/>
                <a:gd name="T18" fmla="*/ 2147483646 w 13"/>
                <a:gd name="T19" fmla="*/ 0 h 14"/>
                <a:gd name="T20" fmla="*/ 2147483646 w 13"/>
                <a:gd name="T21" fmla="*/ 2147483646 h 14"/>
                <a:gd name="T22" fmla="*/ 2147483646 w 13"/>
                <a:gd name="T23" fmla="*/ 2147483646 h 14"/>
                <a:gd name="T24" fmla="*/ 2147483646 w 13"/>
                <a:gd name="T25" fmla="*/ 2147483646 h 14"/>
                <a:gd name="T26" fmla="*/ 2147483646 w 13"/>
                <a:gd name="T27" fmla="*/ 2147483646 h 14"/>
                <a:gd name="T28" fmla="*/ 2147483646 w 13"/>
                <a:gd name="T29" fmla="*/ 2147483646 h 14"/>
                <a:gd name="T30" fmla="*/ 2147483646 w 13"/>
                <a:gd name="T31" fmla="*/ 2147483646 h 14"/>
                <a:gd name="T32" fmla="*/ 2147483646 w 13"/>
                <a:gd name="T33" fmla="*/ 2147483646 h 14"/>
                <a:gd name="T34" fmla="*/ 2147483646 w 13"/>
                <a:gd name="T35" fmla="*/ 2147483646 h 14"/>
                <a:gd name="T36" fmla="*/ 2147483646 w 13"/>
                <a:gd name="T37" fmla="*/ 2147483646 h 14"/>
                <a:gd name="T38" fmla="*/ 2147483646 w 13"/>
                <a:gd name="T39" fmla="*/ 2147483646 h 14"/>
                <a:gd name="T40" fmla="*/ 2147483646 w 13"/>
                <a:gd name="T41" fmla="*/ 2147483646 h 14"/>
                <a:gd name="T42" fmla="*/ 2147483646 w 13"/>
                <a:gd name="T43" fmla="*/ 2147483646 h 14"/>
                <a:gd name="T44" fmla="*/ 2147483646 w 13"/>
                <a:gd name="T45" fmla="*/ 2147483646 h 14"/>
                <a:gd name="T46" fmla="*/ 2147483646 w 13"/>
                <a:gd name="T47" fmla="*/ 2147483646 h 14"/>
                <a:gd name="T48" fmla="*/ 2147483646 w 13"/>
                <a:gd name="T49" fmla="*/ 2147483646 h 14"/>
                <a:gd name="T50" fmla="*/ 2147483646 w 13"/>
                <a:gd name="T51" fmla="*/ 2147483646 h 14"/>
                <a:gd name="T52" fmla="*/ 2147483646 w 13"/>
                <a:gd name="T53" fmla="*/ 2147483646 h 14"/>
                <a:gd name="T54" fmla="*/ 2147483646 w 13"/>
                <a:gd name="T55" fmla="*/ 2147483646 h 14"/>
                <a:gd name="T56" fmla="*/ 2147483646 w 13"/>
                <a:gd name="T57" fmla="*/ 2147483646 h 14"/>
                <a:gd name="T58" fmla="*/ 2147483646 w 13"/>
                <a:gd name="T59" fmla="*/ 2147483646 h 14"/>
                <a:gd name="T60" fmla="*/ 2147483646 w 13"/>
                <a:gd name="T61" fmla="*/ 2147483646 h 14"/>
                <a:gd name="T62" fmla="*/ 2147483646 w 13"/>
                <a:gd name="T63" fmla="*/ 2147483646 h 1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3" h="14">
                  <a:moveTo>
                    <a:pt x="7" y="14"/>
                  </a:moveTo>
                  <a:cubicBezTo>
                    <a:pt x="6" y="14"/>
                    <a:pt x="4" y="13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0" y="11"/>
                    <a:pt x="0" y="11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3"/>
                    <a:pt x="0" y="2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0"/>
                    <a:pt x="6" y="1"/>
                    <a:pt x="6" y="2"/>
                  </a:cubicBezTo>
                  <a:cubicBezTo>
                    <a:pt x="8" y="1"/>
                    <a:pt x="9" y="3"/>
                    <a:pt x="11" y="5"/>
                  </a:cubicBezTo>
                  <a:cubicBezTo>
                    <a:pt x="12" y="6"/>
                    <a:pt x="12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9"/>
                    <a:pt x="12" y="10"/>
                  </a:cubicBezTo>
                  <a:cubicBezTo>
                    <a:pt x="12" y="11"/>
                    <a:pt x="12" y="12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lose/>
                  <a:moveTo>
                    <a:pt x="2" y="1"/>
                  </a:moveTo>
                  <a:cubicBezTo>
                    <a:pt x="2" y="2"/>
                    <a:pt x="2" y="4"/>
                    <a:pt x="2" y="5"/>
                  </a:cubicBezTo>
                  <a:cubicBezTo>
                    <a:pt x="2" y="6"/>
                    <a:pt x="1" y="7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1"/>
                    <a:pt x="1" y="11"/>
                    <a:pt x="3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6" y="13"/>
                    <a:pt x="7" y="13"/>
                    <a:pt x="10" y="12"/>
                  </a:cubicBezTo>
                  <a:cubicBezTo>
                    <a:pt x="11" y="12"/>
                    <a:pt x="11" y="11"/>
                    <a:pt x="11" y="10"/>
                  </a:cubicBezTo>
                  <a:cubicBezTo>
                    <a:pt x="11" y="9"/>
                    <a:pt x="11" y="8"/>
                    <a:pt x="12" y="7"/>
                  </a:cubicBezTo>
                  <a:cubicBezTo>
                    <a:pt x="11" y="7"/>
                    <a:pt x="11" y="6"/>
                    <a:pt x="10" y="6"/>
                  </a:cubicBezTo>
                  <a:cubicBezTo>
                    <a:pt x="9" y="4"/>
                    <a:pt x="7" y="2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1" name="Freeform 164"/>
            <p:cNvSpPr/>
            <p:nvPr/>
          </p:nvSpPr>
          <p:spPr bwMode="auto">
            <a:xfrm>
              <a:off x="7155236" y="2978476"/>
              <a:ext cx="251860" cy="207738"/>
            </a:xfrm>
            <a:custGeom>
              <a:avLst/>
              <a:gdLst>
                <a:gd name="T0" fmla="*/ 2147483646 w 34"/>
                <a:gd name="T1" fmla="*/ 2147483646 h 28"/>
                <a:gd name="T2" fmla="*/ 0 w 34"/>
                <a:gd name="T3" fmla="*/ 2147483646 h 28"/>
                <a:gd name="T4" fmla="*/ 2147483646 w 34"/>
                <a:gd name="T5" fmla="*/ 2147483646 h 28"/>
                <a:gd name="T6" fmla="*/ 2147483646 w 34"/>
                <a:gd name="T7" fmla="*/ 2147483646 h 28"/>
                <a:gd name="T8" fmla="*/ 2147483646 w 34"/>
                <a:gd name="T9" fmla="*/ 2147483646 h 28"/>
                <a:gd name="T10" fmla="*/ 2147483646 w 34"/>
                <a:gd name="T11" fmla="*/ 2147483646 h 28"/>
                <a:gd name="T12" fmla="*/ 2147483646 w 34"/>
                <a:gd name="T13" fmla="*/ 2147483646 h 28"/>
                <a:gd name="T14" fmla="*/ 2147483646 w 34"/>
                <a:gd name="T15" fmla="*/ 2147483646 h 28"/>
                <a:gd name="T16" fmla="*/ 2147483646 w 34"/>
                <a:gd name="T17" fmla="*/ 2147483646 h 28"/>
                <a:gd name="T18" fmla="*/ 2147483646 w 34"/>
                <a:gd name="T19" fmla="*/ 2147483646 h 28"/>
                <a:gd name="T20" fmla="*/ 2147483646 w 34"/>
                <a:gd name="T21" fmla="*/ 2147483646 h 28"/>
                <a:gd name="T22" fmla="*/ 2147483646 w 34"/>
                <a:gd name="T23" fmla="*/ 2147483646 h 28"/>
                <a:gd name="T24" fmla="*/ 2147483646 w 34"/>
                <a:gd name="T25" fmla="*/ 2147483646 h 28"/>
                <a:gd name="T26" fmla="*/ 2147483646 w 34"/>
                <a:gd name="T27" fmla="*/ 2147483646 h 28"/>
                <a:gd name="T28" fmla="*/ 2147483646 w 34"/>
                <a:gd name="T29" fmla="*/ 2147483646 h 28"/>
                <a:gd name="T30" fmla="*/ 2147483646 w 34"/>
                <a:gd name="T31" fmla="*/ 2147483646 h 28"/>
                <a:gd name="T32" fmla="*/ 2147483646 w 34"/>
                <a:gd name="T33" fmla="*/ 2147483646 h 28"/>
                <a:gd name="T34" fmla="*/ 2147483646 w 34"/>
                <a:gd name="T35" fmla="*/ 2147483646 h 28"/>
                <a:gd name="T36" fmla="*/ 2147483646 w 34"/>
                <a:gd name="T37" fmla="*/ 2147483646 h 28"/>
                <a:gd name="T38" fmla="*/ 2147483646 w 34"/>
                <a:gd name="T39" fmla="*/ 2147483646 h 28"/>
                <a:gd name="T40" fmla="*/ 2147483646 w 34"/>
                <a:gd name="T41" fmla="*/ 2147483646 h 28"/>
                <a:gd name="T42" fmla="*/ 2147483646 w 34"/>
                <a:gd name="T43" fmla="*/ 2147483646 h 28"/>
                <a:gd name="T44" fmla="*/ 2147483646 w 34"/>
                <a:gd name="T45" fmla="*/ 2147483646 h 28"/>
                <a:gd name="T46" fmla="*/ 2147483646 w 34"/>
                <a:gd name="T47" fmla="*/ 2147483646 h 28"/>
                <a:gd name="T48" fmla="*/ 2147483646 w 34"/>
                <a:gd name="T49" fmla="*/ 2147483646 h 28"/>
                <a:gd name="T50" fmla="*/ 2147483646 w 34"/>
                <a:gd name="T51" fmla="*/ 2147483646 h 28"/>
                <a:gd name="T52" fmla="*/ 2147483646 w 34"/>
                <a:gd name="T53" fmla="*/ 0 h 28"/>
                <a:gd name="T54" fmla="*/ 2147483646 w 34"/>
                <a:gd name="T55" fmla="*/ 2147483646 h 28"/>
                <a:gd name="T56" fmla="*/ 2147483646 w 34"/>
                <a:gd name="T57" fmla="*/ 2147483646 h 28"/>
                <a:gd name="T58" fmla="*/ 2147483646 w 34"/>
                <a:gd name="T59" fmla="*/ 2147483646 h 28"/>
                <a:gd name="T60" fmla="*/ 2147483646 w 34"/>
                <a:gd name="T61" fmla="*/ 2147483646 h 28"/>
                <a:gd name="T62" fmla="*/ 2147483646 w 34"/>
                <a:gd name="T63" fmla="*/ 2147483646 h 28"/>
                <a:gd name="T64" fmla="*/ 2147483646 w 34"/>
                <a:gd name="T65" fmla="*/ 2147483646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4" h="28">
                  <a:moveTo>
                    <a:pt x="4" y="1"/>
                  </a:moveTo>
                  <a:cubicBezTo>
                    <a:pt x="1" y="2"/>
                    <a:pt x="1" y="5"/>
                    <a:pt x="0" y="7"/>
                  </a:cubicBezTo>
                  <a:cubicBezTo>
                    <a:pt x="3" y="7"/>
                    <a:pt x="1" y="13"/>
                    <a:pt x="5" y="12"/>
                  </a:cubicBezTo>
                  <a:cubicBezTo>
                    <a:pt x="7" y="12"/>
                    <a:pt x="8" y="13"/>
                    <a:pt x="9" y="14"/>
                  </a:cubicBezTo>
                  <a:cubicBezTo>
                    <a:pt x="9" y="15"/>
                    <a:pt x="12" y="14"/>
                    <a:pt x="13" y="14"/>
                  </a:cubicBezTo>
                  <a:cubicBezTo>
                    <a:pt x="13" y="16"/>
                    <a:pt x="12" y="18"/>
                    <a:pt x="13" y="19"/>
                  </a:cubicBezTo>
                  <a:cubicBezTo>
                    <a:pt x="14" y="21"/>
                    <a:pt x="14" y="21"/>
                    <a:pt x="13" y="22"/>
                  </a:cubicBezTo>
                  <a:cubicBezTo>
                    <a:pt x="12" y="22"/>
                    <a:pt x="14" y="23"/>
                    <a:pt x="14" y="24"/>
                  </a:cubicBezTo>
                  <a:cubicBezTo>
                    <a:pt x="15" y="26"/>
                    <a:pt x="16" y="28"/>
                    <a:pt x="18" y="26"/>
                  </a:cubicBezTo>
                  <a:cubicBezTo>
                    <a:pt x="20" y="25"/>
                    <a:pt x="22" y="24"/>
                    <a:pt x="23" y="23"/>
                  </a:cubicBezTo>
                  <a:cubicBezTo>
                    <a:pt x="21" y="23"/>
                    <a:pt x="21" y="23"/>
                    <a:pt x="21" y="21"/>
                  </a:cubicBezTo>
                  <a:cubicBezTo>
                    <a:pt x="20" y="21"/>
                    <a:pt x="21" y="20"/>
                    <a:pt x="20" y="2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3" y="20"/>
                    <a:pt x="24" y="19"/>
                    <a:pt x="28" y="18"/>
                  </a:cubicBezTo>
                  <a:cubicBezTo>
                    <a:pt x="31" y="17"/>
                    <a:pt x="26" y="14"/>
                    <a:pt x="30" y="12"/>
                  </a:cubicBezTo>
                  <a:cubicBezTo>
                    <a:pt x="27" y="12"/>
                    <a:pt x="34" y="9"/>
                    <a:pt x="28" y="9"/>
                  </a:cubicBezTo>
                  <a:cubicBezTo>
                    <a:pt x="30" y="8"/>
                    <a:pt x="28" y="7"/>
                    <a:pt x="27" y="6"/>
                  </a:cubicBezTo>
                  <a:cubicBezTo>
                    <a:pt x="26" y="6"/>
                    <a:pt x="26" y="6"/>
                    <a:pt x="25" y="6"/>
                  </a:cubicBezTo>
                  <a:cubicBezTo>
                    <a:pt x="25" y="6"/>
                    <a:pt x="24" y="5"/>
                    <a:pt x="24" y="5"/>
                  </a:cubicBezTo>
                  <a:cubicBezTo>
                    <a:pt x="24" y="4"/>
                    <a:pt x="25" y="4"/>
                    <a:pt x="26" y="4"/>
                  </a:cubicBezTo>
                  <a:cubicBezTo>
                    <a:pt x="24" y="4"/>
                    <a:pt x="22" y="4"/>
                    <a:pt x="21" y="4"/>
                  </a:cubicBezTo>
                  <a:cubicBezTo>
                    <a:pt x="21" y="4"/>
                    <a:pt x="21" y="4"/>
                    <a:pt x="22" y="4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7" y="5"/>
                    <a:pt x="17" y="4"/>
                    <a:pt x="16" y="4"/>
                  </a:cubicBezTo>
                  <a:cubicBezTo>
                    <a:pt x="15" y="4"/>
                    <a:pt x="14" y="4"/>
                    <a:pt x="13" y="4"/>
                  </a:cubicBezTo>
                  <a:cubicBezTo>
                    <a:pt x="11" y="4"/>
                    <a:pt x="12" y="3"/>
                    <a:pt x="11" y="2"/>
                  </a:cubicBezTo>
                  <a:cubicBezTo>
                    <a:pt x="9" y="2"/>
                    <a:pt x="8" y="2"/>
                    <a:pt x="8" y="0"/>
                  </a:cubicBezTo>
                  <a:cubicBezTo>
                    <a:pt x="7" y="0"/>
                    <a:pt x="7" y="1"/>
                    <a:pt x="7" y="1"/>
                  </a:cubicBezTo>
                  <a:cubicBezTo>
                    <a:pt x="7" y="1"/>
                    <a:pt x="8" y="2"/>
                    <a:pt x="8" y="2"/>
                  </a:cubicBezTo>
                  <a:cubicBezTo>
                    <a:pt x="7" y="2"/>
                    <a:pt x="4" y="2"/>
                    <a:pt x="4" y="4"/>
                  </a:cubicBezTo>
                  <a:cubicBezTo>
                    <a:pt x="4" y="5"/>
                    <a:pt x="6" y="7"/>
                    <a:pt x="4" y="8"/>
                  </a:cubicBezTo>
                  <a:cubicBezTo>
                    <a:pt x="3" y="6"/>
                    <a:pt x="3" y="5"/>
                    <a:pt x="3" y="4"/>
                  </a:cubicBezTo>
                  <a:cubicBezTo>
                    <a:pt x="4" y="3"/>
                    <a:pt x="2" y="1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2" name="Freeform 165"/>
            <p:cNvSpPr>
              <a:spLocks noEditPoints="1"/>
            </p:cNvSpPr>
            <p:nvPr/>
          </p:nvSpPr>
          <p:spPr bwMode="auto">
            <a:xfrm>
              <a:off x="7148940" y="2969034"/>
              <a:ext cx="245563" cy="207738"/>
            </a:xfrm>
            <a:custGeom>
              <a:avLst/>
              <a:gdLst>
                <a:gd name="T0" fmla="*/ 2147483646 w 33"/>
                <a:gd name="T1" fmla="*/ 2147483646 h 28"/>
                <a:gd name="T2" fmla="*/ 2147483646 w 33"/>
                <a:gd name="T3" fmla="*/ 2147483646 h 28"/>
                <a:gd name="T4" fmla="*/ 2147483646 w 33"/>
                <a:gd name="T5" fmla="*/ 2147483646 h 28"/>
                <a:gd name="T6" fmla="*/ 2147483646 w 33"/>
                <a:gd name="T7" fmla="*/ 2147483646 h 28"/>
                <a:gd name="T8" fmla="*/ 2147483646 w 33"/>
                <a:gd name="T9" fmla="*/ 2147483646 h 28"/>
                <a:gd name="T10" fmla="*/ 0 w 33"/>
                <a:gd name="T11" fmla="*/ 2147483646 h 28"/>
                <a:gd name="T12" fmla="*/ 2147483646 w 33"/>
                <a:gd name="T13" fmla="*/ 2147483646 h 28"/>
                <a:gd name="T14" fmla="*/ 2147483646 w 33"/>
                <a:gd name="T15" fmla="*/ 2147483646 h 28"/>
                <a:gd name="T16" fmla="*/ 2147483646 w 33"/>
                <a:gd name="T17" fmla="*/ 2147483646 h 28"/>
                <a:gd name="T18" fmla="*/ 2147483646 w 33"/>
                <a:gd name="T19" fmla="*/ 2147483646 h 28"/>
                <a:gd name="T20" fmla="*/ 2147483646 w 33"/>
                <a:gd name="T21" fmla="*/ 2147483646 h 28"/>
                <a:gd name="T22" fmla="*/ 2147483646 w 33"/>
                <a:gd name="T23" fmla="*/ 2147483646 h 28"/>
                <a:gd name="T24" fmla="*/ 2147483646 w 33"/>
                <a:gd name="T25" fmla="*/ 2147483646 h 28"/>
                <a:gd name="T26" fmla="*/ 2147483646 w 33"/>
                <a:gd name="T27" fmla="*/ 2147483646 h 28"/>
                <a:gd name="T28" fmla="*/ 2147483646 w 33"/>
                <a:gd name="T29" fmla="*/ 2147483646 h 28"/>
                <a:gd name="T30" fmla="*/ 2147483646 w 33"/>
                <a:gd name="T31" fmla="*/ 2147483646 h 28"/>
                <a:gd name="T32" fmla="*/ 2147483646 w 33"/>
                <a:gd name="T33" fmla="*/ 2147483646 h 28"/>
                <a:gd name="T34" fmla="*/ 2147483646 w 33"/>
                <a:gd name="T35" fmla="*/ 2147483646 h 28"/>
                <a:gd name="T36" fmla="*/ 2147483646 w 33"/>
                <a:gd name="T37" fmla="*/ 2147483646 h 28"/>
                <a:gd name="T38" fmla="*/ 2147483646 w 33"/>
                <a:gd name="T39" fmla="*/ 2147483646 h 28"/>
                <a:gd name="T40" fmla="*/ 2147483646 w 33"/>
                <a:gd name="T41" fmla="*/ 2147483646 h 28"/>
                <a:gd name="T42" fmla="*/ 2147483646 w 33"/>
                <a:gd name="T43" fmla="*/ 2147483646 h 28"/>
                <a:gd name="T44" fmla="*/ 2147483646 w 33"/>
                <a:gd name="T45" fmla="*/ 2147483646 h 28"/>
                <a:gd name="T46" fmla="*/ 2147483646 w 33"/>
                <a:gd name="T47" fmla="*/ 2147483646 h 28"/>
                <a:gd name="T48" fmla="*/ 2147483646 w 33"/>
                <a:gd name="T49" fmla="*/ 2147483646 h 28"/>
                <a:gd name="T50" fmla="*/ 2147483646 w 33"/>
                <a:gd name="T51" fmla="*/ 2147483646 h 28"/>
                <a:gd name="T52" fmla="*/ 2147483646 w 33"/>
                <a:gd name="T53" fmla="*/ 2147483646 h 28"/>
                <a:gd name="T54" fmla="*/ 2147483646 w 33"/>
                <a:gd name="T55" fmla="*/ 2147483646 h 28"/>
                <a:gd name="T56" fmla="*/ 2147483646 w 33"/>
                <a:gd name="T57" fmla="*/ 2147483646 h 28"/>
                <a:gd name="T58" fmla="*/ 2147483646 w 33"/>
                <a:gd name="T59" fmla="*/ 2147483646 h 28"/>
                <a:gd name="T60" fmla="*/ 2147483646 w 33"/>
                <a:gd name="T61" fmla="*/ 2147483646 h 28"/>
                <a:gd name="T62" fmla="*/ 2147483646 w 33"/>
                <a:gd name="T63" fmla="*/ 2147483646 h 28"/>
                <a:gd name="T64" fmla="*/ 2147483646 w 33"/>
                <a:gd name="T65" fmla="*/ 2147483646 h 28"/>
                <a:gd name="T66" fmla="*/ 2147483646 w 33"/>
                <a:gd name="T67" fmla="*/ 2147483646 h 28"/>
                <a:gd name="T68" fmla="*/ 2147483646 w 33"/>
                <a:gd name="T69" fmla="*/ 2147483646 h 28"/>
                <a:gd name="T70" fmla="*/ 2147483646 w 33"/>
                <a:gd name="T71" fmla="*/ 2147483646 h 28"/>
                <a:gd name="T72" fmla="*/ 2147483646 w 33"/>
                <a:gd name="T73" fmla="*/ 2147483646 h 28"/>
                <a:gd name="T74" fmla="*/ 2147483646 w 33"/>
                <a:gd name="T75" fmla="*/ 2147483646 h 28"/>
                <a:gd name="T76" fmla="*/ 2147483646 w 33"/>
                <a:gd name="T77" fmla="*/ 2147483646 h 28"/>
                <a:gd name="T78" fmla="*/ 2147483646 w 33"/>
                <a:gd name="T79" fmla="*/ 2147483646 h 28"/>
                <a:gd name="T80" fmla="*/ 2147483646 w 33"/>
                <a:gd name="T81" fmla="*/ 2147483646 h 28"/>
                <a:gd name="T82" fmla="*/ 2147483646 w 33"/>
                <a:gd name="T83" fmla="*/ 2147483646 h 28"/>
                <a:gd name="T84" fmla="*/ 2147483646 w 33"/>
                <a:gd name="T85" fmla="*/ 2147483646 h 28"/>
                <a:gd name="T86" fmla="*/ 2147483646 w 33"/>
                <a:gd name="T87" fmla="*/ 2147483646 h 28"/>
                <a:gd name="T88" fmla="*/ 2147483646 w 33"/>
                <a:gd name="T89" fmla="*/ 2147483646 h 28"/>
                <a:gd name="T90" fmla="*/ 2147483646 w 33"/>
                <a:gd name="T91" fmla="*/ 2147483646 h 28"/>
                <a:gd name="T92" fmla="*/ 2147483646 w 33"/>
                <a:gd name="T93" fmla="*/ 2147483646 h 28"/>
                <a:gd name="T94" fmla="*/ 2147483646 w 33"/>
                <a:gd name="T95" fmla="*/ 2147483646 h 28"/>
                <a:gd name="T96" fmla="*/ 2147483646 w 33"/>
                <a:gd name="T97" fmla="*/ 2147483646 h 28"/>
                <a:gd name="T98" fmla="*/ 2147483646 w 33"/>
                <a:gd name="T99" fmla="*/ 2147483646 h 2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3" h="28">
                  <a:moveTo>
                    <a:pt x="18" y="28"/>
                  </a:moveTo>
                  <a:cubicBezTo>
                    <a:pt x="16" y="28"/>
                    <a:pt x="15" y="27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3" y="24"/>
                    <a:pt x="13" y="23"/>
                    <a:pt x="13" y="22"/>
                  </a:cubicBezTo>
                  <a:cubicBezTo>
                    <a:pt x="13" y="22"/>
                    <a:pt x="14" y="22"/>
                    <a:pt x="14" y="22"/>
                  </a:cubicBezTo>
                  <a:cubicBezTo>
                    <a:pt x="14" y="22"/>
                    <a:pt x="14" y="21"/>
                    <a:pt x="14" y="21"/>
                  </a:cubicBezTo>
                  <a:cubicBezTo>
                    <a:pt x="14" y="21"/>
                    <a:pt x="13" y="21"/>
                    <a:pt x="13" y="21"/>
                  </a:cubicBezTo>
                  <a:cubicBezTo>
                    <a:pt x="12" y="19"/>
                    <a:pt x="13" y="18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2" y="16"/>
                    <a:pt x="11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4"/>
                    <a:pt x="7" y="14"/>
                    <a:pt x="6" y="14"/>
                  </a:cubicBezTo>
                  <a:cubicBezTo>
                    <a:pt x="3" y="14"/>
                    <a:pt x="3" y="12"/>
                    <a:pt x="2" y="11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5"/>
                    <a:pt x="2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6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8" y="1"/>
                    <a:pt x="8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10" y="2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4"/>
                    <a:pt x="13" y="4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5"/>
                    <a:pt x="18" y="5"/>
                  </a:cubicBezTo>
                  <a:cubicBezTo>
                    <a:pt x="18" y="5"/>
                    <a:pt x="19" y="5"/>
                    <a:pt x="19" y="5"/>
                  </a:cubicBezTo>
                  <a:cubicBezTo>
                    <a:pt x="19" y="6"/>
                    <a:pt x="20" y="5"/>
                    <a:pt x="21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3" y="4"/>
                    <a:pt x="24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4"/>
                    <a:pt x="26" y="4"/>
                    <a:pt x="27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8" y="6"/>
                    <a:pt x="28" y="7"/>
                  </a:cubicBezTo>
                  <a:cubicBezTo>
                    <a:pt x="29" y="7"/>
                    <a:pt x="30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1" y="10"/>
                    <a:pt x="32" y="10"/>
                    <a:pt x="32" y="10"/>
                  </a:cubicBezTo>
                  <a:cubicBezTo>
                    <a:pt x="32" y="11"/>
                    <a:pt x="32" y="12"/>
                    <a:pt x="31" y="12"/>
                  </a:cubicBezTo>
                  <a:cubicBezTo>
                    <a:pt x="31" y="12"/>
                    <a:pt x="31" y="12"/>
                    <a:pt x="31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14"/>
                    <a:pt x="30" y="14"/>
                    <a:pt x="30" y="15"/>
                  </a:cubicBezTo>
                  <a:cubicBezTo>
                    <a:pt x="29" y="15"/>
                    <a:pt x="30" y="16"/>
                    <a:pt x="30" y="16"/>
                  </a:cubicBezTo>
                  <a:cubicBezTo>
                    <a:pt x="30" y="17"/>
                    <a:pt x="31" y="18"/>
                    <a:pt x="30" y="19"/>
                  </a:cubicBezTo>
                  <a:cubicBezTo>
                    <a:pt x="30" y="19"/>
                    <a:pt x="30" y="19"/>
                    <a:pt x="29" y="20"/>
                  </a:cubicBezTo>
                  <a:cubicBezTo>
                    <a:pt x="27" y="20"/>
                    <a:pt x="26" y="21"/>
                    <a:pt x="24" y="21"/>
                  </a:cubicBezTo>
                  <a:cubicBezTo>
                    <a:pt x="23" y="21"/>
                    <a:pt x="23" y="21"/>
                    <a:pt x="22" y="21"/>
                  </a:cubicBezTo>
                  <a:cubicBezTo>
                    <a:pt x="22" y="21"/>
                    <a:pt x="22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6"/>
                    <a:pt x="21" y="27"/>
                    <a:pt x="20" y="28"/>
                  </a:cubicBezTo>
                  <a:cubicBezTo>
                    <a:pt x="19" y="28"/>
                    <a:pt x="18" y="28"/>
                    <a:pt x="18" y="28"/>
                  </a:cubicBezTo>
                  <a:close/>
                  <a:moveTo>
                    <a:pt x="14" y="23"/>
                  </a:moveTo>
                  <a:cubicBezTo>
                    <a:pt x="14" y="23"/>
                    <a:pt x="15" y="24"/>
                    <a:pt x="15" y="24"/>
                  </a:cubicBezTo>
                  <a:cubicBezTo>
                    <a:pt x="15" y="24"/>
                    <a:pt x="15" y="24"/>
                    <a:pt x="15" y="25"/>
                  </a:cubicBezTo>
                  <a:cubicBezTo>
                    <a:pt x="17" y="27"/>
                    <a:pt x="17" y="28"/>
                    <a:pt x="19" y="27"/>
                  </a:cubicBezTo>
                  <a:cubicBezTo>
                    <a:pt x="20" y="26"/>
                    <a:pt x="21" y="26"/>
                    <a:pt x="22" y="25"/>
                  </a:cubicBezTo>
                  <a:cubicBezTo>
                    <a:pt x="22" y="24"/>
                    <a:pt x="22" y="24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0" y="21"/>
                    <a:pt x="20" y="21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5" y="20"/>
                    <a:pt x="25" y="20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7"/>
                    <a:pt x="29" y="17"/>
                  </a:cubicBezTo>
                  <a:cubicBezTo>
                    <a:pt x="29" y="16"/>
                    <a:pt x="28" y="15"/>
                    <a:pt x="29" y="14"/>
                  </a:cubicBezTo>
                  <a:cubicBezTo>
                    <a:pt x="29" y="14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30" y="12"/>
                    <a:pt x="30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0" y="11"/>
                    <a:pt x="29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6" y="8"/>
                    <a:pt x="26" y="7"/>
                  </a:cubicBezTo>
                  <a:cubicBezTo>
                    <a:pt x="26" y="7"/>
                    <a:pt x="25" y="7"/>
                    <a:pt x="25" y="7"/>
                  </a:cubicBezTo>
                  <a:cubicBezTo>
                    <a:pt x="25" y="6"/>
                    <a:pt x="25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1" y="6"/>
                    <a:pt x="20" y="7"/>
                    <a:pt x="18" y="7"/>
                  </a:cubicBezTo>
                  <a:cubicBezTo>
                    <a:pt x="18" y="6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6" y="7"/>
                    <a:pt x="7" y="8"/>
                    <a:pt x="6" y="8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8"/>
                    <a:pt x="3" y="6"/>
                    <a:pt x="4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3" y="4"/>
                    <a:pt x="2" y="6"/>
                    <a:pt x="2" y="7"/>
                  </a:cubicBezTo>
                  <a:cubicBezTo>
                    <a:pt x="2" y="7"/>
                    <a:pt x="1" y="8"/>
                    <a:pt x="1" y="8"/>
                  </a:cubicBezTo>
                  <a:cubicBezTo>
                    <a:pt x="3" y="8"/>
                    <a:pt x="3" y="9"/>
                    <a:pt x="3" y="10"/>
                  </a:cubicBezTo>
                  <a:cubicBezTo>
                    <a:pt x="4" y="12"/>
                    <a:pt x="4" y="13"/>
                    <a:pt x="6" y="13"/>
                  </a:cubicBezTo>
                  <a:cubicBezTo>
                    <a:pt x="8" y="12"/>
                    <a:pt x="9" y="13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1" y="15"/>
                  </a:cubicBezTo>
                  <a:cubicBezTo>
                    <a:pt x="12" y="15"/>
                    <a:pt x="12" y="15"/>
                    <a:pt x="13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6"/>
                    <a:pt x="15" y="16"/>
                    <a:pt x="14" y="17"/>
                  </a:cubicBezTo>
                  <a:cubicBezTo>
                    <a:pt x="14" y="18"/>
                    <a:pt x="14" y="19"/>
                    <a:pt x="14" y="20"/>
                  </a:cubicBezTo>
                  <a:cubicBezTo>
                    <a:pt x="14" y="20"/>
                    <a:pt x="14" y="20"/>
                    <a:pt x="15" y="21"/>
                  </a:cubicBezTo>
                  <a:cubicBezTo>
                    <a:pt x="15" y="22"/>
                    <a:pt x="15" y="22"/>
                    <a:pt x="14" y="23"/>
                  </a:cubicBezTo>
                  <a:close/>
                  <a:moveTo>
                    <a:pt x="5" y="6"/>
                  </a:moveTo>
                  <a:cubicBezTo>
                    <a:pt x="4" y="7"/>
                    <a:pt x="4" y="7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7"/>
                    <a:pt x="5" y="6"/>
                    <a:pt x="5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3" name="Freeform 166"/>
            <p:cNvSpPr/>
            <p:nvPr/>
          </p:nvSpPr>
          <p:spPr bwMode="auto">
            <a:xfrm>
              <a:off x="7303204" y="3000509"/>
              <a:ext cx="15741" cy="0"/>
            </a:xfrm>
            <a:custGeom>
              <a:avLst/>
              <a:gdLst>
                <a:gd name="T0" fmla="*/ 2147483646 w 2"/>
                <a:gd name="T1" fmla="*/ 2147483646 w 2"/>
                <a:gd name="T2" fmla="*/ 0 w 2"/>
                <a:gd name="T3" fmla="*/ 2147483646 w 2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4" name="Freeform 167"/>
            <p:cNvSpPr/>
            <p:nvPr/>
          </p:nvSpPr>
          <p:spPr bwMode="auto">
            <a:xfrm>
              <a:off x="7296907" y="2991067"/>
              <a:ext cx="28334" cy="15738"/>
            </a:xfrm>
            <a:custGeom>
              <a:avLst/>
              <a:gdLst>
                <a:gd name="T0" fmla="*/ 2147483646 w 4"/>
                <a:gd name="T1" fmla="*/ 2147483646 h 2"/>
                <a:gd name="T2" fmla="*/ 2147483646 w 4"/>
                <a:gd name="T3" fmla="*/ 2147483646 h 2"/>
                <a:gd name="T4" fmla="*/ 0 w 4"/>
                <a:gd name="T5" fmla="*/ 2147483646 h 2"/>
                <a:gd name="T6" fmla="*/ 2147483646 w 4"/>
                <a:gd name="T7" fmla="*/ 0 h 2"/>
                <a:gd name="T8" fmla="*/ 2147483646 w 4"/>
                <a:gd name="T9" fmla="*/ 2147483646 h 2"/>
                <a:gd name="T10" fmla="*/ 2147483646 w 4"/>
                <a:gd name="T11" fmla="*/ 2147483646 h 2"/>
                <a:gd name="T12" fmla="*/ 2147483646 w 4"/>
                <a:gd name="T13" fmla="*/ 2147483646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5" name="Freeform 168"/>
            <p:cNvSpPr/>
            <p:nvPr/>
          </p:nvSpPr>
          <p:spPr bwMode="auto">
            <a:xfrm>
              <a:off x="7057640" y="2969034"/>
              <a:ext cx="207784" cy="289574"/>
            </a:xfrm>
            <a:custGeom>
              <a:avLst/>
              <a:gdLst>
                <a:gd name="T0" fmla="*/ 2147483646 w 28"/>
                <a:gd name="T1" fmla="*/ 2147483646 h 39"/>
                <a:gd name="T2" fmla="*/ 2147483646 w 28"/>
                <a:gd name="T3" fmla="*/ 2147483646 h 39"/>
                <a:gd name="T4" fmla="*/ 2147483646 w 28"/>
                <a:gd name="T5" fmla="*/ 2147483646 h 39"/>
                <a:gd name="T6" fmla="*/ 2147483646 w 28"/>
                <a:gd name="T7" fmla="*/ 2147483646 h 39"/>
                <a:gd name="T8" fmla="*/ 2147483646 w 28"/>
                <a:gd name="T9" fmla="*/ 2147483646 h 39"/>
                <a:gd name="T10" fmla="*/ 2147483646 w 28"/>
                <a:gd name="T11" fmla="*/ 2147483646 h 39"/>
                <a:gd name="T12" fmla="*/ 2147483646 w 28"/>
                <a:gd name="T13" fmla="*/ 2147483646 h 39"/>
                <a:gd name="T14" fmla="*/ 2147483646 w 28"/>
                <a:gd name="T15" fmla="*/ 2147483646 h 39"/>
                <a:gd name="T16" fmla="*/ 2147483646 w 28"/>
                <a:gd name="T17" fmla="*/ 2147483646 h 39"/>
                <a:gd name="T18" fmla="*/ 2147483646 w 28"/>
                <a:gd name="T19" fmla="*/ 2147483646 h 39"/>
                <a:gd name="T20" fmla="*/ 2147483646 w 28"/>
                <a:gd name="T21" fmla="*/ 2147483646 h 39"/>
                <a:gd name="T22" fmla="*/ 2147483646 w 28"/>
                <a:gd name="T23" fmla="*/ 2147483646 h 39"/>
                <a:gd name="T24" fmla="*/ 2147483646 w 28"/>
                <a:gd name="T25" fmla="*/ 2147483646 h 39"/>
                <a:gd name="T26" fmla="*/ 2147483646 w 28"/>
                <a:gd name="T27" fmla="*/ 2147483646 h 39"/>
                <a:gd name="T28" fmla="*/ 2147483646 w 28"/>
                <a:gd name="T29" fmla="*/ 2147483646 h 39"/>
                <a:gd name="T30" fmla="*/ 2147483646 w 28"/>
                <a:gd name="T31" fmla="*/ 2147483646 h 39"/>
                <a:gd name="T32" fmla="*/ 2147483646 w 28"/>
                <a:gd name="T33" fmla="*/ 2147483646 h 39"/>
                <a:gd name="T34" fmla="*/ 2147483646 w 28"/>
                <a:gd name="T35" fmla="*/ 2147483646 h 39"/>
                <a:gd name="T36" fmla="*/ 2147483646 w 28"/>
                <a:gd name="T37" fmla="*/ 2147483646 h 39"/>
                <a:gd name="T38" fmla="*/ 2147483646 w 28"/>
                <a:gd name="T39" fmla="*/ 2147483646 h 39"/>
                <a:gd name="T40" fmla="*/ 2147483646 w 28"/>
                <a:gd name="T41" fmla="*/ 2147483646 h 39"/>
                <a:gd name="T42" fmla="*/ 2147483646 w 28"/>
                <a:gd name="T43" fmla="*/ 2147483646 h 39"/>
                <a:gd name="T44" fmla="*/ 2147483646 w 28"/>
                <a:gd name="T45" fmla="*/ 2147483646 h 39"/>
                <a:gd name="T46" fmla="*/ 2147483646 w 28"/>
                <a:gd name="T47" fmla="*/ 2147483646 h 39"/>
                <a:gd name="T48" fmla="*/ 2147483646 w 28"/>
                <a:gd name="T49" fmla="*/ 2147483646 h 39"/>
                <a:gd name="T50" fmla="*/ 0 w 28"/>
                <a:gd name="T51" fmla="*/ 2147483646 h 39"/>
                <a:gd name="T52" fmla="*/ 0 w 28"/>
                <a:gd name="T53" fmla="*/ 2147483646 h 39"/>
                <a:gd name="T54" fmla="*/ 0 w 28"/>
                <a:gd name="T55" fmla="*/ 2147483646 h 39"/>
                <a:gd name="T56" fmla="*/ 2147483646 w 28"/>
                <a:gd name="T57" fmla="*/ 2147483646 h 39"/>
                <a:gd name="T58" fmla="*/ 2147483646 w 28"/>
                <a:gd name="T59" fmla="*/ 2147483646 h 39"/>
                <a:gd name="T60" fmla="*/ 2147483646 w 28"/>
                <a:gd name="T61" fmla="*/ 2147483646 h 39"/>
                <a:gd name="T62" fmla="*/ 2147483646 w 28"/>
                <a:gd name="T63" fmla="*/ 2147483646 h 3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" h="39">
                  <a:moveTo>
                    <a:pt x="2" y="13"/>
                  </a:moveTo>
                  <a:cubicBezTo>
                    <a:pt x="3" y="11"/>
                    <a:pt x="4" y="11"/>
                    <a:pt x="3" y="10"/>
                  </a:cubicBezTo>
                  <a:cubicBezTo>
                    <a:pt x="4" y="10"/>
                    <a:pt x="4" y="10"/>
                    <a:pt x="4" y="11"/>
                  </a:cubicBezTo>
                  <a:cubicBezTo>
                    <a:pt x="4" y="9"/>
                    <a:pt x="7" y="9"/>
                    <a:pt x="7" y="7"/>
                  </a:cubicBezTo>
                  <a:cubicBezTo>
                    <a:pt x="7" y="6"/>
                    <a:pt x="9" y="3"/>
                    <a:pt x="10" y="5"/>
                  </a:cubicBezTo>
                  <a:cubicBezTo>
                    <a:pt x="10" y="3"/>
                    <a:pt x="12" y="4"/>
                    <a:pt x="13" y="3"/>
                  </a:cubicBezTo>
                  <a:cubicBezTo>
                    <a:pt x="14" y="3"/>
                    <a:pt x="17" y="0"/>
                    <a:pt x="18" y="1"/>
                  </a:cubicBezTo>
                  <a:cubicBezTo>
                    <a:pt x="18" y="2"/>
                    <a:pt x="15" y="4"/>
                    <a:pt x="15" y="4"/>
                  </a:cubicBezTo>
                  <a:cubicBezTo>
                    <a:pt x="14" y="5"/>
                    <a:pt x="13" y="7"/>
                    <a:pt x="13" y="8"/>
                  </a:cubicBezTo>
                  <a:cubicBezTo>
                    <a:pt x="16" y="8"/>
                    <a:pt x="14" y="14"/>
                    <a:pt x="18" y="13"/>
                  </a:cubicBezTo>
                  <a:cubicBezTo>
                    <a:pt x="20" y="13"/>
                    <a:pt x="21" y="14"/>
                    <a:pt x="22" y="15"/>
                  </a:cubicBezTo>
                  <a:cubicBezTo>
                    <a:pt x="22" y="16"/>
                    <a:pt x="25" y="15"/>
                    <a:pt x="26" y="15"/>
                  </a:cubicBezTo>
                  <a:cubicBezTo>
                    <a:pt x="25" y="18"/>
                    <a:pt x="25" y="19"/>
                    <a:pt x="26" y="22"/>
                  </a:cubicBezTo>
                  <a:cubicBezTo>
                    <a:pt x="27" y="22"/>
                    <a:pt x="26" y="22"/>
                    <a:pt x="26" y="23"/>
                  </a:cubicBezTo>
                  <a:cubicBezTo>
                    <a:pt x="25" y="24"/>
                    <a:pt x="26" y="23"/>
                    <a:pt x="27" y="24"/>
                  </a:cubicBezTo>
                  <a:cubicBezTo>
                    <a:pt x="27" y="25"/>
                    <a:pt x="28" y="26"/>
                    <a:pt x="27" y="27"/>
                  </a:cubicBezTo>
                  <a:cubicBezTo>
                    <a:pt x="27" y="25"/>
                    <a:pt x="26" y="25"/>
                    <a:pt x="24" y="25"/>
                  </a:cubicBezTo>
                  <a:cubicBezTo>
                    <a:pt x="24" y="26"/>
                    <a:pt x="22" y="25"/>
                    <a:pt x="21" y="25"/>
                  </a:cubicBezTo>
                  <a:cubicBezTo>
                    <a:pt x="20" y="28"/>
                    <a:pt x="22" y="27"/>
                    <a:pt x="22" y="28"/>
                  </a:cubicBezTo>
                  <a:cubicBezTo>
                    <a:pt x="18" y="27"/>
                    <a:pt x="21" y="30"/>
                    <a:pt x="22" y="32"/>
                  </a:cubicBezTo>
                  <a:cubicBezTo>
                    <a:pt x="22" y="34"/>
                    <a:pt x="21" y="37"/>
                    <a:pt x="20" y="39"/>
                  </a:cubicBezTo>
                  <a:cubicBezTo>
                    <a:pt x="20" y="39"/>
                    <a:pt x="19" y="39"/>
                    <a:pt x="19" y="38"/>
                  </a:cubicBezTo>
                  <a:cubicBezTo>
                    <a:pt x="22" y="34"/>
                    <a:pt x="17" y="35"/>
                    <a:pt x="14" y="35"/>
                  </a:cubicBezTo>
                  <a:cubicBezTo>
                    <a:pt x="12" y="35"/>
                    <a:pt x="12" y="31"/>
                    <a:pt x="9" y="30"/>
                  </a:cubicBezTo>
                  <a:cubicBezTo>
                    <a:pt x="7" y="30"/>
                    <a:pt x="6" y="29"/>
                    <a:pt x="5" y="29"/>
                  </a:cubicBezTo>
                  <a:cubicBezTo>
                    <a:pt x="3" y="29"/>
                    <a:pt x="2" y="28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3"/>
                    <a:pt x="0" y="24"/>
                  </a:cubicBezTo>
                  <a:cubicBezTo>
                    <a:pt x="1" y="23"/>
                    <a:pt x="2" y="24"/>
                    <a:pt x="3" y="23"/>
                  </a:cubicBezTo>
                  <a:cubicBezTo>
                    <a:pt x="3" y="22"/>
                    <a:pt x="4" y="21"/>
                    <a:pt x="4" y="21"/>
                  </a:cubicBezTo>
                  <a:cubicBezTo>
                    <a:pt x="2" y="21"/>
                    <a:pt x="3" y="18"/>
                    <a:pt x="3" y="17"/>
                  </a:cubicBezTo>
                  <a:cubicBezTo>
                    <a:pt x="3" y="15"/>
                    <a:pt x="3" y="14"/>
                    <a:pt x="2" y="1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6" name="Freeform 169"/>
            <p:cNvSpPr>
              <a:spLocks noEditPoints="1"/>
            </p:cNvSpPr>
            <p:nvPr/>
          </p:nvSpPr>
          <p:spPr bwMode="auto">
            <a:xfrm>
              <a:off x="7051344" y="2969034"/>
              <a:ext cx="214081" cy="299017"/>
            </a:xfrm>
            <a:custGeom>
              <a:avLst/>
              <a:gdLst>
                <a:gd name="T0" fmla="*/ 2147483646 w 29"/>
                <a:gd name="T1" fmla="*/ 2147483646 h 40"/>
                <a:gd name="T2" fmla="*/ 2147483646 w 29"/>
                <a:gd name="T3" fmla="*/ 2147483646 h 40"/>
                <a:gd name="T4" fmla="*/ 2147483646 w 29"/>
                <a:gd name="T5" fmla="*/ 2147483646 h 40"/>
                <a:gd name="T6" fmla="*/ 2147483646 w 29"/>
                <a:gd name="T7" fmla="*/ 2147483646 h 40"/>
                <a:gd name="T8" fmla="*/ 2147483646 w 29"/>
                <a:gd name="T9" fmla="*/ 2147483646 h 40"/>
                <a:gd name="T10" fmla="*/ 2147483646 w 29"/>
                <a:gd name="T11" fmla="*/ 2147483646 h 40"/>
                <a:gd name="T12" fmla="*/ 0 w 29"/>
                <a:gd name="T13" fmla="*/ 2147483646 h 40"/>
                <a:gd name="T14" fmla="*/ 0 w 29"/>
                <a:gd name="T15" fmla="*/ 2147483646 h 40"/>
                <a:gd name="T16" fmla="*/ 0 w 29"/>
                <a:gd name="T17" fmla="*/ 2147483646 h 40"/>
                <a:gd name="T18" fmla="*/ 2147483646 w 29"/>
                <a:gd name="T19" fmla="*/ 2147483646 h 40"/>
                <a:gd name="T20" fmla="*/ 2147483646 w 29"/>
                <a:gd name="T21" fmla="*/ 2147483646 h 40"/>
                <a:gd name="T22" fmla="*/ 2147483646 w 29"/>
                <a:gd name="T23" fmla="*/ 2147483646 h 40"/>
                <a:gd name="T24" fmla="*/ 2147483646 w 29"/>
                <a:gd name="T25" fmla="*/ 2147483646 h 40"/>
                <a:gd name="T26" fmla="*/ 2147483646 w 29"/>
                <a:gd name="T27" fmla="*/ 2147483646 h 40"/>
                <a:gd name="T28" fmla="*/ 2147483646 w 29"/>
                <a:gd name="T29" fmla="*/ 2147483646 h 40"/>
                <a:gd name="T30" fmla="*/ 2147483646 w 29"/>
                <a:gd name="T31" fmla="*/ 2147483646 h 40"/>
                <a:gd name="T32" fmla="*/ 2147483646 w 29"/>
                <a:gd name="T33" fmla="*/ 2147483646 h 40"/>
                <a:gd name="T34" fmla="*/ 2147483646 w 29"/>
                <a:gd name="T35" fmla="*/ 2147483646 h 40"/>
                <a:gd name="T36" fmla="*/ 2147483646 w 29"/>
                <a:gd name="T37" fmla="*/ 2147483646 h 40"/>
                <a:gd name="T38" fmla="*/ 2147483646 w 29"/>
                <a:gd name="T39" fmla="*/ 2147483646 h 40"/>
                <a:gd name="T40" fmla="*/ 2147483646 w 29"/>
                <a:gd name="T41" fmla="*/ 2147483646 h 40"/>
                <a:gd name="T42" fmla="*/ 2147483646 w 29"/>
                <a:gd name="T43" fmla="*/ 2147483646 h 40"/>
                <a:gd name="T44" fmla="*/ 2147483646 w 29"/>
                <a:gd name="T45" fmla="*/ 2147483646 h 40"/>
                <a:gd name="T46" fmla="*/ 2147483646 w 29"/>
                <a:gd name="T47" fmla="*/ 2147483646 h 40"/>
                <a:gd name="T48" fmla="*/ 2147483646 w 29"/>
                <a:gd name="T49" fmla="*/ 2147483646 h 40"/>
                <a:gd name="T50" fmla="*/ 2147483646 w 29"/>
                <a:gd name="T51" fmla="*/ 2147483646 h 40"/>
                <a:gd name="T52" fmla="*/ 2147483646 w 29"/>
                <a:gd name="T53" fmla="*/ 2147483646 h 40"/>
                <a:gd name="T54" fmla="*/ 2147483646 w 29"/>
                <a:gd name="T55" fmla="*/ 2147483646 h 40"/>
                <a:gd name="T56" fmla="*/ 2147483646 w 29"/>
                <a:gd name="T57" fmla="*/ 2147483646 h 40"/>
                <a:gd name="T58" fmla="*/ 2147483646 w 29"/>
                <a:gd name="T59" fmla="*/ 2147483646 h 40"/>
                <a:gd name="T60" fmla="*/ 2147483646 w 29"/>
                <a:gd name="T61" fmla="*/ 2147483646 h 40"/>
                <a:gd name="T62" fmla="*/ 2147483646 w 29"/>
                <a:gd name="T63" fmla="*/ 2147483646 h 40"/>
                <a:gd name="T64" fmla="*/ 2147483646 w 29"/>
                <a:gd name="T65" fmla="*/ 2147483646 h 40"/>
                <a:gd name="T66" fmla="*/ 2147483646 w 29"/>
                <a:gd name="T67" fmla="*/ 2147483646 h 40"/>
                <a:gd name="T68" fmla="*/ 2147483646 w 29"/>
                <a:gd name="T69" fmla="*/ 2147483646 h 40"/>
                <a:gd name="T70" fmla="*/ 2147483646 w 29"/>
                <a:gd name="T71" fmla="*/ 2147483646 h 40"/>
                <a:gd name="T72" fmla="*/ 2147483646 w 29"/>
                <a:gd name="T73" fmla="*/ 2147483646 h 40"/>
                <a:gd name="T74" fmla="*/ 2147483646 w 29"/>
                <a:gd name="T75" fmla="*/ 2147483646 h 40"/>
                <a:gd name="T76" fmla="*/ 2147483646 w 29"/>
                <a:gd name="T77" fmla="*/ 2147483646 h 40"/>
                <a:gd name="T78" fmla="*/ 2147483646 w 29"/>
                <a:gd name="T79" fmla="*/ 2147483646 h 40"/>
                <a:gd name="T80" fmla="*/ 2147483646 w 29"/>
                <a:gd name="T81" fmla="*/ 2147483646 h 40"/>
                <a:gd name="T82" fmla="*/ 2147483646 w 29"/>
                <a:gd name="T83" fmla="*/ 2147483646 h 40"/>
                <a:gd name="T84" fmla="*/ 2147483646 w 29"/>
                <a:gd name="T85" fmla="*/ 2147483646 h 40"/>
                <a:gd name="T86" fmla="*/ 2147483646 w 29"/>
                <a:gd name="T87" fmla="*/ 2147483646 h 40"/>
                <a:gd name="T88" fmla="*/ 2147483646 w 29"/>
                <a:gd name="T89" fmla="*/ 2147483646 h 40"/>
                <a:gd name="T90" fmla="*/ 2147483646 w 29"/>
                <a:gd name="T91" fmla="*/ 2147483646 h 40"/>
                <a:gd name="T92" fmla="*/ 2147483646 w 29"/>
                <a:gd name="T93" fmla="*/ 2147483646 h 40"/>
                <a:gd name="T94" fmla="*/ 2147483646 w 29"/>
                <a:gd name="T95" fmla="*/ 2147483646 h 40"/>
                <a:gd name="T96" fmla="*/ 2147483646 w 29"/>
                <a:gd name="T97" fmla="*/ 2147483646 h 40"/>
                <a:gd name="T98" fmla="*/ 2147483646 w 29"/>
                <a:gd name="T99" fmla="*/ 2147483646 h 40"/>
                <a:gd name="T100" fmla="*/ 2147483646 w 29"/>
                <a:gd name="T101" fmla="*/ 2147483646 h 40"/>
                <a:gd name="T102" fmla="*/ 2147483646 w 29"/>
                <a:gd name="T103" fmla="*/ 2147483646 h 40"/>
                <a:gd name="T104" fmla="*/ 2147483646 w 29"/>
                <a:gd name="T105" fmla="*/ 2147483646 h 40"/>
                <a:gd name="T106" fmla="*/ 2147483646 w 29"/>
                <a:gd name="T107" fmla="*/ 2147483646 h 40"/>
                <a:gd name="T108" fmla="*/ 2147483646 w 29"/>
                <a:gd name="T109" fmla="*/ 2147483646 h 40"/>
                <a:gd name="T110" fmla="*/ 2147483646 w 29"/>
                <a:gd name="T111" fmla="*/ 2147483646 h 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9" h="40">
                  <a:moveTo>
                    <a:pt x="22" y="40"/>
                  </a:moveTo>
                  <a:cubicBezTo>
                    <a:pt x="21" y="40"/>
                    <a:pt x="21" y="40"/>
                    <a:pt x="21" y="40"/>
                  </a:cubicBezTo>
                  <a:cubicBezTo>
                    <a:pt x="21" y="39"/>
                    <a:pt x="20" y="39"/>
                    <a:pt x="20" y="39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19" y="36"/>
                  </a:cubicBezTo>
                  <a:cubicBezTo>
                    <a:pt x="19" y="36"/>
                    <a:pt x="18" y="36"/>
                    <a:pt x="17" y="36"/>
                  </a:cubicBezTo>
                  <a:cubicBezTo>
                    <a:pt x="17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5" y="36"/>
                  </a:cubicBezTo>
                  <a:cubicBezTo>
                    <a:pt x="14" y="36"/>
                    <a:pt x="13" y="34"/>
                    <a:pt x="12" y="33"/>
                  </a:cubicBezTo>
                  <a:cubicBezTo>
                    <a:pt x="12" y="32"/>
                    <a:pt x="11" y="31"/>
                    <a:pt x="9" y="31"/>
                  </a:cubicBezTo>
                  <a:cubicBezTo>
                    <a:pt x="9" y="30"/>
                    <a:pt x="8" y="30"/>
                    <a:pt x="8" y="30"/>
                  </a:cubicBezTo>
                  <a:cubicBezTo>
                    <a:pt x="7" y="30"/>
                    <a:pt x="7" y="30"/>
                    <a:pt x="6" y="30"/>
                  </a:cubicBezTo>
                  <a:cubicBezTo>
                    <a:pt x="5" y="30"/>
                    <a:pt x="4" y="29"/>
                    <a:pt x="3" y="28"/>
                  </a:cubicBezTo>
                  <a:cubicBezTo>
                    <a:pt x="2" y="28"/>
                    <a:pt x="2" y="28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2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0"/>
                    <a:pt x="3" y="19"/>
                    <a:pt x="3" y="18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5"/>
                    <a:pt x="3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1"/>
                  </a:cubicBezTo>
                  <a:cubicBezTo>
                    <a:pt x="4" y="11"/>
                    <a:pt x="4" y="11"/>
                    <a:pt x="4" y="1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5" y="9"/>
                    <a:pt x="6" y="8"/>
                    <a:pt x="7" y="8"/>
                  </a:cubicBezTo>
                  <a:cubicBezTo>
                    <a:pt x="7" y="8"/>
                    <a:pt x="8" y="8"/>
                    <a:pt x="8" y="7"/>
                  </a:cubicBezTo>
                  <a:cubicBezTo>
                    <a:pt x="8" y="6"/>
                    <a:pt x="8" y="3"/>
                    <a:pt x="10" y="3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3"/>
                    <a:pt x="12" y="3"/>
                    <a:pt x="13" y="3"/>
                  </a:cubicBezTo>
                  <a:cubicBezTo>
                    <a:pt x="13" y="3"/>
                    <a:pt x="14" y="3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6" y="1"/>
                    <a:pt x="17" y="0"/>
                    <a:pt x="18" y="0"/>
                  </a:cubicBezTo>
                  <a:cubicBezTo>
                    <a:pt x="19" y="0"/>
                    <a:pt x="19" y="1"/>
                    <a:pt x="19" y="1"/>
                  </a:cubicBezTo>
                  <a:cubicBezTo>
                    <a:pt x="19" y="2"/>
                    <a:pt x="19" y="2"/>
                    <a:pt x="17" y="4"/>
                  </a:cubicBezTo>
                  <a:cubicBezTo>
                    <a:pt x="17" y="4"/>
                    <a:pt x="16" y="4"/>
                    <a:pt x="16" y="4"/>
                  </a:cubicBezTo>
                  <a:cubicBezTo>
                    <a:pt x="15" y="5"/>
                    <a:pt x="15" y="6"/>
                    <a:pt x="15" y="7"/>
                  </a:cubicBezTo>
                  <a:cubicBezTo>
                    <a:pt x="15" y="7"/>
                    <a:pt x="14" y="8"/>
                    <a:pt x="14" y="8"/>
                  </a:cubicBezTo>
                  <a:cubicBezTo>
                    <a:pt x="16" y="8"/>
                    <a:pt x="16" y="9"/>
                    <a:pt x="16" y="10"/>
                  </a:cubicBezTo>
                  <a:cubicBezTo>
                    <a:pt x="17" y="12"/>
                    <a:pt x="17" y="13"/>
                    <a:pt x="19" y="13"/>
                  </a:cubicBezTo>
                  <a:cubicBezTo>
                    <a:pt x="21" y="12"/>
                    <a:pt x="22" y="13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4" y="15"/>
                  </a:cubicBezTo>
                  <a:cubicBezTo>
                    <a:pt x="25" y="15"/>
                    <a:pt x="25" y="15"/>
                    <a:pt x="26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7" y="18"/>
                    <a:pt x="27" y="19"/>
                    <a:pt x="28" y="21"/>
                  </a:cubicBezTo>
                  <a:cubicBezTo>
                    <a:pt x="28" y="22"/>
                    <a:pt x="28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8" y="23"/>
                    <a:pt x="28" y="24"/>
                    <a:pt x="28" y="24"/>
                  </a:cubicBezTo>
                  <a:cubicBezTo>
                    <a:pt x="28" y="24"/>
                    <a:pt x="28" y="24"/>
                    <a:pt x="28" y="25"/>
                  </a:cubicBezTo>
                  <a:cubicBezTo>
                    <a:pt x="29" y="25"/>
                    <a:pt x="29" y="26"/>
                    <a:pt x="29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5" y="26"/>
                    <a:pt x="24" y="26"/>
                    <a:pt x="24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3" y="27"/>
                  </a:cubicBezTo>
                  <a:cubicBezTo>
                    <a:pt x="23" y="27"/>
                    <a:pt x="24" y="27"/>
                    <a:pt x="24" y="28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30"/>
                    <a:pt x="22" y="30"/>
                  </a:cubicBezTo>
                  <a:cubicBezTo>
                    <a:pt x="23" y="31"/>
                    <a:pt x="23" y="31"/>
                    <a:pt x="23" y="32"/>
                  </a:cubicBezTo>
                  <a:cubicBezTo>
                    <a:pt x="24" y="33"/>
                    <a:pt x="23" y="35"/>
                    <a:pt x="22" y="37"/>
                  </a:cubicBezTo>
                  <a:cubicBezTo>
                    <a:pt x="22" y="38"/>
                    <a:pt x="22" y="39"/>
                    <a:pt x="22" y="39"/>
                  </a:cubicBezTo>
                  <a:lnTo>
                    <a:pt x="22" y="40"/>
                  </a:lnTo>
                  <a:close/>
                  <a:moveTo>
                    <a:pt x="21" y="38"/>
                  </a:move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2" y="35"/>
                    <a:pt x="22" y="33"/>
                    <a:pt x="22" y="32"/>
                  </a:cubicBezTo>
                  <a:cubicBezTo>
                    <a:pt x="22" y="32"/>
                    <a:pt x="22" y="31"/>
                    <a:pt x="21" y="31"/>
                  </a:cubicBezTo>
                  <a:cubicBezTo>
                    <a:pt x="21" y="30"/>
                    <a:pt x="20" y="29"/>
                    <a:pt x="21" y="28"/>
                  </a:cubicBezTo>
                  <a:cubicBezTo>
                    <a:pt x="21" y="28"/>
                    <a:pt x="21" y="28"/>
                    <a:pt x="22" y="27"/>
                  </a:cubicBezTo>
                  <a:cubicBezTo>
                    <a:pt x="21" y="27"/>
                    <a:pt x="21" y="27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25"/>
                    <a:pt x="22" y="25"/>
                    <a:pt x="23" y="25"/>
                  </a:cubicBezTo>
                  <a:cubicBezTo>
                    <a:pt x="23" y="25"/>
                    <a:pt x="23" y="25"/>
                    <a:pt x="24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6" y="24"/>
                    <a:pt x="26" y="24"/>
                    <a:pt x="26" y="23"/>
                  </a:cubicBezTo>
                  <a:cubicBezTo>
                    <a:pt x="26" y="23"/>
                    <a:pt x="26" y="23"/>
                    <a:pt x="26" y="22"/>
                  </a:cubicBezTo>
                  <a:cubicBezTo>
                    <a:pt x="26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5" y="20"/>
                    <a:pt x="26" y="18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5" y="16"/>
                    <a:pt x="24" y="16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4"/>
                    <a:pt x="20" y="14"/>
                    <a:pt x="19" y="14"/>
                  </a:cubicBezTo>
                  <a:cubicBezTo>
                    <a:pt x="16" y="14"/>
                    <a:pt x="16" y="12"/>
                    <a:pt x="15" y="11"/>
                  </a:cubicBezTo>
                  <a:cubicBezTo>
                    <a:pt x="15" y="9"/>
                    <a:pt x="14" y="9"/>
                    <a:pt x="14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4" y="6"/>
                    <a:pt x="14" y="4"/>
                    <a:pt x="15" y="4"/>
                  </a:cubicBezTo>
                  <a:cubicBezTo>
                    <a:pt x="15" y="3"/>
                    <a:pt x="16" y="3"/>
                    <a:pt x="16" y="3"/>
                  </a:cubicBezTo>
                  <a:cubicBezTo>
                    <a:pt x="17" y="2"/>
                    <a:pt x="17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5" y="3"/>
                    <a:pt x="15" y="3"/>
                    <a:pt x="14" y="4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2" y="4"/>
                    <a:pt x="12" y="4"/>
                    <a:pt x="12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6"/>
                    <a:pt x="9" y="7"/>
                  </a:cubicBezTo>
                  <a:cubicBezTo>
                    <a:pt x="9" y="8"/>
                    <a:pt x="8" y="9"/>
                    <a:pt x="7" y="9"/>
                  </a:cubicBezTo>
                  <a:cubicBezTo>
                    <a:pt x="6" y="10"/>
                    <a:pt x="6" y="10"/>
                    <a:pt x="6" y="11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5" y="14"/>
                    <a:pt x="5" y="15"/>
                    <a:pt x="5" y="17"/>
                  </a:cubicBezTo>
                  <a:cubicBezTo>
                    <a:pt x="5" y="17"/>
                    <a:pt x="5" y="17"/>
                    <a:pt x="5" y="18"/>
                  </a:cubicBezTo>
                  <a:cubicBezTo>
                    <a:pt x="5" y="19"/>
                    <a:pt x="4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4" y="22"/>
                    <a:pt x="4" y="23"/>
                  </a:cubicBezTo>
                  <a:cubicBezTo>
                    <a:pt x="4" y="24"/>
                    <a:pt x="3" y="24"/>
                    <a:pt x="3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5"/>
                    <a:pt x="1" y="26"/>
                  </a:cubicBezTo>
                  <a:cubicBezTo>
                    <a:pt x="1" y="26"/>
                    <a:pt x="1" y="26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7"/>
                    <a:pt x="3" y="27"/>
                    <a:pt x="3" y="27"/>
                  </a:cubicBezTo>
                  <a:cubicBezTo>
                    <a:pt x="4" y="28"/>
                    <a:pt x="5" y="28"/>
                    <a:pt x="6" y="28"/>
                  </a:cubicBezTo>
                  <a:cubicBezTo>
                    <a:pt x="7" y="28"/>
                    <a:pt x="7" y="29"/>
                    <a:pt x="8" y="29"/>
                  </a:cubicBezTo>
                  <a:cubicBezTo>
                    <a:pt x="9" y="29"/>
                    <a:pt x="9" y="29"/>
                    <a:pt x="10" y="29"/>
                  </a:cubicBezTo>
                  <a:cubicBezTo>
                    <a:pt x="11" y="30"/>
                    <a:pt x="12" y="31"/>
                    <a:pt x="13" y="33"/>
                  </a:cubicBezTo>
                  <a:cubicBezTo>
                    <a:pt x="14" y="34"/>
                    <a:pt x="15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7" y="35"/>
                    <a:pt x="17" y="35"/>
                  </a:cubicBezTo>
                  <a:cubicBezTo>
                    <a:pt x="18" y="35"/>
                    <a:pt x="19" y="35"/>
                    <a:pt x="19" y="35"/>
                  </a:cubicBezTo>
                  <a:cubicBezTo>
                    <a:pt x="20" y="35"/>
                    <a:pt x="21" y="35"/>
                    <a:pt x="21" y="35"/>
                  </a:cubicBezTo>
                  <a:cubicBezTo>
                    <a:pt x="22" y="36"/>
                    <a:pt x="21" y="37"/>
                    <a:pt x="21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7" name="Freeform 170"/>
            <p:cNvSpPr/>
            <p:nvPr/>
          </p:nvSpPr>
          <p:spPr bwMode="auto">
            <a:xfrm>
              <a:off x="6204465" y="2166410"/>
              <a:ext cx="88151" cy="81836"/>
            </a:xfrm>
            <a:custGeom>
              <a:avLst/>
              <a:gdLst>
                <a:gd name="T0" fmla="*/ 2147483646 w 12"/>
                <a:gd name="T1" fmla="*/ 2147483646 h 11"/>
                <a:gd name="T2" fmla="*/ 0 w 12"/>
                <a:gd name="T3" fmla="*/ 2147483646 h 11"/>
                <a:gd name="T4" fmla="*/ 2147483646 w 12"/>
                <a:gd name="T5" fmla="*/ 2147483646 h 11"/>
                <a:gd name="T6" fmla="*/ 2147483646 w 12"/>
                <a:gd name="T7" fmla="*/ 2147483646 h 11"/>
                <a:gd name="T8" fmla="*/ 2147483646 w 12"/>
                <a:gd name="T9" fmla="*/ 2147483646 h 11"/>
                <a:gd name="T10" fmla="*/ 2147483646 w 12"/>
                <a:gd name="T11" fmla="*/ 2147483646 h 11"/>
                <a:gd name="T12" fmla="*/ 2147483646 w 12"/>
                <a:gd name="T13" fmla="*/ 2147483646 h 11"/>
                <a:gd name="T14" fmla="*/ 2147483646 w 12"/>
                <a:gd name="T15" fmla="*/ 2147483646 h 11"/>
                <a:gd name="T16" fmla="*/ 2147483646 w 12"/>
                <a:gd name="T17" fmla="*/ 2147483646 h 11"/>
                <a:gd name="T18" fmla="*/ 2147483646 w 12"/>
                <a:gd name="T19" fmla="*/ 2147483646 h 11"/>
                <a:gd name="T20" fmla="*/ 2147483646 w 12"/>
                <a:gd name="T21" fmla="*/ 2147483646 h 11"/>
                <a:gd name="T22" fmla="*/ 2147483646 w 12"/>
                <a:gd name="T23" fmla="*/ 2147483646 h 11"/>
                <a:gd name="T24" fmla="*/ 2147483646 w 12"/>
                <a:gd name="T25" fmla="*/ 2147483646 h 11"/>
                <a:gd name="T26" fmla="*/ 2147483646 w 12"/>
                <a:gd name="T27" fmla="*/ 2147483646 h 11"/>
                <a:gd name="T28" fmla="*/ 2147483646 w 12"/>
                <a:gd name="T29" fmla="*/ 2147483646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" h="11">
                  <a:moveTo>
                    <a:pt x="2" y="3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1" y="0"/>
                    <a:pt x="4" y="2"/>
                    <a:pt x="5" y="2"/>
                  </a:cubicBezTo>
                  <a:cubicBezTo>
                    <a:pt x="7" y="3"/>
                    <a:pt x="7" y="4"/>
                    <a:pt x="8" y="6"/>
                  </a:cubicBezTo>
                  <a:cubicBezTo>
                    <a:pt x="9" y="6"/>
                    <a:pt x="12" y="8"/>
                    <a:pt x="12" y="9"/>
                  </a:cubicBezTo>
                  <a:cubicBezTo>
                    <a:pt x="11" y="11"/>
                    <a:pt x="8" y="9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6" y="6"/>
                    <a:pt x="5" y="7"/>
                    <a:pt x="4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4" y="5"/>
                    <a:pt x="3" y="5"/>
                    <a:pt x="3" y="3"/>
                  </a:cubicBezTo>
                  <a:cubicBezTo>
                    <a:pt x="2" y="4"/>
                    <a:pt x="1" y="4"/>
                    <a:pt x="1" y="2"/>
                  </a:cubicBezTo>
                  <a:cubicBezTo>
                    <a:pt x="2" y="2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8" name="Freeform 171"/>
            <p:cNvSpPr>
              <a:spLocks noEditPoints="1"/>
            </p:cNvSpPr>
            <p:nvPr/>
          </p:nvSpPr>
          <p:spPr bwMode="auto">
            <a:xfrm>
              <a:off x="6195020" y="2166410"/>
              <a:ext cx="103892" cy="75541"/>
            </a:xfrm>
            <a:custGeom>
              <a:avLst/>
              <a:gdLst>
                <a:gd name="T0" fmla="*/ 2147483646 w 14"/>
                <a:gd name="T1" fmla="*/ 2147483646 h 10"/>
                <a:gd name="T2" fmla="*/ 2147483646 w 14"/>
                <a:gd name="T3" fmla="*/ 2147483646 h 10"/>
                <a:gd name="T4" fmla="*/ 2147483646 w 14"/>
                <a:gd name="T5" fmla="*/ 2147483646 h 10"/>
                <a:gd name="T6" fmla="*/ 2147483646 w 14"/>
                <a:gd name="T7" fmla="*/ 2147483646 h 10"/>
                <a:gd name="T8" fmla="*/ 2147483646 w 14"/>
                <a:gd name="T9" fmla="*/ 2147483646 h 10"/>
                <a:gd name="T10" fmla="*/ 2147483646 w 14"/>
                <a:gd name="T11" fmla="*/ 2147483646 h 10"/>
                <a:gd name="T12" fmla="*/ 2147483646 w 14"/>
                <a:gd name="T13" fmla="*/ 2147483646 h 10"/>
                <a:gd name="T14" fmla="*/ 2147483646 w 14"/>
                <a:gd name="T15" fmla="*/ 2147483646 h 10"/>
                <a:gd name="T16" fmla="*/ 2147483646 w 14"/>
                <a:gd name="T17" fmla="*/ 2147483646 h 10"/>
                <a:gd name="T18" fmla="*/ 2147483646 w 14"/>
                <a:gd name="T19" fmla="*/ 2147483646 h 10"/>
                <a:gd name="T20" fmla="*/ 2147483646 w 14"/>
                <a:gd name="T21" fmla="*/ 2147483646 h 10"/>
                <a:gd name="T22" fmla="*/ 2147483646 w 14"/>
                <a:gd name="T23" fmla="*/ 2147483646 h 10"/>
                <a:gd name="T24" fmla="*/ 2147483646 w 14"/>
                <a:gd name="T25" fmla="*/ 2147483646 h 10"/>
                <a:gd name="T26" fmla="*/ 2147483646 w 14"/>
                <a:gd name="T27" fmla="*/ 2147483646 h 10"/>
                <a:gd name="T28" fmla="*/ 2147483646 w 14"/>
                <a:gd name="T29" fmla="*/ 2147483646 h 10"/>
                <a:gd name="T30" fmla="*/ 2147483646 w 14"/>
                <a:gd name="T31" fmla="*/ 2147483646 h 10"/>
                <a:gd name="T32" fmla="*/ 2147483646 w 14"/>
                <a:gd name="T33" fmla="*/ 2147483646 h 10"/>
                <a:gd name="T34" fmla="*/ 2147483646 w 14"/>
                <a:gd name="T35" fmla="*/ 2147483646 h 10"/>
                <a:gd name="T36" fmla="*/ 0 w 14"/>
                <a:gd name="T37" fmla="*/ 2147483646 h 10"/>
                <a:gd name="T38" fmla="*/ 2147483646 w 14"/>
                <a:gd name="T39" fmla="*/ 2147483646 h 10"/>
                <a:gd name="T40" fmla="*/ 2147483646 w 14"/>
                <a:gd name="T41" fmla="*/ 0 h 10"/>
                <a:gd name="T42" fmla="*/ 2147483646 w 14"/>
                <a:gd name="T43" fmla="*/ 2147483646 h 10"/>
                <a:gd name="T44" fmla="*/ 2147483646 w 14"/>
                <a:gd name="T45" fmla="*/ 2147483646 h 10"/>
                <a:gd name="T46" fmla="*/ 2147483646 w 14"/>
                <a:gd name="T47" fmla="*/ 2147483646 h 10"/>
                <a:gd name="T48" fmla="*/ 2147483646 w 14"/>
                <a:gd name="T49" fmla="*/ 2147483646 h 10"/>
                <a:gd name="T50" fmla="*/ 2147483646 w 14"/>
                <a:gd name="T51" fmla="*/ 2147483646 h 10"/>
                <a:gd name="T52" fmla="*/ 2147483646 w 14"/>
                <a:gd name="T53" fmla="*/ 2147483646 h 10"/>
                <a:gd name="T54" fmla="*/ 2147483646 w 14"/>
                <a:gd name="T55" fmla="*/ 2147483646 h 10"/>
                <a:gd name="T56" fmla="*/ 2147483646 w 14"/>
                <a:gd name="T57" fmla="*/ 2147483646 h 10"/>
                <a:gd name="T58" fmla="*/ 2147483646 w 14"/>
                <a:gd name="T59" fmla="*/ 2147483646 h 10"/>
                <a:gd name="T60" fmla="*/ 2147483646 w 14"/>
                <a:gd name="T61" fmla="*/ 2147483646 h 10"/>
                <a:gd name="T62" fmla="*/ 2147483646 w 14"/>
                <a:gd name="T63" fmla="*/ 2147483646 h 10"/>
                <a:gd name="T64" fmla="*/ 2147483646 w 14"/>
                <a:gd name="T65" fmla="*/ 2147483646 h 10"/>
                <a:gd name="T66" fmla="*/ 2147483646 w 14"/>
                <a:gd name="T67" fmla="*/ 2147483646 h 10"/>
                <a:gd name="T68" fmla="*/ 2147483646 w 14"/>
                <a:gd name="T69" fmla="*/ 2147483646 h 10"/>
                <a:gd name="T70" fmla="*/ 2147483646 w 14"/>
                <a:gd name="T71" fmla="*/ 2147483646 h 10"/>
                <a:gd name="T72" fmla="*/ 2147483646 w 14"/>
                <a:gd name="T73" fmla="*/ 2147483646 h 10"/>
                <a:gd name="T74" fmla="*/ 2147483646 w 14"/>
                <a:gd name="T75" fmla="*/ 2147483646 h 10"/>
                <a:gd name="T76" fmla="*/ 2147483646 w 14"/>
                <a:gd name="T77" fmla="*/ 2147483646 h 10"/>
                <a:gd name="T78" fmla="*/ 2147483646 w 14"/>
                <a:gd name="T79" fmla="*/ 2147483646 h 10"/>
                <a:gd name="T80" fmla="*/ 2147483646 w 14"/>
                <a:gd name="T81" fmla="*/ 2147483646 h 10"/>
                <a:gd name="T82" fmla="*/ 2147483646 w 14"/>
                <a:gd name="T83" fmla="*/ 2147483646 h 10"/>
                <a:gd name="T84" fmla="*/ 2147483646 w 14"/>
                <a:gd name="T85" fmla="*/ 2147483646 h 10"/>
                <a:gd name="T86" fmla="*/ 2147483646 w 14"/>
                <a:gd name="T87" fmla="*/ 2147483646 h 10"/>
                <a:gd name="T88" fmla="*/ 2147483646 w 14"/>
                <a:gd name="T89" fmla="*/ 2147483646 h 10"/>
                <a:gd name="T90" fmla="*/ 2147483646 w 14"/>
                <a:gd name="T91" fmla="*/ 2147483646 h 10"/>
                <a:gd name="T92" fmla="*/ 2147483646 w 14"/>
                <a:gd name="T93" fmla="*/ 2147483646 h 10"/>
                <a:gd name="T94" fmla="*/ 2147483646 w 14"/>
                <a:gd name="T95" fmla="*/ 2147483646 h 10"/>
                <a:gd name="T96" fmla="*/ 2147483646 w 14"/>
                <a:gd name="T97" fmla="*/ 2147483646 h 10"/>
                <a:gd name="T98" fmla="*/ 2147483646 w 14"/>
                <a:gd name="T99" fmla="*/ 2147483646 h 10"/>
                <a:gd name="T100" fmla="*/ 2147483646 w 14"/>
                <a:gd name="T101" fmla="*/ 2147483646 h 10"/>
                <a:gd name="T102" fmla="*/ 2147483646 w 14"/>
                <a:gd name="T103" fmla="*/ 2147483646 h 10"/>
                <a:gd name="T104" fmla="*/ 2147483646 w 14"/>
                <a:gd name="T105" fmla="*/ 2147483646 h 10"/>
                <a:gd name="T106" fmla="*/ 2147483646 w 14"/>
                <a:gd name="T107" fmla="*/ 2147483646 h 10"/>
                <a:gd name="T108" fmla="*/ 2147483646 w 14"/>
                <a:gd name="T109" fmla="*/ 2147483646 h 1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4" h="10">
                  <a:moveTo>
                    <a:pt x="12" y="10"/>
                  </a:moveTo>
                  <a:cubicBezTo>
                    <a:pt x="11" y="10"/>
                    <a:pt x="10" y="10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3" y="0"/>
                    <a:pt x="5" y="1"/>
                    <a:pt x="5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8" y="2"/>
                    <a:pt x="8" y="3"/>
                    <a:pt x="9" y="4"/>
                  </a:cubicBezTo>
                  <a:cubicBezTo>
                    <a:pt x="9" y="4"/>
                    <a:pt x="9" y="5"/>
                    <a:pt x="10" y="5"/>
                  </a:cubicBezTo>
                  <a:cubicBezTo>
                    <a:pt x="10" y="5"/>
                    <a:pt x="10" y="6"/>
                    <a:pt x="11" y="6"/>
                  </a:cubicBezTo>
                  <a:cubicBezTo>
                    <a:pt x="12" y="7"/>
                    <a:pt x="14" y="8"/>
                    <a:pt x="13" y="10"/>
                  </a:cubicBezTo>
                  <a:cubicBezTo>
                    <a:pt x="13" y="10"/>
                    <a:pt x="13" y="10"/>
                    <a:pt x="12" y="10"/>
                  </a:cubicBezTo>
                  <a:close/>
                  <a:moveTo>
                    <a:pt x="11" y="7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9"/>
                  </a:cubicBezTo>
                  <a:cubicBezTo>
                    <a:pt x="11" y="9"/>
                    <a:pt x="11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1" y="8"/>
                    <a:pt x="11" y="7"/>
                  </a:cubicBezTo>
                  <a:close/>
                  <a:moveTo>
                    <a:pt x="8" y="7"/>
                  </a:moveTo>
                  <a:cubicBezTo>
                    <a:pt x="8" y="7"/>
                    <a:pt x="9" y="7"/>
                    <a:pt x="9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9" y="6"/>
                    <a:pt x="9" y="6"/>
                  </a:cubicBezTo>
                  <a:cubicBezTo>
                    <a:pt x="9" y="6"/>
                    <a:pt x="9" y="6"/>
                    <a:pt x="8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8" y="6"/>
                    <a:pt x="8" y="7"/>
                  </a:cubicBezTo>
                  <a:close/>
                  <a:moveTo>
                    <a:pt x="4" y="2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5" y="4"/>
                    <a:pt x="6" y="5"/>
                  </a:cubicBezTo>
                  <a:cubicBezTo>
                    <a:pt x="6" y="5"/>
                    <a:pt x="7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7" y="4"/>
                    <a:pt x="7" y="3"/>
                    <a:pt x="6" y="3"/>
                  </a:cubicBezTo>
                  <a:cubicBezTo>
                    <a:pt x="6" y="3"/>
                    <a:pt x="5" y="3"/>
                    <a:pt x="5" y="2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lnTo>
                    <a:pt x="4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9" name="Freeform 172"/>
            <p:cNvSpPr/>
            <p:nvPr/>
          </p:nvSpPr>
          <p:spPr bwMode="auto">
            <a:xfrm>
              <a:off x="6642071" y="1259917"/>
              <a:ext cx="110189" cy="163672"/>
            </a:xfrm>
            <a:custGeom>
              <a:avLst/>
              <a:gdLst>
                <a:gd name="T0" fmla="*/ 2147483646 w 15"/>
                <a:gd name="T1" fmla="*/ 2147483646 h 22"/>
                <a:gd name="T2" fmla="*/ 2147483646 w 15"/>
                <a:gd name="T3" fmla="*/ 2147483646 h 22"/>
                <a:gd name="T4" fmla="*/ 2147483646 w 15"/>
                <a:gd name="T5" fmla="*/ 2147483646 h 22"/>
                <a:gd name="T6" fmla="*/ 2147483646 w 15"/>
                <a:gd name="T7" fmla="*/ 2147483646 h 22"/>
                <a:gd name="T8" fmla="*/ 2147483646 w 15"/>
                <a:gd name="T9" fmla="*/ 2147483646 h 22"/>
                <a:gd name="T10" fmla="*/ 2147483646 w 15"/>
                <a:gd name="T11" fmla="*/ 2147483646 h 22"/>
                <a:gd name="T12" fmla="*/ 2147483646 w 15"/>
                <a:gd name="T13" fmla="*/ 2147483646 h 22"/>
                <a:gd name="T14" fmla="*/ 2147483646 w 15"/>
                <a:gd name="T15" fmla="*/ 2147483646 h 22"/>
                <a:gd name="T16" fmla="*/ 2147483646 w 15"/>
                <a:gd name="T17" fmla="*/ 2147483646 h 22"/>
                <a:gd name="T18" fmla="*/ 2147483646 w 15"/>
                <a:gd name="T19" fmla="*/ 2147483646 h 22"/>
                <a:gd name="T20" fmla="*/ 2147483646 w 15"/>
                <a:gd name="T21" fmla="*/ 2147483646 h 22"/>
                <a:gd name="T22" fmla="*/ 2147483646 w 15"/>
                <a:gd name="T23" fmla="*/ 2147483646 h 22"/>
                <a:gd name="T24" fmla="*/ 2147483646 w 15"/>
                <a:gd name="T25" fmla="*/ 2147483646 h 22"/>
                <a:gd name="T26" fmla="*/ 2147483646 w 15"/>
                <a:gd name="T27" fmla="*/ 2147483646 h 22"/>
                <a:gd name="T28" fmla="*/ 2147483646 w 15"/>
                <a:gd name="T29" fmla="*/ 2147483646 h 22"/>
                <a:gd name="T30" fmla="*/ 2147483646 w 15"/>
                <a:gd name="T31" fmla="*/ 2147483646 h 22"/>
                <a:gd name="T32" fmla="*/ 2147483646 w 15"/>
                <a:gd name="T33" fmla="*/ 2147483646 h 22"/>
                <a:gd name="T34" fmla="*/ 2147483646 w 15"/>
                <a:gd name="T35" fmla="*/ 2147483646 h 22"/>
                <a:gd name="T36" fmla="*/ 2147483646 w 15"/>
                <a:gd name="T37" fmla="*/ 2147483646 h 22"/>
                <a:gd name="T38" fmla="*/ 2147483646 w 15"/>
                <a:gd name="T39" fmla="*/ 2147483646 h 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" h="22">
                  <a:moveTo>
                    <a:pt x="7" y="17"/>
                  </a:moveTo>
                  <a:cubicBezTo>
                    <a:pt x="7" y="14"/>
                    <a:pt x="4" y="16"/>
                    <a:pt x="3" y="14"/>
                  </a:cubicBezTo>
                  <a:cubicBezTo>
                    <a:pt x="3" y="13"/>
                    <a:pt x="0" y="10"/>
                    <a:pt x="2" y="9"/>
                  </a:cubicBezTo>
                  <a:cubicBezTo>
                    <a:pt x="3" y="7"/>
                    <a:pt x="3" y="12"/>
                    <a:pt x="5" y="11"/>
                  </a:cubicBezTo>
                  <a:cubicBezTo>
                    <a:pt x="7" y="10"/>
                    <a:pt x="7" y="8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6" y="6"/>
                    <a:pt x="5" y="5"/>
                    <a:pt x="4" y="5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6" y="4"/>
                    <a:pt x="5" y="3"/>
                    <a:pt x="4" y="3"/>
                  </a:cubicBezTo>
                  <a:cubicBezTo>
                    <a:pt x="5" y="3"/>
                    <a:pt x="6" y="3"/>
                    <a:pt x="6" y="2"/>
                  </a:cubicBezTo>
                  <a:cubicBezTo>
                    <a:pt x="5" y="0"/>
                    <a:pt x="7" y="2"/>
                    <a:pt x="8" y="2"/>
                  </a:cubicBezTo>
                  <a:cubicBezTo>
                    <a:pt x="10" y="3"/>
                    <a:pt x="12" y="1"/>
                    <a:pt x="13" y="1"/>
                  </a:cubicBezTo>
                  <a:cubicBezTo>
                    <a:pt x="15" y="2"/>
                    <a:pt x="12" y="3"/>
                    <a:pt x="13" y="5"/>
                  </a:cubicBezTo>
                  <a:cubicBezTo>
                    <a:pt x="13" y="6"/>
                    <a:pt x="11" y="8"/>
                    <a:pt x="10" y="9"/>
                  </a:cubicBezTo>
                  <a:cubicBezTo>
                    <a:pt x="12" y="8"/>
                    <a:pt x="14" y="9"/>
                    <a:pt x="13" y="11"/>
                  </a:cubicBezTo>
                  <a:cubicBezTo>
                    <a:pt x="14" y="11"/>
                    <a:pt x="14" y="11"/>
                    <a:pt x="15" y="10"/>
                  </a:cubicBezTo>
                  <a:cubicBezTo>
                    <a:pt x="15" y="12"/>
                    <a:pt x="15" y="13"/>
                    <a:pt x="15" y="15"/>
                  </a:cubicBezTo>
                  <a:cubicBezTo>
                    <a:pt x="15" y="17"/>
                    <a:pt x="14" y="20"/>
                    <a:pt x="11" y="19"/>
                  </a:cubicBezTo>
                  <a:cubicBezTo>
                    <a:pt x="12" y="20"/>
                    <a:pt x="11" y="22"/>
                    <a:pt x="9" y="21"/>
                  </a:cubicBezTo>
                  <a:cubicBezTo>
                    <a:pt x="8" y="20"/>
                    <a:pt x="8" y="18"/>
                    <a:pt x="7" y="1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0" name="Freeform 173"/>
            <p:cNvSpPr>
              <a:spLocks noEditPoints="1"/>
            </p:cNvSpPr>
            <p:nvPr/>
          </p:nvSpPr>
          <p:spPr bwMode="auto">
            <a:xfrm>
              <a:off x="6635775" y="1259917"/>
              <a:ext cx="125930" cy="163672"/>
            </a:xfrm>
            <a:custGeom>
              <a:avLst/>
              <a:gdLst>
                <a:gd name="T0" fmla="*/ 2147483646 w 17"/>
                <a:gd name="T1" fmla="*/ 2147483646 h 22"/>
                <a:gd name="T2" fmla="*/ 2147483646 w 17"/>
                <a:gd name="T3" fmla="*/ 2147483646 h 22"/>
                <a:gd name="T4" fmla="*/ 2147483646 w 17"/>
                <a:gd name="T5" fmla="*/ 2147483646 h 22"/>
                <a:gd name="T6" fmla="*/ 2147483646 w 17"/>
                <a:gd name="T7" fmla="*/ 2147483646 h 22"/>
                <a:gd name="T8" fmla="*/ 2147483646 w 17"/>
                <a:gd name="T9" fmla="*/ 2147483646 h 22"/>
                <a:gd name="T10" fmla="*/ 2147483646 w 17"/>
                <a:gd name="T11" fmla="*/ 2147483646 h 22"/>
                <a:gd name="T12" fmla="*/ 2147483646 w 17"/>
                <a:gd name="T13" fmla="*/ 2147483646 h 22"/>
                <a:gd name="T14" fmla="*/ 2147483646 w 17"/>
                <a:gd name="T15" fmla="*/ 2147483646 h 22"/>
                <a:gd name="T16" fmla="*/ 0 w 17"/>
                <a:gd name="T17" fmla="*/ 2147483646 h 22"/>
                <a:gd name="T18" fmla="*/ 2147483646 w 17"/>
                <a:gd name="T19" fmla="*/ 2147483646 h 22"/>
                <a:gd name="T20" fmla="*/ 2147483646 w 17"/>
                <a:gd name="T21" fmla="*/ 2147483646 h 22"/>
                <a:gd name="T22" fmla="*/ 2147483646 w 17"/>
                <a:gd name="T23" fmla="*/ 2147483646 h 22"/>
                <a:gd name="T24" fmla="*/ 2147483646 w 17"/>
                <a:gd name="T25" fmla="*/ 2147483646 h 22"/>
                <a:gd name="T26" fmla="*/ 2147483646 w 17"/>
                <a:gd name="T27" fmla="*/ 2147483646 h 22"/>
                <a:gd name="T28" fmla="*/ 2147483646 w 17"/>
                <a:gd name="T29" fmla="*/ 0 h 22"/>
                <a:gd name="T30" fmla="*/ 2147483646 w 17"/>
                <a:gd name="T31" fmla="*/ 2147483646 h 22"/>
                <a:gd name="T32" fmla="*/ 2147483646 w 17"/>
                <a:gd name="T33" fmla="*/ 2147483646 h 22"/>
                <a:gd name="T34" fmla="*/ 2147483646 w 17"/>
                <a:gd name="T35" fmla="*/ 2147483646 h 22"/>
                <a:gd name="T36" fmla="*/ 2147483646 w 17"/>
                <a:gd name="T37" fmla="*/ 2147483646 h 22"/>
                <a:gd name="T38" fmla="*/ 2147483646 w 17"/>
                <a:gd name="T39" fmla="*/ 2147483646 h 22"/>
                <a:gd name="T40" fmla="*/ 2147483646 w 17"/>
                <a:gd name="T41" fmla="*/ 2147483646 h 22"/>
                <a:gd name="T42" fmla="*/ 2147483646 w 17"/>
                <a:gd name="T43" fmla="*/ 2147483646 h 22"/>
                <a:gd name="T44" fmla="*/ 2147483646 w 17"/>
                <a:gd name="T45" fmla="*/ 2147483646 h 22"/>
                <a:gd name="T46" fmla="*/ 2147483646 w 17"/>
                <a:gd name="T47" fmla="*/ 2147483646 h 22"/>
                <a:gd name="T48" fmla="*/ 2147483646 w 17"/>
                <a:gd name="T49" fmla="*/ 2147483646 h 22"/>
                <a:gd name="T50" fmla="*/ 2147483646 w 17"/>
                <a:gd name="T51" fmla="*/ 2147483646 h 22"/>
                <a:gd name="T52" fmla="*/ 2147483646 w 17"/>
                <a:gd name="T53" fmla="*/ 2147483646 h 22"/>
                <a:gd name="T54" fmla="*/ 2147483646 w 17"/>
                <a:gd name="T55" fmla="*/ 2147483646 h 22"/>
                <a:gd name="T56" fmla="*/ 2147483646 w 17"/>
                <a:gd name="T57" fmla="*/ 2147483646 h 22"/>
                <a:gd name="T58" fmla="*/ 2147483646 w 17"/>
                <a:gd name="T59" fmla="*/ 2147483646 h 22"/>
                <a:gd name="T60" fmla="*/ 2147483646 w 17"/>
                <a:gd name="T61" fmla="*/ 2147483646 h 22"/>
                <a:gd name="T62" fmla="*/ 2147483646 w 17"/>
                <a:gd name="T63" fmla="*/ 2147483646 h 22"/>
                <a:gd name="T64" fmla="*/ 2147483646 w 17"/>
                <a:gd name="T65" fmla="*/ 2147483646 h 22"/>
                <a:gd name="T66" fmla="*/ 2147483646 w 17"/>
                <a:gd name="T67" fmla="*/ 2147483646 h 22"/>
                <a:gd name="T68" fmla="*/ 2147483646 w 17"/>
                <a:gd name="T69" fmla="*/ 2147483646 h 22"/>
                <a:gd name="T70" fmla="*/ 2147483646 w 17"/>
                <a:gd name="T71" fmla="*/ 2147483646 h 22"/>
                <a:gd name="T72" fmla="*/ 2147483646 w 17"/>
                <a:gd name="T73" fmla="*/ 2147483646 h 22"/>
                <a:gd name="T74" fmla="*/ 2147483646 w 17"/>
                <a:gd name="T75" fmla="*/ 2147483646 h 22"/>
                <a:gd name="T76" fmla="*/ 2147483646 w 17"/>
                <a:gd name="T77" fmla="*/ 2147483646 h 22"/>
                <a:gd name="T78" fmla="*/ 2147483646 w 17"/>
                <a:gd name="T79" fmla="*/ 2147483646 h 22"/>
                <a:gd name="T80" fmla="*/ 2147483646 w 17"/>
                <a:gd name="T81" fmla="*/ 2147483646 h 22"/>
                <a:gd name="T82" fmla="*/ 2147483646 w 17"/>
                <a:gd name="T83" fmla="*/ 2147483646 h 22"/>
                <a:gd name="T84" fmla="*/ 2147483646 w 17"/>
                <a:gd name="T85" fmla="*/ 2147483646 h 22"/>
                <a:gd name="T86" fmla="*/ 2147483646 w 17"/>
                <a:gd name="T87" fmla="*/ 2147483646 h 22"/>
                <a:gd name="T88" fmla="*/ 2147483646 w 17"/>
                <a:gd name="T89" fmla="*/ 2147483646 h 2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7" h="22">
                  <a:moveTo>
                    <a:pt x="11" y="22"/>
                  </a:moveTo>
                  <a:cubicBezTo>
                    <a:pt x="11" y="22"/>
                    <a:pt x="10" y="22"/>
                    <a:pt x="10" y="21"/>
                  </a:cubicBezTo>
                  <a:cubicBezTo>
                    <a:pt x="9" y="21"/>
                    <a:pt x="9" y="20"/>
                    <a:pt x="9" y="19"/>
                  </a:cubicBezTo>
                  <a:cubicBezTo>
                    <a:pt x="8" y="18"/>
                    <a:pt x="8" y="17"/>
                    <a:pt x="8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5"/>
                  </a:cubicBezTo>
                  <a:cubicBezTo>
                    <a:pt x="4" y="14"/>
                    <a:pt x="4" y="14"/>
                    <a:pt x="3" y="14"/>
                  </a:cubicBezTo>
                  <a:cubicBezTo>
                    <a:pt x="2" y="12"/>
                    <a:pt x="1" y="10"/>
                    <a:pt x="2" y="8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4" y="8"/>
                    <a:pt x="4" y="9"/>
                    <a:pt x="5" y="9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7" y="10"/>
                    <a:pt x="7" y="10"/>
                    <a:pt x="7" y="9"/>
                  </a:cubicBezTo>
                  <a:cubicBezTo>
                    <a:pt x="7" y="9"/>
                    <a:pt x="7" y="8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3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8" y="1"/>
                    <a:pt x="8" y="1"/>
                    <a:pt x="9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1"/>
                    <a:pt x="13" y="0"/>
                    <a:pt x="14" y="0"/>
                  </a:cubicBezTo>
                  <a:cubicBezTo>
                    <a:pt x="15" y="1"/>
                    <a:pt x="15" y="1"/>
                    <a:pt x="15" y="2"/>
                  </a:cubicBezTo>
                  <a:cubicBezTo>
                    <a:pt x="15" y="2"/>
                    <a:pt x="15" y="3"/>
                    <a:pt x="15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5"/>
                    <a:pt x="14" y="7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4" y="8"/>
                    <a:pt x="14" y="9"/>
                  </a:cubicBezTo>
                  <a:cubicBezTo>
                    <a:pt x="15" y="9"/>
                    <a:pt x="15" y="9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1"/>
                    <a:pt x="17" y="12"/>
                    <a:pt x="16" y="13"/>
                  </a:cubicBezTo>
                  <a:cubicBezTo>
                    <a:pt x="16" y="14"/>
                    <a:pt x="16" y="15"/>
                    <a:pt x="16" y="15"/>
                  </a:cubicBezTo>
                  <a:cubicBezTo>
                    <a:pt x="17" y="16"/>
                    <a:pt x="16" y="18"/>
                    <a:pt x="15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3" y="20"/>
                    <a:pt x="13" y="20"/>
                    <a:pt x="13" y="21"/>
                  </a:cubicBezTo>
                  <a:cubicBezTo>
                    <a:pt x="12" y="21"/>
                    <a:pt x="12" y="22"/>
                    <a:pt x="11" y="22"/>
                  </a:cubicBezTo>
                  <a:close/>
                  <a:moveTo>
                    <a:pt x="8" y="16"/>
                  </a:moveTo>
                  <a:cubicBezTo>
                    <a:pt x="9" y="17"/>
                    <a:pt x="9" y="18"/>
                    <a:pt x="10" y="19"/>
                  </a:cubicBezTo>
                  <a:cubicBezTo>
                    <a:pt x="10" y="19"/>
                    <a:pt x="10" y="20"/>
                    <a:pt x="10" y="20"/>
                  </a:cubicBezTo>
                  <a:cubicBezTo>
                    <a:pt x="11" y="21"/>
                    <a:pt x="12" y="21"/>
                    <a:pt x="12" y="20"/>
                  </a:cubicBezTo>
                  <a:cubicBezTo>
                    <a:pt x="12" y="20"/>
                    <a:pt x="12" y="19"/>
                    <a:pt x="12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9"/>
                    <a:pt x="14" y="18"/>
                    <a:pt x="15" y="18"/>
                  </a:cubicBezTo>
                  <a:cubicBezTo>
                    <a:pt x="15" y="17"/>
                    <a:pt x="15" y="16"/>
                    <a:pt x="15" y="15"/>
                  </a:cubicBezTo>
                  <a:cubicBezTo>
                    <a:pt x="15" y="15"/>
                    <a:pt x="15" y="14"/>
                    <a:pt x="15" y="13"/>
                  </a:cubicBezTo>
                  <a:cubicBezTo>
                    <a:pt x="15" y="13"/>
                    <a:pt x="15" y="12"/>
                    <a:pt x="15" y="11"/>
                  </a:cubicBezTo>
                  <a:cubicBezTo>
                    <a:pt x="15" y="11"/>
                    <a:pt x="15" y="11"/>
                    <a:pt x="15" y="1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0"/>
                    <a:pt x="14" y="10"/>
                    <a:pt x="13" y="9"/>
                  </a:cubicBezTo>
                  <a:cubicBezTo>
                    <a:pt x="13" y="9"/>
                    <a:pt x="13" y="9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2" y="8"/>
                    <a:pt x="12" y="7"/>
                  </a:cubicBezTo>
                  <a:cubicBezTo>
                    <a:pt x="13" y="6"/>
                    <a:pt x="13" y="5"/>
                    <a:pt x="13" y="5"/>
                  </a:cubicBezTo>
                  <a:cubicBezTo>
                    <a:pt x="13" y="4"/>
                    <a:pt x="13" y="3"/>
                    <a:pt x="14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1"/>
                    <a:pt x="13" y="2"/>
                    <a:pt x="12" y="2"/>
                  </a:cubicBezTo>
                  <a:cubicBezTo>
                    <a:pt x="11" y="3"/>
                    <a:pt x="10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9"/>
                    <a:pt x="8" y="10"/>
                  </a:cubicBezTo>
                  <a:cubicBezTo>
                    <a:pt x="8" y="10"/>
                    <a:pt x="7" y="11"/>
                    <a:pt x="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4" y="11"/>
                    <a:pt x="4" y="10"/>
                  </a:cubicBezTo>
                  <a:cubicBezTo>
                    <a:pt x="4" y="10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4" y="12"/>
                    <a:pt x="4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5"/>
                    <a:pt x="8" y="15"/>
                    <a:pt x="8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1" name="Freeform 174"/>
            <p:cNvSpPr/>
            <p:nvPr/>
          </p:nvSpPr>
          <p:spPr bwMode="auto">
            <a:xfrm>
              <a:off x="7237090" y="1876836"/>
              <a:ext cx="6296" cy="629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147483646 h 1"/>
                <a:gd name="T4" fmla="*/ 2147483646 w 1"/>
                <a:gd name="T5" fmla="*/ 0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2" name="Freeform 175"/>
            <p:cNvSpPr/>
            <p:nvPr/>
          </p:nvSpPr>
          <p:spPr bwMode="auto">
            <a:xfrm>
              <a:off x="7237090" y="1870541"/>
              <a:ext cx="15741" cy="22033"/>
            </a:xfrm>
            <a:custGeom>
              <a:avLst/>
              <a:gdLst>
                <a:gd name="T0" fmla="*/ 0 w 2"/>
                <a:gd name="T1" fmla="*/ 2147483646 h 3"/>
                <a:gd name="T2" fmla="*/ 0 w 2"/>
                <a:gd name="T3" fmla="*/ 2147483646 h 3"/>
                <a:gd name="T4" fmla="*/ 2147483646 w 2"/>
                <a:gd name="T5" fmla="*/ 0 h 3"/>
                <a:gd name="T6" fmla="*/ 2147483646 w 2"/>
                <a:gd name="T7" fmla="*/ 2147483646 h 3"/>
                <a:gd name="T8" fmla="*/ 2147483646 w 2"/>
                <a:gd name="T9" fmla="*/ 2147483646 h 3"/>
                <a:gd name="T10" fmla="*/ 0 w 2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3" name="Freeform 176"/>
            <p:cNvSpPr/>
            <p:nvPr/>
          </p:nvSpPr>
          <p:spPr bwMode="auto">
            <a:xfrm>
              <a:off x="6985231" y="2301754"/>
              <a:ext cx="28334" cy="12590"/>
            </a:xfrm>
            <a:custGeom>
              <a:avLst/>
              <a:gdLst>
                <a:gd name="T0" fmla="*/ 2147483646 w 4"/>
                <a:gd name="T1" fmla="*/ 0 h 2"/>
                <a:gd name="T2" fmla="*/ 2147483646 w 4"/>
                <a:gd name="T3" fmla="*/ 2147483646 h 2"/>
                <a:gd name="T4" fmla="*/ 0 w 4"/>
                <a:gd name="T5" fmla="*/ 0 h 2"/>
                <a:gd name="T6" fmla="*/ 2147483646 w 4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cubicBezTo>
                    <a:pt x="2" y="0"/>
                    <a:pt x="4" y="0"/>
                    <a:pt x="3" y="1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4" name="Freeform 177"/>
            <p:cNvSpPr/>
            <p:nvPr/>
          </p:nvSpPr>
          <p:spPr bwMode="auto">
            <a:xfrm>
              <a:off x="6963193" y="2301754"/>
              <a:ext cx="50372" cy="12590"/>
            </a:xfrm>
            <a:custGeom>
              <a:avLst/>
              <a:gdLst>
                <a:gd name="T0" fmla="*/ 2147483646 w 7"/>
                <a:gd name="T1" fmla="*/ 2147483646 h 2"/>
                <a:gd name="T2" fmla="*/ 2147483646 w 7"/>
                <a:gd name="T3" fmla="*/ 2147483646 h 2"/>
                <a:gd name="T4" fmla="*/ 2147483646 w 7"/>
                <a:gd name="T5" fmla="*/ 2147483646 h 2"/>
                <a:gd name="T6" fmla="*/ 0 w 7"/>
                <a:gd name="T7" fmla="*/ 0 h 2"/>
                <a:gd name="T8" fmla="*/ 2147483646 w 7"/>
                <a:gd name="T9" fmla="*/ 0 h 2"/>
                <a:gd name="T10" fmla="*/ 2147483646 w 7"/>
                <a:gd name="T11" fmla="*/ 0 h 2"/>
                <a:gd name="T12" fmla="*/ 2147483646 w 7"/>
                <a:gd name="T13" fmla="*/ 2147483646 h 2"/>
                <a:gd name="T14" fmla="*/ 2147483646 w 7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" h="2">
                  <a:moveTo>
                    <a:pt x="5" y="2"/>
                  </a:moveTo>
                  <a:cubicBezTo>
                    <a:pt x="5" y="2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1"/>
                    <a:pt x="7" y="1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5" name="Freeform 178"/>
            <p:cNvSpPr/>
            <p:nvPr/>
          </p:nvSpPr>
          <p:spPr bwMode="auto">
            <a:xfrm>
              <a:off x="6997824" y="2106606"/>
              <a:ext cx="22038" cy="15738"/>
            </a:xfrm>
            <a:custGeom>
              <a:avLst/>
              <a:gdLst>
                <a:gd name="T0" fmla="*/ 0 w 3"/>
                <a:gd name="T1" fmla="*/ 0 h 2"/>
                <a:gd name="T2" fmla="*/ 2147483646 w 3"/>
                <a:gd name="T3" fmla="*/ 2147483646 h 2"/>
                <a:gd name="T4" fmla="*/ 0 w 3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2" y="0"/>
                    <a:pt x="3" y="0"/>
                    <a:pt x="3" y="2"/>
                  </a:cubicBezTo>
                  <a:cubicBezTo>
                    <a:pt x="2" y="2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6" name="Freeform 179"/>
            <p:cNvSpPr/>
            <p:nvPr/>
          </p:nvSpPr>
          <p:spPr bwMode="auto">
            <a:xfrm>
              <a:off x="6997824" y="2100311"/>
              <a:ext cx="31482" cy="28328"/>
            </a:xfrm>
            <a:custGeom>
              <a:avLst/>
              <a:gdLst>
                <a:gd name="T0" fmla="*/ 2147483646 w 4"/>
                <a:gd name="T1" fmla="*/ 2147483646 h 4"/>
                <a:gd name="T2" fmla="*/ 2147483646 w 4"/>
                <a:gd name="T3" fmla="*/ 2147483646 h 4"/>
                <a:gd name="T4" fmla="*/ 2147483646 w 4"/>
                <a:gd name="T5" fmla="*/ 2147483646 h 4"/>
                <a:gd name="T6" fmla="*/ 0 w 4"/>
                <a:gd name="T7" fmla="*/ 2147483646 h 4"/>
                <a:gd name="T8" fmla="*/ 0 w 4"/>
                <a:gd name="T9" fmla="*/ 2147483646 h 4"/>
                <a:gd name="T10" fmla="*/ 0 w 4"/>
                <a:gd name="T11" fmla="*/ 2147483646 h 4"/>
                <a:gd name="T12" fmla="*/ 2147483646 w 4"/>
                <a:gd name="T13" fmla="*/ 2147483646 h 4"/>
                <a:gd name="T14" fmla="*/ 2147483646 w 4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2" y="3"/>
                  </a:cubicBezTo>
                  <a:cubicBezTo>
                    <a:pt x="1" y="3"/>
                    <a:pt x="0" y="3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4" y="1"/>
                    <a:pt x="4" y="3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7" name="Freeform 180"/>
            <p:cNvSpPr/>
            <p:nvPr/>
          </p:nvSpPr>
          <p:spPr bwMode="auto">
            <a:xfrm>
              <a:off x="7029306" y="1810737"/>
              <a:ext cx="22038" cy="28328"/>
            </a:xfrm>
            <a:custGeom>
              <a:avLst/>
              <a:gdLst>
                <a:gd name="T0" fmla="*/ 2147483646 w 3"/>
                <a:gd name="T1" fmla="*/ 0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2147483646 w 3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3"/>
                    <a:pt x="2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8" name="Freeform 181"/>
            <p:cNvSpPr>
              <a:spLocks noEditPoints="1"/>
            </p:cNvSpPr>
            <p:nvPr/>
          </p:nvSpPr>
          <p:spPr bwMode="auto">
            <a:xfrm>
              <a:off x="7029306" y="1801295"/>
              <a:ext cx="22038" cy="47213"/>
            </a:xfrm>
            <a:custGeom>
              <a:avLst/>
              <a:gdLst>
                <a:gd name="T0" fmla="*/ 2147483646 w 3"/>
                <a:gd name="T1" fmla="*/ 2147483646 h 6"/>
                <a:gd name="T2" fmla="*/ 2147483646 w 3"/>
                <a:gd name="T3" fmla="*/ 2147483646 h 6"/>
                <a:gd name="T4" fmla="*/ 0 w 3"/>
                <a:gd name="T5" fmla="*/ 2147483646 h 6"/>
                <a:gd name="T6" fmla="*/ 2147483646 w 3"/>
                <a:gd name="T7" fmla="*/ 0 h 6"/>
                <a:gd name="T8" fmla="*/ 2147483646 w 3"/>
                <a:gd name="T9" fmla="*/ 0 h 6"/>
                <a:gd name="T10" fmla="*/ 2147483646 w 3"/>
                <a:gd name="T11" fmla="*/ 0 h 6"/>
                <a:gd name="T12" fmla="*/ 2147483646 w 3"/>
                <a:gd name="T13" fmla="*/ 2147483646 h 6"/>
                <a:gd name="T14" fmla="*/ 2147483646 w 3"/>
                <a:gd name="T15" fmla="*/ 2147483646 h 6"/>
                <a:gd name="T16" fmla="*/ 2147483646 w 3"/>
                <a:gd name="T17" fmla="*/ 2147483646 h 6"/>
                <a:gd name="T18" fmla="*/ 2147483646 w 3"/>
                <a:gd name="T19" fmla="*/ 2147483646 h 6"/>
                <a:gd name="T20" fmla="*/ 2147483646 w 3"/>
                <a:gd name="T21" fmla="*/ 2147483646 h 6"/>
                <a:gd name="T22" fmla="*/ 2147483646 w 3"/>
                <a:gd name="T23" fmla="*/ 2147483646 h 6"/>
                <a:gd name="T24" fmla="*/ 2147483646 w 3"/>
                <a:gd name="T25" fmla="*/ 2147483646 h 6"/>
                <a:gd name="T26" fmla="*/ 2147483646 w 3"/>
                <a:gd name="T27" fmla="*/ 2147483646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" h="6">
                  <a:moveTo>
                    <a:pt x="2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2" y="6"/>
                  </a:lnTo>
                  <a:close/>
                  <a:moveTo>
                    <a:pt x="1" y="2"/>
                  </a:moveTo>
                  <a:cubicBezTo>
                    <a:pt x="1" y="2"/>
                    <a:pt x="1" y="3"/>
                    <a:pt x="1" y="4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9" name="Freeform 182"/>
            <p:cNvSpPr/>
            <p:nvPr/>
          </p:nvSpPr>
          <p:spPr bwMode="auto">
            <a:xfrm>
              <a:off x="6969489" y="1788704"/>
              <a:ext cx="28334" cy="28328"/>
            </a:xfrm>
            <a:custGeom>
              <a:avLst/>
              <a:gdLst>
                <a:gd name="T0" fmla="*/ 2147483646 w 4"/>
                <a:gd name="T1" fmla="*/ 0 h 4"/>
                <a:gd name="T2" fmla="*/ 0 w 4"/>
                <a:gd name="T3" fmla="*/ 2147483646 h 4"/>
                <a:gd name="T4" fmla="*/ 2147483646 w 4"/>
                <a:gd name="T5" fmla="*/ 0 h 4"/>
                <a:gd name="T6" fmla="*/ 2147483646 w 4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1" y="1"/>
                    <a:pt x="1" y="2"/>
                    <a:pt x="0" y="4"/>
                  </a:cubicBezTo>
                  <a:cubicBezTo>
                    <a:pt x="2" y="4"/>
                    <a:pt x="4" y="2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0" name="Freeform 183"/>
            <p:cNvSpPr>
              <a:spLocks noEditPoints="1"/>
            </p:cNvSpPr>
            <p:nvPr/>
          </p:nvSpPr>
          <p:spPr bwMode="auto">
            <a:xfrm>
              <a:off x="6963193" y="1788704"/>
              <a:ext cx="44075" cy="37771"/>
            </a:xfrm>
            <a:custGeom>
              <a:avLst/>
              <a:gdLst>
                <a:gd name="T0" fmla="*/ 0 w 6"/>
                <a:gd name="T1" fmla="*/ 2147483646 h 5"/>
                <a:gd name="T2" fmla="*/ 2147483646 w 6"/>
                <a:gd name="T3" fmla="*/ 2147483646 h 5"/>
                <a:gd name="T4" fmla="*/ 2147483646 w 6"/>
                <a:gd name="T5" fmla="*/ 2147483646 h 5"/>
                <a:gd name="T6" fmla="*/ 2147483646 w 6"/>
                <a:gd name="T7" fmla="*/ 0 h 5"/>
                <a:gd name="T8" fmla="*/ 2147483646 w 6"/>
                <a:gd name="T9" fmla="*/ 0 h 5"/>
                <a:gd name="T10" fmla="*/ 2147483646 w 6"/>
                <a:gd name="T11" fmla="*/ 0 h 5"/>
                <a:gd name="T12" fmla="*/ 2147483646 w 6"/>
                <a:gd name="T13" fmla="*/ 2147483646 h 5"/>
                <a:gd name="T14" fmla="*/ 2147483646 w 6"/>
                <a:gd name="T15" fmla="*/ 2147483646 h 5"/>
                <a:gd name="T16" fmla="*/ 0 w 6"/>
                <a:gd name="T17" fmla="*/ 2147483646 h 5"/>
                <a:gd name="T18" fmla="*/ 2147483646 w 6"/>
                <a:gd name="T19" fmla="*/ 2147483646 h 5"/>
                <a:gd name="T20" fmla="*/ 2147483646 w 6"/>
                <a:gd name="T21" fmla="*/ 2147483646 h 5"/>
                <a:gd name="T22" fmla="*/ 2147483646 w 6"/>
                <a:gd name="T23" fmla="*/ 2147483646 h 5"/>
                <a:gd name="T24" fmla="*/ 2147483646 w 6"/>
                <a:gd name="T25" fmla="*/ 2147483646 h 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2" y="2"/>
                    <a:pt x="2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3"/>
                    <a:pt x="3" y="5"/>
                    <a:pt x="1" y="5"/>
                  </a:cubicBezTo>
                  <a:lnTo>
                    <a:pt x="0" y="5"/>
                  </a:lnTo>
                  <a:close/>
                  <a:moveTo>
                    <a:pt x="4" y="1"/>
                  </a:moveTo>
                  <a:cubicBezTo>
                    <a:pt x="3" y="1"/>
                    <a:pt x="3" y="2"/>
                    <a:pt x="2" y="4"/>
                  </a:cubicBezTo>
                  <a:cubicBezTo>
                    <a:pt x="3" y="3"/>
                    <a:pt x="4" y="2"/>
                    <a:pt x="5" y="1"/>
                  </a:cubicBezTo>
                  <a:lnTo>
                    <a:pt x="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1" name="Freeform 184"/>
            <p:cNvSpPr/>
            <p:nvPr/>
          </p:nvSpPr>
          <p:spPr bwMode="auto">
            <a:xfrm>
              <a:off x="7356724" y="2270279"/>
              <a:ext cx="37779" cy="44066"/>
            </a:xfrm>
            <a:custGeom>
              <a:avLst/>
              <a:gdLst>
                <a:gd name="T0" fmla="*/ 2147483646 w 5"/>
                <a:gd name="T1" fmla="*/ 0 h 6"/>
                <a:gd name="T2" fmla="*/ 0 w 5"/>
                <a:gd name="T3" fmla="*/ 2147483646 h 6"/>
                <a:gd name="T4" fmla="*/ 2147483646 w 5"/>
                <a:gd name="T5" fmla="*/ 2147483646 h 6"/>
                <a:gd name="T6" fmla="*/ 2147483646 w 5"/>
                <a:gd name="T7" fmla="*/ 2147483646 h 6"/>
                <a:gd name="T8" fmla="*/ 2147483646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6">
                  <a:moveTo>
                    <a:pt x="2" y="0"/>
                  </a:moveTo>
                  <a:cubicBezTo>
                    <a:pt x="2" y="1"/>
                    <a:pt x="0" y="4"/>
                    <a:pt x="0" y="5"/>
                  </a:cubicBezTo>
                  <a:cubicBezTo>
                    <a:pt x="1" y="6"/>
                    <a:pt x="5" y="4"/>
                    <a:pt x="4" y="3"/>
                  </a:cubicBezTo>
                  <a:cubicBezTo>
                    <a:pt x="3" y="4"/>
                    <a:pt x="3" y="3"/>
                    <a:pt x="2" y="3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2" name="Freeform 185"/>
            <p:cNvSpPr>
              <a:spLocks noEditPoints="1"/>
            </p:cNvSpPr>
            <p:nvPr/>
          </p:nvSpPr>
          <p:spPr bwMode="auto">
            <a:xfrm>
              <a:off x="7347279" y="2270279"/>
              <a:ext cx="37779" cy="44066"/>
            </a:xfrm>
            <a:custGeom>
              <a:avLst/>
              <a:gdLst>
                <a:gd name="T0" fmla="*/ 2147483646 w 5"/>
                <a:gd name="T1" fmla="*/ 2147483646 h 6"/>
                <a:gd name="T2" fmla="*/ 2147483646 w 5"/>
                <a:gd name="T3" fmla="*/ 2147483646 h 6"/>
                <a:gd name="T4" fmla="*/ 2147483646 w 5"/>
                <a:gd name="T5" fmla="*/ 2147483646 h 6"/>
                <a:gd name="T6" fmla="*/ 2147483646 w 5"/>
                <a:gd name="T7" fmla="*/ 0 h 6"/>
                <a:gd name="T8" fmla="*/ 2147483646 w 5"/>
                <a:gd name="T9" fmla="*/ 0 h 6"/>
                <a:gd name="T10" fmla="*/ 2147483646 w 5"/>
                <a:gd name="T11" fmla="*/ 0 h 6"/>
                <a:gd name="T12" fmla="*/ 2147483646 w 5"/>
                <a:gd name="T13" fmla="*/ 2147483646 h 6"/>
                <a:gd name="T14" fmla="*/ 2147483646 w 5"/>
                <a:gd name="T15" fmla="*/ 2147483646 h 6"/>
                <a:gd name="T16" fmla="*/ 2147483646 w 5"/>
                <a:gd name="T17" fmla="*/ 2147483646 h 6"/>
                <a:gd name="T18" fmla="*/ 2147483646 w 5"/>
                <a:gd name="T19" fmla="*/ 2147483646 h 6"/>
                <a:gd name="T20" fmla="*/ 2147483646 w 5"/>
                <a:gd name="T21" fmla="*/ 2147483646 h 6"/>
                <a:gd name="T22" fmla="*/ 2147483646 w 5"/>
                <a:gd name="T23" fmla="*/ 2147483646 h 6"/>
                <a:gd name="T24" fmla="*/ 2147483646 w 5"/>
                <a:gd name="T25" fmla="*/ 2147483646 h 6"/>
                <a:gd name="T26" fmla="*/ 2147483646 w 5"/>
                <a:gd name="T27" fmla="*/ 2147483646 h 6"/>
                <a:gd name="T28" fmla="*/ 2147483646 w 5"/>
                <a:gd name="T29" fmla="*/ 2147483646 h 6"/>
                <a:gd name="T30" fmla="*/ 2147483646 w 5"/>
                <a:gd name="T31" fmla="*/ 2147483646 h 6"/>
                <a:gd name="T32" fmla="*/ 2147483646 w 5"/>
                <a:gd name="T33" fmla="*/ 2147483646 h 6"/>
                <a:gd name="T34" fmla="*/ 2147483646 w 5"/>
                <a:gd name="T35" fmla="*/ 2147483646 h 6"/>
                <a:gd name="T36" fmla="*/ 2147483646 w 5"/>
                <a:gd name="T37" fmla="*/ 2147483646 h 6"/>
                <a:gd name="T38" fmla="*/ 2147483646 w 5"/>
                <a:gd name="T39" fmla="*/ 2147483646 h 6"/>
                <a:gd name="T40" fmla="*/ 2147483646 w 5"/>
                <a:gd name="T41" fmla="*/ 2147483646 h 6"/>
                <a:gd name="T42" fmla="*/ 2147483646 w 5"/>
                <a:gd name="T43" fmla="*/ 2147483646 h 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cubicBezTo>
                    <a:pt x="2" y="6"/>
                    <a:pt x="1" y="5"/>
                    <a:pt x="1" y="5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5"/>
                    <a:pt x="3" y="6"/>
                    <a:pt x="2" y="6"/>
                  </a:cubicBezTo>
                  <a:close/>
                  <a:moveTo>
                    <a:pt x="3" y="2"/>
                  </a:move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3" name="Freeform 186"/>
            <p:cNvSpPr/>
            <p:nvPr/>
          </p:nvSpPr>
          <p:spPr bwMode="auto">
            <a:xfrm>
              <a:off x="7287462" y="1832770"/>
              <a:ext cx="15741" cy="15738"/>
            </a:xfrm>
            <a:custGeom>
              <a:avLst/>
              <a:gdLst>
                <a:gd name="T0" fmla="*/ 2147483646 w 2"/>
                <a:gd name="T1" fmla="*/ 0 h 2"/>
                <a:gd name="T2" fmla="*/ 2147483646 w 2"/>
                <a:gd name="T3" fmla="*/ 2147483646 h 2"/>
                <a:gd name="T4" fmla="*/ 0 w 2"/>
                <a:gd name="T5" fmla="*/ 2147483646 h 2"/>
                <a:gd name="T6" fmla="*/ 2147483646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1"/>
                    <a:pt x="2" y="1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4" name="Freeform 187"/>
            <p:cNvSpPr/>
            <p:nvPr/>
          </p:nvSpPr>
          <p:spPr bwMode="auto">
            <a:xfrm>
              <a:off x="7281166" y="1832770"/>
              <a:ext cx="22038" cy="22033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0 w 3"/>
                <a:gd name="T5" fmla="*/ 2147483646 h 3"/>
                <a:gd name="T6" fmla="*/ 0 w 3"/>
                <a:gd name="T7" fmla="*/ 2147483646 h 3"/>
                <a:gd name="T8" fmla="*/ 0 w 3"/>
                <a:gd name="T9" fmla="*/ 2147483646 h 3"/>
                <a:gd name="T10" fmla="*/ 2147483646 w 3"/>
                <a:gd name="T11" fmla="*/ 0 h 3"/>
                <a:gd name="T12" fmla="*/ 2147483646 w 3"/>
                <a:gd name="T13" fmla="*/ 0 h 3"/>
                <a:gd name="T14" fmla="*/ 2147483646 w 3"/>
                <a:gd name="T15" fmla="*/ 0 h 3"/>
                <a:gd name="T16" fmla="*/ 2147483646 w 3"/>
                <a:gd name="T17" fmla="*/ 0 h 3"/>
                <a:gd name="T18" fmla="*/ 2147483646 w 3"/>
                <a:gd name="T19" fmla="*/ 2147483646 h 3"/>
                <a:gd name="T20" fmla="*/ 2147483646 w 3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5" name="Freeform 188"/>
            <p:cNvSpPr/>
            <p:nvPr/>
          </p:nvSpPr>
          <p:spPr bwMode="auto">
            <a:xfrm>
              <a:off x="7303204" y="2197886"/>
              <a:ext cx="53520" cy="28328"/>
            </a:xfrm>
            <a:custGeom>
              <a:avLst/>
              <a:gdLst>
                <a:gd name="T0" fmla="*/ 2147483646 w 7"/>
                <a:gd name="T1" fmla="*/ 0 h 4"/>
                <a:gd name="T2" fmla="*/ 2147483646 w 7"/>
                <a:gd name="T3" fmla="*/ 2147483646 h 4"/>
                <a:gd name="T4" fmla="*/ 0 w 7"/>
                <a:gd name="T5" fmla="*/ 2147483646 h 4"/>
                <a:gd name="T6" fmla="*/ 2147483646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3" y="1"/>
                    <a:pt x="6" y="1"/>
                    <a:pt x="7" y="3"/>
                  </a:cubicBezTo>
                  <a:cubicBezTo>
                    <a:pt x="4" y="4"/>
                    <a:pt x="3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6" name="Freeform 189"/>
            <p:cNvSpPr>
              <a:spLocks noEditPoints="1"/>
            </p:cNvSpPr>
            <p:nvPr/>
          </p:nvSpPr>
          <p:spPr bwMode="auto">
            <a:xfrm>
              <a:off x="7287462" y="2197886"/>
              <a:ext cx="69261" cy="28328"/>
            </a:xfrm>
            <a:custGeom>
              <a:avLst/>
              <a:gdLst>
                <a:gd name="T0" fmla="*/ 2147483646 w 9"/>
                <a:gd name="T1" fmla="*/ 2147483646 h 4"/>
                <a:gd name="T2" fmla="*/ 2147483646 w 9"/>
                <a:gd name="T3" fmla="*/ 2147483646 h 4"/>
                <a:gd name="T4" fmla="*/ 2147483646 w 9"/>
                <a:gd name="T5" fmla="*/ 2147483646 h 4"/>
                <a:gd name="T6" fmla="*/ 0 w 9"/>
                <a:gd name="T7" fmla="*/ 2147483646 h 4"/>
                <a:gd name="T8" fmla="*/ 2147483646 w 9"/>
                <a:gd name="T9" fmla="*/ 0 h 4"/>
                <a:gd name="T10" fmla="*/ 2147483646 w 9"/>
                <a:gd name="T11" fmla="*/ 0 h 4"/>
                <a:gd name="T12" fmla="*/ 2147483646 w 9"/>
                <a:gd name="T13" fmla="*/ 0 h 4"/>
                <a:gd name="T14" fmla="*/ 2147483646 w 9"/>
                <a:gd name="T15" fmla="*/ 0 h 4"/>
                <a:gd name="T16" fmla="*/ 2147483646 w 9"/>
                <a:gd name="T17" fmla="*/ 0 h 4"/>
                <a:gd name="T18" fmla="*/ 2147483646 w 9"/>
                <a:gd name="T19" fmla="*/ 2147483646 h 4"/>
                <a:gd name="T20" fmla="*/ 2147483646 w 9"/>
                <a:gd name="T21" fmla="*/ 2147483646 h 4"/>
                <a:gd name="T22" fmla="*/ 2147483646 w 9"/>
                <a:gd name="T23" fmla="*/ 2147483646 h 4"/>
                <a:gd name="T24" fmla="*/ 2147483646 w 9"/>
                <a:gd name="T25" fmla="*/ 2147483646 h 4"/>
                <a:gd name="T26" fmla="*/ 2147483646 w 9"/>
                <a:gd name="T27" fmla="*/ 2147483646 h 4"/>
                <a:gd name="T28" fmla="*/ 2147483646 w 9"/>
                <a:gd name="T29" fmla="*/ 2147483646 h 4"/>
                <a:gd name="T30" fmla="*/ 2147483646 w 9"/>
                <a:gd name="T31" fmla="*/ 2147483646 h 4"/>
                <a:gd name="T32" fmla="*/ 2147483646 w 9"/>
                <a:gd name="T33" fmla="*/ 2147483646 h 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" h="4">
                  <a:moveTo>
                    <a:pt x="8" y="4"/>
                  </a:moveTo>
                  <a:cubicBezTo>
                    <a:pt x="6" y="4"/>
                    <a:pt x="5" y="3"/>
                    <a:pt x="4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9" y="1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4"/>
                    <a:pt x="8" y="4"/>
                    <a:pt x="8" y="4"/>
                  </a:cubicBezTo>
                  <a:close/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2"/>
                    <a:pt x="7" y="3"/>
                    <a:pt x="8" y="3"/>
                  </a:cubicBezTo>
                  <a:cubicBezTo>
                    <a:pt x="7" y="2"/>
                    <a:pt x="6" y="2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7" name="Freeform 190"/>
            <p:cNvSpPr/>
            <p:nvPr/>
          </p:nvSpPr>
          <p:spPr bwMode="auto">
            <a:xfrm>
              <a:off x="7019861" y="1275654"/>
              <a:ext cx="81854" cy="72394"/>
            </a:xfrm>
            <a:custGeom>
              <a:avLst/>
              <a:gdLst>
                <a:gd name="T0" fmla="*/ 2147483646 w 11"/>
                <a:gd name="T1" fmla="*/ 2147483646 h 10"/>
                <a:gd name="T2" fmla="*/ 2147483646 w 11"/>
                <a:gd name="T3" fmla="*/ 2147483646 h 10"/>
                <a:gd name="T4" fmla="*/ 2147483646 w 11"/>
                <a:gd name="T5" fmla="*/ 2147483646 h 10"/>
                <a:gd name="T6" fmla="*/ 0 w 11"/>
                <a:gd name="T7" fmla="*/ 2147483646 h 10"/>
                <a:gd name="T8" fmla="*/ 2147483646 w 11"/>
                <a:gd name="T9" fmla="*/ 2147483646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0">
                  <a:moveTo>
                    <a:pt x="5" y="1"/>
                  </a:moveTo>
                  <a:cubicBezTo>
                    <a:pt x="9" y="3"/>
                    <a:pt x="9" y="4"/>
                    <a:pt x="11" y="7"/>
                  </a:cubicBezTo>
                  <a:cubicBezTo>
                    <a:pt x="9" y="8"/>
                    <a:pt x="2" y="10"/>
                    <a:pt x="2" y="6"/>
                  </a:cubicBezTo>
                  <a:cubicBezTo>
                    <a:pt x="2" y="4"/>
                    <a:pt x="0" y="4"/>
                    <a:pt x="0" y="2"/>
                  </a:cubicBezTo>
                  <a:cubicBezTo>
                    <a:pt x="0" y="0"/>
                    <a:pt x="3" y="1"/>
                    <a:pt x="5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8" name="Freeform 191"/>
            <p:cNvSpPr>
              <a:spLocks noEditPoints="1"/>
            </p:cNvSpPr>
            <p:nvPr/>
          </p:nvSpPr>
          <p:spPr bwMode="auto">
            <a:xfrm>
              <a:off x="7013565" y="1281950"/>
              <a:ext cx="97596" cy="59803"/>
            </a:xfrm>
            <a:custGeom>
              <a:avLst/>
              <a:gdLst>
                <a:gd name="T0" fmla="*/ 2147483646 w 13"/>
                <a:gd name="T1" fmla="*/ 2147483646 h 8"/>
                <a:gd name="T2" fmla="*/ 2147483646 w 13"/>
                <a:gd name="T3" fmla="*/ 2147483646 h 8"/>
                <a:gd name="T4" fmla="*/ 2147483646 w 13"/>
                <a:gd name="T5" fmla="*/ 2147483646 h 8"/>
                <a:gd name="T6" fmla="*/ 2147483646 w 13"/>
                <a:gd name="T7" fmla="*/ 2147483646 h 8"/>
                <a:gd name="T8" fmla="*/ 2147483646 w 13"/>
                <a:gd name="T9" fmla="*/ 0 h 8"/>
                <a:gd name="T10" fmla="*/ 2147483646 w 13"/>
                <a:gd name="T11" fmla="*/ 0 h 8"/>
                <a:gd name="T12" fmla="*/ 2147483646 w 13"/>
                <a:gd name="T13" fmla="*/ 0 h 8"/>
                <a:gd name="T14" fmla="*/ 2147483646 w 13"/>
                <a:gd name="T15" fmla="*/ 0 h 8"/>
                <a:gd name="T16" fmla="*/ 2147483646 w 13"/>
                <a:gd name="T17" fmla="*/ 2147483646 h 8"/>
                <a:gd name="T18" fmla="*/ 2147483646 w 13"/>
                <a:gd name="T19" fmla="*/ 2147483646 h 8"/>
                <a:gd name="T20" fmla="*/ 2147483646 w 13"/>
                <a:gd name="T21" fmla="*/ 2147483646 h 8"/>
                <a:gd name="T22" fmla="*/ 2147483646 w 13"/>
                <a:gd name="T23" fmla="*/ 2147483646 h 8"/>
                <a:gd name="T24" fmla="*/ 2147483646 w 13"/>
                <a:gd name="T25" fmla="*/ 2147483646 h 8"/>
                <a:gd name="T26" fmla="*/ 2147483646 w 13"/>
                <a:gd name="T27" fmla="*/ 2147483646 h 8"/>
                <a:gd name="T28" fmla="*/ 2147483646 w 13"/>
                <a:gd name="T29" fmla="*/ 2147483646 h 8"/>
                <a:gd name="T30" fmla="*/ 2147483646 w 13"/>
                <a:gd name="T31" fmla="*/ 2147483646 h 8"/>
                <a:gd name="T32" fmla="*/ 2147483646 w 13"/>
                <a:gd name="T33" fmla="*/ 2147483646 h 8"/>
                <a:gd name="T34" fmla="*/ 2147483646 w 13"/>
                <a:gd name="T35" fmla="*/ 2147483646 h 8"/>
                <a:gd name="T36" fmla="*/ 2147483646 w 13"/>
                <a:gd name="T37" fmla="*/ 2147483646 h 8"/>
                <a:gd name="T38" fmla="*/ 2147483646 w 13"/>
                <a:gd name="T39" fmla="*/ 2147483646 h 8"/>
                <a:gd name="T40" fmla="*/ 2147483646 w 13"/>
                <a:gd name="T41" fmla="*/ 2147483646 h 8"/>
                <a:gd name="T42" fmla="*/ 2147483646 w 13"/>
                <a:gd name="T43" fmla="*/ 2147483646 h 8"/>
                <a:gd name="T44" fmla="*/ 2147483646 w 13"/>
                <a:gd name="T45" fmla="*/ 2147483646 h 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" h="8">
                  <a:moveTo>
                    <a:pt x="6" y="8"/>
                  </a:moveTo>
                  <a:cubicBezTo>
                    <a:pt x="3" y="8"/>
                    <a:pt x="2" y="7"/>
                    <a:pt x="2" y="6"/>
                  </a:cubicBezTo>
                  <a:cubicBezTo>
                    <a:pt x="2" y="5"/>
                    <a:pt x="2" y="4"/>
                    <a:pt x="1" y="4"/>
                  </a:cubicBezTo>
                  <a:cubicBezTo>
                    <a:pt x="1" y="3"/>
                    <a:pt x="0" y="3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1"/>
                    <a:pt x="10" y="2"/>
                    <a:pt x="12" y="5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7"/>
                    <a:pt x="11" y="7"/>
                  </a:cubicBezTo>
                  <a:cubicBezTo>
                    <a:pt x="9" y="7"/>
                    <a:pt x="7" y="8"/>
                    <a:pt x="6" y="8"/>
                  </a:cubicBezTo>
                  <a:close/>
                  <a:moveTo>
                    <a:pt x="3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6"/>
                    <a:pt x="4" y="7"/>
                    <a:pt x="6" y="7"/>
                  </a:cubicBezTo>
                  <a:cubicBezTo>
                    <a:pt x="7" y="7"/>
                    <a:pt x="9" y="6"/>
                    <a:pt x="10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9" y="3"/>
                    <a:pt x="9" y="2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9" name="Freeform 192"/>
            <p:cNvSpPr/>
            <p:nvPr/>
          </p:nvSpPr>
          <p:spPr bwMode="auto">
            <a:xfrm>
              <a:off x="7126902" y="1565229"/>
              <a:ext cx="22038" cy="28328"/>
            </a:xfrm>
            <a:custGeom>
              <a:avLst/>
              <a:gdLst>
                <a:gd name="T0" fmla="*/ 0 w 3"/>
                <a:gd name="T1" fmla="*/ 2147483646 h 4"/>
                <a:gd name="T2" fmla="*/ 2147483646 w 3"/>
                <a:gd name="T3" fmla="*/ 2147483646 h 4"/>
                <a:gd name="T4" fmla="*/ 0 w 3"/>
                <a:gd name="T5" fmla="*/ 2147483646 h 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1" y="0"/>
                    <a:pt x="2" y="2"/>
                    <a:pt x="3" y="3"/>
                  </a:cubicBezTo>
                  <a:cubicBezTo>
                    <a:pt x="2" y="4"/>
                    <a:pt x="1" y="3"/>
                    <a:pt x="0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0" name="Freeform 193"/>
            <p:cNvSpPr>
              <a:spLocks noEditPoints="1"/>
            </p:cNvSpPr>
            <p:nvPr/>
          </p:nvSpPr>
          <p:spPr bwMode="auto">
            <a:xfrm>
              <a:off x="7126902" y="1571524"/>
              <a:ext cx="28334" cy="22033"/>
            </a:xfrm>
            <a:custGeom>
              <a:avLst/>
              <a:gdLst>
                <a:gd name="T0" fmla="*/ 2147483646 w 4"/>
                <a:gd name="T1" fmla="*/ 2147483646 h 3"/>
                <a:gd name="T2" fmla="*/ 0 w 4"/>
                <a:gd name="T3" fmla="*/ 2147483646 h 3"/>
                <a:gd name="T4" fmla="*/ 0 w 4"/>
                <a:gd name="T5" fmla="*/ 2147483646 h 3"/>
                <a:gd name="T6" fmla="*/ 0 w 4"/>
                <a:gd name="T7" fmla="*/ 2147483646 h 3"/>
                <a:gd name="T8" fmla="*/ 2147483646 w 4"/>
                <a:gd name="T9" fmla="*/ 0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2147483646 w 4"/>
                <a:gd name="T17" fmla="*/ 2147483646 h 3"/>
                <a:gd name="T18" fmla="*/ 2147483646 w 4"/>
                <a:gd name="T19" fmla="*/ 2147483646 h 3"/>
                <a:gd name="T20" fmla="*/ 2147483646 w 4"/>
                <a:gd name="T21" fmla="*/ 2147483646 h 3"/>
                <a:gd name="T22" fmla="*/ 2147483646 w 4"/>
                <a:gd name="T23" fmla="*/ 2147483646 h 3"/>
                <a:gd name="T24" fmla="*/ 2147483646 w 4"/>
                <a:gd name="T25" fmla="*/ 2147483646 h 3"/>
                <a:gd name="T26" fmla="*/ 2147483646 w 4"/>
                <a:gd name="T27" fmla="*/ 2147483646 h 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1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3"/>
                    <a:pt x="2" y="3"/>
                  </a:cubicBezTo>
                  <a:close/>
                  <a:moveTo>
                    <a:pt x="1" y="1"/>
                  </a:move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1" name="Freeform 194"/>
            <p:cNvSpPr/>
            <p:nvPr/>
          </p:nvSpPr>
          <p:spPr bwMode="auto">
            <a:xfrm>
              <a:off x="7079678" y="1565229"/>
              <a:ext cx="47224" cy="50361"/>
            </a:xfrm>
            <a:custGeom>
              <a:avLst/>
              <a:gdLst>
                <a:gd name="T0" fmla="*/ 2147483646 w 6"/>
                <a:gd name="T1" fmla="*/ 0 h 7"/>
                <a:gd name="T2" fmla="*/ 2147483646 w 6"/>
                <a:gd name="T3" fmla="*/ 2147483646 h 7"/>
                <a:gd name="T4" fmla="*/ 2147483646 w 6"/>
                <a:gd name="T5" fmla="*/ 2147483646 h 7"/>
                <a:gd name="T6" fmla="*/ 0 w 6"/>
                <a:gd name="T7" fmla="*/ 2147483646 h 7"/>
                <a:gd name="T8" fmla="*/ 2147483646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4" y="0"/>
                    <a:pt x="5" y="0"/>
                    <a:pt x="5" y="2"/>
                  </a:cubicBezTo>
                  <a:cubicBezTo>
                    <a:pt x="6" y="3"/>
                    <a:pt x="5" y="6"/>
                    <a:pt x="4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2" y="1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2" name="Freeform 195"/>
            <p:cNvSpPr>
              <a:spLocks noEditPoints="1"/>
            </p:cNvSpPr>
            <p:nvPr/>
          </p:nvSpPr>
          <p:spPr bwMode="auto">
            <a:xfrm>
              <a:off x="7073382" y="1555786"/>
              <a:ext cx="59817" cy="59803"/>
            </a:xfrm>
            <a:custGeom>
              <a:avLst/>
              <a:gdLst>
                <a:gd name="T0" fmla="*/ 2147483646 w 8"/>
                <a:gd name="T1" fmla="*/ 2147483646 h 8"/>
                <a:gd name="T2" fmla="*/ 2147483646 w 8"/>
                <a:gd name="T3" fmla="*/ 2147483646 h 8"/>
                <a:gd name="T4" fmla="*/ 2147483646 w 8"/>
                <a:gd name="T5" fmla="*/ 2147483646 h 8"/>
                <a:gd name="T6" fmla="*/ 2147483646 w 8"/>
                <a:gd name="T7" fmla="*/ 2147483646 h 8"/>
                <a:gd name="T8" fmla="*/ 2147483646 w 8"/>
                <a:gd name="T9" fmla="*/ 0 h 8"/>
                <a:gd name="T10" fmla="*/ 2147483646 w 8"/>
                <a:gd name="T11" fmla="*/ 2147483646 h 8"/>
                <a:gd name="T12" fmla="*/ 2147483646 w 8"/>
                <a:gd name="T13" fmla="*/ 2147483646 h 8"/>
                <a:gd name="T14" fmla="*/ 2147483646 w 8"/>
                <a:gd name="T15" fmla="*/ 2147483646 h 8"/>
                <a:gd name="T16" fmla="*/ 2147483646 w 8"/>
                <a:gd name="T17" fmla="*/ 2147483646 h 8"/>
                <a:gd name="T18" fmla="*/ 2147483646 w 8"/>
                <a:gd name="T19" fmla="*/ 2147483646 h 8"/>
                <a:gd name="T20" fmla="*/ 2147483646 w 8"/>
                <a:gd name="T21" fmla="*/ 2147483646 h 8"/>
                <a:gd name="T22" fmla="*/ 2147483646 w 8"/>
                <a:gd name="T23" fmla="*/ 2147483646 h 8"/>
                <a:gd name="T24" fmla="*/ 2147483646 w 8"/>
                <a:gd name="T25" fmla="*/ 2147483646 h 8"/>
                <a:gd name="T26" fmla="*/ 2147483646 w 8"/>
                <a:gd name="T27" fmla="*/ 2147483646 h 8"/>
                <a:gd name="T28" fmla="*/ 2147483646 w 8"/>
                <a:gd name="T29" fmla="*/ 2147483646 h 8"/>
                <a:gd name="T30" fmla="*/ 2147483646 w 8"/>
                <a:gd name="T31" fmla="*/ 2147483646 h 8"/>
                <a:gd name="T32" fmla="*/ 2147483646 w 8"/>
                <a:gd name="T33" fmla="*/ 2147483646 h 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1" y="7"/>
                    <a:pt x="1" y="6"/>
                  </a:cubicBezTo>
                  <a:cubicBezTo>
                    <a:pt x="0" y="4"/>
                    <a:pt x="2" y="3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6" y="1"/>
                    <a:pt x="6" y="1"/>
                    <a:pt x="7" y="3"/>
                  </a:cubicBezTo>
                  <a:cubicBezTo>
                    <a:pt x="8" y="4"/>
                    <a:pt x="7" y="7"/>
                    <a:pt x="5" y="8"/>
                  </a:cubicBezTo>
                  <a:cubicBezTo>
                    <a:pt x="5" y="8"/>
                    <a:pt x="4" y="8"/>
                    <a:pt x="4" y="8"/>
                  </a:cubicBezTo>
                  <a:close/>
                  <a:moveTo>
                    <a:pt x="4" y="2"/>
                  </a:moveTo>
                  <a:cubicBezTo>
                    <a:pt x="4" y="2"/>
                    <a:pt x="4" y="2"/>
                    <a:pt x="3" y="2"/>
                  </a:cubicBezTo>
                  <a:cubicBezTo>
                    <a:pt x="3" y="3"/>
                    <a:pt x="2" y="4"/>
                    <a:pt x="2" y="6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6" y="6"/>
                    <a:pt x="6" y="4"/>
                    <a:pt x="6" y="3"/>
                  </a:cubicBezTo>
                  <a:cubicBezTo>
                    <a:pt x="6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3" name="Freeform 196"/>
            <p:cNvSpPr/>
            <p:nvPr/>
          </p:nvSpPr>
          <p:spPr bwMode="auto">
            <a:xfrm>
              <a:off x="6963193" y="1662803"/>
              <a:ext cx="12593" cy="22033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2147483646 h 3"/>
                <a:gd name="T4" fmla="*/ 0 w 2"/>
                <a:gd name="T5" fmla="*/ 0 h 3"/>
                <a:gd name="T6" fmla="*/ 2147483646 w 2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2" y="2"/>
                    <a:pt x="2" y="2"/>
                    <a:pt x="2" y="3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4" name="Freeform 197"/>
            <p:cNvSpPr/>
            <p:nvPr/>
          </p:nvSpPr>
          <p:spPr bwMode="auto">
            <a:xfrm>
              <a:off x="6947452" y="1653360"/>
              <a:ext cx="44075" cy="37771"/>
            </a:xfrm>
            <a:custGeom>
              <a:avLst/>
              <a:gdLst>
                <a:gd name="T0" fmla="*/ 2147483646 w 6"/>
                <a:gd name="T1" fmla="*/ 2147483646 h 5"/>
                <a:gd name="T2" fmla="*/ 2147483646 w 6"/>
                <a:gd name="T3" fmla="*/ 2147483646 h 5"/>
                <a:gd name="T4" fmla="*/ 2147483646 w 6"/>
                <a:gd name="T5" fmla="*/ 2147483646 h 5"/>
                <a:gd name="T6" fmla="*/ 0 w 6"/>
                <a:gd name="T7" fmla="*/ 0 h 5"/>
                <a:gd name="T8" fmla="*/ 2147483646 w 6"/>
                <a:gd name="T9" fmla="*/ 2147483646 h 5"/>
                <a:gd name="T10" fmla="*/ 2147483646 w 6"/>
                <a:gd name="T11" fmla="*/ 2147483646 h 5"/>
                <a:gd name="T12" fmla="*/ 2147483646 w 6"/>
                <a:gd name="T13" fmla="*/ 2147483646 h 5"/>
                <a:gd name="T14" fmla="*/ 2147483646 w 6"/>
                <a:gd name="T15" fmla="*/ 2147483646 h 5"/>
                <a:gd name="T16" fmla="*/ 2147483646 w 6"/>
                <a:gd name="T17" fmla="*/ 214748364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2" y="3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3"/>
                    <a:pt x="5" y="3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5" name="Freeform 198"/>
            <p:cNvSpPr/>
            <p:nvPr/>
          </p:nvSpPr>
          <p:spPr bwMode="auto">
            <a:xfrm>
              <a:off x="6893931" y="1669098"/>
              <a:ext cx="141671" cy="119607"/>
            </a:xfrm>
            <a:custGeom>
              <a:avLst/>
              <a:gdLst>
                <a:gd name="T0" fmla="*/ 2147483646 w 19"/>
                <a:gd name="T1" fmla="*/ 2147483646 h 16"/>
                <a:gd name="T2" fmla="*/ 2147483646 w 19"/>
                <a:gd name="T3" fmla="*/ 2147483646 h 16"/>
                <a:gd name="T4" fmla="*/ 2147483646 w 19"/>
                <a:gd name="T5" fmla="*/ 2147483646 h 16"/>
                <a:gd name="T6" fmla="*/ 2147483646 w 19"/>
                <a:gd name="T7" fmla="*/ 2147483646 h 16"/>
                <a:gd name="T8" fmla="*/ 2147483646 w 19"/>
                <a:gd name="T9" fmla="*/ 2147483646 h 16"/>
                <a:gd name="T10" fmla="*/ 2147483646 w 19"/>
                <a:gd name="T11" fmla="*/ 2147483646 h 16"/>
                <a:gd name="T12" fmla="*/ 2147483646 w 19"/>
                <a:gd name="T13" fmla="*/ 2147483646 h 16"/>
                <a:gd name="T14" fmla="*/ 2147483646 w 19"/>
                <a:gd name="T15" fmla="*/ 2147483646 h 16"/>
                <a:gd name="T16" fmla="*/ 2147483646 w 19"/>
                <a:gd name="T17" fmla="*/ 2147483646 h 16"/>
                <a:gd name="T18" fmla="*/ 2147483646 w 19"/>
                <a:gd name="T19" fmla="*/ 2147483646 h 16"/>
                <a:gd name="T20" fmla="*/ 2147483646 w 19"/>
                <a:gd name="T21" fmla="*/ 2147483646 h 16"/>
                <a:gd name="T22" fmla="*/ 2147483646 w 19"/>
                <a:gd name="T23" fmla="*/ 2147483646 h 16"/>
                <a:gd name="T24" fmla="*/ 2147483646 w 19"/>
                <a:gd name="T25" fmla="*/ 2147483646 h 16"/>
                <a:gd name="T26" fmla="*/ 2147483646 w 19"/>
                <a:gd name="T27" fmla="*/ 2147483646 h 16"/>
                <a:gd name="T28" fmla="*/ 2147483646 w 19"/>
                <a:gd name="T29" fmla="*/ 2147483646 h 16"/>
                <a:gd name="T30" fmla="*/ 2147483646 w 19"/>
                <a:gd name="T31" fmla="*/ 2147483646 h 1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9" h="16">
                  <a:moveTo>
                    <a:pt x="6" y="1"/>
                  </a:moveTo>
                  <a:cubicBezTo>
                    <a:pt x="7" y="0"/>
                    <a:pt x="8" y="3"/>
                    <a:pt x="8" y="4"/>
                  </a:cubicBezTo>
                  <a:cubicBezTo>
                    <a:pt x="9" y="2"/>
                    <a:pt x="9" y="4"/>
                    <a:pt x="9" y="4"/>
                  </a:cubicBezTo>
                  <a:cubicBezTo>
                    <a:pt x="11" y="5"/>
                    <a:pt x="12" y="6"/>
                    <a:pt x="14" y="7"/>
                  </a:cubicBezTo>
                  <a:cubicBezTo>
                    <a:pt x="15" y="8"/>
                    <a:pt x="14" y="9"/>
                    <a:pt x="15" y="10"/>
                  </a:cubicBezTo>
                  <a:cubicBezTo>
                    <a:pt x="16" y="11"/>
                    <a:pt x="17" y="10"/>
                    <a:pt x="17" y="10"/>
                  </a:cubicBezTo>
                  <a:cubicBezTo>
                    <a:pt x="18" y="11"/>
                    <a:pt x="18" y="11"/>
                    <a:pt x="19" y="12"/>
                  </a:cubicBezTo>
                  <a:cubicBezTo>
                    <a:pt x="17" y="13"/>
                    <a:pt x="17" y="14"/>
                    <a:pt x="15" y="13"/>
                  </a:cubicBezTo>
                  <a:cubicBezTo>
                    <a:pt x="13" y="12"/>
                    <a:pt x="14" y="10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10"/>
                    <a:pt x="11" y="10"/>
                    <a:pt x="11" y="11"/>
                  </a:cubicBezTo>
                  <a:cubicBezTo>
                    <a:pt x="11" y="13"/>
                    <a:pt x="9" y="13"/>
                    <a:pt x="8" y="14"/>
                  </a:cubicBezTo>
                  <a:cubicBezTo>
                    <a:pt x="6" y="16"/>
                    <a:pt x="6" y="13"/>
                    <a:pt x="6" y="11"/>
                  </a:cubicBezTo>
                  <a:cubicBezTo>
                    <a:pt x="6" y="13"/>
                    <a:pt x="0" y="14"/>
                    <a:pt x="4" y="10"/>
                  </a:cubicBezTo>
                  <a:cubicBezTo>
                    <a:pt x="5" y="10"/>
                    <a:pt x="4" y="7"/>
                    <a:pt x="5" y="6"/>
                  </a:cubicBezTo>
                  <a:cubicBezTo>
                    <a:pt x="5" y="4"/>
                    <a:pt x="5" y="3"/>
                    <a:pt x="6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6" name="Freeform 199"/>
            <p:cNvSpPr>
              <a:spLocks noEditPoints="1"/>
            </p:cNvSpPr>
            <p:nvPr/>
          </p:nvSpPr>
          <p:spPr bwMode="auto">
            <a:xfrm>
              <a:off x="6909673" y="1669098"/>
              <a:ext cx="135375" cy="110164"/>
            </a:xfrm>
            <a:custGeom>
              <a:avLst/>
              <a:gdLst>
                <a:gd name="T0" fmla="*/ 2147483646 w 18"/>
                <a:gd name="T1" fmla="*/ 2147483646 h 15"/>
                <a:gd name="T2" fmla="*/ 0 w 18"/>
                <a:gd name="T3" fmla="*/ 2147483646 h 15"/>
                <a:gd name="T4" fmla="*/ 2147483646 w 18"/>
                <a:gd name="T5" fmla="*/ 2147483646 h 15"/>
                <a:gd name="T6" fmla="*/ 2147483646 w 18"/>
                <a:gd name="T7" fmla="*/ 2147483646 h 15"/>
                <a:gd name="T8" fmla="*/ 2147483646 w 18"/>
                <a:gd name="T9" fmla="*/ 2147483646 h 15"/>
                <a:gd name="T10" fmla="*/ 2147483646 w 18"/>
                <a:gd name="T11" fmla="*/ 2147483646 h 15"/>
                <a:gd name="T12" fmla="*/ 2147483646 w 18"/>
                <a:gd name="T13" fmla="*/ 2147483646 h 15"/>
                <a:gd name="T14" fmla="*/ 2147483646 w 18"/>
                <a:gd name="T15" fmla="*/ 2147483646 h 15"/>
                <a:gd name="T16" fmla="*/ 2147483646 w 18"/>
                <a:gd name="T17" fmla="*/ 2147483646 h 15"/>
                <a:gd name="T18" fmla="*/ 2147483646 w 18"/>
                <a:gd name="T19" fmla="*/ 2147483646 h 15"/>
                <a:gd name="T20" fmla="*/ 2147483646 w 18"/>
                <a:gd name="T21" fmla="*/ 2147483646 h 15"/>
                <a:gd name="T22" fmla="*/ 2147483646 w 18"/>
                <a:gd name="T23" fmla="*/ 2147483646 h 15"/>
                <a:gd name="T24" fmla="*/ 2147483646 w 18"/>
                <a:gd name="T25" fmla="*/ 2147483646 h 15"/>
                <a:gd name="T26" fmla="*/ 2147483646 w 18"/>
                <a:gd name="T27" fmla="*/ 2147483646 h 15"/>
                <a:gd name="T28" fmla="*/ 2147483646 w 18"/>
                <a:gd name="T29" fmla="*/ 2147483646 h 15"/>
                <a:gd name="T30" fmla="*/ 2147483646 w 18"/>
                <a:gd name="T31" fmla="*/ 2147483646 h 15"/>
                <a:gd name="T32" fmla="*/ 2147483646 w 18"/>
                <a:gd name="T33" fmla="*/ 2147483646 h 15"/>
                <a:gd name="T34" fmla="*/ 2147483646 w 18"/>
                <a:gd name="T35" fmla="*/ 2147483646 h 15"/>
                <a:gd name="T36" fmla="*/ 2147483646 w 18"/>
                <a:gd name="T37" fmla="*/ 2147483646 h 15"/>
                <a:gd name="T38" fmla="*/ 2147483646 w 18"/>
                <a:gd name="T39" fmla="*/ 2147483646 h 15"/>
                <a:gd name="T40" fmla="*/ 2147483646 w 18"/>
                <a:gd name="T41" fmla="*/ 2147483646 h 15"/>
                <a:gd name="T42" fmla="*/ 2147483646 w 18"/>
                <a:gd name="T43" fmla="*/ 2147483646 h 15"/>
                <a:gd name="T44" fmla="*/ 2147483646 w 18"/>
                <a:gd name="T45" fmla="*/ 2147483646 h 15"/>
                <a:gd name="T46" fmla="*/ 2147483646 w 18"/>
                <a:gd name="T47" fmla="*/ 2147483646 h 15"/>
                <a:gd name="T48" fmla="*/ 2147483646 w 18"/>
                <a:gd name="T49" fmla="*/ 2147483646 h 15"/>
                <a:gd name="T50" fmla="*/ 2147483646 w 18"/>
                <a:gd name="T51" fmla="*/ 2147483646 h 15"/>
                <a:gd name="T52" fmla="*/ 2147483646 w 18"/>
                <a:gd name="T53" fmla="*/ 2147483646 h 15"/>
                <a:gd name="T54" fmla="*/ 2147483646 w 18"/>
                <a:gd name="T55" fmla="*/ 2147483646 h 15"/>
                <a:gd name="T56" fmla="*/ 2147483646 w 18"/>
                <a:gd name="T57" fmla="*/ 2147483646 h 15"/>
                <a:gd name="T58" fmla="*/ 2147483646 w 18"/>
                <a:gd name="T59" fmla="*/ 2147483646 h 15"/>
                <a:gd name="T60" fmla="*/ 2147483646 w 18"/>
                <a:gd name="T61" fmla="*/ 2147483646 h 15"/>
                <a:gd name="T62" fmla="*/ 2147483646 w 18"/>
                <a:gd name="T63" fmla="*/ 2147483646 h 15"/>
                <a:gd name="T64" fmla="*/ 2147483646 w 18"/>
                <a:gd name="T65" fmla="*/ 2147483646 h 15"/>
                <a:gd name="T66" fmla="*/ 2147483646 w 18"/>
                <a:gd name="T67" fmla="*/ 2147483646 h 15"/>
                <a:gd name="T68" fmla="*/ 2147483646 w 18"/>
                <a:gd name="T69" fmla="*/ 2147483646 h 1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" h="15">
                  <a:moveTo>
                    <a:pt x="5" y="15"/>
                  </a:moveTo>
                  <a:cubicBezTo>
                    <a:pt x="4" y="15"/>
                    <a:pt x="3" y="14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1" y="13"/>
                    <a:pt x="0" y="13"/>
                    <a:pt x="0" y="13"/>
                  </a:cubicBezTo>
                  <a:cubicBezTo>
                    <a:pt x="0" y="12"/>
                    <a:pt x="0" y="11"/>
                    <a:pt x="2" y="10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7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4"/>
                    <a:pt x="2" y="3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5"/>
                    <a:pt x="11" y="5"/>
                  </a:cubicBezTo>
                  <a:cubicBezTo>
                    <a:pt x="11" y="6"/>
                    <a:pt x="12" y="6"/>
                    <a:pt x="12" y="6"/>
                  </a:cubicBezTo>
                  <a:cubicBezTo>
                    <a:pt x="13" y="7"/>
                    <a:pt x="13" y="8"/>
                    <a:pt x="13" y="9"/>
                  </a:cubicBezTo>
                  <a:cubicBezTo>
                    <a:pt x="13" y="9"/>
                    <a:pt x="13" y="9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9"/>
                    <a:pt x="15" y="9"/>
                  </a:cubicBezTo>
                  <a:cubicBezTo>
                    <a:pt x="15" y="9"/>
                    <a:pt x="15" y="10"/>
                    <a:pt x="16" y="10"/>
                  </a:cubicBezTo>
                  <a:cubicBezTo>
                    <a:pt x="16" y="10"/>
                    <a:pt x="17" y="11"/>
                    <a:pt x="17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3"/>
                    <a:pt x="17" y="13"/>
                    <a:pt x="16" y="13"/>
                  </a:cubicBezTo>
                  <a:cubicBezTo>
                    <a:pt x="15" y="14"/>
                    <a:pt x="15" y="14"/>
                    <a:pt x="13" y="14"/>
                  </a:cubicBezTo>
                  <a:cubicBezTo>
                    <a:pt x="12" y="13"/>
                    <a:pt x="11" y="12"/>
                    <a:pt x="11" y="12"/>
                  </a:cubicBezTo>
                  <a:cubicBezTo>
                    <a:pt x="11" y="11"/>
                    <a:pt x="11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2"/>
                  </a:cubicBezTo>
                  <a:cubicBezTo>
                    <a:pt x="9" y="13"/>
                    <a:pt x="8" y="13"/>
                    <a:pt x="7" y="14"/>
                  </a:cubicBezTo>
                  <a:cubicBezTo>
                    <a:pt x="7" y="14"/>
                    <a:pt x="7" y="14"/>
                    <a:pt x="7" y="15"/>
                  </a:cubicBezTo>
                  <a:cubicBezTo>
                    <a:pt x="6" y="15"/>
                    <a:pt x="5" y="15"/>
                    <a:pt x="5" y="15"/>
                  </a:cubicBezTo>
                  <a:close/>
                  <a:moveTo>
                    <a:pt x="4" y="6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5" y="14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6" y="14"/>
                    <a:pt x="6" y="13"/>
                    <a:pt x="6" y="13"/>
                  </a:cubicBezTo>
                  <a:cubicBezTo>
                    <a:pt x="7" y="13"/>
                    <a:pt x="8" y="12"/>
                    <a:pt x="8" y="11"/>
                  </a:cubicBezTo>
                  <a:cubicBezTo>
                    <a:pt x="8" y="10"/>
                    <a:pt x="8" y="9"/>
                    <a:pt x="10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11"/>
                    <a:pt x="12" y="11"/>
                  </a:cubicBezTo>
                  <a:cubicBezTo>
                    <a:pt x="12" y="12"/>
                    <a:pt x="13" y="12"/>
                    <a:pt x="13" y="12"/>
                  </a:cubicBezTo>
                  <a:cubicBezTo>
                    <a:pt x="14" y="13"/>
                    <a:pt x="15" y="13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4" y="11"/>
                    <a:pt x="14" y="11"/>
                  </a:cubicBezTo>
                  <a:cubicBezTo>
                    <a:pt x="14" y="11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0"/>
                    <a:pt x="12" y="9"/>
                    <a:pt x="12" y="9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1" y="7"/>
                    <a:pt x="11" y="7"/>
                    <a:pt x="10" y="6"/>
                  </a:cubicBezTo>
                  <a:cubicBezTo>
                    <a:pt x="9" y="6"/>
                    <a:pt x="8" y="5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3" y="3"/>
                    <a:pt x="3" y="4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9"/>
                    <a:pt x="3" y="10"/>
                    <a:pt x="3" y="1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2" y="12"/>
                  </a:cubicBezTo>
                  <a:cubicBezTo>
                    <a:pt x="2" y="12"/>
                    <a:pt x="3" y="12"/>
                    <a:pt x="3" y="11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7" name="Freeform 200"/>
            <p:cNvSpPr/>
            <p:nvPr/>
          </p:nvSpPr>
          <p:spPr bwMode="auto">
            <a:xfrm>
              <a:off x="6909673" y="1565229"/>
              <a:ext cx="15741" cy="22033"/>
            </a:xfrm>
            <a:custGeom>
              <a:avLst/>
              <a:gdLst>
                <a:gd name="T0" fmla="*/ 2147483646 w 2"/>
                <a:gd name="T1" fmla="*/ 0 h 3"/>
                <a:gd name="T2" fmla="*/ 2147483646 w 2"/>
                <a:gd name="T3" fmla="*/ 2147483646 h 3"/>
                <a:gd name="T4" fmla="*/ 2147483646 w 2"/>
                <a:gd name="T5" fmla="*/ 0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2" y="2"/>
                    <a:pt x="2" y="3"/>
                  </a:cubicBezTo>
                  <a:cubicBezTo>
                    <a:pt x="1" y="3"/>
                    <a:pt x="0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8" name="Freeform 201"/>
            <p:cNvSpPr/>
            <p:nvPr/>
          </p:nvSpPr>
          <p:spPr bwMode="auto">
            <a:xfrm>
              <a:off x="6909673" y="1565229"/>
              <a:ext cx="22038" cy="28328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0 w 3"/>
                <a:gd name="T5" fmla="*/ 2147483646 h 4"/>
                <a:gd name="T6" fmla="*/ 2147483646 w 3"/>
                <a:gd name="T7" fmla="*/ 0 h 4"/>
                <a:gd name="T8" fmla="*/ 2147483646 w 3"/>
                <a:gd name="T9" fmla="*/ 0 h 4"/>
                <a:gd name="T10" fmla="*/ 2147483646 w 3"/>
                <a:gd name="T11" fmla="*/ 2147483646 h 4"/>
                <a:gd name="T12" fmla="*/ 2147483646 w 3"/>
                <a:gd name="T13" fmla="*/ 2147483646 h 4"/>
                <a:gd name="T14" fmla="*/ 2147483646 w 3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9" name="Freeform 202"/>
            <p:cNvSpPr/>
            <p:nvPr/>
          </p:nvSpPr>
          <p:spPr bwMode="auto">
            <a:xfrm>
              <a:off x="6768001" y="1244179"/>
              <a:ext cx="88151" cy="135344"/>
            </a:xfrm>
            <a:custGeom>
              <a:avLst/>
              <a:gdLst>
                <a:gd name="T0" fmla="*/ 2147483646 w 12"/>
                <a:gd name="T1" fmla="*/ 2147483646 h 18"/>
                <a:gd name="T2" fmla="*/ 2147483646 w 12"/>
                <a:gd name="T3" fmla="*/ 2147483646 h 18"/>
                <a:gd name="T4" fmla="*/ 2147483646 w 12"/>
                <a:gd name="T5" fmla="*/ 2147483646 h 18"/>
                <a:gd name="T6" fmla="*/ 2147483646 w 12"/>
                <a:gd name="T7" fmla="*/ 2147483646 h 18"/>
                <a:gd name="T8" fmla="*/ 2147483646 w 12"/>
                <a:gd name="T9" fmla="*/ 2147483646 h 18"/>
                <a:gd name="T10" fmla="*/ 2147483646 w 12"/>
                <a:gd name="T11" fmla="*/ 2147483646 h 18"/>
                <a:gd name="T12" fmla="*/ 2147483646 w 12"/>
                <a:gd name="T13" fmla="*/ 2147483646 h 18"/>
                <a:gd name="T14" fmla="*/ 2147483646 w 12"/>
                <a:gd name="T15" fmla="*/ 2147483646 h 18"/>
                <a:gd name="T16" fmla="*/ 2147483646 w 12"/>
                <a:gd name="T17" fmla="*/ 2147483646 h 18"/>
                <a:gd name="T18" fmla="*/ 2147483646 w 12"/>
                <a:gd name="T19" fmla="*/ 2147483646 h 18"/>
                <a:gd name="T20" fmla="*/ 2147483646 w 12"/>
                <a:gd name="T21" fmla="*/ 2147483646 h 18"/>
                <a:gd name="T22" fmla="*/ 0 w 12"/>
                <a:gd name="T23" fmla="*/ 2147483646 h 18"/>
                <a:gd name="T24" fmla="*/ 0 w 12"/>
                <a:gd name="T25" fmla="*/ 2147483646 h 18"/>
                <a:gd name="T26" fmla="*/ 2147483646 w 12"/>
                <a:gd name="T27" fmla="*/ 2147483646 h 18"/>
                <a:gd name="T28" fmla="*/ 2147483646 w 12"/>
                <a:gd name="T29" fmla="*/ 2147483646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" h="18">
                  <a:moveTo>
                    <a:pt x="1" y="1"/>
                  </a:moveTo>
                  <a:cubicBezTo>
                    <a:pt x="5" y="0"/>
                    <a:pt x="8" y="1"/>
                    <a:pt x="12" y="3"/>
                  </a:cubicBezTo>
                  <a:cubicBezTo>
                    <a:pt x="12" y="3"/>
                    <a:pt x="12" y="4"/>
                    <a:pt x="12" y="4"/>
                  </a:cubicBezTo>
                  <a:cubicBezTo>
                    <a:pt x="11" y="5"/>
                    <a:pt x="11" y="5"/>
                    <a:pt x="10" y="5"/>
                  </a:cubicBezTo>
                  <a:cubicBezTo>
                    <a:pt x="10" y="7"/>
                    <a:pt x="11" y="8"/>
                    <a:pt x="9" y="8"/>
                  </a:cubicBezTo>
                  <a:cubicBezTo>
                    <a:pt x="10" y="9"/>
                    <a:pt x="9" y="11"/>
                    <a:pt x="8" y="12"/>
                  </a:cubicBezTo>
                  <a:cubicBezTo>
                    <a:pt x="8" y="13"/>
                    <a:pt x="4" y="12"/>
                    <a:pt x="3" y="12"/>
                  </a:cubicBezTo>
                  <a:cubicBezTo>
                    <a:pt x="4" y="14"/>
                    <a:pt x="5" y="14"/>
                    <a:pt x="4" y="16"/>
                  </a:cubicBezTo>
                  <a:cubicBezTo>
                    <a:pt x="4" y="17"/>
                    <a:pt x="2" y="18"/>
                    <a:pt x="1" y="17"/>
                  </a:cubicBezTo>
                  <a:cubicBezTo>
                    <a:pt x="1" y="17"/>
                    <a:pt x="1" y="17"/>
                    <a:pt x="2" y="17"/>
                  </a:cubicBezTo>
                  <a:cubicBezTo>
                    <a:pt x="1" y="16"/>
                    <a:pt x="1" y="15"/>
                    <a:pt x="1" y="14"/>
                  </a:cubicBezTo>
                  <a:cubicBezTo>
                    <a:pt x="2" y="13"/>
                    <a:pt x="0" y="14"/>
                    <a:pt x="0" y="12"/>
                  </a:cubicBezTo>
                  <a:cubicBezTo>
                    <a:pt x="0" y="9"/>
                    <a:pt x="0" y="7"/>
                    <a:pt x="0" y="4"/>
                  </a:cubicBezTo>
                  <a:cubicBezTo>
                    <a:pt x="1" y="4"/>
                    <a:pt x="1" y="5"/>
                    <a:pt x="2" y="5"/>
                  </a:cubicBezTo>
                  <a:cubicBezTo>
                    <a:pt x="1" y="4"/>
                    <a:pt x="0" y="3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0" name="Freeform 203"/>
            <p:cNvSpPr>
              <a:spLocks noEditPoints="1"/>
            </p:cNvSpPr>
            <p:nvPr/>
          </p:nvSpPr>
          <p:spPr bwMode="auto">
            <a:xfrm>
              <a:off x="6761705" y="1244179"/>
              <a:ext cx="103892" cy="135344"/>
            </a:xfrm>
            <a:custGeom>
              <a:avLst/>
              <a:gdLst>
                <a:gd name="T0" fmla="*/ 2147483646 w 14"/>
                <a:gd name="T1" fmla="*/ 2147483646 h 18"/>
                <a:gd name="T2" fmla="*/ 2147483646 w 14"/>
                <a:gd name="T3" fmla="*/ 2147483646 h 18"/>
                <a:gd name="T4" fmla="*/ 2147483646 w 14"/>
                <a:gd name="T5" fmla="*/ 2147483646 h 18"/>
                <a:gd name="T6" fmla="*/ 2147483646 w 14"/>
                <a:gd name="T7" fmla="*/ 2147483646 h 18"/>
                <a:gd name="T8" fmla="*/ 0 w 14"/>
                <a:gd name="T9" fmla="*/ 2147483646 h 18"/>
                <a:gd name="T10" fmla="*/ 0 w 14"/>
                <a:gd name="T11" fmla="*/ 2147483646 h 18"/>
                <a:gd name="T12" fmla="*/ 2147483646 w 14"/>
                <a:gd name="T13" fmla="*/ 2147483646 h 18"/>
                <a:gd name="T14" fmla="*/ 2147483646 w 14"/>
                <a:gd name="T15" fmla="*/ 2147483646 h 18"/>
                <a:gd name="T16" fmla="*/ 2147483646 w 14"/>
                <a:gd name="T17" fmla="*/ 2147483646 h 18"/>
                <a:gd name="T18" fmla="*/ 2147483646 w 14"/>
                <a:gd name="T19" fmla="*/ 2147483646 h 18"/>
                <a:gd name="T20" fmla="*/ 2147483646 w 14"/>
                <a:gd name="T21" fmla="*/ 2147483646 h 18"/>
                <a:gd name="T22" fmla="*/ 2147483646 w 14"/>
                <a:gd name="T23" fmla="*/ 2147483646 h 18"/>
                <a:gd name="T24" fmla="*/ 2147483646 w 14"/>
                <a:gd name="T25" fmla="*/ 2147483646 h 18"/>
                <a:gd name="T26" fmla="*/ 2147483646 w 14"/>
                <a:gd name="T27" fmla="*/ 2147483646 h 18"/>
                <a:gd name="T28" fmla="*/ 2147483646 w 14"/>
                <a:gd name="T29" fmla="*/ 2147483646 h 18"/>
                <a:gd name="T30" fmla="*/ 2147483646 w 14"/>
                <a:gd name="T31" fmla="*/ 2147483646 h 18"/>
                <a:gd name="T32" fmla="*/ 2147483646 w 14"/>
                <a:gd name="T33" fmla="*/ 2147483646 h 18"/>
                <a:gd name="T34" fmla="*/ 2147483646 w 14"/>
                <a:gd name="T35" fmla="*/ 2147483646 h 18"/>
                <a:gd name="T36" fmla="*/ 2147483646 w 14"/>
                <a:gd name="T37" fmla="*/ 2147483646 h 18"/>
                <a:gd name="T38" fmla="*/ 2147483646 w 14"/>
                <a:gd name="T39" fmla="*/ 2147483646 h 18"/>
                <a:gd name="T40" fmla="*/ 2147483646 w 14"/>
                <a:gd name="T41" fmla="*/ 2147483646 h 18"/>
                <a:gd name="T42" fmla="*/ 2147483646 w 14"/>
                <a:gd name="T43" fmla="*/ 2147483646 h 18"/>
                <a:gd name="T44" fmla="*/ 2147483646 w 14"/>
                <a:gd name="T45" fmla="*/ 2147483646 h 18"/>
                <a:gd name="T46" fmla="*/ 2147483646 w 14"/>
                <a:gd name="T47" fmla="*/ 2147483646 h 18"/>
                <a:gd name="T48" fmla="*/ 2147483646 w 14"/>
                <a:gd name="T49" fmla="*/ 2147483646 h 18"/>
                <a:gd name="T50" fmla="*/ 2147483646 w 14"/>
                <a:gd name="T51" fmla="*/ 2147483646 h 18"/>
                <a:gd name="T52" fmla="*/ 2147483646 w 14"/>
                <a:gd name="T53" fmla="*/ 2147483646 h 18"/>
                <a:gd name="T54" fmla="*/ 2147483646 w 14"/>
                <a:gd name="T55" fmla="*/ 2147483646 h 18"/>
                <a:gd name="T56" fmla="*/ 2147483646 w 14"/>
                <a:gd name="T57" fmla="*/ 2147483646 h 18"/>
                <a:gd name="T58" fmla="*/ 2147483646 w 14"/>
                <a:gd name="T59" fmla="*/ 2147483646 h 18"/>
                <a:gd name="T60" fmla="*/ 2147483646 w 14"/>
                <a:gd name="T61" fmla="*/ 2147483646 h 18"/>
                <a:gd name="T62" fmla="*/ 2147483646 w 14"/>
                <a:gd name="T63" fmla="*/ 2147483646 h 1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" h="18">
                  <a:moveTo>
                    <a:pt x="3" y="18"/>
                  </a:moveTo>
                  <a:cubicBezTo>
                    <a:pt x="3" y="18"/>
                    <a:pt x="2" y="18"/>
                    <a:pt x="2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1" y="15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3"/>
                    <a:pt x="0" y="13"/>
                    <a:pt x="0" y="12"/>
                  </a:cubicBezTo>
                  <a:cubicBezTo>
                    <a:pt x="0" y="10"/>
                    <a:pt x="0" y="8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3"/>
                    <a:pt x="1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8" y="0"/>
                    <a:pt x="10" y="1"/>
                    <a:pt x="12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4"/>
                    <a:pt x="13" y="4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2" y="6"/>
                    <a:pt x="12" y="6"/>
                  </a:cubicBezTo>
                  <a:cubicBezTo>
                    <a:pt x="12" y="6"/>
                    <a:pt x="12" y="6"/>
                    <a:pt x="12" y="7"/>
                  </a:cubicBezTo>
                  <a:cubicBezTo>
                    <a:pt x="12" y="7"/>
                    <a:pt x="12" y="8"/>
                    <a:pt x="11" y="9"/>
                  </a:cubicBezTo>
                  <a:cubicBezTo>
                    <a:pt x="11" y="9"/>
                    <a:pt x="11" y="11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3"/>
                    <a:pt x="9" y="13"/>
                    <a:pt x="8" y="13"/>
                  </a:cubicBezTo>
                  <a:cubicBezTo>
                    <a:pt x="7" y="13"/>
                    <a:pt x="6" y="13"/>
                    <a:pt x="5" y="13"/>
                  </a:cubicBezTo>
                  <a:cubicBezTo>
                    <a:pt x="6" y="14"/>
                    <a:pt x="7" y="14"/>
                    <a:pt x="6" y="16"/>
                  </a:cubicBezTo>
                  <a:cubicBezTo>
                    <a:pt x="5" y="18"/>
                    <a:pt x="4" y="18"/>
                    <a:pt x="3" y="18"/>
                  </a:cubicBezTo>
                  <a:close/>
                  <a:moveTo>
                    <a:pt x="3" y="17"/>
                  </a:moveTo>
                  <a:cubicBezTo>
                    <a:pt x="4" y="17"/>
                    <a:pt x="4" y="16"/>
                    <a:pt x="5" y="16"/>
                  </a:cubicBezTo>
                  <a:cubicBezTo>
                    <a:pt x="5" y="14"/>
                    <a:pt x="5" y="14"/>
                    <a:pt x="4" y="13"/>
                  </a:cubicBezTo>
                  <a:cubicBezTo>
                    <a:pt x="4" y="13"/>
                    <a:pt x="4" y="13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9" y="12"/>
                    <a:pt x="9" y="11"/>
                    <a:pt x="9" y="11"/>
                  </a:cubicBezTo>
                  <a:cubicBezTo>
                    <a:pt x="9" y="11"/>
                    <a:pt x="10" y="9"/>
                    <a:pt x="10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8" y="2"/>
                    <a:pt x="6" y="1"/>
                    <a:pt x="3" y="2"/>
                  </a:cubicBezTo>
                  <a:cubicBezTo>
                    <a:pt x="2" y="2"/>
                    <a:pt x="2" y="3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2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8"/>
                    <a:pt x="1" y="10"/>
                    <a:pt x="2" y="12"/>
                  </a:cubicBezTo>
                  <a:cubicBezTo>
                    <a:pt x="2" y="12"/>
                    <a:pt x="2" y="12"/>
                    <a:pt x="2" y="13"/>
                  </a:cubicBezTo>
                  <a:cubicBezTo>
                    <a:pt x="2" y="13"/>
                    <a:pt x="3" y="13"/>
                    <a:pt x="3" y="15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lnTo>
                    <a:pt x="3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1" name="Freeform 204"/>
            <p:cNvSpPr/>
            <p:nvPr/>
          </p:nvSpPr>
          <p:spPr bwMode="auto">
            <a:xfrm>
              <a:off x="7296907" y="2270279"/>
              <a:ext cx="50372" cy="31475"/>
            </a:xfrm>
            <a:custGeom>
              <a:avLst/>
              <a:gdLst>
                <a:gd name="T0" fmla="*/ 2147483646 w 7"/>
                <a:gd name="T1" fmla="*/ 0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2147483646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4">
                  <a:moveTo>
                    <a:pt x="2" y="0"/>
                  </a:moveTo>
                  <a:cubicBezTo>
                    <a:pt x="2" y="3"/>
                    <a:pt x="5" y="2"/>
                    <a:pt x="7" y="2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3"/>
                    <a:pt x="0" y="2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2" name="Freeform 205"/>
            <p:cNvSpPr/>
            <p:nvPr/>
          </p:nvSpPr>
          <p:spPr bwMode="auto">
            <a:xfrm>
              <a:off x="7303204" y="2263985"/>
              <a:ext cx="53520" cy="44066"/>
            </a:xfrm>
            <a:custGeom>
              <a:avLst/>
              <a:gdLst>
                <a:gd name="T0" fmla="*/ 2147483646 w 7"/>
                <a:gd name="T1" fmla="*/ 2147483646 h 6"/>
                <a:gd name="T2" fmla="*/ 2147483646 w 7"/>
                <a:gd name="T3" fmla="*/ 2147483646 h 6"/>
                <a:gd name="T4" fmla="*/ 2147483646 w 7"/>
                <a:gd name="T5" fmla="*/ 2147483646 h 6"/>
                <a:gd name="T6" fmla="*/ 0 w 7"/>
                <a:gd name="T7" fmla="*/ 2147483646 h 6"/>
                <a:gd name="T8" fmla="*/ 2147483646 w 7"/>
                <a:gd name="T9" fmla="*/ 2147483646 h 6"/>
                <a:gd name="T10" fmla="*/ 2147483646 w 7"/>
                <a:gd name="T11" fmla="*/ 0 h 6"/>
                <a:gd name="T12" fmla="*/ 2147483646 w 7"/>
                <a:gd name="T13" fmla="*/ 2147483646 h 6"/>
                <a:gd name="T14" fmla="*/ 2147483646 w 7"/>
                <a:gd name="T15" fmla="*/ 2147483646 h 6"/>
                <a:gd name="T16" fmla="*/ 2147483646 w 7"/>
                <a:gd name="T17" fmla="*/ 2147483646 h 6"/>
                <a:gd name="T18" fmla="*/ 2147483646 w 7"/>
                <a:gd name="T19" fmla="*/ 2147483646 h 6"/>
                <a:gd name="T20" fmla="*/ 2147483646 w 7"/>
                <a:gd name="T21" fmla="*/ 2147483646 h 6"/>
                <a:gd name="T22" fmla="*/ 2147483646 w 7"/>
                <a:gd name="T23" fmla="*/ 2147483646 h 6"/>
                <a:gd name="T24" fmla="*/ 2147483646 w 7"/>
                <a:gd name="T25" fmla="*/ 2147483646 h 6"/>
                <a:gd name="T26" fmla="*/ 2147483646 w 7"/>
                <a:gd name="T27" fmla="*/ 2147483646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" h="6">
                  <a:moveTo>
                    <a:pt x="4" y="6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3" y="5"/>
                    <a:pt x="3" y="4"/>
                  </a:cubicBezTo>
                  <a:cubicBezTo>
                    <a:pt x="1" y="4"/>
                    <a:pt x="0" y="3"/>
                    <a:pt x="0" y="3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4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5"/>
                    <a:pt x="5" y="5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3" name="Freeform 207"/>
            <p:cNvSpPr/>
            <p:nvPr/>
          </p:nvSpPr>
          <p:spPr bwMode="auto">
            <a:xfrm>
              <a:off x="7066715" y="1766495"/>
              <a:ext cx="22032" cy="28334"/>
            </a:xfrm>
            <a:custGeom>
              <a:avLst/>
              <a:gdLst>
                <a:gd name="T0" fmla="*/ 0 w 3"/>
                <a:gd name="T1" fmla="*/ 2147483646 h 4"/>
                <a:gd name="T2" fmla="*/ 0 w 3"/>
                <a:gd name="T3" fmla="*/ 2147483646 h 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3" y="0"/>
                    <a:pt x="2" y="4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4" name="Freeform 208"/>
            <p:cNvSpPr>
              <a:spLocks noEditPoints="1"/>
            </p:cNvSpPr>
            <p:nvPr/>
          </p:nvSpPr>
          <p:spPr bwMode="auto">
            <a:xfrm>
              <a:off x="7066715" y="1766495"/>
              <a:ext cx="12590" cy="22039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2147483646 h 3"/>
                <a:gd name="T4" fmla="*/ 2147483646 w 2"/>
                <a:gd name="T5" fmla="*/ 2147483646 h 3"/>
                <a:gd name="T6" fmla="*/ 2147483646 w 2"/>
                <a:gd name="T7" fmla="*/ 2147483646 h 3"/>
                <a:gd name="T8" fmla="*/ 2147483646 w 2"/>
                <a:gd name="T9" fmla="*/ 2147483646 h 3"/>
                <a:gd name="T10" fmla="*/ 2147483646 w 2"/>
                <a:gd name="T11" fmla="*/ 2147483646 h 3"/>
                <a:gd name="T12" fmla="*/ 2147483646 w 2"/>
                <a:gd name="T13" fmla="*/ 2147483646 h 3"/>
                <a:gd name="T14" fmla="*/ 2147483646 w 2"/>
                <a:gd name="T15" fmla="*/ 2147483646 h 3"/>
                <a:gd name="T16" fmla="*/ 0 w 2"/>
                <a:gd name="T17" fmla="*/ 2147483646 h 3"/>
                <a:gd name="T18" fmla="*/ 0 w 2"/>
                <a:gd name="T19" fmla="*/ 0 h 3"/>
                <a:gd name="T20" fmla="*/ 2147483646 w 2"/>
                <a:gd name="T21" fmla="*/ 2147483646 h 3"/>
                <a:gd name="T22" fmla="*/ 2147483646 w 2"/>
                <a:gd name="T23" fmla="*/ 2147483646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3"/>
                    <a:pt x="1" y="3"/>
                  </a:cubicBezTo>
                  <a:close/>
                  <a:moveTo>
                    <a:pt x="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5" name="Freeform 209"/>
            <p:cNvSpPr/>
            <p:nvPr/>
          </p:nvSpPr>
          <p:spPr bwMode="auto">
            <a:xfrm>
              <a:off x="7028945" y="1489449"/>
              <a:ext cx="15737" cy="22039"/>
            </a:xfrm>
            <a:custGeom>
              <a:avLst/>
              <a:gdLst>
                <a:gd name="T0" fmla="*/ 2147483646 w 2"/>
                <a:gd name="T1" fmla="*/ 0 h 3"/>
                <a:gd name="T2" fmla="*/ 2147483646 w 2"/>
                <a:gd name="T3" fmla="*/ 2147483646 h 3"/>
                <a:gd name="T4" fmla="*/ 2147483646 w 2"/>
                <a:gd name="T5" fmla="*/ 2147483646 h 3"/>
                <a:gd name="T6" fmla="*/ 0 w 2"/>
                <a:gd name="T7" fmla="*/ 2147483646 h 3"/>
                <a:gd name="T8" fmla="*/ 2147483646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2" y="1"/>
                    <a:pt x="2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6" name="Freeform 210"/>
            <p:cNvSpPr/>
            <p:nvPr/>
          </p:nvSpPr>
          <p:spPr bwMode="auto">
            <a:xfrm>
              <a:off x="7019503" y="1489449"/>
              <a:ext cx="53507" cy="37780"/>
            </a:xfrm>
            <a:custGeom>
              <a:avLst/>
              <a:gdLst>
                <a:gd name="T0" fmla="*/ 2147483646 w 7"/>
                <a:gd name="T1" fmla="*/ 2147483646 h 5"/>
                <a:gd name="T2" fmla="*/ 2147483646 w 7"/>
                <a:gd name="T3" fmla="*/ 2147483646 h 5"/>
                <a:gd name="T4" fmla="*/ 0 w 7"/>
                <a:gd name="T5" fmla="*/ 2147483646 h 5"/>
                <a:gd name="T6" fmla="*/ 0 w 7"/>
                <a:gd name="T7" fmla="*/ 0 h 5"/>
                <a:gd name="T8" fmla="*/ 2147483646 w 7"/>
                <a:gd name="T9" fmla="*/ 0 h 5"/>
                <a:gd name="T10" fmla="*/ 2147483646 w 7"/>
                <a:gd name="T11" fmla="*/ 0 h 5"/>
                <a:gd name="T12" fmla="*/ 2147483646 w 7"/>
                <a:gd name="T13" fmla="*/ 0 h 5"/>
                <a:gd name="T14" fmla="*/ 2147483646 w 7"/>
                <a:gd name="T15" fmla="*/ 0 h 5"/>
                <a:gd name="T16" fmla="*/ 2147483646 w 7"/>
                <a:gd name="T17" fmla="*/ 2147483646 h 5"/>
                <a:gd name="T18" fmla="*/ 2147483646 w 7"/>
                <a:gd name="T19" fmla="*/ 2147483646 h 5"/>
                <a:gd name="T20" fmla="*/ 2147483646 w 7"/>
                <a:gd name="T21" fmla="*/ 2147483646 h 5"/>
                <a:gd name="T22" fmla="*/ 2147483646 w 7"/>
                <a:gd name="T23" fmla="*/ 2147483646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" h="5">
                  <a:moveTo>
                    <a:pt x="3" y="5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2" y="2"/>
                    <a:pt x="3" y="2"/>
                  </a:cubicBezTo>
                  <a:lnTo>
                    <a:pt x="3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7" name="Freeform 211"/>
            <p:cNvSpPr/>
            <p:nvPr/>
          </p:nvSpPr>
          <p:spPr bwMode="auto">
            <a:xfrm>
              <a:off x="7192615" y="1794829"/>
              <a:ext cx="6295" cy="6298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8" name="Freeform 212"/>
            <p:cNvSpPr/>
            <p:nvPr/>
          </p:nvSpPr>
          <p:spPr bwMode="auto">
            <a:xfrm>
              <a:off x="7176877" y="1788533"/>
              <a:ext cx="37770" cy="12593"/>
            </a:xfrm>
            <a:custGeom>
              <a:avLst/>
              <a:gdLst>
                <a:gd name="T0" fmla="*/ 2147483646 w 5"/>
                <a:gd name="T1" fmla="*/ 2147483646 h 2"/>
                <a:gd name="T2" fmla="*/ 2147483646 w 5"/>
                <a:gd name="T3" fmla="*/ 2147483646 h 2"/>
                <a:gd name="T4" fmla="*/ 2147483646 w 5"/>
                <a:gd name="T5" fmla="*/ 2147483646 h 2"/>
                <a:gd name="T6" fmla="*/ 0 w 5"/>
                <a:gd name="T7" fmla="*/ 0 h 2"/>
                <a:gd name="T8" fmla="*/ 2147483646 w 5"/>
                <a:gd name="T9" fmla="*/ 2147483646 h 2"/>
                <a:gd name="T10" fmla="*/ 2147483646 w 5"/>
                <a:gd name="T11" fmla="*/ 2147483646 h 2"/>
                <a:gd name="T12" fmla="*/ 2147483646 w 5"/>
                <a:gd name="T13" fmla="*/ 2147483646 h 2"/>
                <a:gd name="T14" fmla="*/ 2147483646 w 5"/>
                <a:gd name="T15" fmla="*/ 2147483646 h 2"/>
                <a:gd name="T16" fmla="*/ 2147483646 w 5"/>
                <a:gd name="T17" fmla="*/ 2147483646 h 2"/>
                <a:gd name="T18" fmla="*/ 2147483646 w 5"/>
                <a:gd name="T19" fmla="*/ 2147483646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9" name="Freeform 213"/>
            <p:cNvSpPr/>
            <p:nvPr/>
          </p:nvSpPr>
          <p:spPr bwMode="auto">
            <a:xfrm>
              <a:off x="6679574" y="1489449"/>
              <a:ext cx="94425" cy="66113"/>
            </a:xfrm>
            <a:custGeom>
              <a:avLst/>
              <a:gdLst>
                <a:gd name="T0" fmla="*/ 2147483646 w 13"/>
                <a:gd name="T1" fmla="*/ 2147483646 h 9"/>
                <a:gd name="T2" fmla="*/ 2147483646 w 13"/>
                <a:gd name="T3" fmla="*/ 0 h 9"/>
                <a:gd name="T4" fmla="*/ 2147483646 w 13"/>
                <a:gd name="T5" fmla="*/ 2147483646 h 9"/>
                <a:gd name="T6" fmla="*/ 2147483646 w 13"/>
                <a:gd name="T7" fmla="*/ 2147483646 h 9"/>
                <a:gd name="T8" fmla="*/ 2147483646 w 13"/>
                <a:gd name="T9" fmla="*/ 2147483646 h 9"/>
                <a:gd name="T10" fmla="*/ 2147483646 w 13"/>
                <a:gd name="T11" fmla="*/ 2147483646 h 9"/>
                <a:gd name="T12" fmla="*/ 2147483646 w 13"/>
                <a:gd name="T13" fmla="*/ 2147483646 h 9"/>
                <a:gd name="T14" fmla="*/ 2147483646 w 13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9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6" y="5"/>
                    <a:pt x="0" y="5"/>
                    <a:pt x="5" y="7"/>
                  </a:cubicBezTo>
                  <a:cubicBezTo>
                    <a:pt x="6" y="8"/>
                    <a:pt x="8" y="8"/>
                    <a:pt x="10" y="9"/>
                  </a:cubicBezTo>
                  <a:cubicBezTo>
                    <a:pt x="11" y="9"/>
                    <a:pt x="12" y="7"/>
                    <a:pt x="13" y="7"/>
                  </a:cubicBezTo>
                  <a:cubicBezTo>
                    <a:pt x="12" y="7"/>
                    <a:pt x="10" y="3"/>
                    <a:pt x="9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0" name="Freeform 214"/>
            <p:cNvSpPr>
              <a:spLocks noEditPoints="1"/>
            </p:cNvSpPr>
            <p:nvPr/>
          </p:nvSpPr>
          <p:spPr bwMode="auto">
            <a:xfrm>
              <a:off x="6695311" y="1483152"/>
              <a:ext cx="103867" cy="72410"/>
            </a:xfrm>
            <a:custGeom>
              <a:avLst/>
              <a:gdLst>
                <a:gd name="T0" fmla="*/ 2147483646 w 14"/>
                <a:gd name="T1" fmla="*/ 2147483646 h 10"/>
                <a:gd name="T2" fmla="*/ 2147483646 w 14"/>
                <a:gd name="T3" fmla="*/ 2147483646 h 10"/>
                <a:gd name="T4" fmla="*/ 2147483646 w 14"/>
                <a:gd name="T5" fmla="*/ 2147483646 h 10"/>
                <a:gd name="T6" fmla="*/ 0 w 14"/>
                <a:gd name="T7" fmla="*/ 2147483646 h 10"/>
                <a:gd name="T8" fmla="*/ 2147483646 w 14"/>
                <a:gd name="T9" fmla="*/ 2147483646 h 10"/>
                <a:gd name="T10" fmla="*/ 2147483646 w 14"/>
                <a:gd name="T11" fmla="*/ 2147483646 h 10"/>
                <a:gd name="T12" fmla="*/ 2147483646 w 14"/>
                <a:gd name="T13" fmla="*/ 2147483646 h 10"/>
                <a:gd name="T14" fmla="*/ 2147483646 w 14"/>
                <a:gd name="T15" fmla="*/ 2147483646 h 10"/>
                <a:gd name="T16" fmla="*/ 2147483646 w 14"/>
                <a:gd name="T17" fmla="*/ 0 h 10"/>
                <a:gd name="T18" fmla="*/ 2147483646 w 14"/>
                <a:gd name="T19" fmla="*/ 0 h 10"/>
                <a:gd name="T20" fmla="*/ 2147483646 w 14"/>
                <a:gd name="T21" fmla="*/ 2147483646 h 10"/>
                <a:gd name="T22" fmla="*/ 2147483646 w 14"/>
                <a:gd name="T23" fmla="*/ 2147483646 h 10"/>
                <a:gd name="T24" fmla="*/ 2147483646 w 14"/>
                <a:gd name="T25" fmla="*/ 2147483646 h 10"/>
                <a:gd name="T26" fmla="*/ 2147483646 w 14"/>
                <a:gd name="T27" fmla="*/ 2147483646 h 10"/>
                <a:gd name="T28" fmla="*/ 2147483646 w 14"/>
                <a:gd name="T29" fmla="*/ 2147483646 h 10"/>
                <a:gd name="T30" fmla="*/ 2147483646 w 14"/>
                <a:gd name="T31" fmla="*/ 2147483646 h 10"/>
                <a:gd name="T32" fmla="*/ 2147483646 w 14"/>
                <a:gd name="T33" fmla="*/ 2147483646 h 10"/>
                <a:gd name="T34" fmla="*/ 2147483646 w 14"/>
                <a:gd name="T35" fmla="*/ 2147483646 h 10"/>
                <a:gd name="T36" fmla="*/ 2147483646 w 14"/>
                <a:gd name="T37" fmla="*/ 2147483646 h 10"/>
                <a:gd name="T38" fmla="*/ 2147483646 w 14"/>
                <a:gd name="T39" fmla="*/ 2147483646 h 10"/>
                <a:gd name="T40" fmla="*/ 2147483646 w 14"/>
                <a:gd name="T41" fmla="*/ 2147483646 h 10"/>
                <a:gd name="T42" fmla="*/ 2147483646 w 14"/>
                <a:gd name="T43" fmla="*/ 2147483646 h 10"/>
                <a:gd name="T44" fmla="*/ 2147483646 w 14"/>
                <a:gd name="T45" fmla="*/ 2147483646 h 10"/>
                <a:gd name="T46" fmla="*/ 2147483646 w 14"/>
                <a:gd name="T47" fmla="*/ 2147483646 h 10"/>
                <a:gd name="T48" fmla="*/ 2147483646 w 14"/>
                <a:gd name="T49" fmla="*/ 2147483646 h 10"/>
                <a:gd name="T50" fmla="*/ 2147483646 w 14"/>
                <a:gd name="T51" fmla="*/ 2147483646 h 10"/>
                <a:gd name="T52" fmla="*/ 2147483646 w 14"/>
                <a:gd name="T53" fmla="*/ 2147483646 h 10"/>
                <a:gd name="T54" fmla="*/ 2147483646 w 14"/>
                <a:gd name="T55" fmla="*/ 2147483646 h 10"/>
                <a:gd name="T56" fmla="*/ 2147483646 w 14"/>
                <a:gd name="T57" fmla="*/ 2147483646 h 10"/>
                <a:gd name="T58" fmla="*/ 2147483646 w 14"/>
                <a:gd name="T59" fmla="*/ 2147483646 h 10"/>
                <a:gd name="T60" fmla="*/ 2147483646 w 14"/>
                <a:gd name="T61" fmla="*/ 2147483646 h 1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4" h="10">
                  <a:moveTo>
                    <a:pt x="8" y="10"/>
                  </a:moveTo>
                  <a:cubicBezTo>
                    <a:pt x="8" y="10"/>
                    <a:pt x="8" y="10"/>
                    <a:pt x="8" y="10"/>
                  </a:cubicBezTo>
                  <a:cubicBezTo>
                    <a:pt x="6" y="10"/>
                    <a:pt x="4" y="9"/>
                    <a:pt x="2" y="8"/>
                  </a:cubicBezTo>
                  <a:cubicBezTo>
                    <a:pt x="1" y="8"/>
                    <a:pt x="1" y="8"/>
                    <a:pt x="0" y="7"/>
                  </a:cubicBezTo>
                  <a:cubicBezTo>
                    <a:pt x="0" y="6"/>
                    <a:pt x="1" y="6"/>
                    <a:pt x="2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4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4"/>
                  </a:cubicBezTo>
                  <a:cubicBezTo>
                    <a:pt x="9" y="5"/>
                    <a:pt x="10" y="7"/>
                    <a:pt x="11" y="7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9"/>
                  </a:cubicBezTo>
                  <a:cubicBezTo>
                    <a:pt x="10" y="9"/>
                    <a:pt x="9" y="10"/>
                    <a:pt x="8" y="10"/>
                  </a:cubicBezTo>
                  <a:close/>
                  <a:moveTo>
                    <a:pt x="2" y="7"/>
                  </a:moveTo>
                  <a:cubicBezTo>
                    <a:pt x="2" y="7"/>
                    <a:pt x="2" y="7"/>
                    <a:pt x="3" y="7"/>
                  </a:cubicBezTo>
                  <a:cubicBezTo>
                    <a:pt x="5" y="8"/>
                    <a:pt x="6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9" y="9"/>
                    <a:pt x="10" y="8"/>
                  </a:cubicBezTo>
                  <a:cubicBezTo>
                    <a:pt x="9" y="7"/>
                    <a:pt x="8" y="6"/>
                    <a:pt x="7" y="5"/>
                  </a:cubicBezTo>
                  <a:cubicBezTo>
                    <a:pt x="7" y="4"/>
                    <a:pt x="7" y="4"/>
                    <a:pt x="6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3" y="6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1" name="Freeform 215"/>
            <p:cNvSpPr/>
            <p:nvPr/>
          </p:nvSpPr>
          <p:spPr bwMode="auto">
            <a:xfrm>
              <a:off x="6701606" y="1253330"/>
              <a:ext cx="28327" cy="22039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0 h 3"/>
                <a:gd name="T4" fmla="*/ 0 w 4"/>
                <a:gd name="T5" fmla="*/ 2147483646 h 3"/>
                <a:gd name="T6" fmla="*/ 2147483646 w 4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3" y="2"/>
                    <a:pt x="3" y="1"/>
                    <a:pt x="4" y="0"/>
                  </a:cubicBezTo>
                  <a:cubicBezTo>
                    <a:pt x="3" y="1"/>
                    <a:pt x="1" y="2"/>
                    <a:pt x="0" y="2"/>
                  </a:cubicBezTo>
                  <a:cubicBezTo>
                    <a:pt x="1" y="2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2" name="Freeform 216"/>
            <p:cNvSpPr/>
            <p:nvPr/>
          </p:nvSpPr>
          <p:spPr bwMode="auto">
            <a:xfrm>
              <a:off x="6685869" y="1243885"/>
              <a:ext cx="59802" cy="31483"/>
            </a:xfrm>
            <a:custGeom>
              <a:avLst/>
              <a:gdLst>
                <a:gd name="T0" fmla="*/ 2147483646 w 8"/>
                <a:gd name="T1" fmla="*/ 2147483646 h 4"/>
                <a:gd name="T2" fmla="*/ 2147483646 w 8"/>
                <a:gd name="T3" fmla="*/ 2147483646 h 4"/>
                <a:gd name="T4" fmla="*/ 2147483646 w 8"/>
                <a:gd name="T5" fmla="*/ 2147483646 h 4"/>
                <a:gd name="T6" fmla="*/ 2147483646 w 8"/>
                <a:gd name="T7" fmla="*/ 2147483646 h 4"/>
                <a:gd name="T8" fmla="*/ 0 w 8"/>
                <a:gd name="T9" fmla="*/ 2147483646 h 4"/>
                <a:gd name="T10" fmla="*/ 2147483646 w 8"/>
                <a:gd name="T11" fmla="*/ 0 h 4"/>
                <a:gd name="T12" fmla="*/ 2147483646 w 8"/>
                <a:gd name="T13" fmla="*/ 2147483646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3" name="Freeform 217"/>
            <p:cNvSpPr/>
            <p:nvPr/>
          </p:nvSpPr>
          <p:spPr bwMode="auto">
            <a:xfrm>
              <a:off x="6739376" y="1313146"/>
              <a:ext cx="12590" cy="12593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2147483646 w 2"/>
                <a:gd name="T5" fmla="*/ 2147483646 h 2"/>
                <a:gd name="T6" fmla="*/ 2147483646 w 2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1" y="2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4" name="Freeform 218"/>
            <p:cNvSpPr/>
            <p:nvPr/>
          </p:nvSpPr>
          <p:spPr bwMode="auto">
            <a:xfrm>
              <a:off x="6739376" y="1303702"/>
              <a:ext cx="12590" cy="31483"/>
            </a:xfrm>
            <a:custGeom>
              <a:avLst/>
              <a:gdLst>
                <a:gd name="T0" fmla="*/ 2147483646 w 2"/>
                <a:gd name="T1" fmla="*/ 2147483646 h 4"/>
                <a:gd name="T2" fmla="*/ 0 w 2"/>
                <a:gd name="T3" fmla="*/ 2147483646 h 4"/>
                <a:gd name="T4" fmla="*/ 0 w 2"/>
                <a:gd name="T5" fmla="*/ 2147483646 h 4"/>
                <a:gd name="T6" fmla="*/ 2147483646 w 2"/>
                <a:gd name="T7" fmla="*/ 0 h 4"/>
                <a:gd name="T8" fmla="*/ 2147483646 w 2"/>
                <a:gd name="T9" fmla="*/ 0 h 4"/>
                <a:gd name="T10" fmla="*/ 2147483646 w 2"/>
                <a:gd name="T11" fmla="*/ 2147483646 h 4"/>
                <a:gd name="T12" fmla="*/ 2147483646 w 2"/>
                <a:gd name="T13" fmla="*/ 2147483646 h 4"/>
                <a:gd name="T14" fmla="*/ 2147483646 w 2"/>
                <a:gd name="T15" fmla="*/ 2147483646 h 4"/>
                <a:gd name="T16" fmla="*/ 2147483646 w 2"/>
                <a:gd name="T17" fmla="*/ 2147483646 h 4"/>
                <a:gd name="T18" fmla="*/ 2147483646 w 2"/>
                <a:gd name="T19" fmla="*/ 2147483646 h 4"/>
                <a:gd name="T20" fmla="*/ 2147483646 w 2"/>
                <a:gd name="T21" fmla="*/ 2147483646 h 4"/>
                <a:gd name="T22" fmla="*/ 2147483646 w 2"/>
                <a:gd name="T23" fmla="*/ 2147483646 h 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1" y="3"/>
                  </a:cubicBezTo>
                  <a:lnTo>
                    <a:pt x="1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5" name="Freeform 219"/>
            <p:cNvSpPr/>
            <p:nvPr/>
          </p:nvSpPr>
          <p:spPr bwMode="auto">
            <a:xfrm>
              <a:off x="6566264" y="1275367"/>
              <a:ext cx="53507" cy="50372"/>
            </a:xfrm>
            <a:custGeom>
              <a:avLst/>
              <a:gdLst>
                <a:gd name="T0" fmla="*/ 2147483646 w 7"/>
                <a:gd name="T1" fmla="*/ 2147483646 h 7"/>
                <a:gd name="T2" fmla="*/ 2147483646 w 7"/>
                <a:gd name="T3" fmla="*/ 0 h 7"/>
                <a:gd name="T4" fmla="*/ 2147483646 w 7"/>
                <a:gd name="T5" fmla="*/ 2147483646 h 7"/>
                <a:gd name="T6" fmla="*/ 2147483646 w 7"/>
                <a:gd name="T7" fmla="*/ 2147483646 h 7"/>
                <a:gd name="T8" fmla="*/ 2147483646 w 7"/>
                <a:gd name="T9" fmla="*/ 214748364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7">
                  <a:moveTo>
                    <a:pt x="5" y="5"/>
                  </a:moveTo>
                  <a:cubicBezTo>
                    <a:pt x="6" y="1"/>
                    <a:pt x="7" y="1"/>
                    <a:pt x="2" y="0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2" y="4"/>
                    <a:pt x="3" y="6"/>
                    <a:pt x="4" y="7"/>
                  </a:cubicBezTo>
                  <a:cubicBezTo>
                    <a:pt x="5" y="6"/>
                    <a:pt x="5" y="6"/>
                    <a:pt x="5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6" name="Freeform 220"/>
            <p:cNvSpPr>
              <a:spLocks noEditPoints="1"/>
            </p:cNvSpPr>
            <p:nvPr/>
          </p:nvSpPr>
          <p:spPr bwMode="auto">
            <a:xfrm>
              <a:off x="6566264" y="1275367"/>
              <a:ext cx="53507" cy="59817"/>
            </a:xfrm>
            <a:custGeom>
              <a:avLst/>
              <a:gdLst>
                <a:gd name="T0" fmla="*/ 2147483646 w 7"/>
                <a:gd name="T1" fmla="*/ 2147483646 h 8"/>
                <a:gd name="T2" fmla="*/ 2147483646 w 7"/>
                <a:gd name="T3" fmla="*/ 2147483646 h 8"/>
                <a:gd name="T4" fmla="*/ 2147483646 w 7"/>
                <a:gd name="T5" fmla="*/ 2147483646 h 8"/>
                <a:gd name="T6" fmla="*/ 0 w 7"/>
                <a:gd name="T7" fmla="*/ 2147483646 h 8"/>
                <a:gd name="T8" fmla="*/ 0 w 7"/>
                <a:gd name="T9" fmla="*/ 2147483646 h 8"/>
                <a:gd name="T10" fmla="*/ 2147483646 w 7"/>
                <a:gd name="T11" fmla="*/ 0 h 8"/>
                <a:gd name="T12" fmla="*/ 2147483646 w 7"/>
                <a:gd name="T13" fmla="*/ 2147483646 h 8"/>
                <a:gd name="T14" fmla="*/ 2147483646 w 7"/>
                <a:gd name="T15" fmla="*/ 2147483646 h 8"/>
                <a:gd name="T16" fmla="*/ 2147483646 w 7"/>
                <a:gd name="T17" fmla="*/ 2147483646 h 8"/>
                <a:gd name="T18" fmla="*/ 2147483646 w 7"/>
                <a:gd name="T19" fmla="*/ 2147483646 h 8"/>
                <a:gd name="T20" fmla="*/ 2147483646 w 7"/>
                <a:gd name="T21" fmla="*/ 2147483646 h 8"/>
                <a:gd name="T22" fmla="*/ 2147483646 w 7"/>
                <a:gd name="T23" fmla="*/ 2147483646 h 8"/>
                <a:gd name="T24" fmla="*/ 2147483646 w 7"/>
                <a:gd name="T25" fmla="*/ 2147483646 h 8"/>
                <a:gd name="T26" fmla="*/ 2147483646 w 7"/>
                <a:gd name="T27" fmla="*/ 2147483646 h 8"/>
                <a:gd name="T28" fmla="*/ 2147483646 w 7"/>
                <a:gd name="T29" fmla="*/ 2147483646 h 8"/>
                <a:gd name="T30" fmla="*/ 2147483646 w 7"/>
                <a:gd name="T31" fmla="*/ 2147483646 h 8"/>
                <a:gd name="T32" fmla="*/ 2147483646 w 7"/>
                <a:gd name="T33" fmla="*/ 2147483646 h 8"/>
                <a:gd name="T34" fmla="*/ 2147483646 w 7"/>
                <a:gd name="T35" fmla="*/ 2147483646 h 8"/>
                <a:gd name="T36" fmla="*/ 2147483646 w 7"/>
                <a:gd name="T37" fmla="*/ 2147483646 h 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" h="8">
                  <a:moveTo>
                    <a:pt x="5" y="8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3" y="6"/>
                    <a:pt x="3" y="6"/>
                    <a:pt x="2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4" y="0"/>
                    <a:pt x="6" y="0"/>
                    <a:pt x="6" y="1"/>
                  </a:cubicBezTo>
                  <a:cubicBezTo>
                    <a:pt x="7" y="2"/>
                    <a:pt x="7" y="3"/>
                    <a:pt x="6" y="6"/>
                  </a:cubicBezTo>
                  <a:cubicBezTo>
                    <a:pt x="6" y="6"/>
                    <a:pt x="5" y="6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lnTo>
                    <a:pt x="5" y="8"/>
                  </a:lnTo>
                  <a:close/>
                  <a:moveTo>
                    <a:pt x="2" y="1"/>
                  </a:moveTo>
                  <a:cubicBezTo>
                    <a:pt x="2" y="1"/>
                    <a:pt x="2" y="1"/>
                    <a:pt x="1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4" y="5"/>
                    <a:pt x="4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3"/>
                    <a:pt x="6" y="2"/>
                    <a:pt x="5" y="2"/>
                  </a:cubicBezTo>
                  <a:cubicBezTo>
                    <a:pt x="5" y="1"/>
                    <a:pt x="4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7" name="Freeform 221"/>
            <p:cNvSpPr/>
            <p:nvPr/>
          </p:nvSpPr>
          <p:spPr bwMode="auto">
            <a:xfrm>
              <a:off x="6358530" y="1297405"/>
              <a:ext cx="321044" cy="258157"/>
            </a:xfrm>
            <a:custGeom>
              <a:avLst/>
              <a:gdLst>
                <a:gd name="T0" fmla="*/ 2147483646 w 43"/>
                <a:gd name="T1" fmla="*/ 2147483646 h 35"/>
                <a:gd name="T2" fmla="*/ 2147483646 w 43"/>
                <a:gd name="T3" fmla="*/ 2147483646 h 35"/>
                <a:gd name="T4" fmla="*/ 2147483646 w 43"/>
                <a:gd name="T5" fmla="*/ 2147483646 h 35"/>
                <a:gd name="T6" fmla="*/ 2147483646 w 43"/>
                <a:gd name="T7" fmla="*/ 2147483646 h 35"/>
                <a:gd name="T8" fmla="*/ 2147483646 w 43"/>
                <a:gd name="T9" fmla="*/ 2147483646 h 35"/>
                <a:gd name="T10" fmla="*/ 2147483646 w 43"/>
                <a:gd name="T11" fmla="*/ 2147483646 h 35"/>
                <a:gd name="T12" fmla="*/ 2147483646 w 43"/>
                <a:gd name="T13" fmla="*/ 2147483646 h 35"/>
                <a:gd name="T14" fmla="*/ 2147483646 w 43"/>
                <a:gd name="T15" fmla="*/ 2147483646 h 35"/>
                <a:gd name="T16" fmla="*/ 2147483646 w 43"/>
                <a:gd name="T17" fmla="*/ 2147483646 h 35"/>
                <a:gd name="T18" fmla="*/ 2147483646 w 43"/>
                <a:gd name="T19" fmla="*/ 2147483646 h 35"/>
                <a:gd name="T20" fmla="*/ 2147483646 w 43"/>
                <a:gd name="T21" fmla="*/ 2147483646 h 35"/>
                <a:gd name="T22" fmla="*/ 2147483646 w 43"/>
                <a:gd name="T23" fmla="*/ 2147483646 h 35"/>
                <a:gd name="T24" fmla="*/ 2147483646 w 43"/>
                <a:gd name="T25" fmla="*/ 2147483646 h 35"/>
                <a:gd name="T26" fmla="*/ 2147483646 w 43"/>
                <a:gd name="T27" fmla="*/ 2147483646 h 35"/>
                <a:gd name="T28" fmla="*/ 2147483646 w 43"/>
                <a:gd name="T29" fmla="*/ 2147483646 h 35"/>
                <a:gd name="T30" fmla="*/ 2147483646 w 43"/>
                <a:gd name="T31" fmla="*/ 0 h 35"/>
                <a:gd name="T32" fmla="*/ 2147483646 w 43"/>
                <a:gd name="T33" fmla="*/ 2147483646 h 35"/>
                <a:gd name="T34" fmla="*/ 2147483646 w 43"/>
                <a:gd name="T35" fmla="*/ 2147483646 h 35"/>
                <a:gd name="T36" fmla="*/ 2147483646 w 43"/>
                <a:gd name="T37" fmla="*/ 2147483646 h 35"/>
                <a:gd name="T38" fmla="*/ 2147483646 w 43"/>
                <a:gd name="T39" fmla="*/ 2147483646 h 35"/>
                <a:gd name="T40" fmla="*/ 2147483646 w 43"/>
                <a:gd name="T41" fmla="*/ 2147483646 h 35"/>
                <a:gd name="T42" fmla="*/ 2147483646 w 43"/>
                <a:gd name="T43" fmla="*/ 2147483646 h 35"/>
                <a:gd name="T44" fmla="*/ 2147483646 w 43"/>
                <a:gd name="T45" fmla="*/ 2147483646 h 35"/>
                <a:gd name="T46" fmla="*/ 2147483646 w 43"/>
                <a:gd name="T47" fmla="*/ 2147483646 h 35"/>
                <a:gd name="T48" fmla="*/ 2147483646 w 43"/>
                <a:gd name="T49" fmla="*/ 2147483646 h 35"/>
                <a:gd name="T50" fmla="*/ 2147483646 w 43"/>
                <a:gd name="T51" fmla="*/ 2147483646 h 35"/>
                <a:gd name="T52" fmla="*/ 2147483646 w 43"/>
                <a:gd name="T53" fmla="*/ 2147483646 h 35"/>
                <a:gd name="T54" fmla="*/ 2147483646 w 43"/>
                <a:gd name="T55" fmla="*/ 2147483646 h 35"/>
                <a:gd name="T56" fmla="*/ 2147483646 w 43"/>
                <a:gd name="T57" fmla="*/ 2147483646 h 35"/>
                <a:gd name="T58" fmla="*/ 2147483646 w 43"/>
                <a:gd name="T59" fmla="*/ 2147483646 h 35"/>
                <a:gd name="T60" fmla="*/ 2147483646 w 43"/>
                <a:gd name="T61" fmla="*/ 2147483646 h 35"/>
                <a:gd name="T62" fmla="*/ 2147483646 w 43"/>
                <a:gd name="T63" fmla="*/ 2147483646 h 35"/>
                <a:gd name="T64" fmla="*/ 2147483646 w 43"/>
                <a:gd name="T65" fmla="*/ 2147483646 h 35"/>
                <a:gd name="T66" fmla="*/ 2147483646 w 43"/>
                <a:gd name="T67" fmla="*/ 2147483646 h 35"/>
                <a:gd name="T68" fmla="*/ 2147483646 w 43"/>
                <a:gd name="T69" fmla="*/ 2147483646 h 35"/>
                <a:gd name="T70" fmla="*/ 2147483646 w 43"/>
                <a:gd name="T71" fmla="*/ 2147483646 h 35"/>
                <a:gd name="T72" fmla="*/ 2147483646 w 43"/>
                <a:gd name="T73" fmla="*/ 2147483646 h 35"/>
                <a:gd name="T74" fmla="*/ 2147483646 w 43"/>
                <a:gd name="T75" fmla="*/ 2147483646 h 35"/>
                <a:gd name="T76" fmla="*/ 2147483646 w 43"/>
                <a:gd name="T77" fmla="*/ 2147483646 h 35"/>
                <a:gd name="T78" fmla="*/ 2147483646 w 43"/>
                <a:gd name="T79" fmla="*/ 2147483646 h 35"/>
                <a:gd name="T80" fmla="*/ 2147483646 w 43"/>
                <a:gd name="T81" fmla="*/ 2147483646 h 35"/>
                <a:gd name="T82" fmla="*/ 2147483646 w 43"/>
                <a:gd name="T83" fmla="*/ 2147483646 h 35"/>
                <a:gd name="T84" fmla="*/ 2147483646 w 43"/>
                <a:gd name="T85" fmla="*/ 2147483646 h 35"/>
                <a:gd name="T86" fmla="*/ 2147483646 w 43"/>
                <a:gd name="T87" fmla="*/ 2147483646 h 35"/>
                <a:gd name="T88" fmla="*/ 2147483646 w 43"/>
                <a:gd name="T89" fmla="*/ 2147483646 h 35"/>
                <a:gd name="T90" fmla="*/ 2147483646 w 43"/>
                <a:gd name="T91" fmla="*/ 2147483646 h 35"/>
                <a:gd name="T92" fmla="*/ 2147483646 w 43"/>
                <a:gd name="T93" fmla="*/ 2147483646 h 35"/>
                <a:gd name="T94" fmla="*/ 2147483646 w 43"/>
                <a:gd name="T95" fmla="*/ 2147483646 h 35"/>
                <a:gd name="T96" fmla="*/ 2147483646 w 43"/>
                <a:gd name="T97" fmla="*/ 2147483646 h 35"/>
                <a:gd name="T98" fmla="*/ 2147483646 w 43"/>
                <a:gd name="T99" fmla="*/ 2147483646 h 35"/>
                <a:gd name="T100" fmla="*/ 2147483646 w 43"/>
                <a:gd name="T101" fmla="*/ 2147483646 h 35"/>
                <a:gd name="T102" fmla="*/ 2147483646 w 43"/>
                <a:gd name="T103" fmla="*/ 2147483646 h 35"/>
                <a:gd name="T104" fmla="*/ 2147483646 w 43"/>
                <a:gd name="T105" fmla="*/ 2147483646 h 35"/>
                <a:gd name="T106" fmla="*/ 2147483646 w 43"/>
                <a:gd name="T107" fmla="*/ 2147483646 h 35"/>
                <a:gd name="T108" fmla="*/ 2147483646 w 43"/>
                <a:gd name="T109" fmla="*/ 2147483646 h 35"/>
                <a:gd name="T110" fmla="*/ 2147483646 w 43"/>
                <a:gd name="T111" fmla="*/ 2147483646 h 35"/>
                <a:gd name="T112" fmla="*/ 2147483646 w 43"/>
                <a:gd name="T113" fmla="*/ 2147483646 h 3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3" h="35">
                  <a:moveTo>
                    <a:pt x="10" y="30"/>
                  </a:moveTo>
                  <a:cubicBezTo>
                    <a:pt x="7" y="29"/>
                    <a:pt x="6" y="28"/>
                    <a:pt x="5" y="25"/>
                  </a:cubicBezTo>
                  <a:cubicBezTo>
                    <a:pt x="7" y="24"/>
                    <a:pt x="9" y="23"/>
                    <a:pt x="11" y="23"/>
                  </a:cubicBezTo>
                  <a:cubicBezTo>
                    <a:pt x="13" y="22"/>
                    <a:pt x="16" y="24"/>
                    <a:pt x="17" y="22"/>
                  </a:cubicBezTo>
                  <a:cubicBezTo>
                    <a:pt x="15" y="22"/>
                    <a:pt x="14" y="21"/>
                    <a:pt x="13" y="20"/>
                  </a:cubicBezTo>
                  <a:cubicBezTo>
                    <a:pt x="12" y="20"/>
                    <a:pt x="10" y="21"/>
                    <a:pt x="9" y="21"/>
                  </a:cubicBezTo>
                  <a:cubicBezTo>
                    <a:pt x="5" y="22"/>
                    <a:pt x="4" y="21"/>
                    <a:pt x="3" y="18"/>
                  </a:cubicBezTo>
                  <a:cubicBezTo>
                    <a:pt x="4" y="17"/>
                    <a:pt x="6" y="16"/>
                    <a:pt x="8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4"/>
                    <a:pt x="9" y="14"/>
                  </a:cubicBezTo>
                  <a:cubicBezTo>
                    <a:pt x="7" y="15"/>
                    <a:pt x="5" y="15"/>
                    <a:pt x="3" y="15"/>
                  </a:cubicBezTo>
                  <a:cubicBezTo>
                    <a:pt x="2" y="16"/>
                    <a:pt x="3" y="14"/>
                    <a:pt x="3" y="13"/>
                  </a:cubicBezTo>
                  <a:cubicBezTo>
                    <a:pt x="0" y="14"/>
                    <a:pt x="1" y="12"/>
                    <a:pt x="2" y="10"/>
                  </a:cubicBezTo>
                  <a:cubicBezTo>
                    <a:pt x="3" y="9"/>
                    <a:pt x="2" y="9"/>
                    <a:pt x="2" y="8"/>
                  </a:cubicBezTo>
                  <a:cubicBezTo>
                    <a:pt x="3" y="6"/>
                    <a:pt x="3" y="6"/>
                    <a:pt x="4" y="5"/>
                  </a:cubicBezTo>
                  <a:cubicBezTo>
                    <a:pt x="5" y="4"/>
                    <a:pt x="9" y="0"/>
                    <a:pt x="11" y="0"/>
                  </a:cubicBezTo>
                  <a:cubicBezTo>
                    <a:pt x="13" y="1"/>
                    <a:pt x="11" y="5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3" y="4"/>
                    <a:pt x="14" y="3"/>
                    <a:pt x="15" y="3"/>
                  </a:cubicBezTo>
                  <a:cubicBezTo>
                    <a:pt x="16" y="4"/>
                    <a:pt x="17" y="5"/>
                    <a:pt x="18" y="6"/>
                  </a:cubicBezTo>
                  <a:cubicBezTo>
                    <a:pt x="19" y="6"/>
                    <a:pt x="17" y="8"/>
                    <a:pt x="17" y="8"/>
                  </a:cubicBezTo>
                  <a:cubicBezTo>
                    <a:pt x="19" y="8"/>
                    <a:pt x="20" y="7"/>
                    <a:pt x="22" y="6"/>
                  </a:cubicBezTo>
                  <a:cubicBezTo>
                    <a:pt x="22" y="6"/>
                    <a:pt x="21" y="6"/>
                    <a:pt x="21" y="6"/>
                  </a:cubicBezTo>
                  <a:cubicBezTo>
                    <a:pt x="21" y="6"/>
                    <a:pt x="22" y="6"/>
                    <a:pt x="22" y="6"/>
                  </a:cubicBezTo>
                  <a:cubicBezTo>
                    <a:pt x="21" y="5"/>
                    <a:pt x="21" y="4"/>
                    <a:pt x="20" y="3"/>
                  </a:cubicBezTo>
                  <a:cubicBezTo>
                    <a:pt x="22" y="4"/>
                    <a:pt x="25" y="5"/>
                    <a:pt x="25" y="7"/>
                  </a:cubicBezTo>
                  <a:cubicBezTo>
                    <a:pt x="25" y="9"/>
                    <a:pt x="25" y="12"/>
                    <a:pt x="26" y="13"/>
                  </a:cubicBezTo>
                  <a:cubicBezTo>
                    <a:pt x="28" y="11"/>
                    <a:pt x="27" y="10"/>
                    <a:pt x="27" y="8"/>
                  </a:cubicBezTo>
                  <a:cubicBezTo>
                    <a:pt x="26" y="6"/>
                    <a:pt x="26" y="5"/>
                    <a:pt x="26" y="3"/>
                  </a:cubicBezTo>
                  <a:cubicBezTo>
                    <a:pt x="26" y="2"/>
                    <a:pt x="26" y="2"/>
                    <a:pt x="26" y="1"/>
                  </a:cubicBezTo>
                  <a:cubicBezTo>
                    <a:pt x="27" y="1"/>
                    <a:pt x="28" y="1"/>
                    <a:pt x="29" y="2"/>
                  </a:cubicBezTo>
                  <a:cubicBezTo>
                    <a:pt x="29" y="2"/>
                    <a:pt x="29" y="1"/>
                    <a:pt x="29" y="1"/>
                  </a:cubicBezTo>
                  <a:cubicBezTo>
                    <a:pt x="31" y="1"/>
                    <a:pt x="32" y="5"/>
                    <a:pt x="33" y="7"/>
                  </a:cubicBezTo>
                  <a:cubicBezTo>
                    <a:pt x="33" y="11"/>
                    <a:pt x="35" y="13"/>
                    <a:pt x="34" y="17"/>
                  </a:cubicBezTo>
                  <a:cubicBezTo>
                    <a:pt x="34" y="18"/>
                    <a:pt x="36" y="20"/>
                    <a:pt x="37" y="21"/>
                  </a:cubicBezTo>
                  <a:cubicBezTo>
                    <a:pt x="37" y="21"/>
                    <a:pt x="38" y="20"/>
                    <a:pt x="39" y="21"/>
                  </a:cubicBezTo>
                  <a:cubicBezTo>
                    <a:pt x="39" y="21"/>
                    <a:pt x="40" y="22"/>
                    <a:pt x="40" y="23"/>
                  </a:cubicBezTo>
                  <a:cubicBezTo>
                    <a:pt x="42" y="24"/>
                    <a:pt x="42" y="23"/>
                    <a:pt x="43" y="25"/>
                  </a:cubicBezTo>
                  <a:cubicBezTo>
                    <a:pt x="43" y="27"/>
                    <a:pt x="41" y="28"/>
                    <a:pt x="42" y="25"/>
                  </a:cubicBezTo>
                  <a:cubicBezTo>
                    <a:pt x="42" y="26"/>
                    <a:pt x="41" y="27"/>
                    <a:pt x="41" y="27"/>
                  </a:cubicBezTo>
                  <a:cubicBezTo>
                    <a:pt x="41" y="27"/>
                    <a:pt x="40" y="27"/>
                    <a:pt x="40" y="26"/>
                  </a:cubicBezTo>
                  <a:cubicBezTo>
                    <a:pt x="39" y="26"/>
                    <a:pt x="39" y="27"/>
                    <a:pt x="39" y="28"/>
                  </a:cubicBezTo>
                  <a:cubicBezTo>
                    <a:pt x="39" y="28"/>
                    <a:pt x="38" y="28"/>
                    <a:pt x="38" y="28"/>
                  </a:cubicBezTo>
                  <a:cubicBezTo>
                    <a:pt x="38" y="28"/>
                    <a:pt x="38" y="29"/>
                    <a:pt x="38" y="30"/>
                  </a:cubicBezTo>
                  <a:cubicBezTo>
                    <a:pt x="39" y="29"/>
                    <a:pt x="42" y="27"/>
                    <a:pt x="40" y="30"/>
                  </a:cubicBezTo>
                  <a:cubicBezTo>
                    <a:pt x="40" y="30"/>
                    <a:pt x="41" y="31"/>
                    <a:pt x="41" y="31"/>
                  </a:cubicBezTo>
                  <a:cubicBezTo>
                    <a:pt x="41" y="31"/>
                    <a:pt x="39" y="33"/>
                    <a:pt x="38" y="33"/>
                  </a:cubicBezTo>
                  <a:cubicBezTo>
                    <a:pt x="36" y="33"/>
                    <a:pt x="34" y="32"/>
                    <a:pt x="33" y="32"/>
                  </a:cubicBezTo>
                  <a:cubicBezTo>
                    <a:pt x="33" y="32"/>
                    <a:pt x="33" y="31"/>
                    <a:pt x="33" y="31"/>
                  </a:cubicBezTo>
                  <a:cubicBezTo>
                    <a:pt x="32" y="31"/>
                    <a:pt x="31" y="30"/>
                    <a:pt x="30" y="30"/>
                  </a:cubicBezTo>
                  <a:cubicBezTo>
                    <a:pt x="30" y="30"/>
                    <a:pt x="30" y="29"/>
                    <a:pt x="30" y="28"/>
                  </a:cubicBezTo>
                  <a:cubicBezTo>
                    <a:pt x="29" y="29"/>
                    <a:pt x="28" y="31"/>
                    <a:pt x="27" y="32"/>
                  </a:cubicBezTo>
                  <a:cubicBezTo>
                    <a:pt x="25" y="32"/>
                    <a:pt x="25" y="32"/>
                    <a:pt x="23" y="34"/>
                  </a:cubicBezTo>
                  <a:cubicBezTo>
                    <a:pt x="21" y="35"/>
                    <a:pt x="16" y="35"/>
                    <a:pt x="14" y="35"/>
                  </a:cubicBezTo>
                  <a:cubicBezTo>
                    <a:pt x="15" y="34"/>
                    <a:pt x="14" y="33"/>
                    <a:pt x="13" y="32"/>
                  </a:cubicBezTo>
                  <a:cubicBezTo>
                    <a:pt x="13" y="31"/>
                    <a:pt x="14" y="31"/>
                    <a:pt x="13" y="31"/>
                  </a:cubicBezTo>
                  <a:cubicBezTo>
                    <a:pt x="12" y="30"/>
                    <a:pt x="11" y="30"/>
                    <a:pt x="10" y="3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8" name="Freeform 222"/>
            <p:cNvSpPr>
              <a:spLocks noEditPoints="1"/>
            </p:cNvSpPr>
            <p:nvPr/>
          </p:nvSpPr>
          <p:spPr bwMode="auto">
            <a:xfrm>
              <a:off x="6358530" y="1297405"/>
              <a:ext cx="327339" cy="267603"/>
            </a:xfrm>
            <a:custGeom>
              <a:avLst/>
              <a:gdLst>
                <a:gd name="T0" fmla="*/ 2147483646 w 44"/>
                <a:gd name="T1" fmla="*/ 2147483646 h 36"/>
                <a:gd name="T2" fmla="*/ 2147483646 w 44"/>
                <a:gd name="T3" fmla="*/ 2147483646 h 36"/>
                <a:gd name="T4" fmla="*/ 2147483646 w 44"/>
                <a:gd name="T5" fmla="*/ 2147483646 h 36"/>
                <a:gd name="T6" fmla="*/ 2147483646 w 44"/>
                <a:gd name="T7" fmla="*/ 2147483646 h 36"/>
                <a:gd name="T8" fmla="*/ 2147483646 w 44"/>
                <a:gd name="T9" fmla="*/ 2147483646 h 36"/>
                <a:gd name="T10" fmla="*/ 2147483646 w 44"/>
                <a:gd name="T11" fmla="*/ 2147483646 h 36"/>
                <a:gd name="T12" fmla="*/ 2147483646 w 44"/>
                <a:gd name="T13" fmla="*/ 2147483646 h 36"/>
                <a:gd name="T14" fmla="*/ 2147483646 w 44"/>
                <a:gd name="T15" fmla="*/ 0 h 36"/>
                <a:gd name="T16" fmla="*/ 2147483646 w 44"/>
                <a:gd name="T17" fmla="*/ 2147483646 h 36"/>
                <a:gd name="T18" fmla="*/ 2147483646 w 44"/>
                <a:gd name="T19" fmla="*/ 2147483646 h 36"/>
                <a:gd name="T20" fmla="*/ 2147483646 w 44"/>
                <a:gd name="T21" fmla="*/ 2147483646 h 36"/>
                <a:gd name="T22" fmla="*/ 2147483646 w 44"/>
                <a:gd name="T23" fmla="*/ 2147483646 h 36"/>
                <a:gd name="T24" fmla="*/ 2147483646 w 44"/>
                <a:gd name="T25" fmla="*/ 2147483646 h 36"/>
                <a:gd name="T26" fmla="*/ 2147483646 w 44"/>
                <a:gd name="T27" fmla="*/ 2147483646 h 36"/>
                <a:gd name="T28" fmla="*/ 2147483646 w 44"/>
                <a:gd name="T29" fmla="*/ 2147483646 h 36"/>
                <a:gd name="T30" fmla="*/ 2147483646 w 44"/>
                <a:gd name="T31" fmla="*/ 2147483646 h 36"/>
                <a:gd name="T32" fmla="*/ 2147483646 w 44"/>
                <a:gd name="T33" fmla="*/ 2147483646 h 36"/>
                <a:gd name="T34" fmla="*/ 2147483646 w 44"/>
                <a:gd name="T35" fmla="*/ 2147483646 h 36"/>
                <a:gd name="T36" fmla="*/ 2147483646 w 44"/>
                <a:gd name="T37" fmla="*/ 2147483646 h 36"/>
                <a:gd name="T38" fmla="*/ 2147483646 w 44"/>
                <a:gd name="T39" fmla="*/ 2147483646 h 36"/>
                <a:gd name="T40" fmla="*/ 2147483646 w 44"/>
                <a:gd name="T41" fmla="*/ 2147483646 h 36"/>
                <a:gd name="T42" fmla="*/ 2147483646 w 44"/>
                <a:gd name="T43" fmla="*/ 2147483646 h 36"/>
                <a:gd name="T44" fmla="*/ 2147483646 w 44"/>
                <a:gd name="T45" fmla="*/ 2147483646 h 36"/>
                <a:gd name="T46" fmla="*/ 2147483646 w 44"/>
                <a:gd name="T47" fmla="*/ 2147483646 h 36"/>
                <a:gd name="T48" fmla="*/ 2147483646 w 44"/>
                <a:gd name="T49" fmla="*/ 2147483646 h 36"/>
                <a:gd name="T50" fmla="*/ 2147483646 w 44"/>
                <a:gd name="T51" fmla="*/ 2147483646 h 36"/>
                <a:gd name="T52" fmla="*/ 2147483646 w 44"/>
                <a:gd name="T53" fmla="*/ 2147483646 h 36"/>
                <a:gd name="T54" fmla="*/ 2147483646 w 44"/>
                <a:gd name="T55" fmla="*/ 2147483646 h 36"/>
                <a:gd name="T56" fmla="*/ 2147483646 w 44"/>
                <a:gd name="T57" fmla="*/ 2147483646 h 36"/>
                <a:gd name="T58" fmla="*/ 2147483646 w 44"/>
                <a:gd name="T59" fmla="*/ 2147483646 h 36"/>
                <a:gd name="T60" fmla="*/ 2147483646 w 44"/>
                <a:gd name="T61" fmla="*/ 2147483646 h 36"/>
                <a:gd name="T62" fmla="*/ 2147483646 w 44"/>
                <a:gd name="T63" fmla="*/ 2147483646 h 36"/>
                <a:gd name="T64" fmla="*/ 2147483646 w 44"/>
                <a:gd name="T65" fmla="*/ 2147483646 h 36"/>
                <a:gd name="T66" fmla="*/ 2147483646 w 44"/>
                <a:gd name="T67" fmla="*/ 2147483646 h 36"/>
                <a:gd name="T68" fmla="*/ 2147483646 w 44"/>
                <a:gd name="T69" fmla="*/ 2147483646 h 36"/>
                <a:gd name="T70" fmla="*/ 2147483646 w 44"/>
                <a:gd name="T71" fmla="*/ 2147483646 h 36"/>
                <a:gd name="T72" fmla="*/ 2147483646 w 44"/>
                <a:gd name="T73" fmla="*/ 2147483646 h 36"/>
                <a:gd name="T74" fmla="*/ 2147483646 w 44"/>
                <a:gd name="T75" fmla="*/ 2147483646 h 36"/>
                <a:gd name="T76" fmla="*/ 2147483646 w 44"/>
                <a:gd name="T77" fmla="*/ 2147483646 h 36"/>
                <a:gd name="T78" fmla="*/ 2147483646 w 44"/>
                <a:gd name="T79" fmla="*/ 2147483646 h 36"/>
                <a:gd name="T80" fmla="*/ 2147483646 w 44"/>
                <a:gd name="T81" fmla="*/ 2147483646 h 36"/>
                <a:gd name="T82" fmla="*/ 2147483646 w 44"/>
                <a:gd name="T83" fmla="*/ 2147483646 h 36"/>
                <a:gd name="T84" fmla="*/ 2147483646 w 44"/>
                <a:gd name="T85" fmla="*/ 2147483646 h 36"/>
                <a:gd name="T86" fmla="*/ 2147483646 w 44"/>
                <a:gd name="T87" fmla="*/ 2147483646 h 36"/>
                <a:gd name="T88" fmla="*/ 2147483646 w 44"/>
                <a:gd name="T89" fmla="*/ 2147483646 h 36"/>
                <a:gd name="T90" fmla="*/ 2147483646 w 44"/>
                <a:gd name="T91" fmla="*/ 2147483646 h 36"/>
                <a:gd name="T92" fmla="*/ 2147483646 w 44"/>
                <a:gd name="T93" fmla="*/ 2147483646 h 36"/>
                <a:gd name="T94" fmla="*/ 2147483646 w 44"/>
                <a:gd name="T95" fmla="*/ 2147483646 h 36"/>
                <a:gd name="T96" fmla="*/ 2147483646 w 44"/>
                <a:gd name="T97" fmla="*/ 2147483646 h 36"/>
                <a:gd name="T98" fmla="*/ 2147483646 w 44"/>
                <a:gd name="T99" fmla="*/ 2147483646 h 36"/>
                <a:gd name="T100" fmla="*/ 2147483646 w 44"/>
                <a:gd name="T101" fmla="*/ 2147483646 h 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4" h="36">
                  <a:moveTo>
                    <a:pt x="13" y="36"/>
                  </a:moveTo>
                  <a:cubicBezTo>
                    <a:pt x="14" y="35"/>
                    <a:pt x="14" y="35"/>
                    <a:pt x="14" y="35"/>
                  </a:cubicBezTo>
                  <a:cubicBezTo>
                    <a:pt x="14" y="34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2" y="32"/>
                    <a:pt x="12" y="32"/>
                    <a:pt x="1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6" y="29"/>
                    <a:pt x="6" y="29"/>
                    <a:pt x="4" y="25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5" y="23"/>
                    <a:pt x="15" y="23"/>
                    <a:pt x="16" y="22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2" y="21"/>
                    <a:pt x="11" y="21"/>
                    <a:pt x="11" y="21"/>
                  </a:cubicBezTo>
                  <a:cubicBezTo>
                    <a:pt x="10" y="22"/>
                    <a:pt x="10" y="22"/>
                    <a:pt x="9" y="22"/>
                  </a:cubicBezTo>
                  <a:cubicBezTo>
                    <a:pt x="5" y="22"/>
                    <a:pt x="4" y="21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5"/>
                    <a:pt x="6" y="15"/>
                    <a:pt x="6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6"/>
                    <a:pt x="2" y="16"/>
                  </a:cubicBezTo>
                  <a:cubicBezTo>
                    <a:pt x="2" y="15"/>
                    <a:pt x="2" y="15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1" y="14"/>
                    <a:pt x="0" y="13"/>
                  </a:cubicBezTo>
                  <a:cubicBezTo>
                    <a:pt x="0" y="12"/>
                    <a:pt x="1" y="11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8"/>
                    <a:pt x="2" y="8"/>
                  </a:cubicBezTo>
                  <a:cubicBezTo>
                    <a:pt x="2" y="6"/>
                    <a:pt x="2" y="6"/>
                    <a:pt x="3" y="5"/>
                  </a:cubicBezTo>
                  <a:cubicBezTo>
                    <a:pt x="4" y="5"/>
                    <a:pt x="4" y="4"/>
                    <a:pt x="5" y="4"/>
                  </a:cubicBezTo>
                  <a:cubicBezTo>
                    <a:pt x="7" y="1"/>
                    <a:pt x="10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2" y="1"/>
                  </a:cubicBezTo>
                  <a:cubicBezTo>
                    <a:pt x="13" y="2"/>
                    <a:pt x="13" y="4"/>
                    <a:pt x="12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2"/>
                    <a:pt x="14" y="2"/>
                  </a:cubicBezTo>
                  <a:cubicBezTo>
                    <a:pt x="15" y="2"/>
                    <a:pt x="15" y="2"/>
                    <a:pt x="15" y="3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6"/>
                    <a:pt x="18" y="7"/>
                  </a:cubicBezTo>
                  <a:cubicBezTo>
                    <a:pt x="19" y="7"/>
                    <a:pt x="20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3" y="3"/>
                    <a:pt x="25" y="5"/>
                    <a:pt x="25" y="7"/>
                  </a:cubicBezTo>
                  <a:cubicBezTo>
                    <a:pt x="25" y="7"/>
                    <a:pt x="25" y="8"/>
                    <a:pt x="25" y="8"/>
                  </a:cubicBezTo>
                  <a:cubicBezTo>
                    <a:pt x="25" y="9"/>
                    <a:pt x="26" y="11"/>
                    <a:pt x="26" y="12"/>
                  </a:cubicBezTo>
                  <a:cubicBezTo>
                    <a:pt x="27" y="11"/>
                    <a:pt x="27" y="11"/>
                    <a:pt x="26" y="10"/>
                  </a:cubicBezTo>
                  <a:cubicBezTo>
                    <a:pt x="26" y="9"/>
                    <a:pt x="26" y="9"/>
                    <a:pt x="26" y="8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6" y="1"/>
                    <a:pt x="26" y="1"/>
                    <a:pt x="25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1"/>
                    <a:pt x="33" y="4"/>
                    <a:pt x="33" y="7"/>
                  </a:cubicBezTo>
                  <a:cubicBezTo>
                    <a:pt x="33" y="8"/>
                    <a:pt x="34" y="9"/>
                    <a:pt x="34" y="11"/>
                  </a:cubicBezTo>
                  <a:cubicBezTo>
                    <a:pt x="35" y="13"/>
                    <a:pt x="35" y="15"/>
                    <a:pt x="35" y="17"/>
                  </a:cubicBezTo>
                  <a:cubicBezTo>
                    <a:pt x="35" y="18"/>
                    <a:pt x="37" y="20"/>
                    <a:pt x="37" y="20"/>
                  </a:cubicBezTo>
                  <a:cubicBezTo>
                    <a:pt x="37" y="20"/>
                    <a:pt x="37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3" y="23"/>
                    <a:pt x="43" y="24"/>
                    <a:pt x="43" y="25"/>
                  </a:cubicBezTo>
                  <a:cubicBezTo>
                    <a:pt x="44" y="26"/>
                    <a:pt x="44" y="26"/>
                    <a:pt x="43" y="27"/>
                  </a:cubicBezTo>
                  <a:cubicBezTo>
                    <a:pt x="43" y="27"/>
                    <a:pt x="43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6"/>
                  </a:cubicBezTo>
                  <a:cubicBezTo>
                    <a:pt x="39" y="27"/>
                    <a:pt x="39" y="27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1" y="28"/>
                    <a:pt x="41" y="28"/>
                  </a:cubicBezTo>
                  <a:cubicBezTo>
                    <a:pt x="41" y="29"/>
                    <a:pt x="41" y="29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1" y="31"/>
                    <a:pt x="41" y="31"/>
                    <a:pt x="41" y="32"/>
                  </a:cubicBezTo>
                  <a:cubicBezTo>
                    <a:pt x="40" y="33"/>
                    <a:pt x="39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0" y="30"/>
                    <a:pt x="30" y="30"/>
                  </a:cubicBezTo>
                  <a:cubicBezTo>
                    <a:pt x="29" y="31"/>
                    <a:pt x="28" y="32"/>
                    <a:pt x="28" y="32"/>
                  </a:cubicBezTo>
                  <a:cubicBezTo>
                    <a:pt x="25" y="32"/>
                    <a:pt x="25" y="33"/>
                    <a:pt x="23" y="34"/>
                  </a:cubicBezTo>
                  <a:cubicBezTo>
                    <a:pt x="22" y="35"/>
                    <a:pt x="19" y="35"/>
                    <a:pt x="16" y="35"/>
                  </a:cubicBezTo>
                  <a:cubicBezTo>
                    <a:pt x="16" y="35"/>
                    <a:pt x="15" y="35"/>
                    <a:pt x="14" y="35"/>
                  </a:cubicBezTo>
                  <a:lnTo>
                    <a:pt x="13" y="36"/>
                  </a:lnTo>
                  <a:close/>
                  <a:moveTo>
                    <a:pt x="5" y="25"/>
                  </a:moveTo>
                  <a:cubicBezTo>
                    <a:pt x="7" y="28"/>
                    <a:pt x="7" y="28"/>
                    <a:pt x="11" y="29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1"/>
                    <a:pt x="14" y="31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3"/>
                    <a:pt x="15" y="34"/>
                    <a:pt x="15" y="34"/>
                  </a:cubicBezTo>
                  <a:cubicBezTo>
                    <a:pt x="15" y="34"/>
                    <a:pt x="16" y="34"/>
                    <a:pt x="16" y="34"/>
                  </a:cubicBezTo>
                  <a:cubicBezTo>
                    <a:pt x="18" y="34"/>
                    <a:pt x="22" y="34"/>
                    <a:pt x="23" y="33"/>
                  </a:cubicBezTo>
                  <a:cubicBezTo>
                    <a:pt x="24" y="32"/>
                    <a:pt x="25" y="31"/>
                    <a:pt x="27" y="31"/>
                  </a:cubicBezTo>
                  <a:cubicBezTo>
                    <a:pt x="28" y="31"/>
                    <a:pt x="28" y="29"/>
                    <a:pt x="29" y="29"/>
                  </a:cubicBezTo>
                  <a:cubicBezTo>
                    <a:pt x="29" y="29"/>
                    <a:pt x="29" y="28"/>
                    <a:pt x="29" y="28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9"/>
                    <a:pt x="31" y="29"/>
                  </a:cubicBezTo>
                  <a:cubicBezTo>
                    <a:pt x="31" y="29"/>
                    <a:pt x="31" y="30"/>
                    <a:pt x="31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30"/>
                    <a:pt x="39" y="30"/>
                    <a:pt x="39" y="29"/>
                  </a:cubicBezTo>
                  <a:cubicBezTo>
                    <a:pt x="39" y="30"/>
                    <a:pt x="39" y="30"/>
                    <a:pt x="38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29"/>
                    <a:pt x="37" y="28"/>
                    <a:pt x="37" y="28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6"/>
                    <a:pt x="39" y="26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5"/>
                  </a:cubicBezTo>
                  <a:cubicBezTo>
                    <a:pt x="42" y="25"/>
                    <a:pt x="42" y="24"/>
                    <a:pt x="42" y="24"/>
                  </a:cubicBezTo>
                  <a:cubicBezTo>
                    <a:pt x="41" y="24"/>
                    <a:pt x="41" y="24"/>
                    <a:pt x="40" y="23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6" y="21"/>
                    <a:pt x="34" y="18"/>
                    <a:pt x="34" y="17"/>
                  </a:cubicBezTo>
                  <a:cubicBezTo>
                    <a:pt x="34" y="15"/>
                    <a:pt x="33" y="13"/>
                    <a:pt x="33" y="11"/>
                  </a:cubicBezTo>
                  <a:cubicBezTo>
                    <a:pt x="33" y="10"/>
                    <a:pt x="32" y="8"/>
                    <a:pt x="32" y="7"/>
                  </a:cubicBezTo>
                  <a:cubicBezTo>
                    <a:pt x="32" y="5"/>
                    <a:pt x="31" y="3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3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9"/>
                    <a:pt x="27" y="9"/>
                  </a:cubicBezTo>
                  <a:cubicBezTo>
                    <a:pt x="28" y="11"/>
                    <a:pt x="28" y="12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5" y="13"/>
                    <a:pt x="24" y="11"/>
                    <a:pt x="24" y="8"/>
                  </a:cubicBezTo>
                  <a:cubicBezTo>
                    <a:pt x="24" y="8"/>
                    <a:pt x="24" y="7"/>
                    <a:pt x="24" y="7"/>
                  </a:cubicBezTo>
                  <a:cubicBezTo>
                    <a:pt x="24" y="6"/>
                    <a:pt x="23" y="5"/>
                    <a:pt x="22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0" y="8"/>
                    <a:pt x="19" y="8"/>
                    <a:pt x="17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8" y="6"/>
                    <a:pt x="18" y="6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5"/>
                  </a:cubicBezTo>
                  <a:cubicBezTo>
                    <a:pt x="14" y="6"/>
                    <a:pt x="13" y="7"/>
                    <a:pt x="12" y="7"/>
                  </a:cubicBezTo>
                  <a:cubicBezTo>
                    <a:pt x="12" y="7"/>
                    <a:pt x="11" y="7"/>
                    <a:pt x="1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2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7" y="3"/>
                    <a:pt x="6" y="4"/>
                  </a:cubicBezTo>
                  <a:cubicBezTo>
                    <a:pt x="5" y="5"/>
                    <a:pt x="4" y="5"/>
                    <a:pt x="4" y="6"/>
                  </a:cubicBezTo>
                  <a:cubicBezTo>
                    <a:pt x="3" y="6"/>
                    <a:pt x="3" y="6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4" y="9"/>
                    <a:pt x="3" y="10"/>
                  </a:cubicBezTo>
                  <a:cubicBezTo>
                    <a:pt x="1" y="12"/>
                    <a:pt x="1" y="12"/>
                    <a:pt x="2" y="13"/>
                  </a:cubicBezTo>
                  <a:cubicBezTo>
                    <a:pt x="2" y="13"/>
                    <a:pt x="2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4" y="14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8" y="14"/>
                    <a:pt x="9" y="14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5" y="21"/>
                    <a:pt x="6" y="21"/>
                    <a:pt x="9" y="21"/>
                  </a:cubicBezTo>
                  <a:cubicBezTo>
                    <a:pt x="9" y="21"/>
                    <a:pt x="10" y="21"/>
                    <a:pt x="10" y="20"/>
                  </a:cubicBezTo>
                  <a:cubicBezTo>
                    <a:pt x="11" y="20"/>
                    <a:pt x="12" y="19"/>
                    <a:pt x="13" y="2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3"/>
                    <a:pt x="16" y="24"/>
                    <a:pt x="15" y="24"/>
                  </a:cubicBezTo>
                  <a:cubicBezTo>
                    <a:pt x="15" y="24"/>
                    <a:pt x="14" y="24"/>
                    <a:pt x="13" y="24"/>
                  </a:cubicBezTo>
                  <a:cubicBezTo>
                    <a:pt x="13" y="23"/>
                    <a:pt x="12" y="23"/>
                    <a:pt x="11" y="23"/>
                  </a:cubicBezTo>
                  <a:lnTo>
                    <a:pt x="5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9" name="Freeform 223"/>
            <p:cNvSpPr/>
            <p:nvPr/>
          </p:nvSpPr>
          <p:spPr bwMode="auto">
            <a:xfrm>
              <a:off x="6248367" y="1209254"/>
              <a:ext cx="176259" cy="214081"/>
            </a:xfrm>
            <a:custGeom>
              <a:avLst/>
              <a:gdLst>
                <a:gd name="T0" fmla="*/ 2147483646 w 24"/>
                <a:gd name="T1" fmla="*/ 2147483646 h 29"/>
                <a:gd name="T2" fmla="*/ 2147483646 w 24"/>
                <a:gd name="T3" fmla="*/ 2147483646 h 29"/>
                <a:gd name="T4" fmla="*/ 2147483646 w 24"/>
                <a:gd name="T5" fmla="*/ 2147483646 h 29"/>
                <a:gd name="T6" fmla="*/ 0 w 24"/>
                <a:gd name="T7" fmla="*/ 2147483646 h 29"/>
                <a:gd name="T8" fmla="*/ 2147483646 w 24"/>
                <a:gd name="T9" fmla="*/ 2147483646 h 29"/>
                <a:gd name="T10" fmla="*/ 2147483646 w 24"/>
                <a:gd name="T11" fmla="*/ 2147483646 h 29"/>
                <a:gd name="T12" fmla="*/ 2147483646 w 24"/>
                <a:gd name="T13" fmla="*/ 2147483646 h 29"/>
                <a:gd name="T14" fmla="*/ 2147483646 w 24"/>
                <a:gd name="T15" fmla="*/ 2147483646 h 29"/>
                <a:gd name="T16" fmla="*/ 2147483646 w 24"/>
                <a:gd name="T17" fmla="*/ 2147483646 h 29"/>
                <a:gd name="T18" fmla="*/ 2147483646 w 24"/>
                <a:gd name="T19" fmla="*/ 2147483646 h 29"/>
                <a:gd name="T20" fmla="*/ 2147483646 w 24"/>
                <a:gd name="T21" fmla="*/ 2147483646 h 29"/>
                <a:gd name="T22" fmla="*/ 2147483646 w 24"/>
                <a:gd name="T23" fmla="*/ 2147483646 h 29"/>
                <a:gd name="T24" fmla="*/ 2147483646 w 24"/>
                <a:gd name="T25" fmla="*/ 2147483646 h 29"/>
                <a:gd name="T26" fmla="*/ 2147483646 w 24"/>
                <a:gd name="T27" fmla="*/ 2147483646 h 29"/>
                <a:gd name="T28" fmla="*/ 2147483646 w 24"/>
                <a:gd name="T29" fmla="*/ 2147483646 h 29"/>
                <a:gd name="T30" fmla="*/ 2147483646 w 24"/>
                <a:gd name="T31" fmla="*/ 2147483646 h 29"/>
                <a:gd name="T32" fmla="*/ 2147483646 w 24"/>
                <a:gd name="T33" fmla="*/ 2147483646 h 2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" h="29">
                  <a:moveTo>
                    <a:pt x="4" y="7"/>
                  </a:moveTo>
                  <a:cubicBezTo>
                    <a:pt x="6" y="9"/>
                    <a:pt x="0" y="13"/>
                    <a:pt x="3" y="15"/>
                  </a:cubicBezTo>
                  <a:cubicBezTo>
                    <a:pt x="0" y="16"/>
                    <a:pt x="2" y="17"/>
                    <a:pt x="2" y="18"/>
                  </a:cubicBezTo>
                  <a:cubicBezTo>
                    <a:pt x="1" y="19"/>
                    <a:pt x="0" y="22"/>
                    <a:pt x="0" y="23"/>
                  </a:cubicBezTo>
                  <a:cubicBezTo>
                    <a:pt x="0" y="24"/>
                    <a:pt x="3" y="24"/>
                    <a:pt x="4" y="25"/>
                  </a:cubicBezTo>
                  <a:cubicBezTo>
                    <a:pt x="5" y="26"/>
                    <a:pt x="5" y="28"/>
                    <a:pt x="6" y="29"/>
                  </a:cubicBezTo>
                  <a:cubicBezTo>
                    <a:pt x="7" y="28"/>
                    <a:pt x="8" y="27"/>
                    <a:pt x="9" y="26"/>
                  </a:cubicBezTo>
                  <a:cubicBezTo>
                    <a:pt x="11" y="28"/>
                    <a:pt x="12" y="26"/>
                    <a:pt x="12" y="24"/>
                  </a:cubicBezTo>
                  <a:cubicBezTo>
                    <a:pt x="12" y="23"/>
                    <a:pt x="12" y="22"/>
                    <a:pt x="13" y="21"/>
                  </a:cubicBezTo>
                  <a:cubicBezTo>
                    <a:pt x="13" y="20"/>
                    <a:pt x="15" y="21"/>
                    <a:pt x="15" y="20"/>
                  </a:cubicBezTo>
                  <a:cubicBezTo>
                    <a:pt x="16" y="16"/>
                    <a:pt x="21" y="14"/>
                    <a:pt x="24" y="11"/>
                  </a:cubicBezTo>
                  <a:cubicBezTo>
                    <a:pt x="22" y="9"/>
                    <a:pt x="18" y="1"/>
                    <a:pt x="15" y="7"/>
                  </a:cubicBezTo>
                  <a:cubicBezTo>
                    <a:pt x="15" y="6"/>
                    <a:pt x="15" y="6"/>
                    <a:pt x="15" y="5"/>
                  </a:cubicBezTo>
                  <a:cubicBezTo>
                    <a:pt x="15" y="6"/>
                    <a:pt x="14" y="6"/>
                    <a:pt x="14" y="7"/>
                  </a:cubicBezTo>
                  <a:cubicBezTo>
                    <a:pt x="16" y="3"/>
                    <a:pt x="6" y="0"/>
                    <a:pt x="6" y="4"/>
                  </a:cubicBezTo>
                  <a:cubicBezTo>
                    <a:pt x="6" y="2"/>
                    <a:pt x="4" y="3"/>
                    <a:pt x="3" y="3"/>
                  </a:cubicBezTo>
                  <a:cubicBezTo>
                    <a:pt x="4" y="4"/>
                    <a:pt x="3" y="6"/>
                    <a:pt x="4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0" name="Freeform 224"/>
            <p:cNvSpPr>
              <a:spLocks noEditPoints="1"/>
            </p:cNvSpPr>
            <p:nvPr/>
          </p:nvSpPr>
          <p:spPr bwMode="auto">
            <a:xfrm>
              <a:off x="6238925" y="1215551"/>
              <a:ext cx="195144" cy="214081"/>
            </a:xfrm>
            <a:custGeom>
              <a:avLst/>
              <a:gdLst>
                <a:gd name="T0" fmla="*/ 2147483646 w 26"/>
                <a:gd name="T1" fmla="*/ 2147483646 h 29"/>
                <a:gd name="T2" fmla="*/ 2147483646 w 26"/>
                <a:gd name="T3" fmla="*/ 2147483646 h 29"/>
                <a:gd name="T4" fmla="*/ 0 w 26"/>
                <a:gd name="T5" fmla="*/ 2147483646 h 29"/>
                <a:gd name="T6" fmla="*/ 2147483646 w 26"/>
                <a:gd name="T7" fmla="*/ 2147483646 h 29"/>
                <a:gd name="T8" fmla="*/ 2147483646 w 26"/>
                <a:gd name="T9" fmla="*/ 2147483646 h 29"/>
                <a:gd name="T10" fmla="*/ 2147483646 w 26"/>
                <a:gd name="T11" fmla="*/ 2147483646 h 29"/>
                <a:gd name="T12" fmla="*/ 2147483646 w 26"/>
                <a:gd name="T13" fmla="*/ 2147483646 h 29"/>
                <a:gd name="T14" fmla="*/ 2147483646 w 26"/>
                <a:gd name="T15" fmla="*/ 2147483646 h 29"/>
                <a:gd name="T16" fmla="*/ 2147483646 w 26"/>
                <a:gd name="T17" fmla="*/ 2147483646 h 29"/>
                <a:gd name="T18" fmla="*/ 2147483646 w 26"/>
                <a:gd name="T19" fmla="*/ 2147483646 h 29"/>
                <a:gd name="T20" fmla="*/ 2147483646 w 26"/>
                <a:gd name="T21" fmla="*/ 2147483646 h 29"/>
                <a:gd name="T22" fmla="*/ 2147483646 w 26"/>
                <a:gd name="T23" fmla="*/ 2147483646 h 29"/>
                <a:gd name="T24" fmla="*/ 2147483646 w 26"/>
                <a:gd name="T25" fmla="*/ 2147483646 h 29"/>
                <a:gd name="T26" fmla="*/ 2147483646 w 26"/>
                <a:gd name="T27" fmla="*/ 2147483646 h 29"/>
                <a:gd name="T28" fmla="*/ 2147483646 w 26"/>
                <a:gd name="T29" fmla="*/ 2147483646 h 29"/>
                <a:gd name="T30" fmla="*/ 2147483646 w 26"/>
                <a:gd name="T31" fmla="*/ 2147483646 h 29"/>
                <a:gd name="T32" fmla="*/ 2147483646 w 26"/>
                <a:gd name="T33" fmla="*/ 2147483646 h 29"/>
                <a:gd name="T34" fmla="*/ 2147483646 w 26"/>
                <a:gd name="T35" fmla="*/ 2147483646 h 29"/>
                <a:gd name="T36" fmla="*/ 2147483646 w 26"/>
                <a:gd name="T37" fmla="*/ 2147483646 h 29"/>
                <a:gd name="T38" fmla="*/ 2147483646 w 26"/>
                <a:gd name="T39" fmla="*/ 2147483646 h 29"/>
                <a:gd name="T40" fmla="*/ 2147483646 w 26"/>
                <a:gd name="T41" fmla="*/ 2147483646 h 29"/>
                <a:gd name="T42" fmla="*/ 2147483646 w 26"/>
                <a:gd name="T43" fmla="*/ 2147483646 h 29"/>
                <a:gd name="T44" fmla="*/ 2147483646 w 26"/>
                <a:gd name="T45" fmla="*/ 2147483646 h 29"/>
                <a:gd name="T46" fmla="*/ 2147483646 w 26"/>
                <a:gd name="T47" fmla="*/ 2147483646 h 29"/>
                <a:gd name="T48" fmla="*/ 2147483646 w 26"/>
                <a:gd name="T49" fmla="*/ 2147483646 h 29"/>
                <a:gd name="T50" fmla="*/ 2147483646 w 26"/>
                <a:gd name="T51" fmla="*/ 2147483646 h 29"/>
                <a:gd name="T52" fmla="*/ 2147483646 w 26"/>
                <a:gd name="T53" fmla="*/ 2147483646 h 29"/>
                <a:gd name="T54" fmla="*/ 2147483646 w 26"/>
                <a:gd name="T55" fmla="*/ 2147483646 h 29"/>
                <a:gd name="T56" fmla="*/ 2147483646 w 26"/>
                <a:gd name="T57" fmla="*/ 2147483646 h 29"/>
                <a:gd name="T58" fmla="*/ 2147483646 w 26"/>
                <a:gd name="T59" fmla="*/ 2147483646 h 29"/>
                <a:gd name="T60" fmla="*/ 2147483646 w 26"/>
                <a:gd name="T61" fmla="*/ 2147483646 h 29"/>
                <a:gd name="T62" fmla="*/ 2147483646 w 26"/>
                <a:gd name="T63" fmla="*/ 2147483646 h 29"/>
                <a:gd name="T64" fmla="*/ 2147483646 w 26"/>
                <a:gd name="T65" fmla="*/ 2147483646 h 29"/>
                <a:gd name="T66" fmla="*/ 2147483646 w 26"/>
                <a:gd name="T67" fmla="*/ 2147483646 h 29"/>
                <a:gd name="T68" fmla="*/ 2147483646 w 26"/>
                <a:gd name="T69" fmla="*/ 2147483646 h 29"/>
                <a:gd name="T70" fmla="*/ 2147483646 w 26"/>
                <a:gd name="T71" fmla="*/ 2147483646 h 29"/>
                <a:gd name="T72" fmla="*/ 2147483646 w 26"/>
                <a:gd name="T73" fmla="*/ 2147483646 h 29"/>
                <a:gd name="T74" fmla="*/ 2147483646 w 26"/>
                <a:gd name="T75" fmla="*/ 2147483646 h 29"/>
                <a:gd name="T76" fmla="*/ 2147483646 w 26"/>
                <a:gd name="T77" fmla="*/ 2147483646 h 29"/>
                <a:gd name="T78" fmla="*/ 2147483646 w 26"/>
                <a:gd name="T79" fmla="*/ 2147483646 h 29"/>
                <a:gd name="T80" fmla="*/ 2147483646 w 26"/>
                <a:gd name="T81" fmla="*/ 2147483646 h 29"/>
                <a:gd name="T82" fmla="*/ 2147483646 w 26"/>
                <a:gd name="T83" fmla="*/ 2147483646 h 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6" h="29">
                  <a:moveTo>
                    <a:pt x="7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6" y="28"/>
                    <a:pt x="6" y="28"/>
                    <a:pt x="6" y="27"/>
                  </a:cubicBezTo>
                  <a:cubicBezTo>
                    <a:pt x="5" y="26"/>
                    <a:pt x="5" y="25"/>
                    <a:pt x="4" y="24"/>
                  </a:cubicBezTo>
                  <a:cubicBezTo>
                    <a:pt x="4" y="24"/>
                    <a:pt x="3" y="24"/>
                    <a:pt x="3" y="24"/>
                  </a:cubicBezTo>
                  <a:cubicBezTo>
                    <a:pt x="2" y="23"/>
                    <a:pt x="1" y="23"/>
                    <a:pt x="0" y="22"/>
                  </a:cubicBezTo>
                  <a:cubicBezTo>
                    <a:pt x="0" y="22"/>
                    <a:pt x="0" y="20"/>
                    <a:pt x="2" y="18"/>
                  </a:cubicBezTo>
                  <a:cubicBezTo>
                    <a:pt x="2" y="18"/>
                    <a:pt x="2" y="17"/>
                    <a:pt x="2" y="17"/>
                  </a:cubicBezTo>
                  <a:cubicBezTo>
                    <a:pt x="2" y="17"/>
                    <a:pt x="2" y="16"/>
                    <a:pt x="2" y="16"/>
                  </a:cubicBezTo>
                  <a:cubicBezTo>
                    <a:pt x="2" y="15"/>
                    <a:pt x="2" y="15"/>
                    <a:pt x="2" y="14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2" y="13"/>
                    <a:pt x="3" y="11"/>
                    <a:pt x="4" y="10"/>
                  </a:cubicBezTo>
                  <a:cubicBezTo>
                    <a:pt x="5" y="8"/>
                    <a:pt x="5" y="7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5"/>
                    <a:pt x="4" y="5"/>
                  </a:cubicBezTo>
                  <a:cubicBezTo>
                    <a:pt x="4" y="4"/>
                    <a:pt x="4" y="3"/>
                    <a:pt x="3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0"/>
                    <a:pt x="10" y="0"/>
                  </a:cubicBezTo>
                  <a:cubicBezTo>
                    <a:pt x="12" y="0"/>
                    <a:pt x="14" y="1"/>
                    <a:pt x="15" y="3"/>
                  </a:cubicBezTo>
                  <a:cubicBezTo>
                    <a:pt x="16" y="3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3"/>
                    <a:pt x="18" y="3"/>
                    <a:pt x="19" y="3"/>
                  </a:cubicBezTo>
                  <a:cubicBezTo>
                    <a:pt x="21" y="3"/>
                    <a:pt x="23" y="6"/>
                    <a:pt x="25" y="8"/>
                  </a:cubicBezTo>
                  <a:cubicBezTo>
                    <a:pt x="25" y="9"/>
                    <a:pt x="25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1"/>
                    <a:pt x="24" y="12"/>
                    <a:pt x="23" y="12"/>
                  </a:cubicBezTo>
                  <a:cubicBezTo>
                    <a:pt x="20" y="14"/>
                    <a:pt x="18" y="16"/>
                    <a:pt x="17" y="19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5" y="20"/>
                    <a:pt x="14" y="20"/>
                    <a:pt x="14" y="20"/>
                  </a:cubicBezTo>
                  <a:cubicBezTo>
                    <a:pt x="14" y="21"/>
                    <a:pt x="14" y="22"/>
                    <a:pt x="14" y="23"/>
                  </a:cubicBezTo>
                  <a:cubicBezTo>
                    <a:pt x="14" y="24"/>
                    <a:pt x="14" y="25"/>
                    <a:pt x="13" y="26"/>
                  </a:cubicBezTo>
                  <a:cubicBezTo>
                    <a:pt x="12" y="26"/>
                    <a:pt x="12" y="27"/>
                    <a:pt x="11" y="27"/>
                  </a:cubicBezTo>
                  <a:cubicBezTo>
                    <a:pt x="11" y="27"/>
                    <a:pt x="11" y="27"/>
                    <a:pt x="10" y="26"/>
                  </a:cubicBezTo>
                  <a:cubicBezTo>
                    <a:pt x="9" y="27"/>
                    <a:pt x="8" y="28"/>
                    <a:pt x="7" y="29"/>
                  </a:cubicBezTo>
                  <a:close/>
                  <a:moveTo>
                    <a:pt x="5" y="6"/>
                  </a:moveTo>
                  <a:cubicBezTo>
                    <a:pt x="7" y="7"/>
                    <a:pt x="6" y="9"/>
                    <a:pt x="5" y="10"/>
                  </a:cubicBezTo>
                  <a:cubicBezTo>
                    <a:pt x="4" y="12"/>
                    <a:pt x="3" y="13"/>
                    <a:pt x="4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6"/>
                  </a:cubicBezTo>
                  <a:cubicBezTo>
                    <a:pt x="3" y="16"/>
                    <a:pt x="4" y="17"/>
                    <a:pt x="3" y="18"/>
                  </a:cubicBezTo>
                  <a:cubicBezTo>
                    <a:pt x="3" y="18"/>
                    <a:pt x="3" y="18"/>
                    <a:pt x="3" y="19"/>
                  </a:cubicBezTo>
                  <a:cubicBezTo>
                    <a:pt x="2" y="20"/>
                    <a:pt x="1" y="21"/>
                    <a:pt x="1" y="22"/>
                  </a:cubicBezTo>
                  <a:cubicBezTo>
                    <a:pt x="1" y="22"/>
                    <a:pt x="3" y="22"/>
                    <a:pt x="3" y="22"/>
                  </a:cubicBezTo>
                  <a:cubicBezTo>
                    <a:pt x="4" y="23"/>
                    <a:pt x="5" y="23"/>
                    <a:pt x="5" y="23"/>
                  </a:cubicBezTo>
                  <a:cubicBezTo>
                    <a:pt x="6" y="24"/>
                    <a:pt x="7" y="25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7"/>
                    <a:pt x="9" y="26"/>
                    <a:pt x="10" y="2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3" y="24"/>
                    <a:pt x="13" y="23"/>
                  </a:cubicBezTo>
                  <a:cubicBezTo>
                    <a:pt x="13" y="22"/>
                    <a:pt x="13" y="21"/>
                    <a:pt x="13" y="20"/>
                  </a:cubicBezTo>
                  <a:cubicBezTo>
                    <a:pt x="14" y="19"/>
                    <a:pt x="14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7" y="15"/>
                    <a:pt x="20" y="13"/>
                    <a:pt x="22" y="11"/>
                  </a:cubicBezTo>
                  <a:cubicBezTo>
                    <a:pt x="23" y="11"/>
                    <a:pt x="24" y="11"/>
                    <a:pt x="24" y="10"/>
                  </a:cubicBezTo>
                  <a:cubicBezTo>
                    <a:pt x="24" y="10"/>
                    <a:pt x="24" y="9"/>
                    <a:pt x="24" y="9"/>
                  </a:cubicBezTo>
                  <a:cubicBezTo>
                    <a:pt x="22" y="7"/>
                    <a:pt x="20" y="4"/>
                    <a:pt x="19" y="4"/>
                  </a:cubicBezTo>
                  <a:cubicBezTo>
                    <a:pt x="18" y="4"/>
                    <a:pt x="17" y="5"/>
                    <a:pt x="17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5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5" y="4"/>
                    <a:pt x="14" y="4"/>
                  </a:cubicBezTo>
                  <a:cubicBezTo>
                    <a:pt x="14" y="2"/>
                    <a:pt x="11" y="2"/>
                    <a:pt x="10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5" y="5"/>
                    <a:pt x="5" y="5"/>
                    <a:pt x="5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1" name="Freeform 225"/>
            <p:cNvSpPr/>
            <p:nvPr/>
          </p:nvSpPr>
          <p:spPr bwMode="auto">
            <a:xfrm>
              <a:off x="7057272" y="1511486"/>
              <a:ext cx="9442" cy="9445"/>
            </a:xfrm>
            <a:custGeom>
              <a:avLst/>
              <a:gdLst>
                <a:gd name="T0" fmla="*/ 2147483646 w 1"/>
                <a:gd name="T1" fmla="*/ 2147483646 h 1"/>
                <a:gd name="T2" fmla="*/ 0 w 1"/>
                <a:gd name="T3" fmla="*/ 0 h 1"/>
                <a:gd name="T4" fmla="*/ 2147483646 w 1"/>
                <a:gd name="T5" fmla="*/ 0 h 1"/>
                <a:gd name="T6" fmla="*/ 2147483646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2" name="Freeform 226"/>
            <p:cNvSpPr/>
            <p:nvPr/>
          </p:nvSpPr>
          <p:spPr bwMode="auto">
            <a:xfrm>
              <a:off x="7050978" y="1511486"/>
              <a:ext cx="22032" cy="22039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2147483646 w 3"/>
                <a:gd name="T5" fmla="*/ 0 h 3"/>
                <a:gd name="T6" fmla="*/ 2147483646 w 3"/>
                <a:gd name="T7" fmla="*/ 0 h 3"/>
                <a:gd name="T8" fmla="*/ 2147483646 w 3"/>
                <a:gd name="T9" fmla="*/ 0 h 3"/>
                <a:gd name="T10" fmla="*/ 2147483646 w 3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3" name="Freeform 227"/>
            <p:cNvSpPr/>
            <p:nvPr/>
          </p:nvSpPr>
          <p:spPr bwMode="auto">
            <a:xfrm>
              <a:off x="7044683" y="1520931"/>
              <a:ext cx="12590" cy="12593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2147483646 h 2"/>
                <a:gd name="T6" fmla="*/ 2147483646 w 2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4" name="Freeform 228"/>
            <p:cNvSpPr/>
            <p:nvPr/>
          </p:nvSpPr>
          <p:spPr bwMode="auto">
            <a:xfrm>
              <a:off x="7035240" y="1511486"/>
              <a:ext cx="31475" cy="31483"/>
            </a:xfrm>
            <a:custGeom>
              <a:avLst/>
              <a:gdLst>
                <a:gd name="T0" fmla="*/ 0 w 4"/>
                <a:gd name="T1" fmla="*/ 2147483646 h 4"/>
                <a:gd name="T2" fmla="*/ 2147483646 w 4"/>
                <a:gd name="T3" fmla="*/ 0 h 4"/>
                <a:gd name="T4" fmla="*/ 2147483646 w 4"/>
                <a:gd name="T5" fmla="*/ 2147483646 h 4"/>
                <a:gd name="T6" fmla="*/ 2147483646 w 4"/>
                <a:gd name="T7" fmla="*/ 2147483646 h 4"/>
                <a:gd name="T8" fmla="*/ 2147483646 w 4"/>
                <a:gd name="T9" fmla="*/ 2147483646 h 4"/>
                <a:gd name="T10" fmla="*/ 2147483646 w 4"/>
                <a:gd name="T11" fmla="*/ 2147483646 h 4"/>
                <a:gd name="T12" fmla="*/ 2147483646 w 4"/>
                <a:gd name="T13" fmla="*/ 2147483646 h 4"/>
                <a:gd name="T14" fmla="*/ 0 w 4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3" y="4"/>
                    <a:pt x="2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5" name="Freeform 229"/>
            <p:cNvSpPr/>
            <p:nvPr/>
          </p:nvSpPr>
          <p:spPr bwMode="auto">
            <a:xfrm>
              <a:off x="7466446" y="1467411"/>
              <a:ext cx="53507" cy="53521"/>
            </a:xfrm>
            <a:custGeom>
              <a:avLst/>
              <a:gdLst>
                <a:gd name="T0" fmla="*/ 2147483646 w 7"/>
                <a:gd name="T1" fmla="*/ 0 h 7"/>
                <a:gd name="T2" fmla="*/ 2147483646 w 7"/>
                <a:gd name="T3" fmla="*/ 2147483646 h 7"/>
                <a:gd name="T4" fmla="*/ 2147483646 w 7"/>
                <a:gd name="T5" fmla="*/ 2147483646 h 7"/>
                <a:gd name="T6" fmla="*/ 2147483646 w 7"/>
                <a:gd name="T7" fmla="*/ 2147483646 h 7"/>
                <a:gd name="T8" fmla="*/ 0 w 7"/>
                <a:gd name="T9" fmla="*/ 2147483646 h 7"/>
                <a:gd name="T10" fmla="*/ 2147483646 w 7"/>
                <a:gd name="T11" fmla="*/ 2147483646 h 7"/>
                <a:gd name="T12" fmla="*/ 0 w 7"/>
                <a:gd name="T13" fmla="*/ 2147483646 h 7"/>
                <a:gd name="T14" fmla="*/ 2147483646 w 7"/>
                <a:gd name="T15" fmla="*/ 2147483646 h 7"/>
                <a:gd name="T16" fmla="*/ 2147483646 w 7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7">
                  <a:moveTo>
                    <a:pt x="2" y="0"/>
                  </a:moveTo>
                  <a:cubicBezTo>
                    <a:pt x="5" y="1"/>
                    <a:pt x="5" y="2"/>
                    <a:pt x="7" y="5"/>
                  </a:cubicBezTo>
                  <a:cubicBezTo>
                    <a:pt x="5" y="6"/>
                    <a:pt x="4" y="7"/>
                    <a:pt x="2" y="6"/>
                  </a:cubicBezTo>
                  <a:cubicBezTo>
                    <a:pt x="3" y="6"/>
                    <a:pt x="3" y="6"/>
                    <a:pt x="4" y="5"/>
                  </a:cubicBezTo>
                  <a:cubicBezTo>
                    <a:pt x="3" y="5"/>
                    <a:pt x="2" y="5"/>
                    <a:pt x="0" y="5"/>
                  </a:cubicBezTo>
                  <a:cubicBezTo>
                    <a:pt x="1" y="5"/>
                    <a:pt x="1" y="4"/>
                    <a:pt x="2" y="4"/>
                  </a:cubicBezTo>
                  <a:cubicBezTo>
                    <a:pt x="1" y="4"/>
                    <a:pt x="1" y="3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6" name="Freeform 230"/>
            <p:cNvSpPr>
              <a:spLocks noEditPoints="1"/>
            </p:cNvSpPr>
            <p:nvPr/>
          </p:nvSpPr>
          <p:spPr bwMode="auto">
            <a:xfrm>
              <a:off x="7444414" y="1461114"/>
              <a:ext cx="81835" cy="59817"/>
            </a:xfrm>
            <a:custGeom>
              <a:avLst/>
              <a:gdLst>
                <a:gd name="T0" fmla="*/ 2147483646 w 11"/>
                <a:gd name="T1" fmla="*/ 2147483646 h 8"/>
                <a:gd name="T2" fmla="*/ 2147483646 w 11"/>
                <a:gd name="T3" fmla="*/ 2147483646 h 8"/>
                <a:gd name="T4" fmla="*/ 2147483646 w 11"/>
                <a:gd name="T5" fmla="*/ 2147483646 h 8"/>
                <a:gd name="T6" fmla="*/ 2147483646 w 11"/>
                <a:gd name="T7" fmla="*/ 2147483646 h 8"/>
                <a:gd name="T8" fmla="*/ 2147483646 w 11"/>
                <a:gd name="T9" fmla="*/ 2147483646 h 8"/>
                <a:gd name="T10" fmla="*/ 0 w 11"/>
                <a:gd name="T11" fmla="*/ 2147483646 h 8"/>
                <a:gd name="T12" fmla="*/ 2147483646 w 11"/>
                <a:gd name="T13" fmla="*/ 2147483646 h 8"/>
                <a:gd name="T14" fmla="*/ 2147483646 w 11"/>
                <a:gd name="T15" fmla="*/ 2147483646 h 8"/>
                <a:gd name="T16" fmla="*/ 2147483646 w 11"/>
                <a:gd name="T17" fmla="*/ 2147483646 h 8"/>
                <a:gd name="T18" fmla="*/ 2147483646 w 11"/>
                <a:gd name="T19" fmla="*/ 2147483646 h 8"/>
                <a:gd name="T20" fmla="*/ 2147483646 w 11"/>
                <a:gd name="T21" fmla="*/ 2147483646 h 8"/>
                <a:gd name="T22" fmla="*/ 2147483646 w 11"/>
                <a:gd name="T23" fmla="*/ 2147483646 h 8"/>
                <a:gd name="T24" fmla="*/ 2147483646 w 11"/>
                <a:gd name="T25" fmla="*/ 2147483646 h 8"/>
                <a:gd name="T26" fmla="*/ 2147483646 w 11"/>
                <a:gd name="T27" fmla="*/ 2147483646 h 8"/>
                <a:gd name="T28" fmla="*/ 2147483646 w 11"/>
                <a:gd name="T29" fmla="*/ 0 h 8"/>
                <a:gd name="T30" fmla="*/ 2147483646 w 11"/>
                <a:gd name="T31" fmla="*/ 0 h 8"/>
                <a:gd name="T32" fmla="*/ 2147483646 w 11"/>
                <a:gd name="T33" fmla="*/ 0 h 8"/>
                <a:gd name="T34" fmla="*/ 2147483646 w 11"/>
                <a:gd name="T35" fmla="*/ 2147483646 h 8"/>
                <a:gd name="T36" fmla="*/ 2147483646 w 11"/>
                <a:gd name="T37" fmla="*/ 2147483646 h 8"/>
                <a:gd name="T38" fmla="*/ 2147483646 w 11"/>
                <a:gd name="T39" fmla="*/ 2147483646 h 8"/>
                <a:gd name="T40" fmla="*/ 2147483646 w 11"/>
                <a:gd name="T41" fmla="*/ 2147483646 h 8"/>
                <a:gd name="T42" fmla="*/ 2147483646 w 11"/>
                <a:gd name="T43" fmla="*/ 2147483646 h 8"/>
                <a:gd name="T44" fmla="*/ 2147483646 w 11"/>
                <a:gd name="T45" fmla="*/ 2147483646 h 8"/>
                <a:gd name="T46" fmla="*/ 2147483646 w 11"/>
                <a:gd name="T47" fmla="*/ 2147483646 h 8"/>
                <a:gd name="T48" fmla="*/ 2147483646 w 11"/>
                <a:gd name="T49" fmla="*/ 2147483646 h 8"/>
                <a:gd name="T50" fmla="*/ 2147483646 w 11"/>
                <a:gd name="T51" fmla="*/ 2147483646 h 8"/>
                <a:gd name="T52" fmla="*/ 2147483646 w 11"/>
                <a:gd name="T53" fmla="*/ 2147483646 h 8"/>
                <a:gd name="T54" fmla="*/ 2147483646 w 11"/>
                <a:gd name="T55" fmla="*/ 2147483646 h 8"/>
                <a:gd name="T56" fmla="*/ 2147483646 w 11"/>
                <a:gd name="T57" fmla="*/ 2147483646 h 8"/>
                <a:gd name="T58" fmla="*/ 2147483646 w 11"/>
                <a:gd name="T59" fmla="*/ 2147483646 h 8"/>
                <a:gd name="T60" fmla="*/ 2147483646 w 11"/>
                <a:gd name="T61" fmla="*/ 2147483646 h 8"/>
                <a:gd name="T62" fmla="*/ 2147483646 w 11"/>
                <a:gd name="T63" fmla="*/ 2147483646 h 8"/>
                <a:gd name="T64" fmla="*/ 2147483646 w 11"/>
                <a:gd name="T65" fmla="*/ 2147483646 h 8"/>
                <a:gd name="T66" fmla="*/ 2147483646 w 11"/>
                <a:gd name="T67" fmla="*/ 2147483646 h 8"/>
                <a:gd name="T68" fmla="*/ 2147483646 w 11"/>
                <a:gd name="T69" fmla="*/ 2147483646 h 8"/>
                <a:gd name="T70" fmla="*/ 2147483646 w 11"/>
                <a:gd name="T71" fmla="*/ 2147483646 h 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" h="8">
                  <a:moveTo>
                    <a:pt x="7" y="8"/>
                  </a:moveTo>
                  <a:cubicBezTo>
                    <a:pt x="6" y="8"/>
                    <a:pt x="5" y="8"/>
                    <a:pt x="5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4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1"/>
                    <a:pt x="9" y="3"/>
                    <a:pt x="10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10" y="7"/>
                    <a:pt x="10" y="7"/>
                  </a:cubicBezTo>
                  <a:cubicBezTo>
                    <a:pt x="9" y="7"/>
                    <a:pt x="8" y="8"/>
                    <a:pt x="7" y="8"/>
                  </a:cubicBezTo>
                  <a:close/>
                  <a:moveTo>
                    <a:pt x="6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3"/>
                    <a:pt x="7" y="2"/>
                    <a:pt x="5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5" y="3"/>
                    <a:pt x="5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lnTo>
                    <a:pt x="6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7" name="Freeform 231"/>
            <p:cNvSpPr/>
            <p:nvPr/>
          </p:nvSpPr>
          <p:spPr bwMode="auto">
            <a:xfrm>
              <a:off x="1581619" y="2500039"/>
              <a:ext cx="365109" cy="358901"/>
            </a:xfrm>
            <a:custGeom>
              <a:avLst/>
              <a:gdLst>
                <a:gd name="T0" fmla="*/ 2147483646 w 49"/>
                <a:gd name="T1" fmla="*/ 2147483646 h 48"/>
                <a:gd name="T2" fmla="*/ 2147483646 w 49"/>
                <a:gd name="T3" fmla="*/ 2147483646 h 48"/>
                <a:gd name="T4" fmla="*/ 2147483646 w 49"/>
                <a:gd name="T5" fmla="*/ 2147483646 h 48"/>
                <a:gd name="T6" fmla="*/ 2147483646 w 49"/>
                <a:gd name="T7" fmla="*/ 0 h 48"/>
                <a:gd name="T8" fmla="*/ 2147483646 w 49"/>
                <a:gd name="T9" fmla="*/ 0 h 48"/>
                <a:gd name="T10" fmla="*/ 2147483646 w 49"/>
                <a:gd name="T11" fmla="*/ 2147483646 h 48"/>
                <a:gd name="T12" fmla="*/ 2147483646 w 49"/>
                <a:gd name="T13" fmla="*/ 2147483646 h 48"/>
                <a:gd name="T14" fmla="*/ 2147483646 w 49"/>
                <a:gd name="T15" fmla="*/ 2147483646 h 48"/>
                <a:gd name="T16" fmla="*/ 2147483646 w 49"/>
                <a:gd name="T17" fmla="*/ 2147483646 h 48"/>
                <a:gd name="T18" fmla="*/ 2147483646 w 49"/>
                <a:gd name="T19" fmla="*/ 2147483646 h 48"/>
                <a:gd name="T20" fmla="*/ 2147483646 w 49"/>
                <a:gd name="T21" fmla="*/ 2147483646 h 48"/>
                <a:gd name="T22" fmla="*/ 2147483646 w 49"/>
                <a:gd name="T23" fmla="*/ 2147483646 h 48"/>
                <a:gd name="T24" fmla="*/ 2147483646 w 49"/>
                <a:gd name="T25" fmla="*/ 2147483646 h 48"/>
                <a:gd name="T26" fmla="*/ 2147483646 w 49"/>
                <a:gd name="T27" fmla="*/ 2147483646 h 48"/>
                <a:gd name="T28" fmla="*/ 2147483646 w 49"/>
                <a:gd name="T29" fmla="*/ 2147483646 h 48"/>
                <a:gd name="T30" fmla="*/ 2147483646 w 49"/>
                <a:gd name="T31" fmla="*/ 2147483646 h 48"/>
                <a:gd name="T32" fmla="*/ 2147483646 w 49"/>
                <a:gd name="T33" fmla="*/ 2147483646 h 48"/>
                <a:gd name="T34" fmla="*/ 2147483646 w 49"/>
                <a:gd name="T35" fmla="*/ 2147483646 h 48"/>
                <a:gd name="T36" fmla="*/ 2147483646 w 49"/>
                <a:gd name="T37" fmla="*/ 2147483646 h 48"/>
                <a:gd name="T38" fmla="*/ 2147483646 w 49"/>
                <a:gd name="T39" fmla="*/ 2147483646 h 48"/>
                <a:gd name="T40" fmla="*/ 2147483646 w 49"/>
                <a:gd name="T41" fmla="*/ 2147483646 h 48"/>
                <a:gd name="T42" fmla="*/ 2147483646 w 49"/>
                <a:gd name="T43" fmla="*/ 2147483646 h 48"/>
                <a:gd name="T44" fmla="*/ 2147483646 w 49"/>
                <a:gd name="T45" fmla="*/ 2147483646 h 48"/>
                <a:gd name="T46" fmla="*/ 2147483646 w 49"/>
                <a:gd name="T47" fmla="*/ 2147483646 h 48"/>
                <a:gd name="T48" fmla="*/ 2147483646 w 49"/>
                <a:gd name="T49" fmla="*/ 2147483646 h 48"/>
                <a:gd name="T50" fmla="*/ 2147483646 w 49"/>
                <a:gd name="T51" fmla="*/ 2147483646 h 48"/>
                <a:gd name="T52" fmla="*/ 2147483646 w 49"/>
                <a:gd name="T53" fmla="*/ 2147483646 h 48"/>
                <a:gd name="T54" fmla="*/ 2147483646 w 49"/>
                <a:gd name="T55" fmla="*/ 2147483646 h 48"/>
                <a:gd name="T56" fmla="*/ 2147483646 w 49"/>
                <a:gd name="T57" fmla="*/ 2147483646 h 48"/>
                <a:gd name="T58" fmla="*/ 2147483646 w 49"/>
                <a:gd name="T59" fmla="*/ 2147483646 h 48"/>
                <a:gd name="T60" fmla="*/ 2147483646 w 49"/>
                <a:gd name="T61" fmla="*/ 2147483646 h 4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49" h="48">
                  <a:moveTo>
                    <a:pt x="16" y="6"/>
                  </a:moveTo>
                  <a:cubicBezTo>
                    <a:pt x="18" y="6"/>
                    <a:pt x="20" y="4"/>
                    <a:pt x="21" y="3"/>
                  </a:cubicBezTo>
                  <a:cubicBezTo>
                    <a:pt x="24" y="2"/>
                    <a:pt x="26" y="2"/>
                    <a:pt x="29" y="1"/>
                  </a:cubicBezTo>
                  <a:cubicBezTo>
                    <a:pt x="31" y="1"/>
                    <a:pt x="33" y="2"/>
                    <a:pt x="35" y="0"/>
                  </a:cubicBezTo>
                  <a:cubicBezTo>
                    <a:pt x="35" y="0"/>
                    <a:pt x="37" y="0"/>
                    <a:pt x="37" y="0"/>
                  </a:cubicBezTo>
                  <a:cubicBezTo>
                    <a:pt x="39" y="0"/>
                    <a:pt x="39" y="1"/>
                    <a:pt x="41" y="1"/>
                  </a:cubicBezTo>
                  <a:cubicBezTo>
                    <a:pt x="40" y="1"/>
                    <a:pt x="40" y="2"/>
                    <a:pt x="40" y="2"/>
                  </a:cubicBezTo>
                  <a:cubicBezTo>
                    <a:pt x="40" y="2"/>
                    <a:pt x="40" y="6"/>
                    <a:pt x="40" y="7"/>
                  </a:cubicBezTo>
                  <a:cubicBezTo>
                    <a:pt x="39" y="8"/>
                    <a:pt x="37" y="9"/>
                    <a:pt x="38" y="10"/>
                  </a:cubicBezTo>
                  <a:cubicBezTo>
                    <a:pt x="38" y="11"/>
                    <a:pt x="39" y="11"/>
                    <a:pt x="39" y="13"/>
                  </a:cubicBezTo>
                  <a:cubicBezTo>
                    <a:pt x="40" y="14"/>
                    <a:pt x="41" y="14"/>
                    <a:pt x="41" y="15"/>
                  </a:cubicBezTo>
                  <a:cubicBezTo>
                    <a:pt x="42" y="16"/>
                    <a:pt x="42" y="18"/>
                    <a:pt x="42" y="19"/>
                  </a:cubicBezTo>
                  <a:cubicBezTo>
                    <a:pt x="42" y="20"/>
                    <a:pt x="41" y="20"/>
                    <a:pt x="42" y="21"/>
                  </a:cubicBezTo>
                  <a:cubicBezTo>
                    <a:pt x="43" y="22"/>
                    <a:pt x="43" y="24"/>
                    <a:pt x="43" y="25"/>
                  </a:cubicBezTo>
                  <a:cubicBezTo>
                    <a:pt x="43" y="27"/>
                    <a:pt x="42" y="30"/>
                    <a:pt x="42" y="31"/>
                  </a:cubicBezTo>
                  <a:cubicBezTo>
                    <a:pt x="43" y="31"/>
                    <a:pt x="43" y="33"/>
                    <a:pt x="44" y="34"/>
                  </a:cubicBezTo>
                  <a:cubicBezTo>
                    <a:pt x="44" y="34"/>
                    <a:pt x="46" y="34"/>
                    <a:pt x="47" y="35"/>
                  </a:cubicBezTo>
                  <a:cubicBezTo>
                    <a:pt x="49" y="37"/>
                    <a:pt x="46" y="38"/>
                    <a:pt x="44" y="39"/>
                  </a:cubicBezTo>
                  <a:cubicBezTo>
                    <a:pt x="42" y="41"/>
                    <a:pt x="40" y="42"/>
                    <a:pt x="38" y="43"/>
                  </a:cubicBezTo>
                  <a:cubicBezTo>
                    <a:pt x="35" y="45"/>
                    <a:pt x="34" y="46"/>
                    <a:pt x="31" y="47"/>
                  </a:cubicBezTo>
                  <a:cubicBezTo>
                    <a:pt x="31" y="47"/>
                    <a:pt x="28" y="48"/>
                    <a:pt x="28" y="48"/>
                  </a:cubicBezTo>
                  <a:cubicBezTo>
                    <a:pt x="27" y="47"/>
                    <a:pt x="28" y="46"/>
                    <a:pt x="28" y="46"/>
                  </a:cubicBezTo>
                  <a:cubicBezTo>
                    <a:pt x="23" y="44"/>
                    <a:pt x="20" y="40"/>
                    <a:pt x="16" y="38"/>
                  </a:cubicBezTo>
                  <a:cubicBezTo>
                    <a:pt x="12" y="35"/>
                    <a:pt x="7" y="32"/>
                    <a:pt x="3" y="29"/>
                  </a:cubicBezTo>
                  <a:cubicBezTo>
                    <a:pt x="0" y="27"/>
                    <a:pt x="1" y="27"/>
                    <a:pt x="1" y="23"/>
                  </a:cubicBezTo>
                  <a:cubicBezTo>
                    <a:pt x="1" y="22"/>
                    <a:pt x="5" y="21"/>
                    <a:pt x="6" y="20"/>
                  </a:cubicBezTo>
                  <a:cubicBezTo>
                    <a:pt x="8" y="20"/>
                    <a:pt x="10" y="18"/>
                    <a:pt x="12" y="17"/>
                  </a:cubicBezTo>
                  <a:cubicBezTo>
                    <a:pt x="10" y="14"/>
                    <a:pt x="16" y="14"/>
                    <a:pt x="18" y="14"/>
                  </a:cubicBezTo>
                  <a:cubicBezTo>
                    <a:pt x="18" y="13"/>
                    <a:pt x="17" y="12"/>
                    <a:pt x="17" y="11"/>
                  </a:cubicBezTo>
                  <a:cubicBezTo>
                    <a:pt x="17" y="9"/>
                    <a:pt x="17" y="7"/>
                    <a:pt x="15" y="6"/>
                  </a:cubicBezTo>
                  <a:cubicBezTo>
                    <a:pt x="16" y="6"/>
                    <a:pt x="16" y="6"/>
                    <a:pt x="16" y="6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8" name="Freeform 232"/>
            <p:cNvSpPr>
              <a:spLocks noEditPoints="1"/>
            </p:cNvSpPr>
            <p:nvPr/>
          </p:nvSpPr>
          <p:spPr bwMode="auto">
            <a:xfrm>
              <a:off x="1581619" y="2493742"/>
              <a:ext cx="355666" cy="365198"/>
            </a:xfrm>
            <a:custGeom>
              <a:avLst/>
              <a:gdLst>
                <a:gd name="T0" fmla="*/ 2147483646 w 48"/>
                <a:gd name="T1" fmla="*/ 2147483646 h 49"/>
                <a:gd name="T2" fmla="*/ 2147483646 w 48"/>
                <a:gd name="T3" fmla="*/ 2147483646 h 49"/>
                <a:gd name="T4" fmla="*/ 2147483646 w 48"/>
                <a:gd name="T5" fmla="*/ 2147483646 h 49"/>
                <a:gd name="T6" fmla="*/ 0 w 48"/>
                <a:gd name="T7" fmla="*/ 2147483646 h 49"/>
                <a:gd name="T8" fmla="*/ 2147483646 w 48"/>
                <a:gd name="T9" fmla="*/ 2147483646 h 49"/>
                <a:gd name="T10" fmla="*/ 2147483646 w 48"/>
                <a:gd name="T11" fmla="*/ 2147483646 h 49"/>
                <a:gd name="T12" fmla="*/ 2147483646 w 48"/>
                <a:gd name="T13" fmla="*/ 2147483646 h 49"/>
                <a:gd name="T14" fmla="*/ 2147483646 w 48"/>
                <a:gd name="T15" fmla="*/ 2147483646 h 49"/>
                <a:gd name="T16" fmla="*/ 2147483646 w 48"/>
                <a:gd name="T17" fmla="*/ 2147483646 h 49"/>
                <a:gd name="T18" fmla="*/ 2147483646 w 48"/>
                <a:gd name="T19" fmla="*/ 2147483646 h 49"/>
                <a:gd name="T20" fmla="*/ 2147483646 w 48"/>
                <a:gd name="T21" fmla="*/ 2147483646 h 49"/>
                <a:gd name="T22" fmla="*/ 2147483646 w 48"/>
                <a:gd name="T23" fmla="*/ 2147483646 h 49"/>
                <a:gd name="T24" fmla="*/ 2147483646 w 48"/>
                <a:gd name="T25" fmla="*/ 2147483646 h 49"/>
                <a:gd name="T26" fmla="*/ 2147483646 w 48"/>
                <a:gd name="T27" fmla="*/ 2147483646 h 49"/>
                <a:gd name="T28" fmla="*/ 2147483646 w 48"/>
                <a:gd name="T29" fmla="*/ 2147483646 h 49"/>
                <a:gd name="T30" fmla="*/ 2147483646 w 48"/>
                <a:gd name="T31" fmla="*/ 2147483646 h 49"/>
                <a:gd name="T32" fmla="*/ 2147483646 w 48"/>
                <a:gd name="T33" fmla="*/ 0 h 49"/>
                <a:gd name="T34" fmla="*/ 2147483646 w 48"/>
                <a:gd name="T35" fmla="*/ 2147483646 h 49"/>
                <a:gd name="T36" fmla="*/ 2147483646 w 48"/>
                <a:gd name="T37" fmla="*/ 2147483646 h 49"/>
                <a:gd name="T38" fmla="*/ 2147483646 w 48"/>
                <a:gd name="T39" fmla="*/ 2147483646 h 49"/>
                <a:gd name="T40" fmla="*/ 2147483646 w 48"/>
                <a:gd name="T41" fmla="*/ 2147483646 h 49"/>
                <a:gd name="T42" fmla="*/ 2147483646 w 48"/>
                <a:gd name="T43" fmla="*/ 2147483646 h 49"/>
                <a:gd name="T44" fmla="*/ 2147483646 w 48"/>
                <a:gd name="T45" fmla="*/ 2147483646 h 49"/>
                <a:gd name="T46" fmla="*/ 2147483646 w 48"/>
                <a:gd name="T47" fmla="*/ 2147483646 h 49"/>
                <a:gd name="T48" fmla="*/ 2147483646 w 48"/>
                <a:gd name="T49" fmla="*/ 2147483646 h 49"/>
                <a:gd name="T50" fmla="*/ 2147483646 w 48"/>
                <a:gd name="T51" fmla="*/ 2147483646 h 49"/>
                <a:gd name="T52" fmla="*/ 2147483646 w 48"/>
                <a:gd name="T53" fmla="*/ 2147483646 h 49"/>
                <a:gd name="T54" fmla="*/ 2147483646 w 48"/>
                <a:gd name="T55" fmla="*/ 2147483646 h 49"/>
                <a:gd name="T56" fmla="*/ 2147483646 w 48"/>
                <a:gd name="T57" fmla="*/ 2147483646 h 49"/>
                <a:gd name="T58" fmla="*/ 2147483646 w 48"/>
                <a:gd name="T59" fmla="*/ 2147483646 h 49"/>
                <a:gd name="T60" fmla="*/ 2147483646 w 48"/>
                <a:gd name="T61" fmla="*/ 2147483646 h 49"/>
                <a:gd name="T62" fmla="*/ 2147483646 w 48"/>
                <a:gd name="T63" fmla="*/ 2147483646 h 49"/>
                <a:gd name="T64" fmla="*/ 2147483646 w 48"/>
                <a:gd name="T65" fmla="*/ 2147483646 h 49"/>
                <a:gd name="T66" fmla="*/ 2147483646 w 48"/>
                <a:gd name="T67" fmla="*/ 2147483646 h 49"/>
                <a:gd name="T68" fmla="*/ 2147483646 w 48"/>
                <a:gd name="T69" fmla="*/ 2147483646 h 49"/>
                <a:gd name="T70" fmla="*/ 2147483646 w 48"/>
                <a:gd name="T71" fmla="*/ 2147483646 h 49"/>
                <a:gd name="T72" fmla="*/ 2147483646 w 48"/>
                <a:gd name="T73" fmla="*/ 2147483646 h 49"/>
                <a:gd name="T74" fmla="*/ 2147483646 w 48"/>
                <a:gd name="T75" fmla="*/ 2147483646 h 49"/>
                <a:gd name="T76" fmla="*/ 2147483646 w 48"/>
                <a:gd name="T77" fmla="*/ 2147483646 h 49"/>
                <a:gd name="T78" fmla="*/ 2147483646 w 48"/>
                <a:gd name="T79" fmla="*/ 2147483646 h 49"/>
                <a:gd name="T80" fmla="*/ 2147483646 w 48"/>
                <a:gd name="T81" fmla="*/ 2147483646 h 49"/>
                <a:gd name="T82" fmla="*/ 2147483646 w 48"/>
                <a:gd name="T83" fmla="*/ 2147483646 h 49"/>
                <a:gd name="T84" fmla="*/ 2147483646 w 48"/>
                <a:gd name="T85" fmla="*/ 2147483646 h 49"/>
                <a:gd name="T86" fmla="*/ 2147483646 w 48"/>
                <a:gd name="T87" fmla="*/ 2147483646 h 49"/>
                <a:gd name="T88" fmla="*/ 2147483646 w 48"/>
                <a:gd name="T89" fmla="*/ 2147483646 h 49"/>
                <a:gd name="T90" fmla="*/ 2147483646 w 48"/>
                <a:gd name="T91" fmla="*/ 2147483646 h 49"/>
                <a:gd name="T92" fmla="*/ 2147483646 w 48"/>
                <a:gd name="T93" fmla="*/ 2147483646 h 49"/>
                <a:gd name="T94" fmla="*/ 2147483646 w 48"/>
                <a:gd name="T95" fmla="*/ 2147483646 h 49"/>
                <a:gd name="T96" fmla="*/ 2147483646 w 48"/>
                <a:gd name="T97" fmla="*/ 2147483646 h 49"/>
                <a:gd name="T98" fmla="*/ 2147483646 w 48"/>
                <a:gd name="T99" fmla="*/ 2147483646 h 49"/>
                <a:gd name="T100" fmla="*/ 2147483646 w 48"/>
                <a:gd name="T101" fmla="*/ 2147483646 h 49"/>
                <a:gd name="T102" fmla="*/ 2147483646 w 48"/>
                <a:gd name="T103" fmla="*/ 2147483646 h 49"/>
                <a:gd name="T104" fmla="*/ 2147483646 w 48"/>
                <a:gd name="T105" fmla="*/ 2147483646 h 49"/>
                <a:gd name="T106" fmla="*/ 2147483646 w 48"/>
                <a:gd name="T107" fmla="*/ 2147483646 h 49"/>
                <a:gd name="T108" fmla="*/ 2147483646 w 48"/>
                <a:gd name="T109" fmla="*/ 2147483646 h 49"/>
                <a:gd name="T110" fmla="*/ 2147483646 w 48"/>
                <a:gd name="T111" fmla="*/ 2147483646 h 49"/>
                <a:gd name="T112" fmla="*/ 2147483646 w 48"/>
                <a:gd name="T113" fmla="*/ 2147483646 h 49"/>
                <a:gd name="T114" fmla="*/ 2147483646 w 48"/>
                <a:gd name="T115" fmla="*/ 2147483646 h 49"/>
                <a:gd name="T116" fmla="*/ 2147483646 w 48"/>
                <a:gd name="T117" fmla="*/ 2147483646 h 49"/>
                <a:gd name="T118" fmla="*/ 2147483646 w 48"/>
                <a:gd name="T119" fmla="*/ 2147483646 h 49"/>
                <a:gd name="T120" fmla="*/ 2147483646 w 48"/>
                <a:gd name="T121" fmla="*/ 2147483646 h 49"/>
                <a:gd name="T122" fmla="*/ 2147483646 w 48"/>
                <a:gd name="T123" fmla="*/ 2147483646 h 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8" h="49">
                  <a:moveTo>
                    <a:pt x="28" y="49"/>
                  </a:moveTo>
                  <a:cubicBezTo>
                    <a:pt x="28" y="49"/>
                    <a:pt x="28" y="49"/>
                    <a:pt x="28" y="49"/>
                  </a:cubicBezTo>
                  <a:cubicBezTo>
                    <a:pt x="27" y="49"/>
                    <a:pt x="27" y="48"/>
                    <a:pt x="27" y="48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5" y="46"/>
                    <a:pt x="22" y="44"/>
                    <a:pt x="20" y="42"/>
                  </a:cubicBezTo>
                  <a:cubicBezTo>
                    <a:pt x="18" y="41"/>
                    <a:pt x="17" y="40"/>
                    <a:pt x="16" y="39"/>
                  </a:cubicBezTo>
                  <a:cubicBezTo>
                    <a:pt x="11" y="36"/>
                    <a:pt x="7" y="33"/>
                    <a:pt x="3" y="30"/>
                  </a:cubicBezTo>
                  <a:cubicBezTo>
                    <a:pt x="0" y="29"/>
                    <a:pt x="0" y="28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3"/>
                    <a:pt x="3" y="21"/>
                    <a:pt x="5" y="21"/>
                  </a:cubicBezTo>
                  <a:cubicBezTo>
                    <a:pt x="7" y="20"/>
                    <a:pt x="8" y="20"/>
                    <a:pt x="9" y="19"/>
                  </a:cubicBezTo>
                  <a:cubicBezTo>
                    <a:pt x="10" y="19"/>
                    <a:pt x="11" y="18"/>
                    <a:pt x="11" y="18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5"/>
                    <a:pt x="15" y="15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6" y="13"/>
                    <a:pt x="16" y="12"/>
                  </a:cubicBezTo>
                  <a:cubicBezTo>
                    <a:pt x="16" y="12"/>
                    <a:pt x="16" y="11"/>
                    <a:pt x="16" y="11"/>
                  </a:cubicBezTo>
                  <a:cubicBezTo>
                    <a:pt x="16" y="9"/>
                    <a:pt x="16" y="8"/>
                    <a:pt x="15" y="8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7" y="6"/>
                    <a:pt x="18" y="6"/>
                    <a:pt x="19" y="5"/>
                  </a:cubicBezTo>
                  <a:cubicBezTo>
                    <a:pt x="20" y="4"/>
                    <a:pt x="21" y="4"/>
                    <a:pt x="21" y="4"/>
                  </a:cubicBezTo>
                  <a:cubicBezTo>
                    <a:pt x="23" y="3"/>
                    <a:pt x="26" y="2"/>
                    <a:pt x="28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30" y="1"/>
                    <a:pt x="31" y="1"/>
                  </a:cubicBezTo>
                  <a:cubicBezTo>
                    <a:pt x="32" y="1"/>
                    <a:pt x="33" y="2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1"/>
                    <a:pt x="36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8" y="1"/>
                    <a:pt x="38" y="1"/>
                    <a:pt x="39" y="1"/>
                  </a:cubicBezTo>
                  <a:cubicBezTo>
                    <a:pt x="39" y="1"/>
                    <a:pt x="40" y="1"/>
                    <a:pt x="40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3"/>
                    <a:pt x="41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1" y="4"/>
                    <a:pt x="41" y="8"/>
                    <a:pt x="40" y="9"/>
                  </a:cubicBezTo>
                  <a:cubicBezTo>
                    <a:pt x="40" y="9"/>
                    <a:pt x="39" y="9"/>
                    <a:pt x="39" y="10"/>
                  </a:cubicBezTo>
                  <a:cubicBezTo>
                    <a:pt x="39" y="10"/>
                    <a:pt x="38" y="10"/>
                    <a:pt x="38" y="10"/>
                  </a:cubicBezTo>
                  <a:cubicBezTo>
                    <a:pt x="38" y="11"/>
                    <a:pt x="39" y="12"/>
                    <a:pt x="39" y="12"/>
                  </a:cubicBezTo>
                  <a:cubicBezTo>
                    <a:pt x="39" y="12"/>
                    <a:pt x="40" y="13"/>
                    <a:pt x="40" y="14"/>
                  </a:cubicBezTo>
                  <a:cubicBezTo>
                    <a:pt x="40" y="14"/>
                    <a:pt x="40" y="14"/>
                    <a:pt x="41" y="14"/>
                  </a:cubicBezTo>
                  <a:cubicBezTo>
                    <a:pt x="41" y="14"/>
                    <a:pt x="42" y="15"/>
                    <a:pt x="42" y="15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1"/>
                    <a:pt x="43" y="21"/>
                    <a:pt x="42" y="21"/>
                  </a:cubicBezTo>
                  <a:cubicBezTo>
                    <a:pt x="42" y="21"/>
                    <a:pt x="42" y="21"/>
                    <a:pt x="43" y="22"/>
                  </a:cubicBezTo>
                  <a:cubicBezTo>
                    <a:pt x="43" y="23"/>
                    <a:pt x="43" y="24"/>
                    <a:pt x="43" y="25"/>
                  </a:cubicBezTo>
                  <a:cubicBezTo>
                    <a:pt x="43" y="25"/>
                    <a:pt x="43" y="26"/>
                    <a:pt x="44" y="26"/>
                  </a:cubicBezTo>
                  <a:cubicBezTo>
                    <a:pt x="44" y="27"/>
                    <a:pt x="43" y="28"/>
                    <a:pt x="43" y="29"/>
                  </a:cubicBezTo>
                  <a:cubicBezTo>
                    <a:pt x="43" y="30"/>
                    <a:pt x="43" y="31"/>
                    <a:pt x="43" y="31"/>
                  </a:cubicBezTo>
                  <a:cubicBezTo>
                    <a:pt x="43" y="32"/>
                    <a:pt x="43" y="32"/>
                    <a:pt x="43" y="33"/>
                  </a:cubicBezTo>
                  <a:cubicBezTo>
                    <a:pt x="44" y="33"/>
                    <a:pt x="44" y="34"/>
                    <a:pt x="44" y="34"/>
                  </a:cubicBezTo>
                  <a:cubicBezTo>
                    <a:pt x="44" y="34"/>
                    <a:pt x="45" y="35"/>
                    <a:pt x="45" y="35"/>
                  </a:cubicBezTo>
                  <a:cubicBezTo>
                    <a:pt x="46" y="35"/>
                    <a:pt x="47" y="35"/>
                    <a:pt x="47" y="35"/>
                  </a:cubicBezTo>
                  <a:cubicBezTo>
                    <a:pt x="48" y="36"/>
                    <a:pt x="48" y="37"/>
                    <a:pt x="48" y="37"/>
                  </a:cubicBezTo>
                  <a:cubicBezTo>
                    <a:pt x="48" y="39"/>
                    <a:pt x="47" y="39"/>
                    <a:pt x="45" y="40"/>
                  </a:cubicBezTo>
                  <a:cubicBezTo>
                    <a:pt x="45" y="40"/>
                    <a:pt x="45" y="41"/>
                    <a:pt x="44" y="4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1" y="43"/>
                    <a:pt x="40" y="44"/>
                    <a:pt x="38" y="45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5" y="47"/>
                    <a:pt x="34" y="48"/>
                    <a:pt x="31" y="49"/>
                  </a:cubicBezTo>
                  <a:cubicBezTo>
                    <a:pt x="31" y="49"/>
                    <a:pt x="31" y="49"/>
                    <a:pt x="30" y="49"/>
                  </a:cubicBezTo>
                  <a:cubicBezTo>
                    <a:pt x="30" y="49"/>
                    <a:pt x="29" y="49"/>
                    <a:pt x="28" y="49"/>
                  </a:cubicBezTo>
                  <a:close/>
                  <a:moveTo>
                    <a:pt x="17" y="7"/>
                  </a:moveTo>
                  <a:cubicBezTo>
                    <a:pt x="17" y="8"/>
                    <a:pt x="17" y="10"/>
                    <a:pt x="17" y="11"/>
                  </a:cubicBezTo>
                  <a:cubicBezTo>
                    <a:pt x="17" y="11"/>
                    <a:pt x="17" y="12"/>
                    <a:pt x="17" y="12"/>
                  </a:cubicBezTo>
                  <a:cubicBezTo>
                    <a:pt x="18" y="12"/>
                    <a:pt x="18" y="13"/>
                    <a:pt x="18" y="13"/>
                  </a:cubicBezTo>
                  <a:cubicBezTo>
                    <a:pt x="18" y="14"/>
                    <a:pt x="19" y="14"/>
                    <a:pt x="18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4" y="16"/>
                    <a:pt x="13" y="17"/>
                    <a:pt x="12" y="17"/>
                  </a:cubicBezTo>
                  <a:cubicBezTo>
                    <a:pt x="12" y="17"/>
                    <a:pt x="12" y="18"/>
                    <a:pt x="13" y="18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19"/>
                    <a:pt x="11" y="20"/>
                    <a:pt x="10" y="20"/>
                  </a:cubicBezTo>
                  <a:cubicBezTo>
                    <a:pt x="8" y="21"/>
                    <a:pt x="7" y="21"/>
                    <a:pt x="6" y="22"/>
                  </a:cubicBezTo>
                  <a:cubicBezTo>
                    <a:pt x="3" y="23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8"/>
                    <a:pt x="1" y="28"/>
                    <a:pt x="3" y="29"/>
                  </a:cubicBezTo>
                  <a:cubicBezTo>
                    <a:pt x="8" y="32"/>
                    <a:pt x="12" y="35"/>
                    <a:pt x="16" y="38"/>
                  </a:cubicBezTo>
                  <a:cubicBezTo>
                    <a:pt x="18" y="39"/>
                    <a:pt x="19" y="40"/>
                    <a:pt x="20" y="41"/>
                  </a:cubicBezTo>
                  <a:cubicBezTo>
                    <a:pt x="23" y="43"/>
                    <a:pt x="25" y="45"/>
                    <a:pt x="28" y="46"/>
                  </a:cubicBezTo>
                  <a:cubicBezTo>
                    <a:pt x="29" y="46"/>
                    <a:pt x="28" y="47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9" y="48"/>
                    <a:pt x="30" y="48"/>
                    <a:pt x="30" y="48"/>
                  </a:cubicBezTo>
                  <a:cubicBezTo>
                    <a:pt x="30" y="48"/>
                    <a:pt x="31" y="48"/>
                    <a:pt x="31" y="48"/>
                  </a:cubicBezTo>
                  <a:cubicBezTo>
                    <a:pt x="33" y="47"/>
                    <a:pt x="35" y="46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9" y="43"/>
                    <a:pt x="41" y="42"/>
                    <a:pt x="42" y="41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39"/>
                    <a:pt x="45" y="39"/>
                  </a:cubicBezTo>
                  <a:cubicBezTo>
                    <a:pt x="46" y="39"/>
                    <a:pt x="47" y="38"/>
                    <a:pt x="47" y="37"/>
                  </a:cubicBezTo>
                  <a:cubicBezTo>
                    <a:pt x="47" y="37"/>
                    <a:pt x="47" y="36"/>
                    <a:pt x="46" y="36"/>
                  </a:cubicBezTo>
                  <a:cubicBezTo>
                    <a:pt x="46" y="36"/>
                    <a:pt x="46" y="36"/>
                    <a:pt x="45" y="36"/>
                  </a:cubicBezTo>
                  <a:cubicBezTo>
                    <a:pt x="44" y="36"/>
                    <a:pt x="44" y="36"/>
                    <a:pt x="43" y="35"/>
                  </a:cubicBezTo>
                  <a:cubicBezTo>
                    <a:pt x="43" y="35"/>
                    <a:pt x="43" y="34"/>
                    <a:pt x="42" y="33"/>
                  </a:cubicBezTo>
                  <a:cubicBezTo>
                    <a:pt x="42" y="33"/>
                    <a:pt x="42" y="32"/>
                    <a:pt x="42" y="32"/>
                  </a:cubicBezTo>
                  <a:cubicBezTo>
                    <a:pt x="41" y="31"/>
                    <a:pt x="42" y="30"/>
                    <a:pt x="42" y="29"/>
                  </a:cubicBezTo>
                  <a:cubicBezTo>
                    <a:pt x="42" y="28"/>
                    <a:pt x="42" y="27"/>
                    <a:pt x="42" y="26"/>
                  </a:cubicBezTo>
                  <a:cubicBezTo>
                    <a:pt x="42" y="26"/>
                    <a:pt x="42" y="25"/>
                    <a:pt x="42" y="25"/>
                  </a:cubicBezTo>
                  <a:cubicBezTo>
                    <a:pt x="42" y="24"/>
                    <a:pt x="42" y="23"/>
                    <a:pt x="42" y="22"/>
                  </a:cubicBezTo>
                  <a:cubicBezTo>
                    <a:pt x="41" y="21"/>
                    <a:pt x="41" y="21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0" y="15"/>
                    <a:pt x="40" y="15"/>
                  </a:cubicBezTo>
                  <a:cubicBezTo>
                    <a:pt x="40" y="15"/>
                    <a:pt x="39" y="15"/>
                    <a:pt x="39" y="14"/>
                  </a:cubicBezTo>
                  <a:cubicBezTo>
                    <a:pt x="39" y="13"/>
                    <a:pt x="38" y="13"/>
                    <a:pt x="38" y="13"/>
                  </a:cubicBezTo>
                  <a:cubicBezTo>
                    <a:pt x="38" y="12"/>
                    <a:pt x="37" y="12"/>
                    <a:pt x="37" y="11"/>
                  </a:cubicBezTo>
                  <a:cubicBezTo>
                    <a:pt x="37" y="10"/>
                    <a:pt x="38" y="9"/>
                    <a:pt x="38" y="9"/>
                  </a:cubicBezTo>
                  <a:cubicBezTo>
                    <a:pt x="39" y="9"/>
                    <a:pt x="39" y="8"/>
                    <a:pt x="39" y="8"/>
                  </a:cubicBezTo>
                  <a:cubicBezTo>
                    <a:pt x="40" y="7"/>
                    <a:pt x="40" y="4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8" y="2"/>
                    <a:pt x="37" y="2"/>
                  </a:cubicBezTo>
                  <a:cubicBezTo>
                    <a:pt x="37" y="2"/>
                    <a:pt x="36" y="2"/>
                    <a:pt x="35" y="2"/>
                  </a:cubicBezTo>
                  <a:cubicBezTo>
                    <a:pt x="34" y="3"/>
                    <a:pt x="33" y="3"/>
                    <a:pt x="32" y="3"/>
                  </a:cubicBezTo>
                  <a:cubicBezTo>
                    <a:pt x="32" y="3"/>
                    <a:pt x="32" y="3"/>
                    <a:pt x="31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6" y="3"/>
                    <a:pt x="24" y="4"/>
                    <a:pt x="22" y="5"/>
                  </a:cubicBezTo>
                  <a:cubicBezTo>
                    <a:pt x="21" y="5"/>
                    <a:pt x="20" y="5"/>
                    <a:pt x="20" y="6"/>
                  </a:cubicBezTo>
                  <a:cubicBezTo>
                    <a:pt x="19" y="6"/>
                    <a:pt x="18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9" name="Freeform 233"/>
            <p:cNvSpPr/>
            <p:nvPr/>
          </p:nvSpPr>
          <p:spPr bwMode="auto">
            <a:xfrm>
              <a:off x="1930991" y="3274509"/>
              <a:ext cx="214029" cy="223526"/>
            </a:xfrm>
            <a:custGeom>
              <a:avLst/>
              <a:gdLst>
                <a:gd name="T0" fmla="*/ 0 w 29"/>
                <a:gd name="T1" fmla="*/ 2147483646 h 30"/>
                <a:gd name="T2" fmla="*/ 2147483646 w 29"/>
                <a:gd name="T3" fmla="*/ 2147483646 h 30"/>
                <a:gd name="T4" fmla="*/ 2147483646 w 29"/>
                <a:gd name="T5" fmla="*/ 2147483646 h 30"/>
                <a:gd name="T6" fmla="*/ 2147483646 w 29"/>
                <a:gd name="T7" fmla="*/ 2147483646 h 30"/>
                <a:gd name="T8" fmla="*/ 2147483646 w 29"/>
                <a:gd name="T9" fmla="*/ 2147483646 h 30"/>
                <a:gd name="T10" fmla="*/ 2147483646 w 29"/>
                <a:gd name="T11" fmla="*/ 2147483646 h 30"/>
                <a:gd name="T12" fmla="*/ 2147483646 w 29"/>
                <a:gd name="T13" fmla="*/ 2147483646 h 30"/>
                <a:gd name="T14" fmla="*/ 2147483646 w 29"/>
                <a:gd name="T15" fmla="*/ 2147483646 h 30"/>
                <a:gd name="T16" fmla="*/ 2147483646 w 29"/>
                <a:gd name="T17" fmla="*/ 2147483646 h 30"/>
                <a:gd name="T18" fmla="*/ 2147483646 w 29"/>
                <a:gd name="T19" fmla="*/ 2147483646 h 30"/>
                <a:gd name="T20" fmla="*/ 2147483646 w 29"/>
                <a:gd name="T21" fmla="*/ 2147483646 h 30"/>
                <a:gd name="T22" fmla="*/ 2147483646 w 29"/>
                <a:gd name="T23" fmla="*/ 2147483646 h 30"/>
                <a:gd name="T24" fmla="*/ 2147483646 w 29"/>
                <a:gd name="T25" fmla="*/ 2147483646 h 30"/>
                <a:gd name="T26" fmla="*/ 2147483646 w 29"/>
                <a:gd name="T27" fmla="*/ 2147483646 h 30"/>
                <a:gd name="T28" fmla="*/ 2147483646 w 29"/>
                <a:gd name="T29" fmla="*/ 2147483646 h 30"/>
                <a:gd name="T30" fmla="*/ 2147483646 w 29"/>
                <a:gd name="T31" fmla="*/ 2147483646 h 30"/>
                <a:gd name="T32" fmla="*/ 2147483646 w 29"/>
                <a:gd name="T33" fmla="*/ 2147483646 h 30"/>
                <a:gd name="T34" fmla="*/ 2147483646 w 29"/>
                <a:gd name="T35" fmla="*/ 2147483646 h 30"/>
                <a:gd name="T36" fmla="*/ 2147483646 w 29"/>
                <a:gd name="T37" fmla="*/ 2147483646 h 30"/>
                <a:gd name="T38" fmla="*/ 2147483646 w 29"/>
                <a:gd name="T39" fmla="*/ 2147483646 h 30"/>
                <a:gd name="T40" fmla="*/ 2147483646 w 29"/>
                <a:gd name="T41" fmla="*/ 2147483646 h 30"/>
                <a:gd name="T42" fmla="*/ 0 w 29"/>
                <a:gd name="T43" fmla="*/ 2147483646 h 3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9" h="30">
                  <a:moveTo>
                    <a:pt x="0" y="29"/>
                  </a:moveTo>
                  <a:cubicBezTo>
                    <a:pt x="0" y="26"/>
                    <a:pt x="1" y="24"/>
                    <a:pt x="2" y="21"/>
                  </a:cubicBezTo>
                  <a:cubicBezTo>
                    <a:pt x="3" y="19"/>
                    <a:pt x="5" y="18"/>
                    <a:pt x="5" y="16"/>
                  </a:cubicBezTo>
                  <a:cubicBezTo>
                    <a:pt x="5" y="15"/>
                    <a:pt x="5" y="13"/>
                    <a:pt x="5" y="13"/>
                  </a:cubicBezTo>
                  <a:cubicBezTo>
                    <a:pt x="4" y="12"/>
                    <a:pt x="3" y="10"/>
                    <a:pt x="4" y="9"/>
                  </a:cubicBezTo>
                  <a:cubicBezTo>
                    <a:pt x="5" y="8"/>
                    <a:pt x="3" y="4"/>
                    <a:pt x="2" y="3"/>
                  </a:cubicBezTo>
                  <a:cubicBezTo>
                    <a:pt x="5" y="2"/>
                    <a:pt x="11" y="0"/>
                    <a:pt x="12" y="4"/>
                  </a:cubicBezTo>
                  <a:cubicBezTo>
                    <a:pt x="13" y="7"/>
                    <a:pt x="15" y="7"/>
                    <a:pt x="17" y="7"/>
                  </a:cubicBezTo>
                  <a:cubicBezTo>
                    <a:pt x="18" y="7"/>
                    <a:pt x="18" y="6"/>
                    <a:pt x="19" y="5"/>
                  </a:cubicBezTo>
                  <a:cubicBezTo>
                    <a:pt x="19" y="4"/>
                    <a:pt x="21" y="4"/>
                    <a:pt x="22" y="4"/>
                  </a:cubicBezTo>
                  <a:cubicBezTo>
                    <a:pt x="22" y="5"/>
                    <a:pt x="22" y="5"/>
                    <a:pt x="21" y="5"/>
                  </a:cubicBezTo>
                  <a:cubicBezTo>
                    <a:pt x="25" y="4"/>
                    <a:pt x="23" y="9"/>
                    <a:pt x="24" y="11"/>
                  </a:cubicBezTo>
                  <a:cubicBezTo>
                    <a:pt x="25" y="13"/>
                    <a:pt x="24" y="14"/>
                    <a:pt x="25" y="15"/>
                  </a:cubicBezTo>
                  <a:cubicBezTo>
                    <a:pt x="24" y="14"/>
                    <a:pt x="29" y="14"/>
                    <a:pt x="29" y="14"/>
                  </a:cubicBezTo>
                  <a:cubicBezTo>
                    <a:pt x="29" y="15"/>
                    <a:pt x="28" y="18"/>
                    <a:pt x="29" y="19"/>
                  </a:cubicBezTo>
                  <a:cubicBezTo>
                    <a:pt x="28" y="19"/>
                    <a:pt x="27" y="19"/>
                    <a:pt x="25" y="19"/>
                  </a:cubicBezTo>
                  <a:cubicBezTo>
                    <a:pt x="24" y="19"/>
                    <a:pt x="24" y="21"/>
                    <a:pt x="24" y="22"/>
                  </a:cubicBezTo>
                  <a:cubicBezTo>
                    <a:pt x="24" y="26"/>
                    <a:pt x="24" y="27"/>
                    <a:pt x="27" y="30"/>
                  </a:cubicBezTo>
                  <a:cubicBezTo>
                    <a:pt x="24" y="30"/>
                    <a:pt x="23" y="30"/>
                    <a:pt x="20" y="30"/>
                  </a:cubicBezTo>
                  <a:cubicBezTo>
                    <a:pt x="18" y="30"/>
                    <a:pt x="16" y="29"/>
                    <a:pt x="14" y="29"/>
                  </a:cubicBezTo>
                  <a:cubicBezTo>
                    <a:pt x="12" y="29"/>
                    <a:pt x="7" y="30"/>
                    <a:pt x="5" y="29"/>
                  </a:cubicBezTo>
                  <a:cubicBezTo>
                    <a:pt x="3" y="27"/>
                    <a:pt x="2" y="28"/>
                    <a:pt x="0" y="2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0" name="Freeform 234"/>
            <p:cNvSpPr>
              <a:spLocks noEditPoints="1"/>
            </p:cNvSpPr>
            <p:nvPr/>
          </p:nvSpPr>
          <p:spPr bwMode="auto">
            <a:xfrm>
              <a:off x="1930991" y="3280806"/>
              <a:ext cx="229767" cy="223526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0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2147483646 w 31"/>
                <a:gd name="T91" fmla="*/ 2147483646 h 30"/>
                <a:gd name="T92" fmla="*/ 2147483646 w 31"/>
                <a:gd name="T93" fmla="*/ 2147483646 h 3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31" h="30">
                  <a:moveTo>
                    <a:pt x="23" y="30"/>
                  </a:moveTo>
                  <a:cubicBezTo>
                    <a:pt x="22" y="30"/>
                    <a:pt x="21" y="30"/>
                    <a:pt x="20" y="30"/>
                  </a:cubicBezTo>
                  <a:cubicBezTo>
                    <a:pt x="19" y="30"/>
                    <a:pt x="18" y="29"/>
                    <a:pt x="17" y="29"/>
                  </a:cubicBezTo>
                  <a:cubicBezTo>
                    <a:pt x="16" y="29"/>
                    <a:pt x="15" y="28"/>
                    <a:pt x="14" y="28"/>
                  </a:cubicBezTo>
                  <a:cubicBezTo>
                    <a:pt x="13" y="28"/>
                    <a:pt x="12" y="29"/>
                    <a:pt x="12" y="29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29"/>
                    <a:pt x="6" y="29"/>
                    <a:pt x="5" y="28"/>
                  </a:cubicBezTo>
                  <a:cubicBezTo>
                    <a:pt x="3" y="27"/>
                    <a:pt x="2" y="28"/>
                    <a:pt x="1" y="2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3"/>
                    <a:pt x="1" y="20"/>
                  </a:cubicBezTo>
                  <a:cubicBezTo>
                    <a:pt x="2" y="19"/>
                    <a:pt x="2" y="18"/>
                    <a:pt x="3" y="17"/>
                  </a:cubicBezTo>
                  <a:cubicBezTo>
                    <a:pt x="4" y="16"/>
                    <a:pt x="4" y="16"/>
                    <a:pt x="4" y="15"/>
                  </a:cubicBezTo>
                  <a:cubicBezTo>
                    <a:pt x="4" y="15"/>
                    <a:pt x="4" y="14"/>
                    <a:pt x="5" y="14"/>
                  </a:cubicBezTo>
                  <a:cubicBezTo>
                    <a:pt x="5" y="13"/>
                    <a:pt x="5" y="12"/>
                    <a:pt x="4" y="12"/>
                  </a:cubicBezTo>
                  <a:cubicBezTo>
                    <a:pt x="4" y="11"/>
                    <a:pt x="3" y="9"/>
                    <a:pt x="3" y="8"/>
                  </a:cubicBezTo>
                  <a:cubicBezTo>
                    <a:pt x="4" y="7"/>
                    <a:pt x="3" y="5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5" y="0"/>
                    <a:pt x="8" y="0"/>
                  </a:cubicBezTo>
                  <a:cubicBezTo>
                    <a:pt x="11" y="0"/>
                    <a:pt x="13" y="2"/>
                    <a:pt x="13" y="3"/>
                  </a:cubicBezTo>
                  <a:cubicBezTo>
                    <a:pt x="13" y="5"/>
                    <a:pt x="14" y="5"/>
                    <a:pt x="16" y="5"/>
                  </a:cubicBezTo>
                  <a:cubicBezTo>
                    <a:pt x="16" y="5"/>
                    <a:pt x="17" y="5"/>
                    <a:pt x="17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20" y="3"/>
                    <a:pt x="21" y="3"/>
                  </a:cubicBezTo>
                  <a:cubicBezTo>
                    <a:pt x="21" y="3"/>
                    <a:pt x="21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4"/>
                    <a:pt x="24" y="4"/>
                  </a:cubicBezTo>
                  <a:cubicBezTo>
                    <a:pt x="25" y="5"/>
                    <a:pt x="25" y="6"/>
                    <a:pt x="25" y="7"/>
                  </a:cubicBezTo>
                  <a:cubicBezTo>
                    <a:pt x="25" y="8"/>
                    <a:pt x="25" y="9"/>
                    <a:pt x="25" y="10"/>
                  </a:cubicBezTo>
                  <a:cubicBezTo>
                    <a:pt x="25" y="11"/>
                    <a:pt x="25" y="11"/>
                    <a:pt x="25" y="12"/>
                  </a:cubicBezTo>
                  <a:cubicBezTo>
                    <a:pt x="25" y="12"/>
                    <a:pt x="25" y="13"/>
                    <a:pt x="25" y="13"/>
                  </a:cubicBezTo>
                  <a:cubicBezTo>
                    <a:pt x="27" y="12"/>
                    <a:pt x="29" y="12"/>
                    <a:pt x="29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4"/>
                  </a:cubicBezTo>
                  <a:cubicBezTo>
                    <a:pt x="29" y="15"/>
                    <a:pt x="29" y="17"/>
                    <a:pt x="30" y="17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5" y="20"/>
                    <a:pt x="25" y="21"/>
                    <a:pt x="25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25"/>
                    <a:pt x="25" y="26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6" y="30"/>
                    <a:pt x="24" y="30"/>
                    <a:pt x="23" y="30"/>
                  </a:cubicBezTo>
                  <a:close/>
                  <a:moveTo>
                    <a:pt x="14" y="27"/>
                  </a:moveTo>
                  <a:cubicBezTo>
                    <a:pt x="15" y="27"/>
                    <a:pt x="16" y="28"/>
                    <a:pt x="17" y="28"/>
                  </a:cubicBezTo>
                  <a:cubicBezTo>
                    <a:pt x="18" y="28"/>
                    <a:pt x="19" y="28"/>
                    <a:pt x="20" y="28"/>
                  </a:cubicBezTo>
                  <a:cubicBezTo>
                    <a:pt x="23" y="29"/>
                    <a:pt x="24" y="29"/>
                    <a:pt x="26" y="28"/>
                  </a:cubicBezTo>
                  <a:cubicBezTo>
                    <a:pt x="24" y="26"/>
                    <a:pt x="24" y="25"/>
                    <a:pt x="24" y="22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4" y="20"/>
                    <a:pt x="24" y="20"/>
                  </a:cubicBezTo>
                  <a:cubicBezTo>
                    <a:pt x="24" y="19"/>
                    <a:pt x="24" y="18"/>
                    <a:pt x="24" y="17"/>
                  </a:cubicBezTo>
                  <a:cubicBezTo>
                    <a:pt x="24" y="17"/>
                    <a:pt x="25" y="17"/>
                    <a:pt x="25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6"/>
                    <a:pt x="28" y="15"/>
                    <a:pt x="28" y="14"/>
                  </a:cubicBezTo>
                  <a:cubicBezTo>
                    <a:pt x="28" y="14"/>
                    <a:pt x="28" y="13"/>
                    <a:pt x="28" y="13"/>
                  </a:cubicBezTo>
                  <a:cubicBezTo>
                    <a:pt x="27" y="13"/>
                    <a:pt x="26" y="14"/>
                    <a:pt x="25" y="14"/>
                  </a:cubicBezTo>
                  <a:cubicBezTo>
                    <a:pt x="25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4" y="13"/>
                    <a:pt x="24" y="12"/>
                  </a:cubicBezTo>
                  <a:cubicBezTo>
                    <a:pt x="24" y="11"/>
                    <a:pt x="24" y="11"/>
                    <a:pt x="24" y="10"/>
                  </a:cubicBezTo>
                  <a:cubicBezTo>
                    <a:pt x="23" y="10"/>
                    <a:pt x="23" y="8"/>
                    <a:pt x="23" y="7"/>
                  </a:cubicBezTo>
                  <a:cubicBezTo>
                    <a:pt x="23" y="6"/>
                    <a:pt x="23" y="5"/>
                    <a:pt x="23" y="5"/>
                  </a:cubicBezTo>
                  <a:cubicBezTo>
                    <a:pt x="23" y="5"/>
                    <a:pt x="23" y="5"/>
                    <a:pt x="22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19" y="4"/>
                    <a:pt x="19" y="4"/>
                  </a:cubicBezTo>
                  <a:cubicBezTo>
                    <a:pt x="19" y="4"/>
                    <a:pt x="19" y="5"/>
                    <a:pt x="19" y="5"/>
                  </a:cubicBezTo>
                  <a:cubicBezTo>
                    <a:pt x="19" y="6"/>
                    <a:pt x="19" y="6"/>
                    <a:pt x="17" y="6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7"/>
                    <a:pt x="12" y="6"/>
                    <a:pt x="12" y="4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6" y="1"/>
                    <a:pt x="5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4" y="5"/>
                    <a:pt x="5" y="7"/>
                    <a:pt x="4" y="9"/>
                  </a:cubicBezTo>
                  <a:cubicBezTo>
                    <a:pt x="4" y="9"/>
                    <a:pt x="5" y="10"/>
                    <a:pt x="5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6" y="14"/>
                    <a:pt x="6" y="15"/>
                    <a:pt x="6" y="15"/>
                  </a:cubicBezTo>
                  <a:cubicBezTo>
                    <a:pt x="5" y="16"/>
                    <a:pt x="5" y="17"/>
                    <a:pt x="4" y="18"/>
                  </a:cubicBezTo>
                  <a:cubicBezTo>
                    <a:pt x="3" y="19"/>
                    <a:pt x="3" y="20"/>
                    <a:pt x="2" y="20"/>
                  </a:cubicBezTo>
                  <a:cubicBezTo>
                    <a:pt x="2" y="23"/>
                    <a:pt x="1" y="25"/>
                    <a:pt x="1" y="27"/>
                  </a:cubicBezTo>
                  <a:cubicBezTo>
                    <a:pt x="2" y="26"/>
                    <a:pt x="4" y="26"/>
                    <a:pt x="6" y="27"/>
                  </a:cubicBezTo>
                  <a:cubicBezTo>
                    <a:pt x="6" y="28"/>
                    <a:pt x="6" y="28"/>
                    <a:pt x="8" y="28"/>
                  </a:cubicBezTo>
                  <a:cubicBezTo>
                    <a:pt x="9" y="28"/>
                    <a:pt x="10" y="28"/>
                    <a:pt x="12" y="27"/>
                  </a:cubicBezTo>
                  <a:cubicBezTo>
                    <a:pt x="12" y="27"/>
                    <a:pt x="13" y="27"/>
                    <a:pt x="1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1" name="Freeform 235"/>
            <p:cNvSpPr/>
            <p:nvPr/>
          </p:nvSpPr>
          <p:spPr bwMode="auto">
            <a:xfrm>
              <a:off x="1937286" y="3258768"/>
              <a:ext cx="22032" cy="31483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0" y="3"/>
                    <a:pt x="1" y="0"/>
                    <a:pt x="3" y="1"/>
                  </a:cubicBezTo>
                  <a:cubicBezTo>
                    <a:pt x="1" y="2"/>
                    <a:pt x="2" y="3"/>
                    <a:pt x="1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2" name="Freeform 236"/>
            <p:cNvSpPr/>
            <p:nvPr/>
          </p:nvSpPr>
          <p:spPr bwMode="auto">
            <a:xfrm>
              <a:off x="1937286" y="3258768"/>
              <a:ext cx="22032" cy="37780"/>
            </a:xfrm>
            <a:custGeom>
              <a:avLst/>
              <a:gdLst>
                <a:gd name="T0" fmla="*/ 2147483646 w 3"/>
                <a:gd name="T1" fmla="*/ 2147483646 h 5"/>
                <a:gd name="T2" fmla="*/ 2147483646 w 3"/>
                <a:gd name="T3" fmla="*/ 2147483646 h 5"/>
                <a:gd name="T4" fmla="*/ 0 w 3"/>
                <a:gd name="T5" fmla="*/ 2147483646 h 5"/>
                <a:gd name="T6" fmla="*/ 2147483646 w 3"/>
                <a:gd name="T7" fmla="*/ 2147483646 h 5"/>
                <a:gd name="T8" fmla="*/ 2147483646 w 3"/>
                <a:gd name="T9" fmla="*/ 2147483646 h 5"/>
                <a:gd name="T10" fmla="*/ 2147483646 w 3"/>
                <a:gd name="T11" fmla="*/ 2147483646 h 5"/>
                <a:gd name="T12" fmla="*/ 2147483646 w 3"/>
                <a:gd name="T13" fmla="*/ 2147483646 h 5"/>
                <a:gd name="T14" fmla="*/ 2147483646 w 3"/>
                <a:gd name="T15" fmla="*/ 2147483646 h 5"/>
                <a:gd name="T16" fmla="*/ 2147483646 w 3"/>
                <a:gd name="T17" fmla="*/ 214748364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" h="5">
                  <a:moveTo>
                    <a:pt x="1" y="5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2" y="4"/>
                    <a:pt x="1" y="4"/>
                  </a:cubicBezTo>
                  <a:lnTo>
                    <a:pt x="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3" name="Freeform 237"/>
            <p:cNvSpPr/>
            <p:nvPr/>
          </p:nvSpPr>
          <p:spPr bwMode="auto">
            <a:xfrm>
              <a:off x="2072628" y="3498035"/>
              <a:ext cx="163669" cy="176303"/>
            </a:xfrm>
            <a:custGeom>
              <a:avLst/>
              <a:gdLst>
                <a:gd name="T0" fmla="*/ 2147483646 w 22"/>
                <a:gd name="T1" fmla="*/ 2147483646 h 24"/>
                <a:gd name="T2" fmla="*/ 2147483646 w 22"/>
                <a:gd name="T3" fmla="*/ 2147483646 h 24"/>
                <a:gd name="T4" fmla="*/ 2147483646 w 22"/>
                <a:gd name="T5" fmla="*/ 2147483646 h 24"/>
                <a:gd name="T6" fmla="*/ 2147483646 w 22"/>
                <a:gd name="T7" fmla="*/ 2147483646 h 24"/>
                <a:gd name="T8" fmla="*/ 2147483646 w 22"/>
                <a:gd name="T9" fmla="*/ 2147483646 h 24"/>
                <a:gd name="T10" fmla="*/ 0 w 22"/>
                <a:gd name="T11" fmla="*/ 2147483646 h 24"/>
                <a:gd name="T12" fmla="*/ 0 w 22"/>
                <a:gd name="T13" fmla="*/ 2147483646 h 24"/>
                <a:gd name="T14" fmla="*/ 2147483646 w 22"/>
                <a:gd name="T15" fmla="*/ 2147483646 h 24"/>
                <a:gd name="T16" fmla="*/ 2147483646 w 22"/>
                <a:gd name="T17" fmla="*/ 2147483646 h 24"/>
                <a:gd name="T18" fmla="*/ 2147483646 w 22"/>
                <a:gd name="T19" fmla="*/ 2147483646 h 24"/>
                <a:gd name="T20" fmla="*/ 2147483646 w 22"/>
                <a:gd name="T21" fmla="*/ 0 h 24"/>
                <a:gd name="T22" fmla="*/ 2147483646 w 22"/>
                <a:gd name="T23" fmla="*/ 2147483646 h 24"/>
                <a:gd name="T24" fmla="*/ 2147483646 w 22"/>
                <a:gd name="T25" fmla="*/ 2147483646 h 24"/>
                <a:gd name="T26" fmla="*/ 2147483646 w 22"/>
                <a:gd name="T27" fmla="*/ 2147483646 h 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2" h="24">
                  <a:moveTo>
                    <a:pt x="22" y="11"/>
                  </a:moveTo>
                  <a:cubicBezTo>
                    <a:pt x="21" y="12"/>
                    <a:pt x="19" y="13"/>
                    <a:pt x="17" y="14"/>
                  </a:cubicBezTo>
                  <a:cubicBezTo>
                    <a:pt x="16" y="15"/>
                    <a:pt x="14" y="19"/>
                    <a:pt x="13" y="19"/>
                  </a:cubicBezTo>
                  <a:cubicBezTo>
                    <a:pt x="9" y="20"/>
                    <a:pt x="9" y="18"/>
                    <a:pt x="7" y="21"/>
                  </a:cubicBezTo>
                  <a:cubicBezTo>
                    <a:pt x="5" y="23"/>
                    <a:pt x="2" y="24"/>
                    <a:pt x="2" y="21"/>
                  </a:cubicBezTo>
                  <a:cubicBezTo>
                    <a:pt x="3" y="18"/>
                    <a:pt x="0" y="18"/>
                    <a:pt x="0" y="15"/>
                  </a:cubicBezTo>
                  <a:cubicBezTo>
                    <a:pt x="0" y="14"/>
                    <a:pt x="0" y="12"/>
                    <a:pt x="0" y="11"/>
                  </a:cubicBezTo>
                  <a:cubicBezTo>
                    <a:pt x="0" y="10"/>
                    <a:pt x="3" y="11"/>
                    <a:pt x="3" y="10"/>
                  </a:cubicBezTo>
                  <a:cubicBezTo>
                    <a:pt x="3" y="9"/>
                    <a:pt x="2" y="3"/>
                    <a:pt x="3" y="2"/>
                  </a:cubicBezTo>
                  <a:cubicBezTo>
                    <a:pt x="4" y="1"/>
                    <a:pt x="9" y="0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4" y="0"/>
                    <a:pt x="14" y="3"/>
                    <a:pt x="15" y="4"/>
                  </a:cubicBezTo>
                  <a:cubicBezTo>
                    <a:pt x="16" y="5"/>
                    <a:pt x="19" y="6"/>
                    <a:pt x="19" y="7"/>
                  </a:cubicBezTo>
                  <a:cubicBezTo>
                    <a:pt x="19" y="10"/>
                    <a:pt x="20" y="10"/>
                    <a:pt x="22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4" name="Freeform 238"/>
            <p:cNvSpPr>
              <a:spLocks noEditPoints="1"/>
            </p:cNvSpPr>
            <p:nvPr/>
          </p:nvSpPr>
          <p:spPr bwMode="auto">
            <a:xfrm>
              <a:off x="2072628" y="3488591"/>
              <a:ext cx="179407" cy="179451"/>
            </a:xfrm>
            <a:custGeom>
              <a:avLst/>
              <a:gdLst>
                <a:gd name="T0" fmla="*/ 2147483646 w 24"/>
                <a:gd name="T1" fmla="*/ 2147483646 h 24"/>
                <a:gd name="T2" fmla="*/ 2147483646 w 24"/>
                <a:gd name="T3" fmla="*/ 2147483646 h 24"/>
                <a:gd name="T4" fmla="*/ 2147483646 w 24"/>
                <a:gd name="T5" fmla="*/ 2147483646 h 24"/>
                <a:gd name="T6" fmla="*/ 2147483646 w 24"/>
                <a:gd name="T7" fmla="*/ 2147483646 h 24"/>
                <a:gd name="T8" fmla="*/ 0 w 24"/>
                <a:gd name="T9" fmla="*/ 2147483646 h 24"/>
                <a:gd name="T10" fmla="*/ 0 w 24"/>
                <a:gd name="T11" fmla="*/ 2147483646 h 24"/>
                <a:gd name="T12" fmla="*/ 2147483646 w 24"/>
                <a:gd name="T13" fmla="*/ 2147483646 h 24"/>
                <a:gd name="T14" fmla="*/ 2147483646 w 24"/>
                <a:gd name="T15" fmla="*/ 2147483646 h 24"/>
                <a:gd name="T16" fmla="*/ 2147483646 w 24"/>
                <a:gd name="T17" fmla="*/ 2147483646 h 24"/>
                <a:gd name="T18" fmla="*/ 2147483646 w 24"/>
                <a:gd name="T19" fmla="*/ 2147483646 h 24"/>
                <a:gd name="T20" fmla="*/ 2147483646 w 24"/>
                <a:gd name="T21" fmla="*/ 2147483646 h 24"/>
                <a:gd name="T22" fmla="*/ 2147483646 w 24"/>
                <a:gd name="T23" fmla="*/ 2147483646 h 24"/>
                <a:gd name="T24" fmla="*/ 2147483646 w 24"/>
                <a:gd name="T25" fmla="*/ 2147483646 h 24"/>
                <a:gd name="T26" fmla="*/ 2147483646 w 24"/>
                <a:gd name="T27" fmla="*/ 0 h 24"/>
                <a:gd name="T28" fmla="*/ 2147483646 w 24"/>
                <a:gd name="T29" fmla="*/ 2147483646 h 24"/>
                <a:gd name="T30" fmla="*/ 2147483646 w 24"/>
                <a:gd name="T31" fmla="*/ 2147483646 h 24"/>
                <a:gd name="T32" fmla="*/ 2147483646 w 24"/>
                <a:gd name="T33" fmla="*/ 2147483646 h 24"/>
                <a:gd name="T34" fmla="*/ 2147483646 w 24"/>
                <a:gd name="T35" fmla="*/ 2147483646 h 24"/>
                <a:gd name="T36" fmla="*/ 2147483646 w 24"/>
                <a:gd name="T37" fmla="*/ 2147483646 h 24"/>
                <a:gd name="T38" fmla="*/ 2147483646 w 24"/>
                <a:gd name="T39" fmla="*/ 2147483646 h 24"/>
                <a:gd name="T40" fmla="*/ 2147483646 w 24"/>
                <a:gd name="T41" fmla="*/ 2147483646 h 24"/>
                <a:gd name="T42" fmla="*/ 2147483646 w 24"/>
                <a:gd name="T43" fmla="*/ 2147483646 h 24"/>
                <a:gd name="T44" fmla="*/ 2147483646 w 24"/>
                <a:gd name="T45" fmla="*/ 2147483646 h 24"/>
                <a:gd name="T46" fmla="*/ 2147483646 w 24"/>
                <a:gd name="T47" fmla="*/ 2147483646 h 24"/>
                <a:gd name="T48" fmla="*/ 2147483646 w 24"/>
                <a:gd name="T49" fmla="*/ 2147483646 h 24"/>
                <a:gd name="T50" fmla="*/ 2147483646 w 24"/>
                <a:gd name="T51" fmla="*/ 2147483646 h 24"/>
                <a:gd name="T52" fmla="*/ 2147483646 w 24"/>
                <a:gd name="T53" fmla="*/ 2147483646 h 24"/>
                <a:gd name="T54" fmla="*/ 2147483646 w 24"/>
                <a:gd name="T55" fmla="*/ 2147483646 h 24"/>
                <a:gd name="T56" fmla="*/ 2147483646 w 24"/>
                <a:gd name="T57" fmla="*/ 2147483646 h 24"/>
                <a:gd name="T58" fmla="*/ 2147483646 w 24"/>
                <a:gd name="T59" fmla="*/ 2147483646 h 24"/>
                <a:gd name="T60" fmla="*/ 2147483646 w 24"/>
                <a:gd name="T61" fmla="*/ 2147483646 h 24"/>
                <a:gd name="T62" fmla="*/ 2147483646 w 24"/>
                <a:gd name="T63" fmla="*/ 2147483646 h 24"/>
                <a:gd name="T64" fmla="*/ 2147483646 w 24"/>
                <a:gd name="T65" fmla="*/ 2147483646 h 24"/>
                <a:gd name="T66" fmla="*/ 2147483646 w 24"/>
                <a:gd name="T67" fmla="*/ 2147483646 h 24"/>
                <a:gd name="T68" fmla="*/ 2147483646 w 24"/>
                <a:gd name="T69" fmla="*/ 2147483646 h 24"/>
                <a:gd name="T70" fmla="*/ 2147483646 w 24"/>
                <a:gd name="T71" fmla="*/ 2147483646 h 24"/>
                <a:gd name="T72" fmla="*/ 2147483646 w 24"/>
                <a:gd name="T73" fmla="*/ 2147483646 h 24"/>
                <a:gd name="T74" fmla="*/ 2147483646 w 24"/>
                <a:gd name="T75" fmla="*/ 2147483646 h 24"/>
                <a:gd name="T76" fmla="*/ 2147483646 w 24"/>
                <a:gd name="T77" fmla="*/ 2147483646 h 24"/>
                <a:gd name="T78" fmla="*/ 2147483646 w 24"/>
                <a:gd name="T79" fmla="*/ 2147483646 h 24"/>
                <a:gd name="T80" fmla="*/ 2147483646 w 24"/>
                <a:gd name="T81" fmla="*/ 2147483646 h 24"/>
                <a:gd name="T82" fmla="*/ 2147483646 w 24"/>
                <a:gd name="T83" fmla="*/ 2147483646 h 24"/>
                <a:gd name="T84" fmla="*/ 2147483646 w 24"/>
                <a:gd name="T85" fmla="*/ 2147483646 h 24"/>
                <a:gd name="T86" fmla="*/ 2147483646 w 24"/>
                <a:gd name="T87" fmla="*/ 2147483646 h 24"/>
                <a:gd name="T88" fmla="*/ 2147483646 w 24"/>
                <a:gd name="T89" fmla="*/ 2147483646 h 24"/>
                <a:gd name="T90" fmla="*/ 2147483646 w 24"/>
                <a:gd name="T91" fmla="*/ 2147483646 h 24"/>
                <a:gd name="T92" fmla="*/ 2147483646 w 24"/>
                <a:gd name="T93" fmla="*/ 2147483646 h 24"/>
                <a:gd name="T94" fmla="*/ 2147483646 w 24"/>
                <a:gd name="T95" fmla="*/ 2147483646 h 24"/>
                <a:gd name="T96" fmla="*/ 2147483646 w 24"/>
                <a:gd name="T97" fmla="*/ 2147483646 h 24"/>
                <a:gd name="T98" fmla="*/ 2147483646 w 24"/>
                <a:gd name="T99" fmla="*/ 2147483646 h 24"/>
                <a:gd name="T100" fmla="*/ 2147483646 w 24"/>
                <a:gd name="T101" fmla="*/ 2147483646 h 24"/>
                <a:gd name="T102" fmla="*/ 2147483646 w 24"/>
                <a:gd name="T103" fmla="*/ 2147483646 h 24"/>
                <a:gd name="T104" fmla="*/ 2147483646 w 24"/>
                <a:gd name="T105" fmla="*/ 2147483646 h 24"/>
                <a:gd name="T106" fmla="*/ 2147483646 w 24"/>
                <a:gd name="T107" fmla="*/ 2147483646 h 24"/>
                <a:gd name="T108" fmla="*/ 2147483646 w 24"/>
                <a:gd name="T109" fmla="*/ 2147483646 h 24"/>
                <a:gd name="T110" fmla="*/ 2147483646 w 24"/>
                <a:gd name="T111" fmla="*/ 2147483646 h 24"/>
                <a:gd name="T112" fmla="*/ 2147483646 w 24"/>
                <a:gd name="T113" fmla="*/ 2147483646 h 24"/>
                <a:gd name="T114" fmla="*/ 2147483646 w 24"/>
                <a:gd name="T115" fmla="*/ 2147483646 h 24"/>
                <a:gd name="T116" fmla="*/ 2147483646 w 24"/>
                <a:gd name="T117" fmla="*/ 2147483646 h 24"/>
                <a:gd name="T118" fmla="*/ 2147483646 w 24"/>
                <a:gd name="T119" fmla="*/ 2147483646 h 2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4" h="24">
                  <a:moveTo>
                    <a:pt x="4" y="24"/>
                  </a:moveTo>
                  <a:cubicBezTo>
                    <a:pt x="3" y="24"/>
                    <a:pt x="3" y="24"/>
                    <a:pt x="2" y="24"/>
                  </a:cubicBezTo>
                  <a:cubicBezTo>
                    <a:pt x="2" y="23"/>
                    <a:pt x="2" y="22"/>
                    <a:pt x="2" y="21"/>
                  </a:cubicBezTo>
                  <a:cubicBezTo>
                    <a:pt x="2" y="21"/>
                    <a:pt x="2" y="20"/>
                    <a:pt x="1" y="19"/>
                  </a:cubicBezTo>
                  <a:cubicBezTo>
                    <a:pt x="1" y="19"/>
                    <a:pt x="0" y="18"/>
                    <a:pt x="0" y="1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1"/>
                    <a:pt x="1" y="11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9"/>
                  </a:cubicBezTo>
                  <a:cubicBezTo>
                    <a:pt x="2" y="6"/>
                    <a:pt x="2" y="3"/>
                    <a:pt x="2" y="2"/>
                  </a:cubicBezTo>
                  <a:cubicBezTo>
                    <a:pt x="3" y="2"/>
                    <a:pt x="5" y="1"/>
                    <a:pt x="6" y="1"/>
                  </a:cubicBezTo>
                  <a:cubicBezTo>
                    <a:pt x="8" y="1"/>
                    <a:pt x="9" y="1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2"/>
                    <a:pt x="14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5"/>
                    <a:pt x="16" y="5"/>
                    <a:pt x="16" y="5"/>
                  </a:cubicBezTo>
                  <a:cubicBezTo>
                    <a:pt x="18" y="6"/>
                    <a:pt x="19" y="7"/>
                    <a:pt x="19" y="8"/>
                  </a:cubicBezTo>
                  <a:cubicBezTo>
                    <a:pt x="20" y="10"/>
                    <a:pt x="20" y="10"/>
                    <a:pt x="22" y="11"/>
                  </a:cubicBezTo>
                  <a:cubicBezTo>
                    <a:pt x="22" y="11"/>
                    <a:pt x="22" y="11"/>
                    <a:pt x="23" y="1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3"/>
                    <a:pt x="21" y="13"/>
                  </a:cubicBezTo>
                  <a:cubicBezTo>
                    <a:pt x="20" y="14"/>
                    <a:pt x="19" y="15"/>
                    <a:pt x="18" y="16"/>
                  </a:cubicBezTo>
                  <a:cubicBezTo>
                    <a:pt x="17" y="16"/>
                    <a:pt x="17" y="17"/>
                    <a:pt x="16" y="17"/>
                  </a:cubicBezTo>
                  <a:cubicBezTo>
                    <a:pt x="15" y="19"/>
                    <a:pt x="14" y="21"/>
                    <a:pt x="13" y="21"/>
                  </a:cubicBezTo>
                  <a:cubicBezTo>
                    <a:pt x="12" y="21"/>
                    <a:pt x="11" y="21"/>
                    <a:pt x="10" y="21"/>
                  </a:cubicBezTo>
                  <a:cubicBezTo>
                    <a:pt x="10" y="21"/>
                    <a:pt x="9" y="21"/>
                    <a:pt x="9" y="21"/>
                  </a:cubicBezTo>
                  <a:cubicBezTo>
                    <a:pt x="9" y="21"/>
                    <a:pt x="8" y="21"/>
                    <a:pt x="7" y="22"/>
                  </a:cubicBezTo>
                  <a:cubicBezTo>
                    <a:pt x="6" y="23"/>
                    <a:pt x="5" y="24"/>
                    <a:pt x="4" y="24"/>
                  </a:cubicBezTo>
                  <a:close/>
                  <a:moveTo>
                    <a:pt x="1" y="12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7"/>
                    <a:pt x="2" y="18"/>
                    <a:pt x="2" y="19"/>
                  </a:cubicBezTo>
                  <a:cubicBezTo>
                    <a:pt x="3" y="19"/>
                    <a:pt x="3" y="20"/>
                    <a:pt x="3" y="22"/>
                  </a:cubicBezTo>
                  <a:cubicBezTo>
                    <a:pt x="3" y="22"/>
                    <a:pt x="3" y="23"/>
                    <a:pt x="3" y="23"/>
                  </a:cubicBezTo>
                  <a:cubicBezTo>
                    <a:pt x="4" y="23"/>
                    <a:pt x="5" y="23"/>
                    <a:pt x="6" y="21"/>
                  </a:cubicBezTo>
                  <a:cubicBezTo>
                    <a:pt x="7" y="20"/>
                    <a:pt x="8" y="20"/>
                    <a:pt x="9" y="20"/>
                  </a:cubicBezTo>
                  <a:cubicBezTo>
                    <a:pt x="9" y="20"/>
                    <a:pt x="10" y="20"/>
                    <a:pt x="10" y="20"/>
                  </a:cubicBezTo>
                  <a:cubicBezTo>
                    <a:pt x="11" y="20"/>
                    <a:pt x="12" y="20"/>
                    <a:pt x="12" y="20"/>
                  </a:cubicBezTo>
                  <a:cubicBezTo>
                    <a:pt x="13" y="20"/>
                    <a:pt x="15" y="18"/>
                    <a:pt x="15" y="17"/>
                  </a:cubicBezTo>
                  <a:cubicBezTo>
                    <a:pt x="16" y="16"/>
                    <a:pt x="16" y="15"/>
                    <a:pt x="17" y="15"/>
                  </a:cubicBezTo>
                  <a:cubicBezTo>
                    <a:pt x="18" y="14"/>
                    <a:pt x="19" y="13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0" y="11"/>
                    <a:pt x="19" y="11"/>
                    <a:pt x="18" y="8"/>
                  </a:cubicBezTo>
                  <a:cubicBezTo>
                    <a:pt x="18" y="8"/>
                    <a:pt x="16" y="7"/>
                    <a:pt x="16" y="6"/>
                  </a:cubicBezTo>
                  <a:cubicBezTo>
                    <a:pt x="15" y="6"/>
                    <a:pt x="15" y="6"/>
                    <a:pt x="14" y="5"/>
                  </a:cubicBezTo>
                  <a:cubicBezTo>
                    <a:pt x="14" y="5"/>
                    <a:pt x="14" y="4"/>
                    <a:pt x="13" y="3"/>
                  </a:cubicBezTo>
                  <a:cubicBezTo>
                    <a:pt x="13" y="3"/>
                    <a:pt x="13" y="2"/>
                    <a:pt x="12" y="2"/>
                  </a:cubicBezTo>
                  <a:cubicBezTo>
                    <a:pt x="11" y="2"/>
                    <a:pt x="10" y="3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4"/>
                    <a:pt x="3" y="7"/>
                    <a:pt x="3" y="9"/>
                  </a:cubicBezTo>
                  <a:cubicBezTo>
                    <a:pt x="3" y="10"/>
                    <a:pt x="3" y="11"/>
                    <a:pt x="3" y="11"/>
                  </a:cubicBezTo>
                  <a:cubicBezTo>
                    <a:pt x="3" y="11"/>
                    <a:pt x="3" y="12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1" y="12"/>
                    <a:pt x="1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5" name="Freeform 239"/>
            <p:cNvSpPr/>
            <p:nvPr/>
          </p:nvSpPr>
          <p:spPr bwMode="auto">
            <a:xfrm>
              <a:off x="1877483" y="2969129"/>
              <a:ext cx="135342" cy="195192"/>
            </a:xfrm>
            <a:custGeom>
              <a:avLst/>
              <a:gdLst>
                <a:gd name="T0" fmla="*/ 2147483646 w 18"/>
                <a:gd name="T1" fmla="*/ 0 h 26"/>
                <a:gd name="T2" fmla="*/ 2147483646 w 18"/>
                <a:gd name="T3" fmla="*/ 2147483646 h 26"/>
                <a:gd name="T4" fmla="*/ 2147483646 w 18"/>
                <a:gd name="T5" fmla="*/ 2147483646 h 26"/>
                <a:gd name="T6" fmla="*/ 2147483646 w 18"/>
                <a:gd name="T7" fmla="*/ 2147483646 h 26"/>
                <a:gd name="T8" fmla="*/ 2147483646 w 18"/>
                <a:gd name="T9" fmla="*/ 2147483646 h 26"/>
                <a:gd name="T10" fmla="*/ 2147483646 w 18"/>
                <a:gd name="T11" fmla="*/ 2147483646 h 26"/>
                <a:gd name="T12" fmla="*/ 2147483646 w 18"/>
                <a:gd name="T13" fmla="*/ 2147483646 h 26"/>
                <a:gd name="T14" fmla="*/ 2147483646 w 18"/>
                <a:gd name="T15" fmla="*/ 2147483646 h 26"/>
                <a:gd name="T16" fmla="*/ 2147483646 w 18"/>
                <a:gd name="T17" fmla="*/ 2147483646 h 26"/>
                <a:gd name="T18" fmla="*/ 2147483646 w 18"/>
                <a:gd name="T19" fmla="*/ 2147483646 h 26"/>
                <a:gd name="T20" fmla="*/ 2147483646 w 18"/>
                <a:gd name="T21" fmla="*/ 2147483646 h 26"/>
                <a:gd name="T22" fmla="*/ 2147483646 w 18"/>
                <a:gd name="T23" fmla="*/ 2147483646 h 26"/>
                <a:gd name="T24" fmla="*/ 2147483646 w 18"/>
                <a:gd name="T25" fmla="*/ 2147483646 h 26"/>
                <a:gd name="T26" fmla="*/ 2147483646 w 18"/>
                <a:gd name="T27" fmla="*/ 2147483646 h 26"/>
                <a:gd name="T28" fmla="*/ 2147483646 w 18"/>
                <a:gd name="T29" fmla="*/ 2147483646 h 26"/>
                <a:gd name="T30" fmla="*/ 2147483646 w 18"/>
                <a:gd name="T31" fmla="*/ 0 h 26"/>
                <a:gd name="T32" fmla="*/ 2147483646 w 18"/>
                <a:gd name="T33" fmla="*/ 0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8" h="26">
                  <a:moveTo>
                    <a:pt x="13" y="0"/>
                  </a:moveTo>
                  <a:cubicBezTo>
                    <a:pt x="15" y="2"/>
                    <a:pt x="13" y="3"/>
                    <a:pt x="12" y="3"/>
                  </a:cubicBezTo>
                  <a:cubicBezTo>
                    <a:pt x="11" y="4"/>
                    <a:pt x="11" y="6"/>
                    <a:pt x="11" y="7"/>
                  </a:cubicBezTo>
                  <a:cubicBezTo>
                    <a:pt x="10" y="9"/>
                    <a:pt x="8" y="12"/>
                    <a:pt x="7" y="14"/>
                  </a:cubicBezTo>
                  <a:cubicBezTo>
                    <a:pt x="7" y="15"/>
                    <a:pt x="5" y="13"/>
                    <a:pt x="5" y="14"/>
                  </a:cubicBezTo>
                  <a:cubicBezTo>
                    <a:pt x="2" y="14"/>
                    <a:pt x="2" y="14"/>
                    <a:pt x="1" y="16"/>
                  </a:cubicBezTo>
                  <a:cubicBezTo>
                    <a:pt x="0" y="18"/>
                    <a:pt x="0" y="21"/>
                    <a:pt x="3" y="20"/>
                  </a:cubicBezTo>
                  <a:cubicBezTo>
                    <a:pt x="3" y="21"/>
                    <a:pt x="3" y="21"/>
                    <a:pt x="3" y="22"/>
                  </a:cubicBezTo>
                  <a:cubicBezTo>
                    <a:pt x="4" y="23"/>
                    <a:pt x="3" y="24"/>
                    <a:pt x="3" y="25"/>
                  </a:cubicBezTo>
                  <a:cubicBezTo>
                    <a:pt x="6" y="24"/>
                    <a:pt x="16" y="23"/>
                    <a:pt x="17" y="26"/>
                  </a:cubicBezTo>
                  <a:cubicBezTo>
                    <a:pt x="17" y="25"/>
                    <a:pt x="18" y="24"/>
                    <a:pt x="18" y="23"/>
                  </a:cubicBezTo>
                  <a:cubicBezTo>
                    <a:pt x="17" y="22"/>
                    <a:pt x="16" y="22"/>
                    <a:pt x="16" y="21"/>
                  </a:cubicBezTo>
                  <a:cubicBezTo>
                    <a:pt x="15" y="19"/>
                    <a:pt x="13" y="17"/>
                    <a:pt x="14" y="15"/>
                  </a:cubicBezTo>
                  <a:cubicBezTo>
                    <a:pt x="16" y="13"/>
                    <a:pt x="17" y="10"/>
                    <a:pt x="14" y="9"/>
                  </a:cubicBezTo>
                  <a:cubicBezTo>
                    <a:pt x="12" y="7"/>
                    <a:pt x="14" y="6"/>
                    <a:pt x="16" y="6"/>
                  </a:cubicBezTo>
                  <a:cubicBezTo>
                    <a:pt x="15" y="4"/>
                    <a:pt x="15" y="2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6" name="Freeform 240"/>
            <p:cNvSpPr>
              <a:spLocks noEditPoints="1"/>
            </p:cNvSpPr>
            <p:nvPr/>
          </p:nvSpPr>
          <p:spPr bwMode="auto">
            <a:xfrm>
              <a:off x="1871188" y="2962832"/>
              <a:ext cx="141637" cy="214081"/>
            </a:xfrm>
            <a:custGeom>
              <a:avLst/>
              <a:gdLst>
                <a:gd name="T0" fmla="*/ 2147483646 w 19"/>
                <a:gd name="T1" fmla="*/ 2147483646 h 29"/>
                <a:gd name="T2" fmla="*/ 2147483646 w 19"/>
                <a:gd name="T3" fmla="*/ 2147483646 h 29"/>
                <a:gd name="T4" fmla="*/ 2147483646 w 19"/>
                <a:gd name="T5" fmla="*/ 2147483646 h 29"/>
                <a:gd name="T6" fmla="*/ 2147483646 w 19"/>
                <a:gd name="T7" fmla="*/ 2147483646 h 29"/>
                <a:gd name="T8" fmla="*/ 2147483646 w 19"/>
                <a:gd name="T9" fmla="*/ 2147483646 h 29"/>
                <a:gd name="T10" fmla="*/ 2147483646 w 19"/>
                <a:gd name="T11" fmla="*/ 2147483646 h 29"/>
                <a:gd name="T12" fmla="*/ 2147483646 w 19"/>
                <a:gd name="T13" fmla="*/ 2147483646 h 29"/>
                <a:gd name="T14" fmla="*/ 2147483646 w 19"/>
                <a:gd name="T15" fmla="*/ 2147483646 h 29"/>
                <a:gd name="T16" fmla="*/ 2147483646 w 19"/>
                <a:gd name="T17" fmla="*/ 2147483646 h 29"/>
                <a:gd name="T18" fmla="*/ 2147483646 w 19"/>
                <a:gd name="T19" fmla="*/ 2147483646 h 29"/>
                <a:gd name="T20" fmla="*/ 2147483646 w 19"/>
                <a:gd name="T21" fmla="*/ 2147483646 h 29"/>
                <a:gd name="T22" fmla="*/ 2147483646 w 19"/>
                <a:gd name="T23" fmla="*/ 2147483646 h 29"/>
                <a:gd name="T24" fmla="*/ 2147483646 w 19"/>
                <a:gd name="T25" fmla="*/ 2147483646 h 29"/>
                <a:gd name="T26" fmla="*/ 2147483646 w 19"/>
                <a:gd name="T27" fmla="*/ 0 h 29"/>
                <a:gd name="T28" fmla="*/ 2147483646 w 19"/>
                <a:gd name="T29" fmla="*/ 0 h 29"/>
                <a:gd name="T30" fmla="*/ 2147483646 w 19"/>
                <a:gd name="T31" fmla="*/ 2147483646 h 29"/>
                <a:gd name="T32" fmla="*/ 2147483646 w 19"/>
                <a:gd name="T33" fmla="*/ 2147483646 h 29"/>
                <a:gd name="T34" fmla="*/ 2147483646 w 19"/>
                <a:gd name="T35" fmla="*/ 2147483646 h 29"/>
                <a:gd name="T36" fmla="*/ 2147483646 w 19"/>
                <a:gd name="T37" fmla="*/ 2147483646 h 29"/>
                <a:gd name="T38" fmla="*/ 2147483646 w 19"/>
                <a:gd name="T39" fmla="*/ 2147483646 h 29"/>
                <a:gd name="T40" fmla="*/ 2147483646 w 19"/>
                <a:gd name="T41" fmla="*/ 2147483646 h 29"/>
                <a:gd name="T42" fmla="*/ 2147483646 w 19"/>
                <a:gd name="T43" fmla="*/ 2147483646 h 29"/>
                <a:gd name="T44" fmla="*/ 2147483646 w 19"/>
                <a:gd name="T45" fmla="*/ 2147483646 h 29"/>
                <a:gd name="T46" fmla="*/ 2147483646 w 19"/>
                <a:gd name="T47" fmla="*/ 2147483646 h 29"/>
                <a:gd name="T48" fmla="*/ 2147483646 w 19"/>
                <a:gd name="T49" fmla="*/ 2147483646 h 29"/>
                <a:gd name="T50" fmla="*/ 2147483646 w 19"/>
                <a:gd name="T51" fmla="*/ 2147483646 h 29"/>
                <a:gd name="T52" fmla="*/ 2147483646 w 19"/>
                <a:gd name="T53" fmla="*/ 2147483646 h 29"/>
                <a:gd name="T54" fmla="*/ 2147483646 w 19"/>
                <a:gd name="T55" fmla="*/ 2147483646 h 29"/>
                <a:gd name="T56" fmla="*/ 2147483646 w 19"/>
                <a:gd name="T57" fmla="*/ 2147483646 h 29"/>
                <a:gd name="T58" fmla="*/ 2147483646 w 19"/>
                <a:gd name="T59" fmla="*/ 2147483646 h 29"/>
                <a:gd name="T60" fmla="*/ 2147483646 w 19"/>
                <a:gd name="T61" fmla="*/ 2147483646 h 29"/>
                <a:gd name="T62" fmla="*/ 2147483646 w 19"/>
                <a:gd name="T63" fmla="*/ 2147483646 h 29"/>
                <a:gd name="T64" fmla="*/ 2147483646 w 19"/>
                <a:gd name="T65" fmla="*/ 2147483646 h 29"/>
                <a:gd name="T66" fmla="*/ 2147483646 w 19"/>
                <a:gd name="T67" fmla="*/ 2147483646 h 29"/>
                <a:gd name="T68" fmla="*/ 2147483646 w 19"/>
                <a:gd name="T69" fmla="*/ 2147483646 h 29"/>
                <a:gd name="T70" fmla="*/ 2147483646 w 19"/>
                <a:gd name="T71" fmla="*/ 2147483646 h 29"/>
                <a:gd name="T72" fmla="*/ 2147483646 w 19"/>
                <a:gd name="T73" fmla="*/ 2147483646 h 29"/>
                <a:gd name="T74" fmla="*/ 2147483646 w 19"/>
                <a:gd name="T75" fmla="*/ 2147483646 h 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" h="29">
                  <a:moveTo>
                    <a:pt x="19" y="29"/>
                  </a:moveTo>
                  <a:cubicBezTo>
                    <a:pt x="18" y="27"/>
                    <a:pt x="18" y="27"/>
                    <a:pt x="18" y="27"/>
                  </a:cubicBezTo>
                  <a:cubicBezTo>
                    <a:pt x="17" y="26"/>
                    <a:pt x="16" y="26"/>
                    <a:pt x="12" y="26"/>
                  </a:cubicBezTo>
                  <a:cubicBezTo>
                    <a:pt x="9" y="26"/>
                    <a:pt x="7" y="26"/>
                    <a:pt x="5" y="26"/>
                  </a:cubicBezTo>
                  <a:cubicBezTo>
                    <a:pt x="5" y="26"/>
                    <a:pt x="4" y="26"/>
                    <a:pt x="4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4" y="25"/>
                  </a:cubicBezTo>
                  <a:cubicBezTo>
                    <a:pt x="4" y="24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2" y="22"/>
                    <a:pt x="1" y="21"/>
                    <a:pt x="1" y="21"/>
                  </a:cubicBezTo>
                  <a:cubicBezTo>
                    <a:pt x="0" y="19"/>
                    <a:pt x="1" y="18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4"/>
                    <a:pt x="3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6" y="14"/>
                    <a:pt x="7" y="15"/>
                  </a:cubicBezTo>
                  <a:cubicBezTo>
                    <a:pt x="7" y="15"/>
                    <a:pt x="7" y="15"/>
                    <a:pt x="8" y="15"/>
                  </a:cubicBezTo>
                  <a:cubicBezTo>
                    <a:pt x="8" y="14"/>
                    <a:pt x="9" y="13"/>
                    <a:pt x="9" y="12"/>
                  </a:cubicBezTo>
                  <a:cubicBezTo>
                    <a:pt x="10" y="10"/>
                    <a:pt x="11" y="9"/>
                    <a:pt x="11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6"/>
                    <a:pt x="12" y="5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2"/>
                    <a:pt x="16" y="3"/>
                    <a:pt x="16" y="3"/>
                  </a:cubicBezTo>
                  <a:cubicBezTo>
                    <a:pt x="17" y="5"/>
                    <a:pt x="17" y="6"/>
                    <a:pt x="17" y="7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5" y="8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6" y="9"/>
                  </a:cubicBezTo>
                  <a:cubicBezTo>
                    <a:pt x="19" y="11"/>
                    <a:pt x="17" y="14"/>
                    <a:pt x="16" y="16"/>
                  </a:cubicBezTo>
                  <a:cubicBezTo>
                    <a:pt x="15" y="18"/>
                    <a:pt x="16" y="20"/>
                    <a:pt x="17" y="21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8" y="22"/>
                    <a:pt x="18" y="22"/>
                  </a:cubicBezTo>
                  <a:cubicBezTo>
                    <a:pt x="19" y="23"/>
                    <a:pt x="19" y="23"/>
                    <a:pt x="19" y="24"/>
                  </a:cubicBezTo>
                  <a:cubicBezTo>
                    <a:pt x="19" y="24"/>
                    <a:pt x="19" y="25"/>
                    <a:pt x="19" y="26"/>
                  </a:cubicBezTo>
                  <a:cubicBezTo>
                    <a:pt x="19" y="26"/>
                    <a:pt x="19" y="27"/>
                    <a:pt x="19" y="27"/>
                  </a:cubicBezTo>
                  <a:lnTo>
                    <a:pt x="19" y="29"/>
                  </a:lnTo>
                  <a:close/>
                  <a:moveTo>
                    <a:pt x="12" y="24"/>
                  </a:moveTo>
                  <a:cubicBezTo>
                    <a:pt x="15" y="24"/>
                    <a:pt x="17" y="25"/>
                    <a:pt x="18" y="26"/>
                  </a:cubicBezTo>
                  <a:cubicBezTo>
                    <a:pt x="18" y="25"/>
                    <a:pt x="18" y="24"/>
                    <a:pt x="18" y="24"/>
                  </a:cubicBezTo>
                  <a:cubicBezTo>
                    <a:pt x="18" y="24"/>
                    <a:pt x="18" y="24"/>
                    <a:pt x="17" y="23"/>
                  </a:cubicBezTo>
                  <a:cubicBezTo>
                    <a:pt x="17" y="23"/>
                    <a:pt x="16" y="23"/>
                    <a:pt x="1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5" y="20"/>
                    <a:pt x="14" y="18"/>
                    <a:pt x="15" y="16"/>
                  </a:cubicBezTo>
                  <a:cubicBezTo>
                    <a:pt x="16" y="14"/>
                    <a:pt x="17" y="12"/>
                    <a:pt x="15" y="10"/>
                  </a:cubicBezTo>
                  <a:cubicBezTo>
                    <a:pt x="15" y="10"/>
                    <a:pt x="13" y="9"/>
                    <a:pt x="14" y="8"/>
                  </a:cubicBezTo>
                  <a:cubicBezTo>
                    <a:pt x="14" y="7"/>
                    <a:pt x="15" y="7"/>
                    <a:pt x="16" y="7"/>
                  </a:cubicBezTo>
                  <a:cubicBezTo>
                    <a:pt x="16" y="6"/>
                    <a:pt x="15" y="5"/>
                    <a:pt x="15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5" y="4"/>
                    <a:pt x="14" y="4"/>
                    <a:pt x="14" y="5"/>
                  </a:cubicBezTo>
                  <a:cubicBezTo>
                    <a:pt x="13" y="6"/>
                    <a:pt x="13" y="6"/>
                    <a:pt x="13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10"/>
                    <a:pt x="11" y="11"/>
                    <a:pt x="10" y="12"/>
                  </a:cubicBezTo>
                  <a:cubicBezTo>
                    <a:pt x="10" y="13"/>
                    <a:pt x="9" y="14"/>
                    <a:pt x="9" y="1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6" y="16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5"/>
                    <a:pt x="4" y="15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2" y="18"/>
                    <a:pt x="2" y="19"/>
                    <a:pt x="2" y="20"/>
                  </a:cubicBezTo>
                  <a:cubicBezTo>
                    <a:pt x="2" y="21"/>
                    <a:pt x="3" y="21"/>
                    <a:pt x="4" y="21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5" y="24"/>
                    <a:pt x="5" y="24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25"/>
                    <a:pt x="9" y="24"/>
                    <a:pt x="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7" name="Freeform 241"/>
            <p:cNvSpPr/>
            <p:nvPr/>
          </p:nvSpPr>
          <p:spPr bwMode="auto">
            <a:xfrm>
              <a:off x="1984498" y="3000611"/>
              <a:ext cx="220324" cy="147968"/>
            </a:xfrm>
            <a:custGeom>
              <a:avLst/>
              <a:gdLst>
                <a:gd name="T0" fmla="*/ 2147483646 w 30"/>
                <a:gd name="T1" fmla="*/ 0 h 20"/>
                <a:gd name="T2" fmla="*/ 2147483646 w 30"/>
                <a:gd name="T3" fmla="*/ 2147483646 h 20"/>
                <a:gd name="T4" fmla="*/ 2147483646 w 30"/>
                <a:gd name="T5" fmla="*/ 2147483646 h 20"/>
                <a:gd name="T6" fmla="*/ 2147483646 w 30"/>
                <a:gd name="T7" fmla="*/ 2147483646 h 20"/>
                <a:gd name="T8" fmla="*/ 0 w 30"/>
                <a:gd name="T9" fmla="*/ 2147483646 h 20"/>
                <a:gd name="T10" fmla="*/ 2147483646 w 30"/>
                <a:gd name="T11" fmla="*/ 2147483646 h 20"/>
                <a:gd name="T12" fmla="*/ 2147483646 w 30"/>
                <a:gd name="T13" fmla="*/ 2147483646 h 20"/>
                <a:gd name="T14" fmla="*/ 2147483646 w 30"/>
                <a:gd name="T15" fmla="*/ 2147483646 h 20"/>
                <a:gd name="T16" fmla="*/ 2147483646 w 30"/>
                <a:gd name="T17" fmla="*/ 2147483646 h 20"/>
                <a:gd name="T18" fmla="*/ 2147483646 w 30"/>
                <a:gd name="T19" fmla="*/ 2147483646 h 20"/>
                <a:gd name="T20" fmla="*/ 2147483646 w 30"/>
                <a:gd name="T21" fmla="*/ 2147483646 h 20"/>
                <a:gd name="T22" fmla="*/ 2147483646 w 30"/>
                <a:gd name="T23" fmla="*/ 2147483646 h 20"/>
                <a:gd name="T24" fmla="*/ 2147483646 w 30"/>
                <a:gd name="T25" fmla="*/ 2147483646 h 20"/>
                <a:gd name="T26" fmla="*/ 2147483646 w 30"/>
                <a:gd name="T27" fmla="*/ 2147483646 h 20"/>
                <a:gd name="T28" fmla="*/ 2147483646 w 30"/>
                <a:gd name="T29" fmla="*/ 2147483646 h 20"/>
                <a:gd name="T30" fmla="*/ 2147483646 w 30"/>
                <a:gd name="T31" fmla="*/ 2147483646 h 20"/>
                <a:gd name="T32" fmla="*/ 2147483646 w 30"/>
                <a:gd name="T33" fmla="*/ 2147483646 h 20"/>
                <a:gd name="T34" fmla="*/ 2147483646 w 30"/>
                <a:gd name="T35" fmla="*/ 2147483646 h 20"/>
                <a:gd name="T36" fmla="*/ 2147483646 w 30"/>
                <a:gd name="T37" fmla="*/ 2147483646 h 20"/>
                <a:gd name="T38" fmla="*/ 2147483646 w 30"/>
                <a:gd name="T39" fmla="*/ 0 h 2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0" h="20">
                  <a:moveTo>
                    <a:pt x="19" y="0"/>
                  </a:moveTo>
                  <a:cubicBezTo>
                    <a:pt x="17" y="0"/>
                    <a:pt x="17" y="2"/>
                    <a:pt x="16" y="3"/>
                  </a:cubicBezTo>
                  <a:cubicBezTo>
                    <a:pt x="14" y="4"/>
                    <a:pt x="13" y="4"/>
                    <a:pt x="11" y="5"/>
                  </a:cubicBezTo>
                  <a:cubicBezTo>
                    <a:pt x="11" y="7"/>
                    <a:pt x="6" y="8"/>
                    <a:pt x="5" y="8"/>
                  </a:cubicBezTo>
                  <a:cubicBezTo>
                    <a:pt x="4" y="6"/>
                    <a:pt x="0" y="10"/>
                    <a:pt x="0" y="12"/>
                  </a:cubicBezTo>
                  <a:cubicBezTo>
                    <a:pt x="0" y="14"/>
                    <a:pt x="1" y="17"/>
                    <a:pt x="3" y="18"/>
                  </a:cubicBezTo>
                  <a:cubicBezTo>
                    <a:pt x="4" y="20"/>
                    <a:pt x="4" y="17"/>
                    <a:pt x="6" y="17"/>
                  </a:cubicBezTo>
                  <a:cubicBezTo>
                    <a:pt x="7" y="17"/>
                    <a:pt x="8" y="18"/>
                    <a:pt x="9" y="17"/>
                  </a:cubicBezTo>
                  <a:cubicBezTo>
                    <a:pt x="10" y="17"/>
                    <a:pt x="11" y="12"/>
                    <a:pt x="13" y="14"/>
                  </a:cubicBezTo>
                  <a:cubicBezTo>
                    <a:pt x="15" y="15"/>
                    <a:pt x="18" y="16"/>
                    <a:pt x="19" y="15"/>
                  </a:cubicBezTo>
                  <a:cubicBezTo>
                    <a:pt x="19" y="14"/>
                    <a:pt x="23" y="14"/>
                    <a:pt x="23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5" y="13"/>
                    <a:pt x="25" y="13"/>
                  </a:cubicBezTo>
                  <a:cubicBezTo>
                    <a:pt x="27" y="13"/>
                    <a:pt x="28" y="14"/>
                    <a:pt x="30" y="14"/>
                  </a:cubicBezTo>
                  <a:cubicBezTo>
                    <a:pt x="30" y="12"/>
                    <a:pt x="28" y="12"/>
                    <a:pt x="28" y="10"/>
                  </a:cubicBezTo>
                  <a:cubicBezTo>
                    <a:pt x="27" y="10"/>
                    <a:pt x="27" y="10"/>
                    <a:pt x="27" y="9"/>
                  </a:cubicBezTo>
                  <a:cubicBezTo>
                    <a:pt x="26" y="8"/>
                    <a:pt x="25" y="7"/>
                    <a:pt x="25" y="7"/>
                  </a:cubicBezTo>
                  <a:cubicBezTo>
                    <a:pt x="24" y="6"/>
                    <a:pt x="21" y="6"/>
                    <a:pt x="21" y="5"/>
                  </a:cubicBezTo>
                  <a:cubicBezTo>
                    <a:pt x="21" y="4"/>
                    <a:pt x="21" y="3"/>
                    <a:pt x="21" y="2"/>
                  </a:cubicBezTo>
                  <a:cubicBezTo>
                    <a:pt x="21" y="1"/>
                    <a:pt x="20" y="1"/>
                    <a:pt x="19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8" name="Freeform 242"/>
            <p:cNvSpPr>
              <a:spLocks noEditPoints="1"/>
            </p:cNvSpPr>
            <p:nvPr/>
          </p:nvSpPr>
          <p:spPr bwMode="auto">
            <a:xfrm>
              <a:off x="1975056" y="2991166"/>
              <a:ext cx="239209" cy="147968"/>
            </a:xfrm>
            <a:custGeom>
              <a:avLst/>
              <a:gdLst>
                <a:gd name="T0" fmla="*/ 2147483646 w 32"/>
                <a:gd name="T1" fmla="*/ 2147483646 h 20"/>
                <a:gd name="T2" fmla="*/ 2147483646 w 32"/>
                <a:gd name="T3" fmla="*/ 2147483646 h 20"/>
                <a:gd name="T4" fmla="*/ 2147483646 w 32"/>
                <a:gd name="T5" fmla="*/ 2147483646 h 20"/>
                <a:gd name="T6" fmla="*/ 2147483646 w 32"/>
                <a:gd name="T7" fmla="*/ 2147483646 h 20"/>
                <a:gd name="T8" fmla="*/ 2147483646 w 32"/>
                <a:gd name="T9" fmla="*/ 2147483646 h 20"/>
                <a:gd name="T10" fmla="*/ 2147483646 w 32"/>
                <a:gd name="T11" fmla="*/ 2147483646 h 20"/>
                <a:gd name="T12" fmla="*/ 2147483646 w 32"/>
                <a:gd name="T13" fmla="*/ 0 h 20"/>
                <a:gd name="T14" fmla="*/ 2147483646 w 32"/>
                <a:gd name="T15" fmla="*/ 2147483646 h 20"/>
                <a:gd name="T16" fmla="*/ 2147483646 w 32"/>
                <a:gd name="T17" fmla="*/ 2147483646 h 20"/>
                <a:gd name="T18" fmla="*/ 2147483646 w 32"/>
                <a:gd name="T19" fmla="*/ 2147483646 h 20"/>
                <a:gd name="T20" fmla="*/ 2147483646 w 32"/>
                <a:gd name="T21" fmla="*/ 2147483646 h 20"/>
                <a:gd name="T22" fmla="*/ 2147483646 w 32"/>
                <a:gd name="T23" fmla="*/ 2147483646 h 20"/>
                <a:gd name="T24" fmla="*/ 2147483646 w 32"/>
                <a:gd name="T25" fmla="*/ 2147483646 h 20"/>
                <a:gd name="T26" fmla="*/ 2147483646 w 32"/>
                <a:gd name="T27" fmla="*/ 2147483646 h 20"/>
                <a:gd name="T28" fmla="*/ 2147483646 w 32"/>
                <a:gd name="T29" fmla="*/ 2147483646 h 20"/>
                <a:gd name="T30" fmla="*/ 2147483646 w 32"/>
                <a:gd name="T31" fmla="*/ 2147483646 h 20"/>
                <a:gd name="T32" fmla="*/ 2147483646 w 32"/>
                <a:gd name="T33" fmla="*/ 2147483646 h 20"/>
                <a:gd name="T34" fmla="*/ 2147483646 w 32"/>
                <a:gd name="T35" fmla="*/ 2147483646 h 20"/>
                <a:gd name="T36" fmla="*/ 2147483646 w 32"/>
                <a:gd name="T37" fmla="*/ 2147483646 h 20"/>
                <a:gd name="T38" fmla="*/ 2147483646 w 32"/>
                <a:gd name="T39" fmla="*/ 2147483646 h 20"/>
                <a:gd name="T40" fmla="*/ 2147483646 w 32"/>
                <a:gd name="T41" fmla="*/ 2147483646 h 20"/>
                <a:gd name="T42" fmla="*/ 2147483646 w 32"/>
                <a:gd name="T43" fmla="*/ 2147483646 h 20"/>
                <a:gd name="T44" fmla="*/ 2147483646 w 32"/>
                <a:gd name="T45" fmla="*/ 2147483646 h 20"/>
                <a:gd name="T46" fmla="*/ 2147483646 w 32"/>
                <a:gd name="T47" fmla="*/ 2147483646 h 20"/>
                <a:gd name="T48" fmla="*/ 2147483646 w 32"/>
                <a:gd name="T49" fmla="*/ 2147483646 h 20"/>
                <a:gd name="T50" fmla="*/ 2147483646 w 32"/>
                <a:gd name="T51" fmla="*/ 2147483646 h 20"/>
                <a:gd name="T52" fmla="*/ 2147483646 w 32"/>
                <a:gd name="T53" fmla="*/ 2147483646 h 20"/>
                <a:gd name="T54" fmla="*/ 2147483646 w 32"/>
                <a:gd name="T55" fmla="*/ 2147483646 h 20"/>
                <a:gd name="T56" fmla="*/ 2147483646 w 32"/>
                <a:gd name="T57" fmla="*/ 2147483646 h 20"/>
                <a:gd name="T58" fmla="*/ 2147483646 w 32"/>
                <a:gd name="T59" fmla="*/ 2147483646 h 20"/>
                <a:gd name="T60" fmla="*/ 2147483646 w 32"/>
                <a:gd name="T61" fmla="*/ 2147483646 h 20"/>
                <a:gd name="T62" fmla="*/ 2147483646 w 32"/>
                <a:gd name="T63" fmla="*/ 2147483646 h 20"/>
                <a:gd name="T64" fmla="*/ 2147483646 w 32"/>
                <a:gd name="T65" fmla="*/ 2147483646 h 20"/>
                <a:gd name="T66" fmla="*/ 2147483646 w 32"/>
                <a:gd name="T67" fmla="*/ 2147483646 h 20"/>
                <a:gd name="T68" fmla="*/ 2147483646 w 32"/>
                <a:gd name="T69" fmla="*/ 2147483646 h 20"/>
                <a:gd name="T70" fmla="*/ 2147483646 w 32"/>
                <a:gd name="T71" fmla="*/ 2147483646 h 20"/>
                <a:gd name="T72" fmla="*/ 2147483646 w 32"/>
                <a:gd name="T73" fmla="*/ 2147483646 h 20"/>
                <a:gd name="T74" fmla="*/ 2147483646 w 32"/>
                <a:gd name="T75" fmla="*/ 2147483646 h 20"/>
                <a:gd name="T76" fmla="*/ 2147483646 w 32"/>
                <a:gd name="T77" fmla="*/ 2147483646 h 20"/>
                <a:gd name="T78" fmla="*/ 2147483646 w 32"/>
                <a:gd name="T79" fmla="*/ 2147483646 h 20"/>
                <a:gd name="T80" fmla="*/ 2147483646 w 32"/>
                <a:gd name="T81" fmla="*/ 2147483646 h 2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32" h="20">
                  <a:moveTo>
                    <a:pt x="5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2" y="18"/>
                    <a:pt x="0" y="15"/>
                    <a:pt x="0" y="13"/>
                  </a:cubicBezTo>
                  <a:cubicBezTo>
                    <a:pt x="1" y="11"/>
                    <a:pt x="3" y="8"/>
                    <a:pt x="6" y="8"/>
                  </a:cubicBezTo>
                  <a:cubicBezTo>
                    <a:pt x="6" y="8"/>
                    <a:pt x="6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10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5"/>
                    <a:pt x="15" y="5"/>
                    <a:pt x="16" y="3"/>
                  </a:cubicBezTo>
                  <a:cubicBezTo>
                    <a:pt x="17" y="3"/>
                    <a:pt x="17" y="3"/>
                    <a:pt x="17" y="2"/>
                  </a:cubicBezTo>
                  <a:cubicBezTo>
                    <a:pt x="18" y="1"/>
                    <a:pt x="18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2" y="2"/>
                    <a:pt x="22" y="2"/>
                    <a:pt x="22" y="3"/>
                  </a:cubicBezTo>
                  <a:cubicBezTo>
                    <a:pt x="23" y="3"/>
                    <a:pt x="23" y="4"/>
                    <a:pt x="22" y="5"/>
                  </a:cubicBezTo>
                  <a:cubicBezTo>
                    <a:pt x="22" y="5"/>
                    <a:pt x="22" y="5"/>
                    <a:pt x="22" y="6"/>
                  </a:cubicBezTo>
                  <a:cubicBezTo>
                    <a:pt x="23" y="6"/>
                    <a:pt x="24" y="6"/>
                    <a:pt x="25" y="7"/>
                  </a:cubicBezTo>
                  <a:cubicBezTo>
                    <a:pt x="25" y="7"/>
                    <a:pt x="26" y="7"/>
                    <a:pt x="26" y="7"/>
                  </a:cubicBezTo>
                  <a:cubicBezTo>
                    <a:pt x="26" y="8"/>
                    <a:pt x="27" y="8"/>
                    <a:pt x="27" y="8"/>
                  </a:cubicBezTo>
                  <a:cubicBezTo>
                    <a:pt x="27" y="9"/>
                    <a:pt x="28" y="9"/>
                    <a:pt x="28" y="10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1" y="13"/>
                    <a:pt x="32" y="13"/>
                    <a:pt x="32" y="14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29" y="15"/>
                  </a:cubicBezTo>
                  <a:cubicBezTo>
                    <a:pt x="28" y="15"/>
                    <a:pt x="27" y="15"/>
                    <a:pt x="26" y="15"/>
                  </a:cubicBezTo>
                  <a:cubicBezTo>
                    <a:pt x="26" y="15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4" y="16"/>
                    <a:pt x="24" y="15"/>
                  </a:cubicBezTo>
                  <a:cubicBezTo>
                    <a:pt x="24" y="16"/>
                    <a:pt x="23" y="16"/>
                    <a:pt x="22" y="16"/>
                  </a:cubicBezTo>
                  <a:cubicBezTo>
                    <a:pt x="22" y="16"/>
                    <a:pt x="21" y="16"/>
                    <a:pt x="21" y="16"/>
                  </a:cubicBezTo>
                  <a:cubicBezTo>
                    <a:pt x="20" y="17"/>
                    <a:pt x="19" y="17"/>
                    <a:pt x="18" y="17"/>
                  </a:cubicBezTo>
                  <a:cubicBezTo>
                    <a:pt x="17" y="17"/>
                    <a:pt x="15" y="16"/>
                    <a:pt x="14" y="15"/>
                  </a:cubicBezTo>
                  <a:cubicBezTo>
                    <a:pt x="14" y="15"/>
                    <a:pt x="13" y="15"/>
                    <a:pt x="13" y="15"/>
                  </a:cubicBezTo>
                  <a:cubicBezTo>
                    <a:pt x="13" y="15"/>
                    <a:pt x="12" y="16"/>
                    <a:pt x="12" y="17"/>
                  </a:cubicBezTo>
                  <a:cubicBezTo>
                    <a:pt x="11" y="18"/>
                    <a:pt x="11" y="19"/>
                    <a:pt x="10" y="19"/>
                  </a:cubicBezTo>
                  <a:cubicBezTo>
                    <a:pt x="10" y="19"/>
                    <a:pt x="9" y="19"/>
                    <a:pt x="8" y="19"/>
                  </a:cubicBezTo>
                  <a:cubicBezTo>
                    <a:pt x="8" y="19"/>
                    <a:pt x="7" y="19"/>
                    <a:pt x="7" y="19"/>
                  </a:cubicBezTo>
                  <a:cubicBezTo>
                    <a:pt x="7" y="19"/>
                    <a:pt x="6" y="19"/>
                    <a:pt x="6" y="19"/>
                  </a:cubicBezTo>
                  <a:cubicBezTo>
                    <a:pt x="6" y="20"/>
                    <a:pt x="5" y="20"/>
                    <a:pt x="5" y="20"/>
                  </a:cubicBezTo>
                  <a:close/>
                  <a:moveTo>
                    <a:pt x="6" y="9"/>
                  </a:moveTo>
                  <a:cubicBezTo>
                    <a:pt x="4" y="9"/>
                    <a:pt x="2" y="12"/>
                    <a:pt x="2" y="13"/>
                  </a:cubicBezTo>
                  <a:cubicBezTo>
                    <a:pt x="1" y="15"/>
                    <a:pt x="3" y="18"/>
                    <a:pt x="4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8"/>
                    <a:pt x="6" y="18"/>
                    <a:pt x="7" y="18"/>
                  </a:cubicBezTo>
                  <a:cubicBezTo>
                    <a:pt x="7" y="17"/>
                    <a:pt x="8" y="18"/>
                    <a:pt x="9" y="18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0" y="17"/>
                    <a:pt x="11" y="16"/>
                  </a:cubicBezTo>
                  <a:cubicBezTo>
                    <a:pt x="11" y="15"/>
                    <a:pt x="12" y="14"/>
                    <a:pt x="13" y="14"/>
                  </a:cubicBezTo>
                  <a:cubicBezTo>
                    <a:pt x="14" y="14"/>
                    <a:pt x="14" y="14"/>
                    <a:pt x="15" y="14"/>
                  </a:cubicBezTo>
                  <a:cubicBezTo>
                    <a:pt x="15" y="15"/>
                    <a:pt x="17" y="16"/>
                    <a:pt x="18" y="16"/>
                  </a:cubicBezTo>
                  <a:cubicBezTo>
                    <a:pt x="19" y="16"/>
                    <a:pt x="19" y="16"/>
                    <a:pt x="20" y="15"/>
                  </a:cubicBezTo>
                  <a:cubicBezTo>
                    <a:pt x="20" y="15"/>
                    <a:pt x="20" y="15"/>
                    <a:pt x="22" y="15"/>
                  </a:cubicBezTo>
                  <a:cubicBezTo>
                    <a:pt x="23" y="14"/>
                    <a:pt x="24" y="14"/>
                    <a:pt x="24" y="14"/>
                  </a:cubicBezTo>
                  <a:cubicBezTo>
                    <a:pt x="24" y="14"/>
                    <a:pt x="25" y="14"/>
                    <a:pt x="25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8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3"/>
                  </a:cubicBezTo>
                  <a:cubicBezTo>
                    <a:pt x="29" y="13"/>
                    <a:pt x="29" y="12"/>
                    <a:pt x="28" y="12"/>
                  </a:cubicBezTo>
                  <a:cubicBezTo>
                    <a:pt x="28" y="11"/>
                    <a:pt x="28" y="11"/>
                    <a:pt x="27" y="11"/>
                  </a:cubicBezTo>
                  <a:cubicBezTo>
                    <a:pt x="27" y="10"/>
                    <a:pt x="26" y="9"/>
                    <a:pt x="26" y="9"/>
                  </a:cubicBezTo>
                  <a:cubicBezTo>
                    <a:pt x="26" y="9"/>
                    <a:pt x="26" y="8"/>
                    <a:pt x="25" y="8"/>
                  </a:cubicBezTo>
                  <a:cubicBezTo>
                    <a:pt x="25" y="8"/>
                    <a:pt x="25" y="8"/>
                    <a:pt x="24" y="8"/>
                  </a:cubicBezTo>
                  <a:cubicBezTo>
                    <a:pt x="23" y="7"/>
                    <a:pt x="22" y="7"/>
                    <a:pt x="21" y="6"/>
                  </a:cubicBezTo>
                  <a:cubicBezTo>
                    <a:pt x="21" y="6"/>
                    <a:pt x="21" y="5"/>
                    <a:pt x="21" y="4"/>
                  </a:cubicBezTo>
                  <a:cubicBezTo>
                    <a:pt x="21" y="4"/>
                    <a:pt x="21" y="4"/>
                    <a:pt x="21" y="3"/>
                  </a:cubicBezTo>
                  <a:cubicBezTo>
                    <a:pt x="21" y="3"/>
                    <a:pt x="21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1"/>
                    <a:pt x="19" y="2"/>
                    <a:pt x="18" y="3"/>
                  </a:cubicBezTo>
                  <a:cubicBezTo>
                    <a:pt x="18" y="3"/>
                    <a:pt x="18" y="4"/>
                    <a:pt x="17" y="4"/>
                  </a:cubicBezTo>
                  <a:cubicBezTo>
                    <a:pt x="15" y="6"/>
                    <a:pt x="14" y="6"/>
                    <a:pt x="12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9"/>
                    <a:pt x="8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9" name="Freeform 243"/>
            <p:cNvSpPr/>
            <p:nvPr/>
          </p:nvSpPr>
          <p:spPr bwMode="auto">
            <a:xfrm>
              <a:off x="1959318" y="2777085"/>
              <a:ext cx="195144" cy="280195"/>
            </a:xfrm>
            <a:custGeom>
              <a:avLst/>
              <a:gdLst>
                <a:gd name="T0" fmla="*/ 2147483646 w 26"/>
                <a:gd name="T1" fmla="*/ 2147483646 h 38"/>
                <a:gd name="T2" fmla="*/ 2147483646 w 26"/>
                <a:gd name="T3" fmla="*/ 2147483646 h 38"/>
                <a:gd name="T4" fmla="*/ 2147483646 w 26"/>
                <a:gd name="T5" fmla="*/ 2147483646 h 38"/>
                <a:gd name="T6" fmla="*/ 2147483646 w 26"/>
                <a:gd name="T7" fmla="*/ 2147483646 h 38"/>
                <a:gd name="T8" fmla="*/ 2147483646 w 26"/>
                <a:gd name="T9" fmla="*/ 2147483646 h 38"/>
                <a:gd name="T10" fmla="*/ 2147483646 w 26"/>
                <a:gd name="T11" fmla="*/ 2147483646 h 38"/>
                <a:gd name="T12" fmla="*/ 2147483646 w 26"/>
                <a:gd name="T13" fmla="*/ 2147483646 h 38"/>
                <a:gd name="T14" fmla="*/ 2147483646 w 26"/>
                <a:gd name="T15" fmla="*/ 2147483646 h 38"/>
                <a:gd name="T16" fmla="*/ 2147483646 w 26"/>
                <a:gd name="T17" fmla="*/ 2147483646 h 38"/>
                <a:gd name="T18" fmla="*/ 2147483646 w 26"/>
                <a:gd name="T19" fmla="*/ 2147483646 h 38"/>
                <a:gd name="T20" fmla="*/ 2147483646 w 26"/>
                <a:gd name="T21" fmla="*/ 2147483646 h 38"/>
                <a:gd name="T22" fmla="*/ 2147483646 w 26"/>
                <a:gd name="T23" fmla="*/ 2147483646 h 38"/>
                <a:gd name="T24" fmla="*/ 2147483646 w 26"/>
                <a:gd name="T25" fmla="*/ 2147483646 h 38"/>
                <a:gd name="T26" fmla="*/ 2147483646 w 26"/>
                <a:gd name="T27" fmla="*/ 2147483646 h 38"/>
                <a:gd name="T28" fmla="*/ 2147483646 w 26"/>
                <a:gd name="T29" fmla="*/ 2147483646 h 38"/>
                <a:gd name="T30" fmla="*/ 2147483646 w 26"/>
                <a:gd name="T31" fmla="*/ 2147483646 h 38"/>
                <a:gd name="T32" fmla="*/ 2147483646 w 26"/>
                <a:gd name="T33" fmla="*/ 2147483646 h 38"/>
                <a:gd name="T34" fmla="*/ 2147483646 w 26"/>
                <a:gd name="T35" fmla="*/ 2147483646 h 38"/>
                <a:gd name="T36" fmla="*/ 2147483646 w 26"/>
                <a:gd name="T37" fmla="*/ 2147483646 h 38"/>
                <a:gd name="T38" fmla="*/ 2147483646 w 26"/>
                <a:gd name="T39" fmla="*/ 2147483646 h 38"/>
                <a:gd name="T40" fmla="*/ 0 w 26"/>
                <a:gd name="T41" fmla="*/ 2147483646 h 38"/>
                <a:gd name="T42" fmla="*/ 2147483646 w 26"/>
                <a:gd name="T43" fmla="*/ 2147483646 h 38"/>
                <a:gd name="T44" fmla="*/ 2147483646 w 26"/>
                <a:gd name="T45" fmla="*/ 2147483646 h 38"/>
                <a:gd name="T46" fmla="*/ 2147483646 w 26"/>
                <a:gd name="T47" fmla="*/ 2147483646 h 38"/>
                <a:gd name="T48" fmla="*/ 2147483646 w 26"/>
                <a:gd name="T49" fmla="*/ 2147483646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6" h="38">
                  <a:moveTo>
                    <a:pt x="4" y="1"/>
                  </a:moveTo>
                  <a:cubicBezTo>
                    <a:pt x="8" y="0"/>
                    <a:pt x="10" y="2"/>
                    <a:pt x="13" y="4"/>
                  </a:cubicBezTo>
                  <a:cubicBezTo>
                    <a:pt x="17" y="6"/>
                    <a:pt x="21" y="8"/>
                    <a:pt x="25" y="10"/>
                  </a:cubicBezTo>
                  <a:cubicBezTo>
                    <a:pt x="25" y="10"/>
                    <a:pt x="25" y="14"/>
                    <a:pt x="25" y="15"/>
                  </a:cubicBezTo>
                  <a:cubicBezTo>
                    <a:pt x="25" y="17"/>
                    <a:pt x="26" y="18"/>
                    <a:pt x="24" y="19"/>
                  </a:cubicBezTo>
                  <a:cubicBezTo>
                    <a:pt x="22" y="19"/>
                    <a:pt x="20" y="24"/>
                    <a:pt x="20" y="26"/>
                  </a:cubicBezTo>
                  <a:cubicBezTo>
                    <a:pt x="22" y="26"/>
                    <a:pt x="21" y="27"/>
                    <a:pt x="22" y="28"/>
                  </a:cubicBezTo>
                  <a:cubicBezTo>
                    <a:pt x="23" y="31"/>
                    <a:pt x="22" y="29"/>
                    <a:pt x="20" y="30"/>
                  </a:cubicBezTo>
                  <a:cubicBezTo>
                    <a:pt x="20" y="31"/>
                    <a:pt x="20" y="31"/>
                    <a:pt x="20" y="32"/>
                  </a:cubicBezTo>
                  <a:cubicBezTo>
                    <a:pt x="19" y="33"/>
                    <a:pt x="18" y="33"/>
                    <a:pt x="17" y="34"/>
                  </a:cubicBezTo>
                  <a:cubicBezTo>
                    <a:pt x="16" y="35"/>
                    <a:pt x="15" y="35"/>
                    <a:pt x="14" y="35"/>
                  </a:cubicBezTo>
                  <a:cubicBezTo>
                    <a:pt x="14" y="37"/>
                    <a:pt x="12" y="37"/>
                    <a:pt x="10" y="37"/>
                  </a:cubicBezTo>
                  <a:cubicBezTo>
                    <a:pt x="10" y="37"/>
                    <a:pt x="9" y="38"/>
                    <a:pt x="9" y="38"/>
                  </a:cubicBezTo>
                  <a:cubicBezTo>
                    <a:pt x="8" y="38"/>
                    <a:pt x="8" y="37"/>
                    <a:pt x="8" y="37"/>
                  </a:cubicBezTo>
                  <a:cubicBezTo>
                    <a:pt x="7" y="37"/>
                    <a:pt x="7" y="38"/>
                    <a:pt x="5" y="38"/>
                  </a:cubicBezTo>
                  <a:cubicBezTo>
                    <a:pt x="5" y="38"/>
                    <a:pt x="4" y="36"/>
                    <a:pt x="4" y="36"/>
                  </a:cubicBezTo>
                  <a:cubicBezTo>
                    <a:pt x="4" y="35"/>
                    <a:pt x="3" y="35"/>
                    <a:pt x="3" y="34"/>
                  </a:cubicBezTo>
                  <a:cubicBezTo>
                    <a:pt x="2" y="32"/>
                    <a:pt x="3" y="32"/>
                    <a:pt x="5" y="32"/>
                  </a:cubicBezTo>
                  <a:cubicBezTo>
                    <a:pt x="4" y="30"/>
                    <a:pt x="4" y="28"/>
                    <a:pt x="3" y="26"/>
                  </a:cubicBezTo>
                  <a:cubicBezTo>
                    <a:pt x="6" y="25"/>
                    <a:pt x="4" y="24"/>
                    <a:pt x="2" y="24"/>
                  </a:cubicBezTo>
                  <a:cubicBezTo>
                    <a:pt x="3" y="24"/>
                    <a:pt x="0" y="22"/>
                    <a:pt x="0" y="22"/>
                  </a:cubicBezTo>
                  <a:cubicBezTo>
                    <a:pt x="0" y="19"/>
                    <a:pt x="5" y="18"/>
                    <a:pt x="5" y="16"/>
                  </a:cubicBezTo>
                  <a:cubicBezTo>
                    <a:pt x="5" y="13"/>
                    <a:pt x="5" y="10"/>
                    <a:pt x="6" y="8"/>
                  </a:cubicBezTo>
                  <a:cubicBezTo>
                    <a:pt x="7" y="7"/>
                    <a:pt x="5" y="6"/>
                    <a:pt x="5" y="5"/>
                  </a:cubicBezTo>
                  <a:cubicBezTo>
                    <a:pt x="4" y="4"/>
                    <a:pt x="4" y="2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0" name="Freeform 244"/>
            <p:cNvSpPr>
              <a:spLocks noEditPoints="1"/>
            </p:cNvSpPr>
            <p:nvPr/>
          </p:nvSpPr>
          <p:spPr bwMode="auto">
            <a:xfrm>
              <a:off x="1959318" y="2777085"/>
              <a:ext cx="195144" cy="289639"/>
            </a:xfrm>
            <a:custGeom>
              <a:avLst/>
              <a:gdLst>
                <a:gd name="T0" fmla="*/ 2147483646 w 26"/>
                <a:gd name="T1" fmla="*/ 2147483646 h 39"/>
                <a:gd name="T2" fmla="*/ 2147483646 w 26"/>
                <a:gd name="T3" fmla="*/ 2147483646 h 39"/>
                <a:gd name="T4" fmla="*/ 2147483646 w 26"/>
                <a:gd name="T5" fmla="*/ 2147483646 h 39"/>
                <a:gd name="T6" fmla="*/ 2147483646 w 26"/>
                <a:gd name="T7" fmla="*/ 2147483646 h 39"/>
                <a:gd name="T8" fmla="*/ 2147483646 w 26"/>
                <a:gd name="T9" fmla="*/ 2147483646 h 39"/>
                <a:gd name="T10" fmla="*/ 2147483646 w 26"/>
                <a:gd name="T11" fmla="*/ 2147483646 h 39"/>
                <a:gd name="T12" fmla="*/ 2147483646 w 26"/>
                <a:gd name="T13" fmla="*/ 2147483646 h 39"/>
                <a:gd name="T14" fmla="*/ 0 w 26"/>
                <a:gd name="T15" fmla="*/ 2147483646 h 39"/>
                <a:gd name="T16" fmla="*/ 0 w 26"/>
                <a:gd name="T17" fmla="*/ 2147483646 h 39"/>
                <a:gd name="T18" fmla="*/ 0 w 26"/>
                <a:gd name="T19" fmla="*/ 2147483646 h 39"/>
                <a:gd name="T20" fmla="*/ 2147483646 w 26"/>
                <a:gd name="T21" fmla="*/ 2147483646 h 39"/>
                <a:gd name="T22" fmla="*/ 2147483646 w 26"/>
                <a:gd name="T23" fmla="*/ 2147483646 h 39"/>
                <a:gd name="T24" fmla="*/ 2147483646 w 26"/>
                <a:gd name="T25" fmla="*/ 2147483646 h 39"/>
                <a:gd name="T26" fmla="*/ 2147483646 w 26"/>
                <a:gd name="T27" fmla="*/ 2147483646 h 39"/>
                <a:gd name="T28" fmla="*/ 2147483646 w 26"/>
                <a:gd name="T29" fmla="*/ 0 h 39"/>
                <a:gd name="T30" fmla="*/ 2147483646 w 26"/>
                <a:gd name="T31" fmla="*/ 0 h 39"/>
                <a:gd name="T32" fmla="*/ 2147483646 w 26"/>
                <a:gd name="T33" fmla="*/ 2147483646 h 39"/>
                <a:gd name="T34" fmla="*/ 2147483646 w 26"/>
                <a:gd name="T35" fmla="*/ 2147483646 h 39"/>
                <a:gd name="T36" fmla="*/ 2147483646 w 26"/>
                <a:gd name="T37" fmla="*/ 2147483646 h 39"/>
                <a:gd name="T38" fmla="*/ 2147483646 w 26"/>
                <a:gd name="T39" fmla="*/ 2147483646 h 39"/>
                <a:gd name="T40" fmla="*/ 2147483646 w 26"/>
                <a:gd name="T41" fmla="*/ 2147483646 h 39"/>
                <a:gd name="T42" fmla="*/ 2147483646 w 26"/>
                <a:gd name="T43" fmla="*/ 2147483646 h 39"/>
                <a:gd name="T44" fmla="*/ 2147483646 w 26"/>
                <a:gd name="T45" fmla="*/ 2147483646 h 39"/>
                <a:gd name="T46" fmla="*/ 2147483646 w 26"/>
                <a:gd name="T47" fmla="*/ 2147483646 h 39"/>
                <a:gd name="T48" fmla="*/ 2147483646 w 26"/>
                <a:gd name="T49" fmla="*/ 2147483646 h 39"/>
                <a:gd name="T50" fmla="*/ 2147483646 w 26"/>
                <a:gd name="T51" fmla="*/ 2147483646 h 39"/>
                <a:gd name="T52" fmla="*/ 2147483646 w 26"/>
                <a:gd name="T53" fmla="*/ 2147483646 h 39"/>
                <a:gd name="T54" fmla="*/ 2147483646 w 26"/>
                <a:gd name="T55" fmla="*/ 2147483646 h 39"/>
                <a:gd name="T56" fmla="*/ 2147483646 w 26"/>
                <a:gd name="T57" fmla="*/ 2147483646 h 39"/>
                <a:gd name="T58" fmla="*/ 2147483646 w 26"/>
                <a:gd name="T59" fmla="*/ 2147483646 h 39"/>
                <a:gd name="T60" fmla="*/ 2147483646 w 26"/>
                <a:gd name="T61" fmla="*/ 2147483646 h 39"/>
                <a:gd name="T62" fmla="*/ 2147483646 w 26"/>
                <a:gd name="T63" fmla="*/ 2147483646 h 39"/>
                <a:gd name="T64" fmla="*/ 2147483646 w 26"/>
                <a:gd name="T65" fmla="*/ 2147483646 h 39"/>
                <a:gd name="T66" fmla="*/ 2147483646 w 26"/>
                <a:gd name="T67" fmla="*/ 2147483646 h 39"/>
                <a:gd name="T68" fmla="*/ 2147483646 w 26"/>
                <a:gd name="T69" fmla="*/ 2147483646 h 39"/>
                <a:gd name="T70" fmla="*/ 2147483646 w 26"/>
                <a:gd name="T71" fmla="*/ 2147483646 h 39"/>
                <a:gd name="T72" fmla="*/ 2147483646 w 26"/>
                <a:gd name="T73" fmla="*/ 2147483646 h 39"/>
                <a:gd name="T74" fmla="*/ 2147483646 w 26"/>
                <a:gd name="T75" fmla="*/ 2147483646 h 39"/>
                <a:gd name="T76" fmla="*/ 2147483646 w 26"/>
                <a:gd name="T77" fmla="*/ 2147483646 h 39"/>
                <a:gd name="T78" fmla="*/ 2147483646 w 26"/>
                <a:gd name="T79" fmla="*/ 2147483646 h 39"/>
                <a:gd name="T80" fmla="*/ 2147483646 w 26"/>
                <a:gd name="T81" fmla="*/ 2147483646 h 39"/>
                <a:gd name="T82" fmla="*/ 2147483646 w 26"/>
                <a:gd name="T83" fmla="*/ 2147483646 h 39"/>
                <a:gd name="T84" fmla="*/ 2147483646 w 26"/>
                <a:gd name="T85" fmla="*/ 2147483646 h 39"/>
                <a:gd name="T86" fmla="*/ 2147483646 w 26"/>
                <a:gd name="T87" fmla="*/ 2147483646 h 39"/>
                <a:gd name="T88" fmla="*/ 2147483646 w 26"/>
                <a:gd name="T89" fmla="*/ 2147483646 h 39"/>
                <a:gd name="T90" fmla="*/ 2147483646 w 26"/>
                <a:gd name="T91" fmla="*/ 2147483646 h 39"/>
                <a:gd name="T92" fmla="*/ 2147483646 w 26"/>
                <a:gd name="T93" fmla="*/ 2147483646 h 39"/>
                <a:gd name="T94" fmla="*/ 2147483646 w 26"/>
                <a:gd name="T95" fmla="*/ 2147483646 h 39"/>
                <a:gd name="T96" fmla="*/ 2147483646 w 26"/>
                <a:gd name="T97" fmla="*/ 2147483646 h 39"/>
                <a:gd name="T98" fmla="*/ 2147483646 w 26"/>
                <a:gd name="T99" fmla="*/ 2147483646 h 39"/>
                <a:gd name="T100" fmla="*/ 2147483646 w 26"/>
                <a:gd name="T101" fmla="*/ 2147483646 h 39"/>
                <a:gd name="T102" fmla="*/ 2147483646 w 26"/>
                <a:gd name="T103" fmla="*/ 2147483646 h 39"/>
                <a:gd name="T104" fmla="*/ 2147483646 w 26"/>
                <a:gd name="T105" fmla="*/ 2147483646 h 39"/>
                <a:gd name="T106" fmla="*/ 2147483646 w 26"/>
                <a:gd name="T107" fmla="*/ 2147483646 h 39"/>
                <a:gd name="T108" fmla="*/ 2147483646 w 26"/>
                <a:gd name="T109" fmla="*/ 2147483646 h 39"/>
                <a:gd name="T110" fmla="*/ 2147483646 w 26"/>
                <a:gd name="T111" fmla="*/ 2147483646 h 3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6" h="39">
                  <a:moveTo>
                    <a:pt x="5" y="39"/>
                  </a:moveTo>
                  <a:cubicBezTo>
                    <a:pt x="4" y="39"/>
                    <a:pt x="4" y="37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3" y="36"/>
                    <a:pt x="3" y="36"/>
                  </a:cubicBezTo>
                  <a:cubicBezTo>
                    <a:pt x="3" y="35"/>
                    <a:pt x="2" y="35"/>
                    <a:pt x="2" y="35"/>
                  </a:cubicBezTo>
                  <a:cubicBezTo>
                    <a:pt x="2" y="34"/>
                    <a:pt x="1" y="33"/>
                    <a:pt x="2" y="32"/>
                  </a:cubicBezTo>
                  <a:cubicBezTo>
                    <a:pt x="2" y="32"/>
                    <a:pt x="3" y="32"/>
                    <a:pt x="4" y="32"/>
                  </a:cubicBezTo>
                  <a:cubicBezTo>
                    <a:pt x="4" y="31"/>
                    <a:pt x="3" y="30"/>
                    <a:pt x="3" y="29"/>
                  </a:cubicBezTo>
                  <a:cubicBezTo>
                    <a:pt x="3" y="28"/>
                    <a:pt x="3" y="27"/>
                    <a:pt x="3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5"/>
                    <a:pt x="4" y="25"/>
                  </a:cubicBezTo>
                  <a:cubicBezTo>
                    <a:pt x="3" y="25"/>
                    <a:pt x="3" y="25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0" y="23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0"/>
                    <a:pt x="1" y="19"/>
                    <a:pt x="2" y="18"/>
                  </a:cubicBezTo>
                  <a:cubicBezTo>
                    <a:pt x="3" y="17"/>
                    <a:pt x="4" y="16"/>
                    <a:pt x="4" y="15"/>
                  </a:cubicBezTo>
                  <a:cubicBezTo>
                    <a:pt x="5" y="15"/>
                    <a:pt x="5" y="14"/>
                    <a:pt x="5" y="14"/>
                  </a:cubicBezTo>
                  <a:cubicBezTo>
                    <a:pt x="5" y="12"/>
                    <a:pt x="5" y="9"/>
                    <a:pt x="6" y="8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6"/>
                    <a:pt x="4" y="6"/>
                    <a:pt x="4" y="5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8" y="0"/>
                    <a:pt x="10" y="1"/>
                    <a:pt x="12" y="2"/>
                  </a:cubicBezTo>
                  <a:cubicBezTo>
                    <a:pt x="12" y="2"/>
                    <a:pt x="13" y="3"/>
                    <a:pt x="14" y="3"/>
                  </a:cubicBezTo>
                  <a:cubicBezTo>
                    <a:pt x="16" y="4"/>
                    <a:pt x="18" y="5"/>
                    <a:pt x="20" y="6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9"/>
                    <a:pt x="26" y="10"/>
                    <a:pt x="26" y="14"/>
                  </a:cubicBezTo>
                  <a:cubicBezTo>
                    <a:pt x="26" y="14"/>
                    <a:pt x="26" y="14"/>
                    <a:pt x="26" y="15"/>
                  </a:cubicBezTo>
                  <a:cubicBezTo>
                    <a:pt x="26" y="15"/>
                    <a:pt x="26" y="16"/>
                    <a:pt x="26" y="16"/>
                  </a:cubicBezTo>
                  <a:cubicBezTo>
                    <a:pt x="26" y="17"/>
                    <a:pt x="26" y="19"/>
                    <a:pt x="24" y="19"/>
                  </a:cubicBezTo>
                  <a:cubicBezTo>
                    <a:pt x="22" y="20"/>
                    <a:pt x="21" y="23"/>
                    <a:pt x="21" y="25"/>
                  </a:cubicBezTo>
                  <a:cubicBezTo>
                    <a:pt x="22" y="25"/>
                    <a:pt x="22" y="26"/>
                    <a:pt x="22" y="27"/>
                  </a:cubicBezTo>
                  <a:cubicBezTo>
                    <a:pt x="22" y="27"/>
                    <a:pt x="22" y="27"/>
                    <a:pt x="22" y="28"/>
                  </a:cubicBezTo>
                  <a:cubicBezTo>
                    <a:pt x="23" y="29"/>
                    <a:pt x="23" y="29"/>
                    <a:pt x="23" y="30"/>
                  </a:cubicBezTo>
                  <a:cubicBezTo>
                    <a:pt x="23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0" y="32"/>
                    <a:pt x="20" y="32"/>
                  </a:cubicBezTo>
                  <a:cubicBezTo>
                    <a:pt x="19" y="33"/>
                    <a:pt x="19" y="33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7" y="35"/>
                    <a:pt x="16" y="35"/>
                    <a:pt x="15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3" y="37"/>
                    <a:pt x="13" y="37"/>
                    <a:pt x="12" y="37"/>
                  </a:cubicBezTo>
                  <a:cubicBezTo>
                    <a:pt x="11" y="37"/>
                    <a:pt x="11" y="38"/>
                    <a:pt x="11" y="38"/>
                  </a:cubicBezTo>
                  <a:cubicBezTo>
                    <a:pt x="10" y="38"/>
                    <a:pt x="10" y="38"/>
                    <a:pt x="9" y="38"/>
                  </a:cubicBezTo>
                  <a:cubicBezTo>
                    <a:pt x="8" y="39"/>
                    <a:pt x="8" y="38"/>
                    <a:pt x="8" y="38"/>
                  </a:cubicBezTo>
                  <a:cubicBezTo>
                    <a:pt x="8" y="38"/>
                    <a:pt x="7" y="38"/>
                    <a:pt x="7" y="38"/>
                  </a:cubicBezTo>
                  <a:cubicBezTo>
                    <a:pt x="7" y="39"/>
                    <a:pt x="6" y="39"/>
                    <a:pt x="5" y="39"/>
                  </a:cubicBezTo>
                  <a:close/>
                  <a:moveTo>
                    <a:pt x="4" y="26"/>
                  </a:moveTo>
                  <a:cubicBezTo>
                    <a:pt x="4" y="27"/>
                    <a:pt x="4" y="28"/>
                    <a:pt x="4" y="28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3" y="33"/>
                    <a:pt x="3" y="33"/>
                  </a:cubicBezTo>
                  <a:cubicBezTo>
                    <a:pt x="3" y="33"/>
                    <a:pt x="3" y="33"/>
                    <a:pt x="3" y="34"/>
                  </a:cubicBezTo>
                  <a:cubicBezTo>
                    <a:pt x="3" y="34"/>
                    <a:pt x="3" y="34"/>
                    <a:pt x="4" y="34"/>
                  </a:cubicBezTo>
                  <a:cubicBezTo>
                    <a:pt x="4" y="35"/>
                    <a:pt x="5" y="35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7"/>
                    <a:pt x="5" y="37"/>
                    <a:pt x="5" y="38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7" y="37"/>
                    <a:pt x="7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9" y="37"/>
                    <a:pt x="9" y="37"/>
                  </a:cubicBezTo>
                  <a:cubicBezTo>
                    <a:pt x="9" y="37"/>
                    <a:pt x="10" y="37"/>
                    <a:pt x="10" y="37"/>
                  </a:cubicBezTo>
                  <a:cubicBezTo>
                    <a:pt x="10" y="36"/>
                    <a:pt x="11" y="36"/>
                    <a:pt x="11" y="36"/>
                  </a:cubicBezTo>
                  <a:cubicBezTo>
                    <a:pt x="12" y="36"/>
                    <a:pt x="13" y="36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5" y="34"/>
                  </a:cubicBezTo>
                  <a:cubicBezTo>
                    <a:pt x="16" y="34"/>
                    <a:pt x="16" y="34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2"/>
                    <a:pt x="19" y="32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20" y="30"/>
                    <a:pt x="20" y="30"/>
                  </a:cubicBezTo>
                  <a:cubicBezTo>
                    <a:pt x="21" y="29"/>
                    <a:pt x="21" y="29"/>
                    <a:pt x="22" y="29"/>
                  </a:cubicBezTo>
                  <a:cubicBezTo>
                    <a:pt x="22" y="29"/>
                    <a:pt x="21" y="29"/>
                    <a:pt x="21" y="28"/>
                  </a:cubicBezTo>
                  <a:cubicBezTo>
                    <a:pt x="21" y="28"/>
                    <a:pt x="21" y="28"/>
                    <a:pt x="21" y="27"/>
                  </a:cubicBezTo>
                  <a:cubicBezTo>
                    <a:pt x="21" y="27"/>
                    <a:pt x="21" y="27"/>
                    <a:pt x="21" y="26"/>
                  </a:cubicBezTo>
                  <a:cubicBezTo>
                    <a:pt x="21" y="26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4"/>
                    <a:pt x="21" y="19"/>
                    <a:pt x="23" y="18"/>
                  </a:cubicBezTo>
                  <a:cubicBezTo>
                    <a:pt x="25" y="18"/>
                    <a:pt x="25" y="18"/>
                    <a:pt x="25" y="16"/>
                  </a:cubicBezTo>
                  <a:cubicBezTo>
                    <a:pt x="25" y="16"/>
                    <a:pt x="25" y="15"/>
                    <a:pt x="25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3"/>
                    <a:pt x="25" y="11"/>
                    <a:pt x="25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7" y="6"/>
                    <a:pt x="15" y="5"/>
                    <a:pt x="13" y="4"/>
                  </a:cubicBezTo>
                  <a:cubicBezTo>
                    <a:pt x="13" y="4"/>
                    <a:pt x="12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5" y="5"/>
                    <a:pt x="6" y="6"/>
                    <a:pt x="6" y="6"/>
                  </a:cubicBezTo>
                  <a:cubicBezTo>
                    <a:pt x="7" y="7"/>
                    <a:pt x="7" y="7"/>
                    <a:pt x="7" y="8"/>
                  </a:cubicBezTo>
                  <a:cubicBezTo>
                    <a:pt x="6" y="9"/>
                    <a:pt x="6" y="12"/>
                    <a:pt x="6" y="14"/>
                  </a:cubicBezTo>
                  <a:cubicBezTo>
                    <a:pt x="6" y="14"/>
                    <a:pt x="6" y="15"/>
                    <a:pt x="6" y="16"/>
                  </a:cubicBezTo>
                  <a:cubicBezTo>
                    <a:pt x="6" y="17"/>
                    <a:pt x="4" y="18"/>
                    <a:pt x="3" y="19"/>
                  </a:cubicBezTo>
                  <a:cubicBezTo>
                    <a:pt x="2" y="20"/>
                    <a:pt x="1" y="21"/>
                    <a:pt x="1" y="22"/>
                  </a:cubicBezTo>
                  <a:cubicBezTo>
                    <a:pt x="2" y="22"/>
                    <a:pt x="2" y="23"/>
                    <a:pt x="3" y="23"/>
                  </a:cubicBezTo>
                  <a:cubicBezTo>
                    <a:pt x="4" y="24"/>
                    <a:pt x="5" y="24"/>
                    <a:pt x="5" y="25"/>
                  </a:cubicBezTo>
                  <a:cubicBezTo>
                    <a:pt x="5" y="25"/>
                    <a:pt x="5" y="26"/>
                    <a:pt x="4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1" name="Freeform 245"/>
            <p:cNvSpPr/>
            <p:nvPr/>
          </p:nvSpPr>
          <p:spPr bwMode="auto">
            <a:xfrm>
              <a:off x="1924696" y="3117097"/>
              <a:ext cx="132195" cy="163709"/>
            </a:xfrm>
            <a:custGeom>
              <a:avLst/>
              <a:gdLst>
                <a:gd name="T0" fmla="*/ 2147483646 w 18"/>
                <a:gd name="T1" fmla="*/ 2147483646 h 22"/>
                <a:gd name="T2" fmla="*/ 2147483646 w 18"/>
                <a:gd name="T3" fmla="*/ 2147483646 h 22"/>
                <a:gd name="T4" fmla="*/ 2147483646 w 18"/>
                <a:gd name="T5" fmla="*/ 2147483646 h 22"/>
                <a:gd name="T6" fmla="*/ 2147483646 w 18"/>
                <a:gd name="T7" fmla="*/ 2147483646 h 22"/>
                <a:gd name="T8" fmla="*/ 2147483646 w 18"/>
                <a:gd name="T9" fmla="*/ 2147483646 h 22"/>
                <a:gd name="T10" fmla="*/ 2147483646 w 18"/>
                <a:gd name="T11" fmla="*/ 2147483646 h 22"/>
                <a:gd name="T12" fmla="*/ 2147483646 w 18"/>
                <a:gd name="T13" fmla="*/ 2147483646 h 22"/>
                <a:gd name="T14" fmla="*/ 2147483646 w 18"/>
                <a:gd name="T15" fmla="*/ 2147483646 h 22"/>
                <a:gd name="T16" fmla="*/ 2147483646 w 18"/>
                <a:gd name="T17" fmla="*/ 2147483646 h 22"/>
                <a:gd name="T18" fmla="*/ 0 w 18"/>
                <a:gd name="T19" fmla="*/ 2147483646 h 22"/>
                <a:gd name="T20" fmla="*/ 2147483646 w 18"/>
                <a:gd name="T21" fmla="*/ 2147483646 h 22"/>
                <a:gd name="T22" fmla="*/ 2147483646 w 18"/>
                <a:gd name="T23" fmla="*/ 2147483646 h 22"/>
                <a:gd name="T24" fmla="*/ 2147483646 w 18"/>
                <a:gd name="T25" fmla="*/ 2147483646 h 22"/>
                <a:gd name="T26" fmla="*/ 2147483646 w 18"/>
                <a:gd name="T27" fmla="*/ 2147483646 h 22"/>
                <a:gd name="T28" fmla="*/ 2147483646 w 18"/>
                <a:gd name="T29" fmla="*/ 2147483646 h 22"/>
                <a:gd name="T30" fmla="*/ 2147483646 w 18"/>
                <a:gd name="T31" fmla="*/ 2147483646 h 22"/>
                <a:gd name="T32" fmla="*/ 2147483646 w 18"/>
                <a:gd name="T33" fmla="*/ 2147483646 h 22"/>
                <a:gd name="T34" fmla="*/ 2147483646 w 18"/>
                <a:gd name="T35" fmla="*/ 2147483646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" h="22">
                  <a:moveTo>
                    <a:pt x="18" y="1"/>
                  </a:moveTo>
                  <a:cubicBezTo>
                    <a:pt x="16" y="2"/>
                    <a:pt x="15" y="0"/>
                    <a:pt x="14" y="1"/>
                  </a:cubicBezTo>
                  <a:cubicBezTo>
                    <a:pt x="12" y="3"/>
                    <a:pt x="12" y="3"/>
                    <a:pt x="11" y="6"/>
                  </a:cubicBezTo>
                  <a:cubicBezTo>
                    <a:pt x="10" y="4"/>
                    <a:pt x="3" y="4"/>
                    <a:pt x="5" y="7"/>
                  </a:cubicBezTo>
                  <a:cubicBezTo>
                    <a:pt x="6" y="6"/>
                    <a:pt x="7" y="5"/>
                    <a:pt x="7" y="6"/>
                  </a:cubicBezTo>
                  <a:cubicBezTo>
                    <a:pt x="8" y="7"/>
                    <a:pt x="7" y="8"/>
                    <a:pt x="7" y="9"/>
                  </a:cubicBezTo>
                  <a:cubicBezTo>
                    <a:pt x="7" y="10"/>
                    <a:pt x="8" y="14"/>
                    <a:pt x="7" y="15"/>
                  </a:cubicBezTo>
                  <a:cubicBezTo>
                    <a:pt x="5" y="15"/>
                    <a:pt x="5" y="14"/>
                    <a:pt x="4" y="14"/>
                  </a:cubicBezTo>
                  <a:cubicBezTo>
                    <a:pt x="3" y="14"/>
                    <a:pt x="1" y="15"/>
                    <a:pt x="1" y="16"/>
                  </a:cubicBezTo>
                  <a:cubicBezTo>
                    <a:pt x="1" y="18"/>
                    <a:pt x="1" y="17"/>
                    <a:pt x="0" y="18"/>
                  </a:cubicBezTo>
                  <a:cubicBezTo>
                    <a:pt x="0" y="19"/>
                    <a:pt x="2" y="20"/>
                    <a:pt x="2" y="21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5" y="20"/>
                    <a:pt x="5" y="20"/>
                    <a:pt x="6" y="20"/>
                  </a:cubicBezTo>
                  <a:cubicBezTo>
                    <a:pt x="6" y="20"/>
                    <a:pt x="7" y="19"/>
                    <a:pt x="8" y="19"/>
                  </a:cubicBezTo>
                  <a:cubicBezTo>
                    <a:pt x="8" y="22"/>
                    <a:pt x="11" y="19"/>
                    <a:pt x="11" y="18"/>
                  </a:cubicBezTo>
                  <a:cubicBezTo>
                    <a:pt x="13" y="17"/>
                    <a:pt x="12" y="14"/>
                    <a:pt x="13" y="13"/>
                  </a:cubicBezTo>
                  <a:cubicBezTo>
                    <a:pt x="16" y="11"/>
                    <a:pt x="16" y="10"/>
                    <a:pt x="16" y="7"/>
                  </a:cubicBezTo>
                  <a:cubicBezTo>
                    <a:pt x="16" y="5"/>
                    <a:pt x="18" y="3"/>
                    <a:pt x="18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2" name="Freeform 246"/>
            <p:cNvSpPr>
              <a:spLocks noEditPoints="1"/>
            </p:cNvSpPr>
            <p:nvPr/>
          </p:nvSpPr>
          <p:spPr bwMode="auto">
            <a:xfrm>
              <a:off x="1915253" y="3117097"/>
              <a:ext cx="141637" cy="163709"/>
            </a:xfrm>
            <a:custGeom>
              <a:avLst/>
              <a:gdLst>
                <a:gd name="T0" fmla="*/ 2147483646 w 19"/>
                <a:gd name="T1" fmla="*/ 2147483646 h 22"/>
                <a:gd name="T2" fmla="*/ 2147483646 w 19"/>
                <a:gd name="T3" fmla="*/ 2147483646 h 22"/>
                <a:gd name="T4" fmla="*/ 2147483646 w 19"/>
                <a:gd name="T5" fmla="*/ 2147483646 h 22"/>
                <a:gd name="T6" fmla="*/ 2147483646 w 19"/>
                <a:gd name="T7" fmla="*/ 2147483646 h 22"/>
                <a:gd name="T8" fmla="*/ 2147483646 w 19"/>
                <a:gd name="T9" fmla="*/ 2147483646 h 22"/>
                <a:gd name="T10" fmla="*/ 2147483646 w 19"/>
                <a:gd name="T11" fmla="*/ 2147483646 h 22"/>
                <a:gd name="T12" fmla="*/ 2147483646 w 19"/>
                <a:gd name="T13" fmla="*/ 2147483646 h 22"/>
                <a:gd name="T14" fmla="*/ 2147483646 w 19"/>
                <a:gd name="T15" fmla="*/ 2147483646 h 22"/>
                <a:gd name="T16" fmla="*/ 2147483646 w 19"/>
                <a:gd name="T17" fmla="*/ 2147483646 h 22"/>
                <a:gd name="T18" fmla="*/ 2147483646 w 19"/>
                <a:gd name="T19" fmla="*/ 2147483646 h 22"/>
                <a:gd name="T20" fmla="*/ 2147483646 w 19"/>
                <a:gd name="T21" fmla="*/ 2147483646 h 22"/>
                <a:gd name="T22" fmla="*/ 2147483646 w 19"/>
                <a:gd name="T23" fmla="*/ 2147483646 h 22"/>
                <a:gd name="T24" fmla="*/ 2147483646 w 19"/>
                <a:gd name="T25" fmla="*/ 2147483646 h 22"/>
                <a:gd name="T26" fmla="*/ 2147483646 w 19"/>
                <a:gd name="T27" fmla="*/ 2147483646 h 22"/>
                <a:gd name="T28" fmla="*/ 2147483646 w 19"/>
                <a:gd name="T29" fmla="*/ 2147483646 h 22"/>
                <a:gd name="T30" fmla="*/ 2147483646 w 19"/>
                <a:gd name="T31" fmla="*/ 2147483646 h 22"/>
                <a:gd name="T32" fmla="*/ 2147483646 w 19"/>
                <a:gd name="T33" fmla="*/ 2147483646 h 22"/>
                <a:gd name="T34" fmla="*/ 2147483646 w 19"/>
                <a:gd name="T35" fmla="*/ 2147483646 h 22"/>
                <a:gd name="T36" fmla="*/ 2147483646 w 19"/>
                <a:gd name="T37" fmla="*/ 2147483646 h 22"/>
                <a:gd name="T38" fmla="*/ 2147483646 w 19"/>
                <a:gd name="T39" fmla="*/ 2147483646 h 22"/>
                <a:gd name="T40" fmla="*/ 2147483646 w 19"/>
                <a:gd name="T41" fmla="*/ 2147483646 h 22"/>
                <a:gd name="T42" fmla="*/ 2147483646 w 19"/>
                <a:gd name="T43" fmla="*/ 2147483646 h 22"/>
                <a:gd name="T44" fmla="*/ 2147483646 w 19"/>
                <a:gd name="T45" fmla="*/ 2147483646 h 22"/>
                <a:gd name="T46" fmla="*/ 2147483646 w 19"/>
                <a:gd name="T47" fmla="*/ 2147483646 h 22"/>
                <a:gd name="T48" fmla="*/ 2147483646 w 19"/>
                <a:gd name="T49" fmla="*/ 2147483646 h 22"/>
                <a:gd name="T50" fmla="*/ 2147483646 w 19"/>
                <a:gd name="T51" fmla="*/ 2147483646 h 22"/>
                <a:gd name="T52" fmla="*/ 2147483646 w 19"/>
                <a:gd name="T53" fmla="*/ 2147483646 h 22"/>
                <a:gd name="T54" fmla="*/ 2147483646 w 19"/>
                <a:gd name="T55" fmla="*/ 2147483646 h 22"/>
                <a:gd name="T56" fmla="*/ 2147483646 w 19"/>
                <a:gd name="T57" fmla="*/ 2147483646 h 22"/>
                <a:gd name="T58" fmla="*/ 2147483646 w 19"/>
                <a:gd name="T59" fmla="*/ 2147483646 h 22"/>
                <a:gd name="T60" fmla="*/ 2147483646 w 19"/>
                <a:gd name="T61" fmla="*/ 2147483646 h 22"/>
                <a:gd name="T62" fmla="*/ 2147483646 w 19"/>
                <a:gd name="T63" fmla="*/ 2147483646 h 22"/>
                <a:gd name="T64" fmla="*/ 2147483646 w 19"/>
                <a:gd name="T65" fmla="*/ 2147483646 h 22"/>
                <a:gd name="T66" fmla="*/ 2147483646 w 19"/>
                <a:gd name="T67" fmla="*/ 2147483646 h 22"/>
                <a:gd name="T68" fmla="*/ 2147483646 w 19"/>
                <a:gd name="T69" fmla="*/ 2147483646 h 22"/>
                <a:gd name="T70" fmla="*/ 2147483646 w 19"/>
                <a:gd name="T71" fmla="*/ 2147483646 h 22"/>
                <a:gd name="T72" fmla="*/ 2147483646 w 19"/>
                <a:gd name="T73" fmla="*/ 2147483646 h 22"/>
                <a:gd name="T74" fmla="*/ 2147483646 w 19"/>
                <a:gd name="T75" fmla="*/ 2147483646 h 22"/>
                <a:gd name="T76" fmla="*/ 2147483646 w 19"/>
                <a:gd name="T77" fmla="*/ 2147483646 h 22"/>
                <a:gd name="T78" fmla="*/ 2147483646 w 19"/>
                <a:gd name="T79" fmla="*/ 2147483646 h 22"/>
                <a:gd name="T80" fmla="*/ 2147483646 w 19"/>
                <a:gd name="T81" fmla="*/ 2147483646 h 22"/>
                <a:gd name="T82" fmla="*/ 2147483646 w 19"/>
                <a:gd name="T83" fmla="*/ 2147483646 h 22"/>
                <a:gd name="T84" fmla="*/ 2147483646 w 19"/>
                <a:gd name="T85" fmla="*/ 2147483646 h 2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" h="22">
                  <a:moveTo>
                    <a:pt x="3" y="22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2" y="21"/>
                    <a:pt x="2" y="21"/>
                  </a:cubicBezTo>
                  <a:cubicBezTo>
                    <a:pt x="1" y="20"/>
                    <a:pt x="0" y="19"/>
                    <a:pt x="1" y="18"/>
                  </a:cubicBezTo>
                  <a:cubicBezTo>
                    <a:pt x="1" y="17"/>
                    <a:pt x="1" y="17"/>
                    <a:pt x="2" y="17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15"/>
                    <a:pt x="4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6" y="14"/>
                    <a:pt x="6" y="14"/>
                  </a:cubicBezTo>
                  <a:cubicBezTo>
                    <a:pt x="7" y="14"/>
                    <a:pt x="7" y="15"/>
                    <a:pt x="7" y="14"/>
                  </a:cubicBezTo>
                  <a:cubicBezTo>
                    <a:pt x="8" y="14"/>
                    <a:pt x="8" y="12"/>
                    <a:pt x="8" y="11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6"/>
                    <a:pt x="7" y="6"/>
                  </a:cubicBezTo>
                  <a:cubicBezTo>
                    <a:pt x="7" y="6"/>
                    <a:pt x="7" y="7"/>
                    <a:pt x="7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6" y="4"/>
                    <a:pt x="8" y="4"/>
                    <a:pt x="9" y="4"/>
                  </a:cubicBezTo>
                  <a:cubicBezTo>
                    <a:pt x="10" y="4"/>
                    <a:pt x="11" y="4"/>
                    <a:pt x="12" y="5"/>
                  </a:cubicBezTo>
                  <a:cubicBezTo>
                    <a:pt x="12" y="3"/>
                    <a:pt x="13" y="2"/>
                    <a:pt x="14" y="1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2"/>
                    <a:pt x="19" y="3"/>
                    <a:pt x="18" y="4"/>
                  </a:cubicBezTo>
                  <a:cubicBezTo>
                    <a:pt x="18" y="5"/>
                    <a:pt x="18" y="6"/>
                    <a:pt x="18" y="7"/>
                  </a:cubicBezTo>
                  <a:cubicBezTo>
                    <a:pt x="18" y="7"/>
                    <a:pt x="17" y="8"/>
                    <a:pt x="17" y="8"/>
                  </a:cubicBezTo>
                  <a:cubicBezTo>
                    <a:pt x="17" y="10"/>
                    <a:pt x="17" y="11"/>
                    <a:pt x="15" y="13"/>
                  </a:cubicBezTo>
                  <a:cubicBezTo>
                    <a:pt x="14" y="14"/>
                    <a:pt x="14" y="15"/>
                    <a:pt x="14" y="16"/>
                  </a:cubicBezTo>
                  <a:cubicBezTo>
                    <a:pt x="14" y="17"/>
                    <a:pt x="13" y="18"/>
                    <a:pt x="13" y="19"/>
                  </a:cubicBezTo>
                  <a:cubicBezTo>
                    <a:pt x="12" y="19"/>
                    <a:pt x="10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8" y="21"/>
                    <a:pt x="7" y="21"/>
                    <a:pt x="7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lnTo>
                    <a:pt x="3" y="22"/>
                  </a:lnTo>
                  <a:close/>
                  <a:moveTo>
                    <a:pt x="5" y="14"/>
                  </a:moveTo>
                  <a:cubicBezTo>
                    <a:pt x="4" y="14"/>
                    <a:pt x="3" y="15"/>
                    <a:pt x="3" y="16"/>
                  </a:cubicBezTo>
                  <a:cubicBezTo>
                    <a:pt x="3" y="17"/>
                    <a:pt x="3" y="1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9"/>
                    <a:pt x="3" y="19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4" y="20"/>
                    <a:pt x="4" y="19"/>
                    <a:pt x="4" y="19"/>
                  </a:cubicBezTo>
                  <a:cubicBezTo>
                    <a:pt x="5" y="19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19"/>
                    <a:pt x="8" y="19"/>
                    <a:pt x="8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0"/>
                    <a:pt x="11" y="19"/>
                    <a:pt x="12" y="18"/>
                  </a:cubicBezTo>
                  <a:cubicBezTo>
                    <a:pt x="12" y="17"/>
                    <a:pt x="12" y="17"/>
                    <a:pt x="13" y="16"/>
                  </a:cubicBezTo>
                  <a:cubicBezTo>
                    <a:pt x="13" y="14"/>
                    <a:pt x="13" y="13"/>
                    <a:pt x="14" y="12"/>
                  </a:cubicBezTo>
                  <a:cubicBezTo>
                    <a:pt x="16" y="11"/>
                    <a:pt x="16" y="10"/>
                    <a:pt x="16" y="8"/>
                  </a:cubicBezTo>
                  <a:cubicBezTo>
                    <a:pt x="16" y="8"/>
                    <a:pt x="16" y="7"/>
                    <a:pt x="16" y="7"/>
                  </a:cubicBezTo>
                  <a:cubicBezTo>
                    <a:pt x="17" y="6"/>
                    <a:pt x="17" y="5"/>
                    <a:pt x="17" y="4"/>
                  </a:cubicBezTo>
                  <a:cubicBezTo>
                    <a:pt x="18" y="3"/>
                    <a:pt x="18" y="3"/>
                    <a:pt x="18" y="2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6" y="2"/>
                    <a:pt x="15" y="2"/>
                    <a:pt x="15" y="2"/>
                  </a:cubicBezTo>
                  <a:cubicBezTo>
                    <a:pt x="13" y="3"/>
                    <a:pt x="13" y="3"/>
                    <a:pt x="13" y="6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0" y="5"/>
                    <a:pt x="9" y="5"/>
                  </a:cubicBezTo>
                  <a:cubicBezTo>
                    <a:pt x="8" y="5"/>
                    <a:pt x="7" y="5"/>
                    <a:pt x="6" y="6"/>
                  </a:cubicBezTo>
                  <a:cubicBezTo>
                    <a:pt x="7" y="5"/>
                    <a:pt x="8" y="5"/>
                    <a:pt x="9" y="6"/>
                  </a:cubicBezTo>
                  <a:cubicBezTo>
                    <a:pt x="10" y="7"/>
                    <a:pt x="9" y="8"/>
                    <a:pt x="9" y="8"/>
                  </a:cubicBezTo>
                  <a:cubicBezTo>
                    <a:pt x="9" y="8"/>
                    <a:pt x="8" y="9"/>
                    <a:pt x="8" y="9"/>
                  </a:cubicBezTo>
                  <a:cubicBezTo>
                    <a:pt x="8" y="9"/>
                    <a:pt x="9" y="10"/>
                    <a:pt x="9" y="11"/>
                  </a:cubicBezTo>
                  <a:cubicBezTo>
                    <a:pt x="9" y="12"/>
                    <a:pt x="9" y="15"/>
                    <a:pt x="8" y="15"/>
                  </a:cubicBezTo>
                  <a:cubicBezTo>
                    <a:pt x="8" y="16"/>
                    <a:pt x="7" y="16"/>
                    <a:pt x="7" y="16"/>
                  </a:cubicBezTo>
                  <a:cubicBezTo>
                    <a:pt x="7" y="16"/>
                    <a:pt x="6" y="15"/>
                    <a:pt x="6" y="15"/>
                  </a:cubicBezTo>
                  <a:cubicBezTo>
                    <a:pt x="5" y="15"/>
                    <a:pt x="5" y="14"/>
                    <a:pt x="5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3" name="Freeform 247"/>
            <p:cNvSpPr/>
            <p:nvPr/>
          </p:nvSpPr>
          <p:spPr bwMode="auto">
            <a:xfrm>
              <a:off x="1738994" y="2962832"/>
              <a:ext cx="56655" cy="125930"/>
            </a:xfrm>
            <a:custGeom>
              <a:avLst/>
              <a:gdLst>
                <a:gd name="T0" fmla="*/ 2147483646 w 8"/>
                <a:gd name="T1" fmla="*/ 2147483646 h 17"/>
                <a:gd name="T2" fmla="*/ 2147483646 w 8"/>
                <a:gd name="T3" fmla="*/ 2147483646 h 17"/>
                <a:gd name="T4" fmla="*/ 2147483646 w 8"/>
                <a:gd name="T5" fmla="*/ 2147483646 h 17"/>
                <a:gd name="T6" fmla="*/ 2147483646 w 8"/>
                <a:gd name="T7" fmla="*/ 2147483646 h 17"/>
                <a:gd name="T8" fmla="*/ 2147483646 w 8"/>
                <a:gd name="T9" fmla="*/ 2147483646 h 17"/>
                <a:gd name="T10" fmla="*/ 2147483646 w 8"/>
                <a:gd name="T11" fmla="*/ 2147483646 h 17"/>
                <a:gd name="T12" fmla="*/ 2147483646 w 8"/>
                <a:gd name="T13" fmla="*/ 2147483646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17">
                  <a:moveTo>
                    <a:pt x="6" y="16"/>
                  </a:moveTo>
                  <a:cubicBezTo>
                    <a:pt x="2" y="17"/>
                    <a:pt x="3" y="10"/>
                    <a:pt x="3" y="8"/>
                  </a:cubicBezTo>
                  <a:cubicBezTo>
                    <a:pt x="2" y="6"/>
                    <a:pt x="0" y="6"/>
                    <a:pt x="2" y="4"/>
                  </a:cubicBezTo>
                  <a:cubicBezTo>
                    <a:pt x="3" y="3"/>
                    <a:pt x="6" y="4"/>
                    <a:pt x="5" y="2"/>
                  </a:cubicBezTo>
                  <a:cubicBezTo>
                    <a:pt x="8" y="0"/>
                    <a:pt x="8" y="6"/>
                    <a:pt x="8" y="7"/>
                  </a:cubicBezTo>
                  <a:cubicBezTo>
                    <a:pt x="8" y="8"/>
                    <a:pt x="6" y="10"/>
                    <a:pt x="6" y="11"/>
                  </a:cubicBezTo>
                  <a:cubicBezTo>
                    <a:pt x="6" y="12"/>
                    <a:pt x="6" y="14"/>
                    <a:pt x="6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4" name="Freeform 248"/>
            <p:cNvSpPr>
              <a:spLocks noEditPoints="1"/>
            </p:cNvSpPr>
            <p:nvPr/>
          </p:nvSpPr>
          <p:spPr bwMode="auto">
            <a:xfrm>
              <a:off x="1745289" y="2969129"/>
              <a:ext cx="50360" cy="119634"/>
            </a:xfrm>
            <a:custGeom>
              <a:avLst/>
              <a:gdLst>
                <a:gd name="T0" fmla="*/ 2147483646 w 7"/>
                <a:gd name="T1" fmla="*/ 2147483646 h 16"/>
                <a:gd name="T2" fmla="*/ 2147483646 w 7"/>
                <a:gd name="T3" fmla="*/ 2147483646 h 16"/>
                <a:gd name="T4" fmla="*/ 2147483646 w 7"/>
                <a:gd name="T5" fmla="*/ 2147483646 h 16"/>
                <a:gd name="T6" fmla="*/ 2147483646 w 7"/>
                <a:gd name="T7" fmla="*/ 2147483646 h 16"/>
                <a:gd name="T8" fmla="*/ 2147483646 w 7"/>
                <a:gd name="T9" fmla="*/ 2147483646 h 16"/>
                <a:gd name="T10" fmla="*/ 2147483646 w 7"/>
                <a:gd name="T11" fmla="*/ 2147483646 h 16"/>
                <a:gd name="T12" fmla="*/ 2147483646 w 7"/>
                <a:gd name="T13" fmla="*/ 2147483646 h 16"/>
                <a:gd name="T14" fmla="*/ 2147483646 w 7"/>
                <a:gd name="T15" fmla="*/ 2147483646 h 16"/>
                <a:gd name="T16" fmla="*/ 2147483646 w 7"/>
                <a:gd name="T17" fmla="*/ 2147483646 h 16"/>
                <a:gd name="T18" fmla="*/ 2147483646 w 7"/>
                <a:gd name="T19" fmla="*/ 2147483646 h 16"/>
                <a:gd name="T20" fmla="*/ 2147483646 w 7"/>
                <a:gd name="T21" fmla="*/ 2147483646 h 16"/>
                <a:gd name="T22" fmla="*/ 2147483646 w 7"/>
                <a:gd name="T23" fmla="*/ 2147483646 h 16"/>
                <a:gd name="T24" fmla="*/ 2147483646 w 7"/>
                <a:gd name="T25" fmla="*/ 2147483646 h 16"/>
                <a:gd name="T26" fmla="*/ 2147483646 w 7"/>
                <a:gd name="T27" fmla="*/ 2147483646 h 16"/>
                <a:gd name="T28" fmla="*/ 2147483646 w 7"/>
                <a:gd name="T29" fmla="*/ 2147483646 h 16"/>
                <a:gd name="T30" fmla="*/ 2147483646 w 7"/>
                <a:gd name="T31" fmla="*/ 2147483646 h 16"/>
                <a:gd name="T32" fmla="*/ 2147483646 w 7"/>
                <a:gd name="T33" fmla="*/ 2147483646 h 16"/>
                <a:gd name="T34" fmla="*/ 2147483646 w 7"/>
                <a:gd name="T35" fmla="*/ 2147483646 h 16"/>
                <a:gd name="T36" fmla="*/ 2147483646 w 7"/>
                <a:gd name="T37" fmla="*/ 2147483646 h 16"/>
                <a:gd name="T38" fmla="*/ 2147483646 w 7"/>
                <a:gd name="T39" fmla="*/ 2147483646 h 16"/>
                <a:gd name="T40" fmla="*/ 2147483646 w 7"/>
                <a:gd name="T41" fmla="*/ 2147483646 h 16"/>
                <a:gd name="T42" fmla="*/ 2147483646 w 7"/>
                <a:gd name="T43" fmla="*/ 2147483646 h 16"/>
                <a:gd name="T44" fmla="*/ 2147483646 w 7"/>
                <a:gd name="T45" fmla="*/ 2147483646 h 16"/>
                <a:gd name="T46" fmla="*/ 2147483646 w 7"/>
                <a:gd name="T47" fmla="*/ 2147483646 h 16"/>
                <a:gd name="T48" fmla="*/ 2147483646 w 7"/>
                <a:gd name="T49" fmla="*/ 2147483646 h 16"/>
                <a:gd name="T50" fmla="*/ 2147483646 w 7"/>
                <a:gd name="T51" fmla="*/ 2147483646 h 16"/>
                <a:gd name="T52" fmla="*/ 2147483646 w 7"/>
                <a:gd name="T53" fmla="*/ 2147483646 h 16"/>
                <a:gd name="T54" fmla="*/ 2147483646 w 7"/>
                <a:gd name="T55" fmla="*/ 2147483646 h 16"/>
                <a:gd name="T56" fmla="*/ 2147483646 w 7"/>
                <a:gd name="T57" fmla="*/ 2147483646 h 16"/>
                <a:gd name="T58" fmla="*/ 2147483646 w 7"/>
                <a:gd name="T59" fmla="*/ 2147483646 h 16"/>
                <a:gd name="T60" fmla="*/ 2147483646 w 7"/>
                <a:gd name="T61" fmla="*/ 2147483646 h 16"/>
                <a:gd name="T62" fmla="*/ 2147483646 w 7"/>
                <a:gd name="T63" fmla="*/ 2147483646 h 16"/>
                <a:gd name="T64" fmla="*/ 2147483646 w 7"/>
                <a:gd name="T65" fmla="*/ 2147483646 h 16"/>
                <a:gd name="T66" fmla="*/ 2147483646 w 7"/>
                <a:gd name="T67" fmla="*/ 2147483646 h 16"/>
                <a:gd name="T68" fmla="*/ 2147483646 w 7"/>
                <a:gd name="T69" fmla="*/ 2147483646 h 16"/>
                <a:gd name="T70" fmla="*/ 2147483646 w 7"/>
                <a:gd name="T71" fmla="*/ 2147483646 h 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" h="16">
                  <a:moveTo>
                    <a:pt x="4" y="16"/>
                  </a:moveTo>
                  <a:cubicBezTo>
                    <a:pt x="2" y="16"/>
                    <a:pt x="2" y="12"/>
                    <a:pt x="1" y="10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7" y="2"/>
                    <a:pt x="7" y="4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7"/>
                    <a:pt x="7" y="7"/>
                    <a:pt x="6" y="8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5" y="11"/>
                    <a:pt x="6" y="12"/>
                    <a:pt x="6" y="13"/>
                  </a:cubicBezTo>
                  <a:cubicBezTo>
                    <a:pt x="6" y="14"/>
                    <a:pt x="6" y="14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4" y="16"/>
                    <a:pt x="4" y="16"/>
                  </a:cubicBezTo>
                  <a:close/>
                  <a:moveTo>
                    <a:pt x="5" y="1"/>
                  </a:moveTo>
                  <a:cubicBezTo>
                    <a:pt x="5" y="2"/>
                    <a:pt x="5" y="2"/>
                    <a:pt x="4" y="2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8"/>
                    <a:pt x="3" y="10"/>
                  </a:cubicBezTo>
                  <a:cubicBezTo>
                    <a:pt x="3" y="12"/>
                    <a:pt x="3" y="15"/>
                    <a:pt x="4" y="15"/>
                  </a:cubicBezTo>
                  <a:cubicBezTo>
                    <a:pt x="4" y="15"/>
                    <a:pt x="4" y="15"/>
                    <a:pt x="4" y="14"/>
                  </a:cubicBezTo>
                  <a:cubicBezTo>
                    <a:pt x="4" y="14"/>
                    <a:pt x="4" y="14"/>
                    <a:pt x="4" y="13"/>
                  </a:cubicBezTo>
                  <a:cubicBezTo>
                    <a:pt x="4" y="12"/>
                    <a:pt x="4" y="11"/>
                    <a:pt x="4" y="10"/>
                  </a:cubicBezTo>
                  <a:cubicBezTo>
                    <a:pt x="5" y="9"/>
                    <a:pt x="5" y="8"/>
                    <a:pt x="5" y="8"/>
                  </a:cubicBezTo>
                  <a:cubicBezTo>
                    <a:pt x="6" y="7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3"/>
                    <a:pt x="6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5" name="Freeform 249"/>
            <p:cNvSpPr/>
            <p:nvPr/>
          </p:nvSpPr>
          <p:spPr bwMode="auto">
            <a:xfrm>
              <a:off x="1877483" y="3148579"/>
              <a:ext cx="53507" cy="28334"/>
            </a:xfrm>
            <a:custGeom>
              <a:avLst/>
              <a:gdLst>
                <a:gd name="T0" fmla="*/ 2147483646 w 7"/>
                <a:gd name="T1" fmla="*/ 0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2147483646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4">
                  <a:moveTo>
                    <a:pt x="7" y="0"/>
                  </a:moveTo>
                  <a:cubicBezTo>
                    <a:pt x="6" y="0"/>
                    <a:pt x="0" y="0"/>
                    <a:pt x="2" y="3"/>
                  </a:cubicBezTo>
                  <a:cubicBezTo>
                    <a:pt x="3" y="4"/>
                    <a:pt x="5" y="3"/>
                    <a:pt x="6" y="3"/>
                  </a:cubicBezTo>
                  <a:cubicBezTo>
                    <a:pt x="7" y="3"/>
                    <a:pt x="7" y="2"/>
                    <a:pt x="7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6" name="Freeform 250"/>
            <p:cNvSpPr>
              <a:spLocks noEditPoints="1"/>
            </p:cNvSpPr>
            <p:nvPr/>
          </p:nvSpPr>
          <p:spPr bwMode="auto">
            <a:xfrm>
              <a:off x="1886926" y="3148579"/>
              <a:ext cx="44065" cy="28334"/>
            </a:xfrm>
            <a:custGeom>
              <a:avLst/>
              <a:gdLst>
                <a:gd name="T0" fmla="*/ 2147483646 w 6"/>
                <a:gd name="T1" fmla="*/ 2147483646 h 4"/>
                <a:gd name="T2" fmla="*/ 2147483646 w 6"/>
                <a:gd name="T3" fmla="*/ 2147483646 h 4"/>
                <a:gd name="T4" fmla="*/ 2147483646 w 6"/>
                <a:gd name="T5" fmla="*/ 2147483646 h 4"/>
                <a:gd name="T6" fmla="*/ 0 w 6"/>
                <a:gd name="T7" fmla="*/ 2147483646 h 4"/>
                <a:gd name="T8" fmla="*/ 2147483646 w 6"/>
                <a:gd name="T9" fmla="*/ 0 h 4"/>
                <a:gd name="T10" fmla="*/ 2147483646 w 6"/>
                <a:gd name="T11" fmla="*/ 0 h 4"/>
                <a:gd name="T12" fmla="*/ 2147483646 w 6"/>
                <a:gd name="T13" fmla="*/ 0 h 4"/>
                <a:gd name="T14" fmla="*/ 2147483646 w 6"/>
                <a:gd name="T15" fmla="*/ 2147483646 h 4"/>
                <a:gd name="T16" fmla="*/ 2147483646 w 6"/>
                <a:gd name="T17" fmla="*/ 2147483646 h 4"/>
                <a:gd name="T18" fmla="*/ 2147483646 w 6"/>
                <a:gd name="T19" fmla="*/ 2147483646 h 4"/>
                <a:gd name="T20" fmla="*/ 2147483646 w 6"/>
                <a:gd name="T21" fmla="*/ 2147483646 h 4"/>
                <a:gd name="T22" fmla="*/ 2147483646 w 6"/>
                <a:gd name="T23" fmla="*/ 2147483646 h 4"/>
                <a:gd name="T24" fmla="*/ 2147483646 w 6"/>
                <a:gd name="T25" fmla="*/ 2147483646 h 4"/>
                <a:gd name="T26" fmla="*/ 2147483646 w 6"/>
                <a:gd name="T27" fmla="*/ 2147483646 h 4"/>
                <a:gd name="T28" fmla="*/ 2147483646 w 6"/>
                <a:gd name="T29" fmla="*/ 2147483646 h 4"/>
                <a:gd name="T30" fmla="*/ 2147483646 w 6"/>
                <a:gd name="T31" fmla="*/ 2147483646 h 4"/>
                <a:gd name="T32" fmla="*/ 2147483646 w 6"/>
                <a:gd name="T33" fmla="*/ 2147483646 h 4"/>
                <a:gd name="T34" fmla="*/ 2147483646 w 6"/>
                <a:gd name="T35" fmla="*/ 2147483646 h 4"/>
                <a:gd name="T36" fmla="*/ 2147483646 w 6"/>
                <a:gd name="T37" fmla="*/ 2147483646 h 4"/>
                <a:gd name="T38" fmla="*/ 2147483646 w 6"/>
                <a:gd name="T39" fmla="*/ 2147483646 h 4"/>
                <a:gd name="T40" fmla="*/ 2147483646 w 6"/>
                <a:gd name="T41" fmla="*/ 2147483646 h 4"/>
                <a:gd name="T42" fmla="*/ 2147483646 w 6"/>
                <a:gd name="T43" fmla="*/ 2147483646 h 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" h="4"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5" y="4"/>
                    <a:pt x="5" y="4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4" y="4"/>
                    <a:pt x="3" y="4"/>
                    <a:pt x="2" y="4"/>
                  </a:cubicBezTo>
                  <a:close/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7" name="Freeform 251"/>
            <p:cNvSpPr/>
            <p:nvPr/>
          </p:nvSpPr>
          <p:spPr bwMode="auto">
            <a:xfrm>
              <a:off x="1877483" y="3126541"/>
              <a:ext cx="9442" cy="6298"/>
            </a:xfrm>
            <a:custGeom>
              <a:avLst/>
              <a:gdLst>
                <a:gd name="T0" fmla="*/ 2147483646 w 1"/>
                <a:gd name="T1" fmla="*/ 0 h 1"/>
                <a:gd name="T2" fmla="*/ 0 w 1"/>
                <a:gd name="T3" fmla="*/ 2147483646 h 1"/>
                <a:gd name="T4" fmla="*/ 0 w 1"/>
                <a:gd name="T5" fmla="*/ 0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8" name="Freeform 252"/>
            <p:cNvSpPr/>
            <p:nvPr/>
          </p:nvSpPr>
          <p:spPr bwMode="auto">
            <a:xfrm>
              <a:off x="1871188" y="3117097"/>
              <a:ext cx="22032" cy="15741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2147483646 w 3"/>
                <a:gd name="T9" fmla="*/ 2147483646 h 2"/>
                <a:gd name="T10" fmla="*/ 2147483646 w 3"/>
                <a:gd name="T11" fmla="*/ 2147483646 h 2"/>
                <a:gd name="T12" fmla="*/ 2147483646 w 3"/>
                <a:gd name="T13" fmla="*/ 2147483646 h 2"/>
                <a:gd name="T14" fmla="*/ 2147483646 w 3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9" name="Freeform 253"/>
            <p:cNvSpPr/>
            <p:nvPr/>
          </p:nvSpPr>
          <p:spPr bwMode="auto">
            <a:xfrm>
              <a:off x="2302395" y="2871533"/>
              <a:ext cx="261242" cy="261305"/>
            </a:xfrm>
            <a:custGeom>
              <a:avLst/>
              <a:gdLst>
                <a:gd name="T0" fmla="*/ 2147483646 w 35"/>
                <a:gd name="T1" fmla="*/ 0 h 35"/>
                <a:gd name="T2" fmla="*/ 2147483646 w 35"/>
                <a:gd name="T3" fmla="*/ 2147483646 h 35"/>
                <a:gd name="T4" fmla="*/ 2147483646 w 35"/>
                <a:gd name="T5" fmla="*/ 2147483646 h 35"/>
                <a:gd name="T6" fmla="*/ 2147483646 w 35"/>
                <a:gd name="T7" fmla="*/ 2147483646 h 35"/>
                <a:gd name="T8" fmla="*/ 2147483646 w 35"/>
                <a:gd name="T9" fmla="*/ 2147483646 h 35"/>
                <a:gd name="T10" fmla="*/ 2147483646 w 35"/>
                <a:gd name="T11" fmla="*/ 2147483646 h 35"/>
                <a:gd name="T12" fmla="*/ 2147483646 w 35"/>
                <a:gd name="T13" fmla="*/ 2147483646 h 35"/>
                <a:gd name="T14" fmla="*/ 0 w 35"/>
                <a:gd name="T15" fmla="*/ 2147483646 h 35"/>
                <a:gd name="T16" fmla="*/ 2147483646 w 35"/>
                <a:gd name="T17" fmla="*/ 2147483646 h 35"/>
                <a:gd name="T18" fmla="*/ 2147483646 w 35"/>
                <a:gd name="T19" fmla="*/ 2147483646 h 35"/>
                <a:gd name="T20" fmla="*/ 2147483646 w 35"/>
                <a:gd name="T21" fmla="*/ 2147483646 h 35"/>
                <a:gd name="T22" fmla="*/ 2147483646 w 35"/>
                <a:gd name="T23" fmla="*/ 2147483646 h 35"/>
                <a:gd name="T24" fmla="*/ 2147483646 w 35"/>
                <a:gd name="T25" fmla="*/ 2147483646 h 35"/>
                <a:gd name="T26" fmla="*/ 2147483646 w 35"/>
                <a:gd name="T27" fmla="*/ 2147483646 h 35"/>
                <a:gd name="T28" fmla="*/ 2147483646 w 35"/>
                <a:gd name="T29" fmla="*/ 2147483646 h 35"/>
                <a:gd name="T30" fmla="*/ 2147483646 w 35"/>
                <a:gd name="T31" fmla="*/ 2147483646 h 35"/>
                <a:gd name="T32" fmla="*/ 2147483646 w 35"/>
                <a:gd name="T33" fmla="*/ 2147483646 h 35"/>
                <a:gd name="T34" fmla="*/ 2147483646 w 35"/>
                <a:gd name="T35" fmla="*/ 2147483646 h 35"/>
                <a:gd name="T36" fmla="*/ 2147483646 w 35"/>
                <a:gd name="T37" fmla="*/ 2147483646 h 35"/>
                <a:gd name="T38" fmla="*/ 2147483646 w 35"/>
                <a:gd name="T39" fmla="*/ 2147483646 h 35"/>
                <a:gd name="T40" fmla="*/ 2147483646 w 35"/>
                <a:gd name="T41" fmla="*/ 2147483646 h 35"/>
                <a:gd name="T42" fmla="*/ 2147483646 w 35"/>
                <a:gd name="T43" fmla="*/ 2147483646 h 35"/>
                <a:gd name="T44" fmla="*/ 2147483646 w 35"/>
                <a:gd name="T45" fmla="*/ 2147483646 h 35"/>
                <a:gd name="T46" fmla="*/ 2147483646 w 35"/>
                <a:gd name="T47" fmla="*/ 0 h 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5" h="35">
                  <a:moveTo>
                    <a:pt x="12" y="0"/>
                  </a:moveTo>
                  <a:cubicBezTo>
                    <a:pt x="12" y="2"/>
                    <a:pt x="11" y="2"/>
                    <a:pt x="9" y="2"/>
                  </a:cubicBezTo>
                  <a:cubicBezTo>
                    <a:pt x="9" y="3"/>
                    <a:pt x="8" y="6"/>
                    <a:pt x="8" y="6"/>
                  </a:cubicBezTo>
                  <a:cubicBezTo>
                    <a:pt x="8" y="9"/>
                    <a:pt x="8" y="11"/>
                    <a:pt x="7" y="13"/>
                  </a:cubicBezTo>
                  <a:cubicBezTo>
                    <a:pt x="6" y="14"/>
                    <a:pt x="5" y="15"/>
                    <a:pt x="4" y="17"/>
                  </a:cubicBezTo>
                  <a:cubicBezTo>
                    <a:pt x="4" y="18"/>
                    <a:pt x="3" y="18"/>
                    <a:pt x="3" y="19"/>
                  </a:cubicBezTo>
                  <a:cubicBezTo>
                    <a:pt x="3" y="20"/>
                    <a:pt x="3" y="22"/>
                    <a:pt x="2" y="23"/>
                  </a:cubicBezTo>
                  <a:cubicBezTo>
                    <a:pt x="1" y="24"/>
                    <a:pt x="0" y="23"/>
                    <a:pt x="0" y="24"/>
                  </a:cubicBezTo>
                  <a:cubicBezTo>
                    <a:pt x="1" y="25"/>
                    <a:pt x="3" y="26"/>
                    <a:pt x="4" y="27"/>
                  </a:cubicBezTo>
                  <a:cubicBezTo>
                    <a:pt x="4" y="28"/>
                    <a:pt x="5" y="29"/>
                    <a:pt x="5" y="30"/>
                  </a:cubicBezTo>
                  <a:cubicBezTo>
                    <a:pt x="6" y="31"/>
                    <a:pt x="7" y="29"/>
                    <a:pt x="7" y="31"/>
                  </a:cubicBezTo>
                  <a:cubicBezTo>
                    <a:pt x="7" y="31"/>
                    <a:pt x="11" y="34"/>
                    <a:pt x="11" y="34"/>
                  </a:cubicBezTo>
                  <a:cubicBezTo>
                    <a:pt x="13" y="35"/>
                    <a:pt x="14" y="34"/>
                    <a:pt x="16" y="33"/>
                  </a:cubicBezTo>
                  <a:cubicBezTo>
                    <a:pt x="18" y="32"/>
                    <a:pt x="19" y="34"/>
                    <a:pt x="21" y="33"/>
                  </a:cubicBezTo>
                  <a:cubicBezTo>
                    <a:pt x="22" y="32"/>
                    <a:pt x="24" y="31"/>
                    <a:pt x="26" y="31"/>
                  </a:cubicBezTo>
                  <a:cubicBezTo>
                    <a:pt x="29" y="31"/>
                    <a:pt x="33" y="27"/>
                    <a:pt x="35" y="24"/>
                  </a:cubicBezTo>
                  <a:cubicBezTo>
                    <a:pt x="31" y="24"/>
                    <a:pt x="27" y="23"/>
                    <a:pt x="24" y="20"/>
                  </a:cubicBezTo>
                  <a:cubicBezTo>
                    <a:pt x="23" y="19"/>
                    <a:pt x="23" y="19"/>
                    <a:pt x="23" y="18"/>
                  </a:cubicBezTo>
                  <a:cubicBezTo>
                    <a:pt x="23" y="16"/>
                    <a:pt x="21" y="18"/>
                    <a:pt x="21" y="17"/>
                  </a:cubicBezTo>
                  <a:cubicBezTo>
                    <a:pt x="19" y="16"/>
                    <a:pt x="22" y="14"/>
                    <a:pt x="23" y="13"/>
                  </a:cubicBezTo>
                  <a:cubicBezTo>
                    <a:pt x="21" y="12"/>
                    <a:pt x="20" y="10"/>
                    <a:pt x="19" y="9"/>
                  </a:cubicBezTo>
                  <a:cubicBezTo>
                    <a:pt x="18" y="7"/>
                    <a:pt x="16" y="8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3" y="6"/>
                    <a:pt x="14" y="2"/>
                    <a:pt x="1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0" name="Freeform 254"/>
            <p:cNvSpPr>
              <a:spLocks noEditPoints="1"/>
            </p:cNvSpPr>
            <p:nvPr/>
          </p:nvSpPr>
          <p:spPr bwMode="auto">
            <a:xfrm>
              <a:off x="2296100" y="2865236"/>
              <a:ext cx="273832" cy="267603"/>
            </a:xfrm>
            <a:custGeom>
              <a:avLst/>
              <a:gdLst>
                <a:gd name="T0" fmla="*/ 2147483646 w 37"/>
                <a:gd name="T1" fmla="*/ 2147483646 h 36"/>
                <a:gd name="T2" fmla="*/ 2147483646 w 37"/>
                <a:gd name="T3" fmla="*/ 2147483646 h 36"/>
                <a:gd name="T4" fmla="*/ 2147483646 w 37"/>
                <a:gd name="T5" fmla="*/ 2147483646 h 36"/>
                <a:gd name="T6" fmla="*/ 2147483646 w 37"/>
                <a:gd name="T7" fmla="*/ 2147483646 h 36"/>
                <a:gd name="T8" fmla="*/ 2147483646 w 37"/>
                <a:gd name="T9" fmla="*/ 2147483646 h 36"/>
                <a:gd name="T10" fmla="*/ 0 w 37"/>
                <a:gd name="T11" fmla="*/ 2147483646 h 36"/>
                <a:gd name="T12" fmla="*/ 2147483646 w 37"/>
                <a:gd name="T13" fmla="*/ 2147483646 h 36"/>
                <a:gd name="T14" fmla="*/ 2147483646 w 37"/>
                <a:gd name="T15" fmla="*/ 2147483646 h 36"/>
                <a:gd name="T16" fmla="*/ 2147483646 w 37"/>
                <a:gd name="T17" fmla="*/ 2147483646 h 36"/>
                <a:gd name="T18" fmla="*/ 2147483646 w 37"/>
                <a:gd name="T19" fmla="*/ 2147483646 h 36"/>
                <a:gd name="T20" fmla="*/ 2147483646 w 37"/>
                <a:gd name="T21" fmla="*/ 2147483646 h 36"/>
                <a:gd name="T22" fmla="*/ 2147483646 w 37"/>
                <a:gd name="T23" fmla="*/ 2147483646 h 36"/>
                <a:gd name="T24" fmla="*/ 2147483646 w 37"/>
                <a:gd name="T25" fmla="*/ 2147483646 h 36"/>
                <a:gd name="T26" fmla="*/ 2147483646 w 37"/>
                <a:gd name="T27" fmla="*/ 0 h 36"/>
                <a:gd name="T28" fmla="*/ 2147483646 w 37"/>
                <a:gd name="T29" fmla="*/ 2147483646 h 36"/>
                <a:gd name="T30" fmla="*/ 2147483646 w 37"/>
                <a:gd name="T31" fmla="*/ 2147483646 h 36"/>
                <a:gd name="T32" fmla="*/ 2147483646 w 37"/>
                <a:gd name="T33" fmla="*/ 2147483646 h 36"/>
                <a:gd name="T34" fmla="*/ 2147483646 w 37"/>
                <a:gd name="T35" fmla="*/ 2147483646 h 36"/>
                <a:gd name="T36" fmla="*/ 2147483646 w 37"/>
                <a:gd name="T37" fmla="*/ 2147483646 h 36"/>
                <a:gd name="T38" fmla="*/ 2147483646 w 37"/>
                <a:gd name="T39" fmla="*/ 2147483646 h 36"/>
                <a:gd name="T40" fmla="*/ 2147483646 w 37"/>
                <a:gd name="T41" fmla="*/ 2147483646 h 36"/>
                <a:gd name="T42" fmla="*/ 2147483646 w 37"/>
                <a:gd name="T43" fmla="*/ 2147483646 h 36"/>
                <a:gd name="T44" fmla="*/ 2147483646 w 37"/>
                <a:gd name="T45" fmla="*/ 2147483646 h 36"/>
                <a:gd name="T46" fmla="*/ 2147483646 w 37"/>
                <a:gd name="T47" fmla="*/ 2147483646 h 36"/>
                <a:gd name="T48" fmla="*/ 2147483646 w 37"/>
                <a:gd name="T49" fmla="*/ 2147483646 h 36"/>
                <a:gd name="T50" fmla="*/ 2147483646 w 37"/>
                <a:gd name="T51" fmla="*/ 2147483646 h 36"/>
                <a:gd name="T52" fmla="*/ 2147483646 w 37"/>
                <a:gd name="T53" fmla="*/ 2147483646 h 36"/>
                <a:gd name="T54" fmla="*/ 2147483646 w 37"/>
                <a:gd name="T55" fmla="*/ 2147483646 h 36"/>
                <a:gd name="T56" fmla="*/ 2147483646 w 37"/>
                <a:gd name="T57" fmla="*/ 2147483646 h 36"/>
                <a:gd name="T58" fmla="*/ 2147483646 w 37"/>
                <a:gd name="T59" fmla="*/ 2147483646 h 36"/>
                <a:gd name="T60" fmla="*/ 2147483646 w 37"/>
                <a:gd name="T61" fmla="*/ 2147483646 h 36"/>
                <a:gd name="T62" fmla="*/ 2147483646 w 37"/>
                <a:gd name="T63" fmla="*/ 2147483646 h 36"/>
                <a:gd name="T64" fmla="*/ 2147483646 w 37"/>
                <a:gd name="T65" fmla="*/ 2147483646 h 36"/>
                <a:gd name="T66" fmla="*/ 2147483646 w 37"/>
                <a:gd name="T67" fmla="*/ 2147483646 h 36"/>
                <a:gd name="T68" fmla="*/ 2147483646 w 37"/>
                <a:gd name="T69" fmla="*/ 2147483646 h 36"/>
                <a:gd name="T70" fmla="*/ 2147483646 w 37"/>
                <a:gd name="T71" fmla="*/ 2147483646 h 36"/>
                <a:gd name="T72" fmla="*/ 2147483646 w 37"/>
                <a:gd name="T73" fmla="*/ 2147483646 h 36"/>
                <a:gd name="T74" fmla="*/ 2147483646 w 37"/>
                <a:gd name="T75" fmla="*/ 2147483646 h 36"/>
                <a:gd name="T76" fmla="*/ 2147483646 w 37"/>
                <a:gd name="T77" fmla="*/ 2147483646 h 36"/>
                <a:gd name="T78" fmla="*/ 2147483646 w 37"/>
                <a:gd name="T79" fmla="*/ 2147483646 h 36"/>
                <a:gd name="T80" fmla="*/ 2147483646 w 37"/>
                <a:gd name="T81" fmla="*/ 2147483646 h 36"/>
                <a:gd name="T82" fmla="*/ 2147483646 w 37"/>
                <a:gd name="T83" fmla="*/ 2147483646 h 36"/>
                <a:gd name="T84" fmla="*/ 2147483646 w 37"/>
                <a:gd name="T85" fmla="*/ 2147483646 h 36"/>
                <a:gd name="T86" fmla="*/ 2147483646 w 37"/>
                <a:gd name="T87" fmla="*/ 2147483646 h 36"/>
                <a:gd name="T88" fmla="*/ 2147483646 w 37"/>
                <a:gd name="T89" fmla="*/ 2147483646 h 36"/>
                <a:gd name="T90" fmla="*/ 2147483646 w 37"/>
                <a:gd name="T91" fmla="*/ 2147483646 h 36"/>
                <a:gd name="T92" fmla="*/ 2147483646 w 37"/>
                <a:gd name="T93" fmla="*/ 2147483646 h 36"/>
                <a:gd name="T94" fmla="*/ 2147483646 w 37"/>
                <a:gd name="T95" fmla="*/ 2147483646 h 36"/>
                <a:gd name="T96" fmla="*/ 2147483646 w 37"/>
                <a:gd name="T97" fmla="*/ 2147483646 h 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7" h="36">
                  <a:moveTo>
                    <a:pt x="14" y="36"/>
                  </a:moveTo>
                  <a:cubicBezTo>
                    <a:pt x="14" y="36"/>
                    <a:pt x="13" y="36"/>
                    <a:pt x="12" y="35"/>
                  </a:cubicBezTo>
                  <a:cubicBezTo>
                    <a:pt x="12" y="35"/>
                    <a:pt x="11" y="35"/>
                    <a:pt x="9" y="34"/>
                  </a:cubicBezTo>
                  <a:cubicBezTo>
                    <a:pt x="9" y="34"/>
                    <a:pt x="8" y="33"/>
                    <a:pt x="7" y="33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6" y="32"/>
                    <a:pt x="5" y="31"/>
                  </a:cubicBezTo>
                  <a:cubicBezTo>
                    <a:pt x="5" y="30"/>
                    <a:pt x="5" y="30"/>
                    <a:pt x="5" y="29"/>
                  </a:cubicBezTo>
                  <a:cubicBezTo>
                    <a:pt x="5" y="29"/>
                    <a:pt x="5" y="29"/>
                    <a:pt x="5" y="28"/>
                  </a:cubicBezTo>
                  <a:cubicBezTo>
                    <a:pt x="4" y="27"/>
                    <a:pt x="2" y="26"/>
                    <a:pt x="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4"/>
                    <a:pt x="1" y="24"/>
                    <a:pt x="2" y="24"/>
                  </a:cubicBezTo>
                  <a:cubicBezTo>
                    <a:pt x="2" y="24"/>
                    <a:pt x="3" y="24"/>
                    <a:pt x="3" y="23"/>
                  </a:cubicBezTo>
                  <a:cubicBezTo>
                    <a:pt x="3" y="23"/>
                    <a:pt x="3" y="22"/>
                    <a:pt x="3" y="21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6"/>
                    <a:pt x="6" y="15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3"/>
                    <a:pt x="8" y="11"/>
                    <a:pt x="8" y="10"/>
                  </a:cubicBezTo>
                  <a:cubicBezTo>
                    <a:pt x="8" y="9"/>
                    <a:pt x="8" y="8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3"/>
                    <a:pt x="10" y="3"/>
                  </a:cubicBezTo>
                  <a:cubicBezTo>
                    <a:pt x="10" y="3"/>
                    <a:pt x="11" y="3"/>
                    <a:pt x="11" y="3"/>
                  </a:cubicBezTo>
                  <a:cubicBezTo>
                    <a:pt x="12" y="2"/>
                    <a:pt x="13" y="2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2"/>
                    <a:pt x="15" y="3"/>
                    <a:pt x="15" y="4"/>
                  </a:cubicBezTo>
                  <a:cubicBezTo>
                    <a:pt x="16" y="5"/>
                    <a:pt x="16" y="6"/>
                    <a:pt x="16" y="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8" y="8"/>
                    <a:pt x="18" y="8"/>
                    <a:pt x="19" y="8"/>
                  </a:cubicBezTo>
                  <a:cubicBezTo>
                    <a:pt x="19" y="8"/>
                    <a:pt x="20" y="9"/>
                    <a:pt x="21" y="9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2" y="11"/>
                    <a:pt x="23" y="13"/>
                    <a:pt x="24" y="13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3" y="15"/>
                    <a:pt x="22" y="16"/>
                    <a:pt x="22" y="17"/>
                  </a:cubicBezTo>
                  <a:cubicBezTo>
                    <a:pt x="22" y="17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4" y="17"/>
                    <a:pt x="24" y="17"/>
                    <a:pt x="24" y="19"/>
                  </a:cubicBezTo>
                  <a:cubicBezTo>
                    <a:pt x="24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8" y="23"/>
                    <a:pt x="32" y="25"/>
                    <a:pt x="36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8"/>
                    <a:pt x="30" y="32"/>
                    <a:pt x="27" y="33"/>
                  </a:cubicBezTo>
                  <a:cubicBezTo>
                    <a:pt x="26" y="33"/>
                    <a:pt x="25" y="33"/>
                    <a:pt x="23" y="34"/>
                  </a:cubicBezTo>
                  <a:cubicBezTo>
                    <a:pt x="23" y="34"/>
                    <a:pt x="22" y="35"/>
                    <a:pt x="22" y="35"/>
                  </a:cubicBezTo>
                  <a:cubicBezTo>
                    <a:pt x="21" y="35"/>
                    <a:pt x="20" y="35"/>
                    <a:pt x="19" y="35"/>
                  </a:cubicBezTo>
                  <a:cubicBezTo>
                    <a:pt x="19" y="35"/>
                    <a:pt x="18" y="34"/>
                    <a:pt x="18" y="35"/>
                  </a:cubicBezTo>
                  <a:cubicBezTo>
                    <a:pt x="16" y="36"/>
                    <a:pt x="15" y="36"/>
                    <a:pt x="14" y="36"/>
                  </a:cubicBezTo>
                  <a:close/>
                  <a:moveTo>
                    <a:pt x="8" y="32"/>
                  </a:moveTo>
                  <a:cubicBezTo>
                    <a:pt x="8" y="32"/>
                    <a:pt x="9" y="33"/>
                    <a:pt x="10" y="33"/>
                  </a:cubicBezTo>
                  <a:cubicBezTo>
                    <a:pt x="11" y="34"/>
                    <a:pt x="12" y="34"/>
                    <a:pt x="12" y="34"/>
                  </a:cubicBezTo>
                  <a:cubicBezTo>
                    <a:pt x="14" y="35"/>
                    <a:pt x="15" y="35"/>
                    <a:pt x="17" y="34"/>
                  </a:cubicBezTo>
                  <a:cubicBezTo>
                    <a:pt x="18" y="33"/>
                    <a:pt x="19" y="33"/>
                    <a:pt x="20" y="34"/>
                  </a:cubicBezTo>
                  <a:cubicBezTo>
                    <a:pt x="20" y="34"/>
                    <a:pt x="21" y="34"/>
                    <a:pt x="21" y="34"/>
                  </a:cubicBezTo>
                  <a:cubicBezTo>
                    <a:pt x="22" y="34"/>
                    <a:pt x="22" y="33"/>
                    <a:pt x="23" y="33"/>
                  </a:cubicBezTo>
                  <a:cubicBezTo>
                    <a:pt x="24" y="32"/>
                    <a:pt x="25" y="32"/>
                    <a:pt x="27" y="31"/>
                  </a:cubicBezTo>
                  <a:cubicBezTo>
                    <a:pt x="30" y="31"/>
                    <a:pt x="33" y="28"/>
                    <a:pt x="35" y="25"/>
                  </a:cubicBezTo>
                  <a:cubicBezTo>
                    <a:pt x="31" y="26"/>
                    <a:pt x="27" y="24"/>
                    <a:pt x="25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0"/>
                    <a:pt x="23" y="20"/>
                    <a:pt x="23" y="19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9"/>
                    <a:pt x="23" y="19"/>
                  </a:cubicBezTo>
                  <a:cubicBezTo>
                    <a:pt x="22" y="19"/>
                    <a:pt x="22" y="19"/>
                    <a:pt x="21" y="19"/>
                  </a:cubicBezTo>
                  <a:cubicBezTo>
                    <a:pt x="21" y="18"/>
                    <a:pt x="21" y="18"/>
                    <a:pt x="21" y="17"/>
                  </a:cubicBezTo>
                  <a:cubicBezTo>
                    <a:pt x="21" y="16"/>
                    <a:pt x="22" y="15"/>
                    <a:pt x="23" y="14"/>
                  </a:cubicBezTo>
                  <a:cubicBezTo>
                    <a:pt x="22" y="13"/>
                    <a:pt x="21" y="12"/>
                    <a:pt x="20" y="11"/>
                  </a:cubicBezTo>
                  <a:cubicBezTo>
                    <a:pt x="20" y="11"/>
                    <a:pt x="20" y="10"/>
                    <a:pt x="20" y="10"/>
                  </a:cubicBezTo>
                  <a:cubicBezTo>
                    <a:pt x="19" y="10"/>
                    <a:pt x="19" y="10"/>
                    <a:pt x="18" y="9"/>
                  </a:cubicBezTo>
                  <a:cubicBezTo>
                    <a:pt x="18" y="9"/>
                    <a:pt x="18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8"/>
                    <a:pt x="15" y="6"/>
                    <a:pt x="14" y="5"/>
                  </a:cubicBezTo>
                  <a:cubicBezTo>
                    <a:pt x="14" y="4"/>
                    <a:pt x="14" y="3"/>
                    <a:pt x="14" y="2"/>
                  </a:cubicBezTo>
                  <a:cubicBezTo>
                    <a:pt x="13" y="3"/>
                    <a:pt x="12" y="3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6"/>
                    <a:pt x="10" y="7"/>
                  </a:cubicBezTo>
                  <a:cubicBezTo>
                    <a:pt x="10" y="7"/>
                    <a:pt x="10" y="7"/>
                    <a:pt x="10" y="8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11"/>
                    <a:pt x="9" y="13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6"/>
                    <a:pt x="6" y="17"/>
                    <a:pt x="6" y="18"/>
                  </a:cubicBezTo>
                  <a:cubicBezTo>
                    <a:pt x="6" y="19"/>
                    <a:pt x="5" y="19"/>
                    <a:pt x="5" y="19"/>
                  </a:cubicBezTo>
                  <a:cubicBezTo>
                    <a:pt x="5" y="19"/>
                    <a:pt x="4" y="20"/>
                    <a:pt x="4" y="20"/>
                  </a:cubicBezTo>
                  <a:cubicBezTo>
                    <a:pt x="4" y="20"/>
                    <a:pt x="4" y="20"/>
                    <a:pt x="4" y="21"/>
                  </a:cubicBezTo>
                  <a:cubicBezTo>
                    <a:pt x="4" y="22"/>
                    <a:pt x="4" y="24"/>
                    <a:pt x="4" y="24"/>
                  </a:cubicBezTo>
                  <a:cubicBezTo>
                    <a:pt x="3" y="25"/>
                    <a:pt x="3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5" y="27"/>
                    <a:pt x="5" y="28"/>
                  </a:cubicBezTo>
                  <a:cubicBezTo>
                    <a:pt x="6" y="28"/>
                    <a:pt x="6" y="29"/>
                    <a:pt x="6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8" y="31"/>
                    <a:pt x="8" y="31"/>
                    <a:pt x="8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1" name="Freeform 255"/>
            <p:cNvSpPr/>
            <p:nvPr/>
          </p:nvSpPr>
          <p:spPr bwMode="auto">
            <a:xfrm>
              <a:off x="2421999" y="2909312"/>
              <a:ext cx="6295" cy="9445"/>
            </a:xfrm>
            <a:custGeom>
              <a:avLst/>
              <a:gdLst>
                <a:gd name="T0" fmla="*/ 2147483646 w 1"/>
                <a:gd name="T1" fmla="*/ 2147483646 h 1"/>
                <a:gd name="T2" fmla="*/ 0 w 1"/>
                <a:gd name="T3" fmla="*/ 2147483646 h 1"/>
                <a:gd name="T4" fmla="*/ 2147483646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0" y="0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2" name="Freeform 256"/>
            <p:cNvSpPr/>
            <p:nvPr/>
          </p:nvSpPr>
          <p:spPr bwMode="auto">
            <a:xfrm>
              <a:off x="2415704" y="2909312"/>
              <a:ext cx="22032" cy="15741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2147483646 h 2"/>
                <a:gd name="T6" fmla="*/ 0 w 3"/>
                <a:gd name="T7" fmla="*/ 0 h 2"/>
                <a:gd name="T8" fmla="*/ 2147483646 w 3"/>
                <a:gd name="T9" fmla="*/ 0 h 2"/>
                <a:gd name="T10" fmla="*/ 2147483646 w 3"/>
                <a:gd name="T11" fmla="*/ 0 h 2"/>
                <a:gd name="T12" fmla="*/ 2147483646 w 3"/>
                <a:gd name="T13" fmla="*/ 2147483646 h 2"/>
                <a:gd name="T14" fmla="*/ 2147483646 w 3"/>
                <a:gd name="T15" fmla="*/ 2147483646 h 2"/>
                <a:gd name="T16" fmla="*/ 2147483646 w 3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3" name="Freeform 257"/>
            <p:cNvSpPr/>
            <p:nvPr/>
          </p:nvSpPr>
          <p:spPr bwMode="auto">
            <a:xfrm>
              <a:off x="2450327" y="2969129"/>
              <a:ext cx="31475" cy="37780"/>
            </a:xfrm>
            <a:custGeom>
              <a:avLst/>
              <a:gdLst>
                <a:gd name="T0" fmla="*/ 2147483646 w 4"/>
                <a:gd name="T1" fmla="*/ 2147483646 h 5"/>
                <a:gd name="T2" fmla="*/ 2147483646 w 4"/>
                <a:gd name="T3" fmla="*/ 2147483646 h 5"/>
                <a:gd name="T4" fmla="*/ 2147483646 w 4"/>
                <a:gd name="T5" fmla="*/ 2147483646 h 5"/>
                <a:gd name="T6" fmla="*/ 2147483646 w 4"/>
                <a:gd name="T7" fmla="*/ 2147483646 h 5"/>
                <a:gd name="T8" fmla="*/ 2147483646 w 4"/>
                <a:gd name="T9" fmla="*/ 2147483646 h 5"/>
                <a:gd name="T10" fmla="*/ 2147483646 w 4"/>
                <a:gd name="T11" fmla="*/ 2147483646 h 5"/>
                <a:gd name="T12" fmla="*/ 2147483646 w 4"/>
                <a:gd name="T13" fmla="*/ 2147483646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cubicBezTo>
                    <a:pt x="4" y="3"/>
                    <a:pt x="3" y="4"/>
                    <a:pt x="3" y="4"/>
                  </a:cubicBezTo>
                  <a:cubicBezTo>
                    <a:pt x="2" y="4"/>
                    <a:pt x="1" y="5"/>
                    <a:pt x="1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" y="2"/>
                    <a:pt x="3" y="2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4" name="Freeform 258"/>
            <p:cNvSpPr>
              <a:spLocks noEditPoints="1"/>
            </p:cNvSpPr>
            <p:nvPr/>
          </p:nvSpPr>
          <p:spPr bwMode="auto">
            <a:xfrm>
              <a:off x="2450327" y="2962832"/>
              <a:ext cx="37770" cy="44076"/>
            </a:xfrm>
            <a:custGeom>
              <a:avLst/>
              <a:gdLst>
                <a:gd name="T0" fmla="*/ 2147483646 w 5"/>
                <a:gd name="T1" fmla="*/ 2147483646 h 6"/>
                <a:gd name="T2" fmla="*/ 2147483646 w 5"/>
                <a:gd name="T3" fmla="*/ 2147483646 h 6"/>
                <a:gd name="T4" fmla="*/ 2147483646 w 5"/>
                <a:gd name="T5" fmla="*/ 2147483646 h 6"/>
                <a:gd name="T6" fmla="*/ 2147483646 w 5"/>
                <a:gd name="T7" fmla="*/ 2147483646 h 6"/>
                <a:gd name="T8" fmla="*/ 0 w 5"/>
                <a:gd name="T9" fmla="*/ 2147483646 h 6"/>
                <a:gd name="T10" fmla="*/ 0 w 5"/>
                <a:gd name="T11" fmla="*/ 2147483646 h 6"/>
                <a:gd name="T12" fmla="*/ 0 w 5"/>
                <a:gd name="T13" fmla="*/ 2147483646 h 6"/>
                <a:gd name="T14" fmla="*/ 0 w 5"/>
                <a:gd name="T15" fmla="*/ 2147483646 h 6"/>
                <a:gd name="T16" fmla="*/ 2147483646 w 5"/>
                <a:gd name="T17" fmla="*/ 2147483646 h 6"/>
                <a:gd name="T18" fmla="*/ 2147483646 w 5"/>
                <a:gd name="T19" fmla="*/ 0 h 6"/>
                <a:gd name="T20" fmla="*/ 2147483646 w 5"/>
                <a:gd name="T21" fmla="*/ 2147483646 h 6"/>
                <a:gd name="T22" fmla="*/ 2147483646 w 5"/>
                <a:gd name="T23" fmla="*/ 2147483646 h 6"/>
                <a:gd name="T24" fmla="*/ 2147483646 w 5"/>
                <a:gd name="T25" fmla="*/ 2147483646 h 6"/>
                <a:gd name="T26" fmla="*/ 2147483646 w 5"/>
                <a:gd name="T27" fmla="*/ 2147483646 h 6"/>
                <a:gd name="T28" fmla="*/ 2147483646 w 5"/>
                <a:gd name="T29" fmla="*/ 2147483646 h 6"/>
                <a:gd name="T30" fmla="*/ 2147483646 w 5"/>
                <a:gd name="T31" fmla="*/ 2147483646 h 6"/>
                <a:gd name="T32" fmla="*/ 2147483646 w 5"/>
                <a:gd name="T33" fmla="*/ 2147483646 h 6"/>
                <a:gd name="T34" fmla="*/ 2147483646 w 5"/>
                <a:gd name="T35" fmla="*/ 2147483646 h 6"/>
                <a:gd name="T36" fmla="*/ 2147483646 w 5"/>
                <a:gd name="T37" fmla="*/ 2147483646 h 6"/>
                <a:gd name="T38" fmla="*/ 2147483646 w 5"/>
                <a:gd name="T39" fmla="*/ 2147483646 h 6"/>
                <a:gd name="T40" fmla="*/ 2147483646 w 5"/>
                <a:gd name="T41" fmla="*/ 2147483646 h 6"/>
                <a:gd name="T42" fmla="*/ 2147483646 w 5"/>
                <a:gd name="T43" fmla="*/ 2147483646 h 6"/>
                <a:gd name="T44" fmla="*/ 2147483646 w 5"/>
                <a:gd name="T45" fmla="*/ 2147483646 h 6"/>
                <a:gd name="T46" fmla="*/ 2147483646 w 5"/>
                <a:gd name="T47" fmla="*/ 2147483646 h 6"/>
                <a:gd name="T48" fmla="*/ 2147483646 w 5"/>
                <a:gd name="T49" fmla="*/ 2147483646 h 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" h="6">
                  <a:moveTo>
                    <a:pt x="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3" y="5"/>
                    <a:pt x="3" y="6"/>
                  </a:cubicBezTo>
                  <a:close/>
                  <a:moveTo>
                    <a:pt x="3" y="2"/>
                  </a:moveTo>
                  <a:cubicBezTo>
                    <a:pt x="3" y="2"/>
                    <a:pt x="2" y="2"/>
                    <a:pt x="2" y="2"/>
                  </a:cubicBezTo>
                  <a:cubicBezTo>
                    <a:pt x="2" y="3"/>
                    <a:pt x="1" y="3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5" name="Freeform 259"/>
            <p:cNvSpPr/>
            <p:nvPr/>
          </p:nvSpPr>
          <p:spPr bwMode="auto">
            <a:xfrm>
              <a:off x="1886926" y="3148579"/>
              <a:ext cx="97572" cy="110189"/>
            </a:xfrm>
            <a:custGeom>
              <a:avLst/>
              <a:gdLst>
                <a:gd name="T0" fmla="*/ 2147483646 w 13"/>
                <a:gd name="T1" fmla="*/ 2147483646 h 15"/>
                <a:gd name="T2" fmla="*/ 2147483646 w 13"/>
                <a:gd name="T3" fmla="*/ 0 h 15"/>
                <a:gd name="T4" fmla="*/ 2147483646 w 13"/>
                <a:gd name="T5" fmla="*/ 2147483646 h 15"/>
                <a:gd name="T6" fmla="*/ 2147483646 w 13"/>
                <a:gd name="T7" fmla="*/ 2147483646 h 15"/>
                <a:gd name="T8" fmla="*/ 2147483646 w 13"/>
                <a:gd name="T9" fmla="*/ 2147483646 h 15"/>
                <a:gd name="T10" fmla="*/ 2147483646 w 13"/>
                <a:gd name="T11" fmla="*/ 2147483646 h 15"/>
                <a:gd name="T12" fmla="*/ 0 w 13"/>
                <a:gd name="T13" fmla="*/ 2147483646 h 15"/>
                <a:gd name="T14" fmla="*/ 2147483646 w 13"/>
                <a:gd name="T15" fmla="*/ 2147483646 h 15"/>
                <a:gd name="T16" fmla="*/ 2147483646 w 13"/>
                <a:gd name="T17" fmla="*/ 2147483646 h 15"/>
                <a:gd name="T18" fmla="*/ 2147483646 w 13"/>
                <a:gd name="T19" fmla="*/ 2147483646 h 15"/>
                <a:gd name="T20" fmla="*/ 2147483646 w 13"/>
                <a:gd name="T21" fmla="*/ 2147483646 h 15"/>
                <a:gd name="T22" fmla="*/ 2147483646 w 13"/>
                <a:gd name="T23" fmla="*/ 2147483646 h 15"/>
                <a:gd name="T24" fmla="*/ 2147483646 w 13"/>
                <a:gd name="T25" fmla="*/ 2147483646 h 15"/>
                <a:gd name="T26" fmla="*/ 2147483646 w 13"/>
                <a:gd name="T27" fmla="*/ 2147483646 h 15"/>
                <a:gd name="T28" fmla="*/ 2147483646 w 13"/>
                <a:gd name="T29" fmla="*/ 2147483646 h 15"/>
                <a:gd name="T30" fmla="*/ 2147483646 w 13"/>
                <a:gd name="T31" fmla="*/ 2147483646 h 1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" h="15">
                  <a:moveTo>
                    <a:pt x="10" y="1"/>
                  </a:moveTo>
                  <a:cubicBezTo>
                    <a:pt x="9" y="0"/>
                    <a:pt x="7" y="0"/>
                    <a:pt x="6" y="0"/>
                  </a:cubicBezTo>
                  <a:cubicBezTo>
                    <a:pt x="6" y="2"/>
                    <a:pt x="6" y="3"/>
                    <a:pt x="4" y="3"/>
                  </a:cubicBezTo>
                  <a:cubicBezTo>
                    <a:pt x="3" y="3"/>
                    <a:pt x="2" y="3"/>
                    <a:pt x="1" y="4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6"/>
                    <a:pt x="1" y="7"/>
                    <a:pt x="0" y="7"/>
                  </a:cubicBezTo>
                  <a:cubicBezTo>
                    <a:pt x="0" y="7"/>
                    <a:pt x="1" y="9"/>
                    <a:pt x="1" y="10"/>
                  </a:cubicBezTo>
                  <a:cubicBezTo>
                    <a:pt x="2" y="12"/>
                    <a:pt x="4" y="13"/>
                    <a:pt x="5" y="15"/>
                  </a:cubicBezTo>
                  <a:cubicBezTo>
                    <a:pt x="5" y="14"/>
                    <a:pt x="6" y="13"/>
                    <a:pt x="6" y="13"/>
                  </a:cubicBezTo>
                  <a:cubicBezTo>
                    <a:pt x="6" y="12"/>
                    <a:pt x="6" y="12"/>
                    <a:pt x="7" y="11"/>
                  </a:cubicBezTo>
                  <a:cubicBezTo>
                    <a:pt x="8" y="10"/>
                    <a:pt x="8" y="10"/>
                    <a:pt x="10" y="10"/>
                  </a:cubicBezTo>
                  <a:cubicBezTo>
                    <a:pt x="10" y="10"/>
                    <a:pt x="12" y="12"/>
                    <a:pt x="12" y="10"/>
                  </a:cubicBezTo>
                  <a:cubicBezTo>
                    <a:pt x="12" y="9"/>
                    <a:pt x="12" y="5"/>
                    <a:pt x="12" y="5"/>
                  </a:cubicBezTo>
                  <a:cubicBezTo>
                    <a:pt x="13" y="2"/>
                    <a:pt x="11" y="1"/>
                    <a:pt x="10" y="3"/>
                  </a:cubicBezTo>
                  <a:cubicBezTo>
                    <a:pt x="10" y="2"/>
                    <a:pt x="10" y="1"/>
                    <a:pt x="1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6" name="Freeform 260"/>
            <p:cNvSpPr>
              <a:spLocks noEditPoints="1"/>
            </p:cNvSpPr>
            <p:nvPr/>
          </p:nvSpPr>
          <p:spPr bwMode="auto">
            <a:xfrm>
              <a:off x="1877483" y="3148579"/>
              <a:ext cx="107015" cy="119634"/>
            </a:xfrm>
            <a:custGeom>
              <a:avLst/>
              <a:gdLst>
                <a:gd name="T0" fmla="*/ 2147483646 w 14"/>
                <a:gd name="T1" fmla="*/ 2147483646 h 16"/>
                <a:gd name="T2" fmla="*/ 2147483646 w 14"/>
                <a:gd name="T3" fmla="*/ 2147483646 h 16"/>
                <a:gd name="T4" fmla="*/ 2147483646 w 14"/>
                <a:gd name="T5" fmla="*/ 2147483646 h 16"/>
                <a:gd name="T6" fmla="*/ 2147483646 w 14"/>
                <a:gd name="T7" fmla="*/ 2147483646 h 16"/>
                <a:gd name="T8" fmla="*/ 2147483646 w 14"/>
                <a:gd name="T9" fmla="*/ 2147483646 h 16"/>
                <a:gd name="T10" fmla="*/ 2147483646 w 14"/>
                <a:gd name="T11" fmla="*/ 2147483646 h 16"/>
                <a:gd name="T12" fmla="*/ 2147483646 w 14"/>
                <a:gd name="T13" fmla="*/ 0 h 16"/>
                <a:gd name="T14" fmla="*/ 2147483646 w 14"/>
                <a:gd name="T15" fmla="*/ 0 h 16"/>
                <a:gd name="T16" fmla="*/ 2147483646 w 14"/>
                <a:gd name="T17" fmla="*/ 2147483646 h 16"/>
                <a:gd name="T18" fmla="*/ 2147483646 w 14"/>
                <a:gd name="T19" fmla="*/ 2147483646 h 16"/>
                <a:gd name="T20" fmla="*/ 2147483646 w 14"/>
                <a:gd name="T21" fmla="*/ 2147483646 h 16"/>
                <a:gd name="T22" fmla="*/ 2147483646 w 14"/>
                <a:gd name="T23" fmla="*/ 2147483646 h 16"/>
                <a:gd name="T24" fmla="*/ 2147483646 w 14"/>
                <a:gd name="T25" fmla="*/ 2147483646 h 16"/>
                <a:gd name="T26" fmla="*/ 2147483646 w 14"/>
                <a:gd name="T27" fmla="*/ 2147483646 h 16"/>
                <a:gd name="T28" fmla="*/ 2147483646 w 14"/>
                <a:gd name="T29" fmla="*/ 2147483646 h 16"/>
                <a:gd name="T30" fmla="*/ 2147483646 w 14"/>
                <a:gd name="T31" fmla="*/ 2147483646 h 16"/>
                <a:gd name="T32" fmla="*/ 2147483646 w 14"/>
                <a:gd name="T33" fmla="*/ 2147483646 h 16"/>
                <a:gd name="T34" fmla="*/ 2147483646 w 14"/>
                <a:gd name="T35" fmla="*/ 2147483646 h 16"/>
                <a:gd name="T36" fmla="*/ 2147483646 w 14"/>
                <a:gd name="T37" fmla="*/ 2147483646 h 16"/>
                <a:gd name="T38" fmla="*/ 2147483646 w 14"/>
                <a:gd name="T39" fmla="*/ 2147483646 h 16"/>
                <a:gd name="T40" fmla="*/ 2147483646 w 14"/>
                <a:gd name="T41" fmla="*/ 2147483646 h 16"/>
                <a:gd name="T42" fmla="*/ 2147483646 w 14"/>
                <a:gd name="T43" fmla="*/ 2147483646 h 16"/>
                <a:gd name="T44" fmla="*/ 2147483646 w 14"/>
                <a:gd name="T45" fmla="*/ 2147483646 h 16"/>
                <a:gd name="T46" fmla="*/ 2147483646 w 14"/>
                <a:gd name="T47" fmla="*/ 2147483646 h 16"/>
                <a:gd name="T48" fmla="*/ 2147483646 w 14"/>
                <a:gd name="T49" fmla="*/ 2147483646 h 16"/>
                <a:gd name="T50" fmla="*/ 2147483646 w 14"/>
                <a:gd name="T51" fmla="*/ 2147483646 h 16"/>
                <a:gd name="T52" fmla="*/ 2147483646 w 14"/>
                <a:gd name="T53" fmla="*/ 2147483646 h 16"/>
                <a:gd name="T54" fmla="*/ 2147483646 w 14"/>
                <a:gd name="T55" fmla="*/ 2147483646 h 16"/>
                <a:gd name="T56" fmla="*/ 2147483646 w 14"/>
                <a:gd name="T57" fmla="*/ 2147483646 h 16"/>
                <a:gd name="T58" fmla="*/ 2147483646 w 14"/>
                <a:gd name="T59" fmla="*/ 2147483646 h 16"/>
                <a:gd name="T60" fmla="*/ 2147483646 w 14"/>
                <a:gd name="T61" fmla="*/ 2147483646 h 16"/>
                <a:gd name="T62" fmla="*/ 2147483646 w 14"/>
                <a:gd name="T63" fmla="*/ 2147483646 h 16"/>
                <a:gd name="T64" fmla="*/ 2147483646 w 14"/>
                <a:gd name="T65" fmla="*/ 2147483646 h 1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" h="16">
                  <a:moveTo>
                    <a:pt x="6" y="16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5" y="15"/>
                    <a:pt x="5" y="14"/>
                    <a:pt x="4" y="14"/>
                  </a:cubicBezTo>
                  <a:cubicBezTo>
                    <a:pt x="3" y="12"/>
                    <a:pt x="2" y="11"/>
                    <a:pt x="1" y="10"/>
                  </a:cubicBezTo>
                  <a:cubicBezTo>
                    <a:pt x="1" y="10"/>
                    <a:pt x="0" y="7"/>
                    <a:pt x="1" y="7"/>
                  </a:cubicBezTo>
                  <a:cubicBezTo>
                    <a:pt x="1" y="6"/>
                    <a:pt x="2" y="6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3"/>
                    <a:pt x="4" y="3"/>
                  </a:cubicBezTo>
                  <a:cubicBezTo>
                    <a:pt x="4" y="3"/>
                    <a:pt x="5" y="3"/>
                    <a:pt x="5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2"/>
                    <a:pt x="14" y="2"/>
                  </a:cubicBezTo>
                  <a:cubicBezTo>
                    <a:pt x="14" y="3"/>
                    <a:pt x="14" y="4"/>
                    <a:pt x="14" y="5"/>
                  </a:cubicBezTo>
                  <a:cubicBezTo>
                    <a:pt x="13" y="5"/>
                    <a:pt x="13" y="7"/>
                    <a:pt x="14" y="8"/>
                  </a:cubicBezTo>
                  <a:cubicBezTo>
                    <a:pt x="14" y="9"/>
                    <a:pt x="14" y="10"/>
                    <a:pt x="14" y="11"/>
                  </a:cubicBezTo>
                  <a:cubicBezTo>
                    <a:pt x="14" y="11"/>
                    <a:pt x="13" y="12"/>
                    <a:pt x="12" y="12"/>
                  </a:cubicBezTo>
                  <a:cubicBezTo>
                    <a:pt x="12" y="12"/>
                    <a:pt x="11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2"/>
                    <a:pt x="8" y="12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8" y="14"/>
                    <a:pt x="7" y="14"/>
                  </a:cubicBezTo>
                  <a:cubicBezTo>
                    <a:pt x="7" y="14"/>
                    <a:pt x="7" y="15"/>
                    <a:pt x="7" y="15"/>
                  </a:cubicBezTo>
                  <a:lnTo>
                    <a:pt x="6" y="16"/>
                  </a:lnTo>
                  <a:close/>
                  <a:moveTo>
                    <a:pt x="1" y="7"/>
                  </a:moveTo>
                  <a:cubicBezTo>
                    <a:pt x="2" y="8"/>
                    <a:pt x="2" y="9"/>
                    <a:pt x="2" y="10"/>
                  </a:cubicBezTo>
                  <a:cubicBezTo>
                    <a:pt x="3" y="11"/>
                    <a:pt x="4" y="12"/>
                    <a:pt x="5" y="13"/>
                  </a:cubicBezTo>
                  <a:cubicBezTo>
                    <a:pt x="5" y="13"/>
                    <a:pt x="6" y="13"/>
                    <a:pt x="6" y="14"/>
                  </a:cubicBezTo>
                  <a:cubicBezTo>
                    <a:pt x="6" y="14"/>
                    <a:pt x="6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2"/>
                    <a:pt x="7" y="11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9"/>
                    <a:pt x="10" y="9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2" y="10"/>
                    <a:pt x="12" y="10"/>
                  </a:cubicBezTo>
                  <a:cubicBezTo>
                    <a:pt x="12" y="10"/>
                    <a:pt x="12" y="9"/>
                    <a:pt x="12" y="8"/>
                  </a:cubicBezTo>
                  <a:cubicBezTo>
                    <a:pt x="12" y="6"/>
                    <a:pt x="12" y="5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2"/>
                    <a:pt x="10" y="1"/>
                  </a:cubicBezTo>
                  <a:cubicBezTo>
                    <a:pt x="10" y="1"/>
                    <a:pt x="9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6" y="3"/>
                    <a:pt x="6" y="4"/>
                    <a:pt x="5" y="4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2" y="7"/>
                    <a:pt x="1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7" name="Freeform 261"/>
            <p:cNvSpPr/>
            <p:nvPr/>
          </p:nvSpPr>
          <p:spPr bwMode="auto">
            <a:xfrm>
              <a:off x="1439982" y="2947091"/>
              <a:ext cx="59802" cy="22039"/>
            </a:xfrm>
            <a:custGeom>
              <a:avLst/>
              <a:gdLst>
                <a:gd name="T0" fmla="*/ 2147483646 w 8"/>
                <a:gd name="T1" fmla="*/ 2147483646 h 3"/>
                <a:gd name="T2" fmla="*/ 2147483646 w 8"/>
                <a:gd name="T3" fmla="*/ 2147483646 h 3"/>
                <a:gd name="T4" fmla="*/ 2147483646 w 8"/>
                <a:gd name="T5" fmla="*/ 2147483646 h 3"/>
                <a:gd name="T6" fmla="*/ 2147483646 w 8"/>
                <a:gd name="T7" fmla="*/ 2147483646 h 3"/>
                <a:gd name="T8" fmla="*/ 2147483646 w 8"/>
                <a:gd name="T9" fmla="*/ 0 h 3"/>
                <a:gd name="T10" fmla="*/ 2147483646 w 8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3">
                  <a:moveTo>
                    <a:pt x="1" y="1"/>
                  </a:moveTo>
                  <a:cubicBezTo>
                    <a:pt x="1" y="1"/>
                    <a:pt x="0" y="1"/>
                    <a:pt x="1" y="2"/>
                  </a:cubicBezTo>
                  <a:cubicBezTo>
                    <a:pt x="2" y="2"/>
                    <a:pt x="3" y="1"/>
                    <a:pt x="5" y="1"/>
                  </a:cubicBezTo>
                  <a:cubicBezTo>
                    <a:pt x="6" y="1"/>
                    <a:pt x="7" y="3"/>
                    <a:pt x="8" y="1"/>
                  </a:cubicBezTo>
                  <a:cubicBezTo>
                    <a:pt x="6" y="2"/>
                    <a:pt x="6" y="0"/>
                    <a:pt x="5" y="0"/>
                  </a:cubicBezTo>
                  <a:cubicBezTo>
                    <a:pt x="4" y="0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8" name="Freeform 262"/>
            <p:cNvSpPr/>
            <p:nvPr/>
          </p:nvSpPr>
          <p:spPr bwMode="auto">
            <a:xfrm>
              <a:off x="1439982" y="2947091"/>
              <a:ext cx="66097" cy="22039"/>
            </a:xfrm>
            <a:custGeom>
              <a:avLst/>
              <a:gdLst>
                <a:gd name="T0" fmla="*/ 0 w 9"/>
                <a:gd name="T1" fmla="*/ 2147483646 h 3"/>
                <a:gd name="T2" fmla="*/ 0 w 9"/>
                <a:gd name="T3" fmla="*/ 2147483646 h 3"/>
                <a:gd name="T4" fmla="*/ 2147483646 w 9"/>
                <a:gd name="T5" fmla="*/ 2147483646 h 3"/>
                <a:gd name="T6" fmla="*/ 2147483646 w 9"/>
                <a:gd name="T7" fmla="*/ 0 h 3"/>
                <a:gd name="T8" fmla="*/ 2147483646 w 9"/>
                <a:gd name="T9" fmla="*/ 0 h 3"/>
                <a:gd name="T10" fmla="*/ 2147483646 w 9"/>
                <a:gd name="T11" fmla="*/ 0 h 3"/>
                <a:gd name="T12" fmla="*/ 2147483646 w 9"/>
                <a:gd name="T13" fmla="*/ 0 h 3"/>
                <a:gd name="T14" fmla="*/ 2147483646 w 9"/>
                <a:gd name="T15" fmla="*/ 0 h 3"/>
                <a:gd name="T16" fmla="*/ 2147483646 w 9"/>
                <a:gd name="T17" fmla="*/ 0 h 3"/>
                <a:gd name="T18" fmla="*/ 2147483646 w 9"/>
                <a:gd name="T19" fmla="*/ 0 h 3"/>
                <a:gd name="T20" fmla="*/ 2147483646 w 9"/>
                <a:gd name="T21" fmla="*/ 0 h 3"/>
                <a:gd name="T22" fmla="*/ 2147483646 w 9"/>
                <a:gd name="T23" fmla="*/ 2147483646 h 3"/>
                <a:gd name="T24" fmla="*/ 2147483646 w 9"/>
                <a:gd name="T25" fmla="*/ 2147483646 h 3"/>
                <a:gd name="T26" fmla="*/ 2147483646 w 9"/>
                <a:gd name="T27" fmla="*/ 2147483646 h 3"/>
                <a:gd name="T28" fmla="*/ 2147483646 w 9"/>
                <a:gd name="T29" fmla="*/ 2147483646 h 3"/>
                <a:gd name="T30" fmla="*/ 2147483646 w 9"/>
                <a:gd name="T31" fmla="*/ 2147483646 h 3"/>
                <a:gd name="T32" fmla="*/ 2147483646 w 9"/>
                <a:gd name="T33" fmla="*/ 2147483646 h 3"/>
                <a:gd name="T34" fmla="*/ 0 w 9"/>
                <a:gd name="T35" fmla="*/ 2147483646 h 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" h="3">
                  <a:moveTo>
                    <a:pt x="0" y="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1"/>
                    <a:pt x="7" y="1"/>
                    <a:pt x="7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4" y="1"/>
                    <a:pt x="4" y="2"/>
                    <a:pt x="3" y="2"/>
                  </a:cubicBezTo>
                  <a:cubicBezTo>
                    <a:pt x="2" y="2"/>
                    <a:pt x="1" y="3"/>
                    <a:pt x="1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9" name="Freeform 263"/>
            <p:cNvSpPr/>
            <p:nvPr/>
          </p:nvSpPr>
          <p:spPr bwMode="auto">
            <a:xfrm>
              <a:off x="1679191" y="2991166"/>
              <a:ext cx="81835" cy="119634"/>
            </a:xfrm>
            <a:custGeom>
              <a:avLst/>
              <a:gdLst>
                <a:gd name="T0" fmla="*/ 2147483646 w 11"/>
                <a:gd name="T1" fmla="*/ 2147483646 h 16"/>
                <a:gd name="T2" fmla="*/ 2147483646 w 11"/>
                <a:gd name="T3" fmla="*/ 2147483646 h 16"/>
                <a:gd name="T4" fmla="*/ 0 w 11"/>
                <a:gd name="T5" fmla="*/ 2147483646 h 16"/>
                <a:gd name="T6" fmla="*/ 0 w 11"/>
                <a:gd name="T7" fmla="*/ 2147483646 h 16"/>
                <a:gd name="T8" fmla="*/ 2147483646 w 11"/>
                <a:gd name="T9" fmla="*/ 2147483646 h 16"/>
                <a:gd name="T10" fmla="*/ 2147483646 w 11"/>
                <a:gd name="T11" fmla="*/ 2147483646 h 16"/>
                <a:gd name="T12" fmla="*/ 2147483646 w 11"/>
                <a:gd name="T13" fmla="*/ 2147483646 h 16"/>
                <a:gd name="T14" fmla="*/ 2147483646 w 11"/>
                <a:gd name="T15" fmla="*/ 2147483646 h 16"/>
                <a:gd name="T16" fmla="*/ 2147483646 w 11"/>
                <a:gd name="T17" fmla="*/ 2147483646 h 16"/>
                <a:gd name="T18" fmla="*/ 2147483646 w 11"/>
                <a:gd name="T19" fmla="*/ 2147483646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" h="16">
                  <a:moveTo>
                    <a:pt x="11" y="12"/>
                  </a:moveTo>
                  <a:cubicBezTo>
                    <a:pt x="10" y="14"/>
                    <a:pt x="7" y="14"/>
                    <a:pt x="6" y="14"/>
                  </a:cubicBezTo>
                  <a:cubicBezTo>
                    <a:pt x="3" y="16"/>
                    <a:pt x="3" y="16"/>
                    <a:pt x="0" y="15"/>
                  </a:cubicBezTo>
                  <a:cubicBezTo>
                    <a:pt x="2" y="15"/>
                    <a:pt x="1" y="13"/>
                    <a:pt x="0" y="12"/>
                  </a:cubicBezTo>
                  <a:cubicBezTo>
                    <a:pt x="0" y="11"/>
                    <a:pt x="1" y="10"/>
                    <a:pt x="1" y="8"/>
                  </a:cubicBezTo>
                  <a:cubicBezTo>
                    <a:pt x="1" y="7"/>
                    <a:pt x="2" y="8"/>
                    <a:pt x="2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3"/>
                    <a:pt x="0" y="1"/>
                    <a:pt x="2" y="1"/>
                  </a:cubicBezTo>
                  <a:cubicBezTo>
                    <a:pt x="5" y="1"/>
                    <a:pt x="8" y="0"/>
                    <a:pt x="8" y="3"/>
                  </a:cubicBezTo>
                  <a:cubicBezTo>
                    <a:pt x="9" y="7"/>
                    <a:pt x="8" y="10"/>
                    <a:pt x="11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0" name="Freeform 264"/>
            <p:cNvSpPr>
              <a:spLocks noEditPoints="1"/>
            </p:cNvSpPr>
            <p:nvPr/>
          </p:nvSpPr>
          <p:spPr bwMode="auto">
            <a:xfrm>
              <a:off x="1647717" y="2991166"/>
              <a:ext cx="113310" cy="119634"/>
            </a:xfrm>
            <a:custGeom>
              <a:avLst/>
              <a:gdLst>
                <a:gd name="T0" fmla="*/ 2147483646 w 15"/>
                <a:gd name="T1" fmla="*/ 2147483646 h 16"/>
                <a:gd name="T2" fmla="*/ 2147483646 w 15"/>
                <a:gd name="T3" fmla="*/ 2147483646 h 16"/>
                <a:gd name="T4" fmla="*/ 0 w 15"/>
                <a:gd name="T5" fmla="*/ 2147483646 h 16"/>
                <a:gd name="T6" fmla="*/ 2147483646 w 15"/>
                <a:gd name="T7" fmla="*/ 2147483646 h 16"/>
                <a:gd name="T8" fmla="*/ 2147483646 w 15"/>
                <a:gd name="T9" fmla="*/ 2147483646 h 16"/>
                <a:gd name="T10" fmla="*/ 2147483646 w 15"/>
                <a:gd name="T11" fmla="*/ 2147483646 h 16"/>
                <a:gd name="T12" fmla="*/ 2147483646 w 15"/>
                <a:gd name="T13" fmla="*/ 2147483646 h 16"/>
                <a:gd name="T14" fmla="*/ 2147483646 w 15"/>
                <a:gd name="T15" fmla="*/ 2147483646 h 16"/>
                <a:gd name="T16" fmla="*/ 2147483646 w 15"/>
                <a:gd name="T17" fmla="*/ 2147483646 h 16"/>
                <a:gd name="T18" fmla="*/ 2147483646 w 15"/>
                <a:gd name="T19" fmla="*/ 2147483646 h 16"/>
                <a:gd name="T20" fmla="*/ 2147483646 w 15"/>
                <a:gd name="T21" fmla="*/ 2147483646 h 16"/>
                <a:gd name="T22" fmla="*/ 2147483646 w 15"/>
                <a:gd name="T23" fmla="*/ 2147483646 h 16"/>
                <a:gd name="T24" fmla="*/ 2147483646 w 15"/>
                <a:gd name="T25" fmla="*/ 2147483646 h 16"/>
                <a:gd name="T26" fmla="*/ 2147483646 w 15"/>
                <a:gd name="T27" fmla="*/ 2147483646 h 16"/>
                <a:gd name="T28" fmla="*/ 2147483646 w 15"/>
                <a:gd name="T29" fmla="*/ 2147483646 h 16"/>
                <a:gd name="T30" fmla="*/ 2147483646 w 15"/>
                <a:gd name="T31" fmla="*/ 0 h 16"/>
                <a:gd name="T32" fmla="*/ 2147483646 w 15"/>
                <a:gd name="T33" fmla="*/ 0 h 16"/>
                <a:gd name="T34" fmla="*/ 2147483646 w 15"/>
                <a:gd name="T35" fmla="*/ 0 h 16"/>
                <a:gd name="T36" fmla="*/ 2147483646 w 15"/>
                <a:gd name="T37" fmla="*/ 0 h 16"/>
                <a:gd name="T38" fmla="*/ 2147483646 w 15"/>
                <a:gd name="T39" fmla="*/ 2147483646 h 16"/>
                <a:gd name="T40" fmla="*/ 2147483646 w 15"/>
                <a:gd name="T41" fmla="*/ 2147483646 h 16"/>
                <a:gd name="T42" fmla="*/ 2147483646 w 15"/>
                <a:gd name="T43" fmla="*/ 2147483646 h 16"/>
                <a:gd name="T44" fmla="*/ 2147483646 w 15"/>
                <a:gd name="T45" fmla="*/ 2147483646 h 16"/>
                <a:gd name="T46" fmla="*/ 2147483646 w 15"/>
                <a:gd name="T47" fmla="*/ 2147483646 h 16"/>
                <a:gd name="T48" fmla="*/ 2147483646 w 15"/>
                <a:gd name="T49" fmla="*/ 2147483646 h 16"/>
                <a:gd name="T50" fmla="*/ 2147483646 w 15"/>
                <a:gd name="T51" fmla="*/ 2147483646 h 16"/>
                <a:gd name="T52" fmla="*/ 2147483646 w 15"/>
                <a:gd name="T53" fmla="*/ 2147483646 h 16"/>
                <a:gd name="T54" fmla="*/ 2147483646 w 15"/>
                <a:gd name="T55" fmla="*/ 2147483646 h 16"/>
                <a:gd name="T56" fmla="*/ 2147483646 w 15"/>
                <a:gd name="T57" fmla="*/ 2147483646 h 16"/>
                <a:gd name="T58" fmla="*/ 2147483646 w 15"/>
                <a:gd name="T59" fmla="*/ 2147483646 h 16"/>
                <a:gd name="T60" fmla="*/ 2147483646 w 15"/>
                <a:gd name="T61" fmla="*/ 2147483646 h 16"/>
                <a:gd name="T62" fmla="*/ 2147483646 w 15"/>
                <a:gd name="T63" fmla="*/ 2147483646 h 16"/>
                <a:gd name="T64" fmla="*/ 2147483646 w 15"/>
                <a:gd name="T65" fmla="*/ 2147483646 h 16"/>
                <a:gd name="T66" fmla="*/ 2147483646 w 15"/>
                <a:gd name="T67" fmla="*/ 2147483646 h 16"/>
                <a:gd name="T68" fmla="*/ 2147483646 w 15"/>
                <a:gd name="T69" fmla="*/ 2147483646 h 16"/>
                <a:gd name="T70" fmla="*/ 2147483646 w 15"/>
                <a:gd name="T71" fmla="*/ 2147483646 h 16"/>
                <a:gd name="T72" fmla="*/ 2147483646 w 15"/>
                <a:gd name="T73" fmla="*/ 2147483646 h 16"/>
                <a:gd name="T74" fmla="*/ 2147483646 w 15"/>
                <a:gd name="T75" fmla="*/ 2147483646 h 16"/>
                <a:gd name="T76" fmla="*/ 2147483646 w 15"/>
                <a:gd name="T77" fmla="*/ 2147483646 h 16"/>
                <a:gd name="T78" fmla="*/ 2147483646 w 15"/>
                <a:gd name="T79" fmla="*/ 2147483646 h 16"/>
                <a:gd name="T80" fmla="*/ 2147483646 w 15"/>
                <a:gd name="T81" fmla="*/ 2147483646 h 16"/>
                <a:gd name="T82" fmla="*/ 2147483646 w 15"/>
                <a:gd name="T83" fmla="*/ 2147483646 h 16"/>
                <a:gd name="T84" fmla="*/ 2147483646 w 15"/>
                <a:gd name="T85" fmla="*/ 2147483646 h 16"/>
                <a:gd name="T86" fmla="*/ 2147483646 w 15"/>
                <a:gd name="T87" fmla="*/ 2147483646 h 16"/>
                <a:gd name="T88" fmla="*/ 2147483646 w 15"/>
                <a:gd name="T89" fmla="*/ 2147483646 h 16"/>
                <a:gd name="T90" fmla="*/ 2147483646 w 15"/>
                <a:gd name="T91" fmla="*/ 2147483646 h 16"/>
                <a:gd name="T92" fmla="*/ 2147483646 w 15"/>
                <a:gd name="T93" fmla="*/ 2147483646 h 16"/>
                <a:gd name="T94" fmla="*/ 2147483646 w 15"/>
                <a:gd name="T95" fmla="*/ 2147483646 h 1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5" h="16">
                  <a:moveTo>
                    <a:pt x="7" y="16"/>
                  </a:moveTo>
                  <a:cubicBezTo>
                    <a:pt x="6" y="16"/>
                    <a:pt x="5" y="16"/>
                    <a:pt x="4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4" y="14"/>
                    <a:pt x="4" y="13"/>
                  </a:cubicBezTo>
                  <a:cubicBezTo>
                    <a:pt x="4" y="13"/>
                    <a:pt x="4" y="13"/>
                    <a:pt x="4" y="12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9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5" y="1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1" y="0"/>
                    <a:pt x="12" y="1"/>
                    <a:pt x="13" y="3"/>
                  </a:cubicBezTo>
                  <a:cubicBezTo>
                    <a:pt x="13" y="4"/>
                    <a:pt x="13" y="5"/>
                    <a:pt x="13" y="6"/>
                  </a:cubicBezTo>
                  <a:cubicBezTo>
                    <a:pt x="13" y="8"/>
                    <a:pt x="14" y="10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4" y="14"/>
                    <a:pt x="13" y="14"/>
                    <a:pt x="12" y="14"/>
                  </a:cubicBezTo>
                  <a:cubicBezTo>
                    <a:pt x="11" y="15"/>
                    <a:pt x="11" y="15"/>
                    <a:pt x="10" y="15"/>
                  </a:cubicBezTo>
                  <a:cubicBezTo>
                    <a:pt x="9" y="16"/>
                    <a:pt x="8" y="16"/>
                    <a:pt x="7" y="16"/>
                  </a:cubicBezTo>
                  <a:close/>
                  <a:moveTo>
                    <a:pt x="6" y="15"/>
                  </a:moveTo>
                  <a:cubicBezTo>
                    <a:pt x="7" y="15"/>
                    <a:pt x="8" y="15"/>
                    <a:pt x="10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2" y="13"/>
                    <a:pt x="13" y="13"/>
                    <a:pt x="14" y="12"/>
                  </a:cubicBezTo>
                  <a:cubicBezTo>
                    <a:pt x="12" y="10"/>
                    <a:pt x="12" y="8"/>
                    <a:pt x="12" y="6"/>
                  </a:cubicBezTo>
                  <a:cubicBezTo>
                    <a:pt x="12" y="5"/>
                    <a:pt x="12" y="4"/>
                    <a:pt x="12" y="3"/>
                  </a:cubicBezTo>
                  <a:cubicBezTo>
                    <a:pt x="11" y="2"/>
                    <a:pt x="11" y="1"/>
                    <a:pt x="9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3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5" y="10"/>
                  </a:cubicBezTo>
                  <a:cubicBezTo>
                    <a:pt x="5" y="10"/>
                    <a:pt x="5" y="11"/>
                    <a:pt x="5" y="12"/>
                  </a:cubicBezTo>
                  <a:cubicBezTo>
                    <a:pt x="5" y="12"/>
                    <a:pt x="5" y="12"/>
                    <a:pt x="5" y="13"/>
                  </a:cubicBezTo>
                  <a:cubicBezTo>
                    <a:pt x="6" y="13"/>
                    <a:pt x="6" y="14"/>
                    <a:pt x="6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1" name="Freeform 265"/>
            <p:cNvSpPr/>
            <p:nvPr/>
          </p:nvSpPr>
          <p:spPr bwMode="auto">
            <a:xfrm>
              <a:off x="1477752" y="2969129"/>
              <a:ext cx="125900" cy="97596"/>
            </a:xfrm>
            <a:custGeom>
              <a:avLst/>
              <a:gdLst>
                <a:gd name="T0" fmla="*/ 0 w 17"/>
                <a:gd name="T1" fmla="*/ 2147483646 h 13"/>
                <a:gd name="T2" fmla="*/ 0 w 17"/>
                <a:gd name="T3" fmla="*/ 2147483646 h 13"/>
                <a:gd name="T4" fmla="*/ 0 w 17"/>
                <a:gd name="T5" fmla="*/ 2147483646 h 13"/>
                <a:gd name="T6" fmla="*/ 2147483646 w 17"/>
                <a:gd name="T7" fmla="*/ 2147483646 h 13"/>
                <a:gd name="T8" fmla="*/ 2147483646 w 17"/>
                <a:gd name="T9" fmla="*/ 2147483646 h 13"/>
                <a:gd name="T10" fmla="*/ 2147483646 w 17"/>
                <a:gd name="T11" fmla="*/ 2147483646 h 13"/>
                <a:gd name="T12" fmla="*/ 2147483646 w 17"/>
                <a:gd name="T13" fmla="*/ 2147483646 h 13"/>
                <a:gd name="T14" fmla="*/ 2147483646 w 17"/>
                <a:gd name="T15" fmla="*/ 2147483646 h 13"/>
                <a:gd name="T16" fmla="*/ 2147483646 w 17"/>
                <a:gd name="T17" fmla="*/ 2147483646 h 13"/>
                <a:gd name="T18" fmla="*/ 2147483646 w 17"/>
                <a:gd name="T19" fmla="*/ 2147483646 h 13"/>
                <a:gd name="T20" fmla="*/ 2147483646 w 17"/>
                <a:gd name="T21" fmla="*/ 2147483646 h 13"/>
                <a:gd name="T22" fmla="*/ 2147483646 w 17"/>
                <a:gd name="T23" fmla="*/ 2147483646 h 13"/>
                <a:gd name="T24" fmla="*/ 2147483646 w 17"/>
                <a:gd name="T25" fmla="*/ 2147483646 h 13"/>
                <a:gd name="T26" fmla="*/ 2147483646 w 17"/>
                <a:gd name="T27" fmla="*/ 2147483646 h 13"/>
                <a:gd name="T28" fmla="*/ 2147483646 w 17"/>
                <a:gd name="T29" fmla="*/ 2147483646 h 13"/>
                <a:gd name="T30" fmla="*/ 2147483646 w 17"/>
                <a:gd name="T31" fmla="*/ 2147483646 h 13"/>
                <a:gd name="T32" fmla="*/ 2147483646 w 17"/>
                <a:gd name="T33" fmla="*/ 2147483646 h 13"/>
                <a:gd name="T34" fmla="*/ 2147483646 w 17"/>
                <a:gd name="T35" fmla="*/ 2147483646 h 13"/>
                <a:gd name="T36" fmla="*/ 2147483646 w 17"/>
                <a:gd name="T37" fmla="*/ 0 h 13"/>
                <a:gd name="T38" fmla="*/ 2147483646 w 17"/>
                <a:gd name="T39" fmla="*/ 2147483646 h 13"/>
                <a:gd name="T40" fmla="*/ 0 w 17"/>
                <a:gd name="T41" fmla="*/ 2147483646 h 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7" h="13">
                  <a:moveTo>
                    <a:pt x="0" y="4"/>
                  </a:moveTo>
                  <a:cubicBezTo>
                    <a:pt x="0" y="4"/>
                    <a:pt x="0" y="4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6"/>
                    <a:pt x="4" y="9"/>
                    <a:pt x="5" y="7"/>
                  </a:cubicBezTo>
                  <a:cubicBezTo>
                    <a:pt x="7" y="5"/>
                    <a:pt x="12" y="8"/>
                    <a:pt x="10" y="10"/>
                  </a:cubicBezTo>
                  <a:cubicBezTo>
                    <a:pt x="11" y="10"/>
                    <a:pt x="14" y="9"/>
                    <a:pt x="13" y="12"/>
                  </a:cubicBezTo>
                  <a:cubicBezTo>
                    <a:pt x="14" y="13"/>
                    <a:pt x="14" y="12"/>
                    <a:pt x="15" y="12"/>
                  </a:cubicBezTo>
                  <a:cubicBezTo>
                    <a:pt x="16" y="12"/>
                    <a:pt x="16" y="10"/>
                    <a:pt x="15" y="10"/>
                  </a:cubicBezTo>
                  <a:cubicBezTo>
                    <a:pt x="16" y="10"/>
                    <a:pt x="16" y="10"/>
                    <a:pt x="17" y="10"/>
                  </a:cubicBezTo>
                  <a:cubicBezTo>
                    <a:pt x="16" y="10"/>
                    <a:pt x="17" y="10"/>
                    <a:pt x="16" y="9"/>
                  </a:cubicBezTo>
                  <a:cubicBezTo>
                    <a:pt x="17" y="8"/>
                    <a:pt x="16" y="8"/>
                    <a:pt x="16" y="7"/>
                  </a:cubicBezTo>
                  <a:cubicBezTo>
                    <a:pt x="16" y="7"/>
                    <a:pt x="16" y="6"/>
                    <a:pt x="16" y="6"/>
                  </a:cubicBezTo>
                  <a:cubicBezTo>
                    <a:pt x="16" y="5"/>
                    <a:pt x="15" y="5"/>
                    <a:pt x="15" y="4"/>
                  </a:cubicBezTo>
                  <a:cubicBezTo>
                    <a:pt x="15" y="4"/>
                    <a:pt x="15" y="4"/>
                    <a:pt x="14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4" y="3"/>
                    <a:pt x="14" y="0"/>
                    <a:pt x="13" y="1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3" y="1"/>
                    <a:pt x="2" y="1"/>
                    <a:pt x="3" y="2"/>
                  </a:cubicBezTo>
                  <a:cubicBezTo>
                    <a:pt x="1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2" name="Freeform 266"/>
            <p:cNvSpPr>
              <a:spLocks noEditPoints="1"/>
            </p:cNvSpPr>
            <p:nvPr/>
          </p:nvSpPr>
          <p:spPr bwMode="auto">
            <a:xfrm>
              <a:off x="1471457" y="2962832"/>
              <a:ext cx="138490" cy="103892"/>
            </a:xfrm>
            <a:custGeom>
              <a:avLst/>
              <a:gdLst>
                <a:gd name="T0" fmla="*/ 2147483646 w 19"/>
                <a:gd name="T1" fmla="*/ 2147483646 h 14"/>
                <a:gd name="T2" fmla="*/ 2147483646 w 19"/>
                <a:gd name="T3" fmla="*/ 2147483646 h 14"/>
                <a:gd name="T4" fmla="*/ 2147483646 w 19"/>
                <a:gd name="T5" fmla="*/ 2147483646 h 14"/>
                <a:gd name="T6" fmla="*/ 2147483646 w 19"/>
                <a:gd name="T7" fmla="*/ 2147483646 h 14"/>
                <a:gd name="T8" fmla="*/ 2147483646 w 19"/>
                <a:gd name="T9" fmla="*/ 2147483646 h 14"/>
                <a:gd name="T10" fmla="*/ 2147483646 w 19"/>
                <a:gd name="T11" fmla="*/ 2147483646 h 14"/>
                <a:gd name="T12" fmla="*/ 2147483646 w 19"/>
                <a:gd name="T13" fmla="*/ 2147483646 h 14"/>
                <a:gd name="T14" fmla="*/ 0 w 19"/>
                <a:gd name="T15" fmla="*/ 2147483646 h 14"/>
                <a:gd name="T16" fmla="*/ 2147483646 w 19"/>
                <a:gd name="T17" fmla="*/ 2147483646 h 14"/>
                <a:gd name="T18" fmla="*/ 2147483646 w 19"/>
                <a:gd name="T19" fmla="*/ 0 h 14"/>
                <a:gd name="T20" fmla="*/ 2147483646 w 19"/>
                <a:gd name="T21" fmla="*/ 2147483646 h 14"/>
                <a:gd name="T22" fmla="*/ 2147483646 w 19"/>
                <a:gd name="T23" fmla="*/ 2147483646 h 14"/>
                <a:gd name="T24" fmla="*/ 2147483646 w 19"/>
                <a:gd name="T25" fmla="*/ 2147483646 h 14"/>
                <a:gd name="T26" fmla="*/ 2147483646 w 19"/>
                <a:gd name="T27" fmla="*/ 2147483646 h 14"/>
                <a:gd name="T28" fmla="*/ 2147483646 w 19"/>
                <a:gd name="T29" fmla="*/ 2147483646 h 14"/>
                <a:gd name="T30" fmla="*/ 2147483646 w 19"/>
                <a:gd name="T31" fmla="*/ 2147483646 h 14"/>
                <a:gd name="T32" fmla="*/ 2147483646 w 19"/>
                <a:gd name="T33" fmla="*/ 2147483646 h 14"/>
                <a:gd name="T34" fmla="*/ 2147483646 w 19"/>
                <a:gd name="T35" fmla="*/ 2147483646 h 14"/>
                <a:gd name="T36" fmla="*/ 2147483646 w 19"/>
                <a:gd name="T37" fmla="*/ 2147483646 h 14"/>
                <a:gd name="T38" fmla="*/ 2147483646 w 19"/>
                <a:gd name="T39" fmla="*/ 2147483646 h 14"/>
                <a:gd name="T40" fmla="*/ 2147483646 w 19"/>
                <a:gd name="T41" fmla="*/ 2147483646 h 14"/>
                <a:gd name="T42" fmla="*/ 2147483646 w 19"/>
                <a:gd name="T43" fmla="*/ 2147483646 h 14"/>
                <a:gd name="T44" fmla="*/ 2147483646 w 19"/>
                <a:gd name="T45" fmla="*/ 2147483646 h 14"/>
                <a:gd name="T46" fmla="*/ 2147483646 w 19"/>
                <a:gd name="T47" fmla="*/ 2147483646 h 14"/>
                <a:gd name="T48" fmla="*/ 2147483646 w 19"/>
                <a:gd name="T49" fmla="*/ 2147483646 h 14"/>
                <a:gd name="T50" fmla="*/ 2147483646 w 19"/>
                <a:gd name="T51" fmla="*/ 2147483646 h 14"/>
                <a:gd name="T52" fmla="*/ 2147483646 w 19"/>
                <a:gd name="T53" fmla="*/ 2147483646 h 14"/>
                <a:gd name="T54" fmla="*/ 2147483646 w 19"/>
                <a:gd name="T55" fmla="*/ 2147483646 h 14"/>
                <a:gd name="T56" fmla="*/ 2147483646 w 19"/>
                <a:gd name="T57" fmla="*/ 2147483646 h 14"/>
                <a:gd name="T58" fmla="*/ 2147483646 w 19"/>
                <a:gd name="T59" fmla="*/ 2147483646 h 14"/>
                <a:gd name="T60" fmla="*/ 2147483646 w 19"/>
                <a:gd name="T61" fmla="*/ 2147483646 h 14"/>
                <a:gd name="T62" fmla="*/ 2147483646 w 19"/>
                <a:gd name="T63" fmla="*/ 2147483646 h 14"/>
                <a:gd name="T64" fmla="*/ 2147483646 w 19"/>
                <a:gd name="T65" fmla="*/ 2147483646 h 14"/>
                <a:gd name="T66" fmla="*/ 2147483646 w 19"/>
                <a:gd name="T67" fmla="*/ 2147483646 h 14"/>
                <a:gd name="T68" fmla="*/ 2147483646 w 19"/>
                <a:gd name="T69" fmla="*/ 2147483646 h 14"/>
                <a:gd name="T70" fmla="*/ 2147483646 w 19"/>
                <a:gd name="T71" fmla="*/ 2147483646 h 14"/>
                <a:gd name="T72" fmla="*/ 2147483646 w 19"/>
                <a:gd name="T73" fmla="*/ 2147483646 h 14"/>
                <a:gd name="T74" fmla="*/ 2147483646 w 19"/>
                <a:gd name="T75" fmla="*/ 2147483646 h 14"/>
                <a:gd name="T76" fmla="*/ 2147483646 w 19"/>
                <a:gd name="T77" fmla="*/ 2147483646 h 14"/>
                <a:gd name="T78" fmla="*/ 2147483646 w 19"/>
                <a:gd name="T79" fmla="*/ 2147483646 h 14"/>
                <a:gd name="T80" fmla="*/ 2147483646 w 19"/>
                <a:gd name="T81" fmla="*/ 2147483646 h 14"/>
                <a:gd name="T82" fmla="*/ 2147483646 w 19"/>
                <a:gd name="T83" fmla="*/ 2147483646 h 14"/>
                <a:gd name="T84" fmla="*/ 2147483646 w 19"/>
                <a:gd name="T85" fmla="*/ 2147483646 h 14"/>
                <a:gd name="T86" fmla="*/ 2147483646 w 19"/>
                <a:gd name="T87" fmla="*/ 2147483646 h 1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9" h="14">
                  <a:moveTo>
                    <a:pt x="14" y="14"/>
                  </a:moveTo>
                  <a:cubicBezTo>
                    <a:pt x="14" y="14"/>
                    <a:pt x="14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1"/>
                    <a:pt x="11" y="12"/>
                    <a:pt x="11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0"/>
                    <a:pt x="11" y="10"/>
                    <a:pt x="10" y="9"/>
                  </a:cubicBezTo>
                  <a:cubicBezTo>
                    <a:pt x="10" y="9"/>
                    <a:pt x="9" y="8"/>
                    <a:pt x="8" y="8"/>
                  </a:cubicBezTo>
                  <a:cubicBezTo>
                    <a:pt x="8" y="8"/>
                    <a:pt x="7" y="8"/>
                    <a:pt x="7" y="9"/>
                  </a:cubicBezTo>
                  <a:cubicBezTo>
                    <a:pt x="6" y="9"/>
                    <a:pt x="6" y="10"/>
                    <a:pt x="5" y="10"/>
                  </a:cubicBezTo>
                  <a:cubicBezTo>
                    <a:pt x="4" y="10"/>
                    <a:pt x="2" y="8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2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1"/>
                    <a:pt x="7" y="1"/>
                    <a:pt x="9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1" y="2"/>
                    <a:pt x="11" y="2"/>
                  </a:cubicBezTo>
                  <a:cubicBezTo>
                    <a:pt x="11" y="2"/>
                    <a:pt x="11" y="2"/>
                    <a:pt x="12" y="2"/>
                  </a:cubicBezTo>
                  <a:cubicBezTo>
                    <a:pt x="12" y="2"/>
                    <a:pt x="13" y="2"/>
                    <a:pt x="13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1"/>
                    <a:pt x="15" y="2"/>
                    <a:pt x="16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6"/>
                  </a:cubicBezTo>
                  <a:cubicBezTo>
                    <a:pt x="17" y="6"/>
                    <a:pt x="17" y="6"/>
                    <a:pt x="18" y="7"/>
                  </a:cubicBezTo>
                  <a:cubicBezTo>
                    <a:pt x="18" y="7"/>
                    <a:pt x="18" y="7"/>
                    <a:pt x="17" y="7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8" y="8"/>
                  </a:cubicBezTo>
                  <a:cubicBezTo>
                    <a:pt x="18" y="9"/>
                    <a:pt x="18" y="9"/>
                    <a:pt x="18" y="10"/>
                  </a:cubicBezTo>
                  <a:cubicBezTo>
                    <a:pt x="18" y="10"/>
                    <a:pt x="18" y="10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7" y="12"/>
                    <a:pt x="17" y="12"/>
                  </a:cubicBezTo>
                  <a:cubicBezTo>
                    <a:pt x="18" y="12"/>
                    <a:pt x="18" y="13"/>
                    <a:pt x="17" y="13"/>
                  </a:cubicBezTo>
                  <a:cubicBezTo>
                    <a:pt x="17" y="13"/>
                    <a:pt x="17" y="14"/>
                    <a:pt x="16" y="14"/>
                  </a:cubicBezTo>
                  <a:cubicBezTo>
                    <a:pt x="16" y="14"/>
                    <a:pt x="16" y="14"/>
                    <a:pt x="15" y="14"/>
                  </a:cubicBezTo>
                  <a:cubicBezTo>
                    <a:pt x="15" y="14"/>
                    <a:pt x="15" y="14"/>
                    <a:pt x="14" y="14"/>
                  </a:cubicBezTo>
                  <a:close/>
                  <a:moveTo>
                    <a:pt x="12" y="10"/>
                  </a:moveTo>
                  <a:cubicBezTo>
                    <a:pt x="13" y="10"/>
                    <a:pt x="14" y="11"/>
                    <a:pt x="14" y="11"/>
                  </a:cubicBezTo>
                  <a:cubicBezTo>
                    <a:pt x="15" y="12"/>
                    <a:pt x="15" y="12"/>
                    <a:pt x="14" y="13"/>
                  </a:cubicBezTo>
                  <a:cubicBezTo>
                    <a:pt x="14" y="13"/>
                    <a:pt x="15" y="13"/>
                    <a:pt x="15" y="13"/>
                  </a:cubicBezTo>
                  <a:cubicBezTo>
                    <a:pt x="15" y="13"/>
                    <a:pt x="16" y="12"/>
                    <a:pt x="16" y="12"/>
                  </a:cubicBezTo>
                  <a:cubicBezTo>
                    <a:pt x="16" y="12"/>
                    <a:pt x="16" y="12"/>
                    <a:pt x="16" y="11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6" y="9"/>
                    <a:pt x="16" y="8"/>
                  </a:cubicBezTo>
                  <a:cubicBezTo>
                    <a:pt x="16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6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2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4" y="8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9" y="7"/>
                    <a:pt x="11" y="8"/>
                    <a:pt x="11" y="9"/>
                  </a:cubicBezTo>
                  <a:cubicBezTo>
                    <a:pt x="12" y="9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3" name="Freeform 267"/>
            <p:cNvSpPr/>
            <p:nvPr/>
          </p:nvSpPr>
          <p:spPr bwMode="auto">
            <a:xfrm>
              <a:off x="1581619" y="3000611"/>
              <a:ext cx="110162" cy="116485"/>
            </a:xfrm>
            <a:custGeom>
              <a:avLst/>
              <a:gdLst>
                <a:gd name="T0" fmla="*/ 2147483646 w 15"/>
                <a:gd name="T1" fmla="*/ 2147483646 h 16"/>
                <a:gd name="T2" fmla="*/ 2147483646 w 15"/>
                <a:gd name="T3" fmla="*/ 2147483646 h 16"/>
                <a:gd name="T4" fmla="*/ 2147483646 w 15"/>
                <a:gd name="T5" fmla="*/ 2147483646 h 16"/>
                <a:gd name="T6" fmla="*/ 2147483646 w 15"/>
                <a:gd name="T7" fmla="*/ 2147483646 h 16"/>
                <a:gd name="T8" fmla="*/ 2147483646 w 15"/>
                <a:gd name="T9" fmla="*/ 2147483646 h 16"/>
                <a:gd name="T10" fmla="*/ 2147483646 w 15"/>
                <a:gd name="T11" fmla="*/ 2147483646 h 16"/>
                <a:gd name="T12" fmla="*/ 2147483646 w 15"/>
                <a:gd name="T13" fmla="*/ 2147483646 h 16"/>
                <a:gd name="T14" fmla="*/ 2147483646 w 15"/>
                <a:gd name="T15" fmla="*/ 2147483646 h 16"/>
                <a:gd name="T16" fmla="*/ 2147483646 w 15"/>
                <a:gd name="T17" fmla="*/ 2147483646 h 16"/>
                <a:gd name="T18" fmla="*/ 2147483646 w 15"/>
                <a:gd name="T19" fmla="*/ 2147483646 h 16"/>
                <a:gd name="T20" fmla="*/ 2147483646 w 15"/>
                <a:gd name="T21" fmla="*/ 2147483646 h 16"/>
                <a:gd name="T22" fmla="*/ 2147483646 w 15"/>
                <a:gd name="T23" fmla="*/ 2147483646 h 16"/>
                <a:gd name="T24" fmla="*/ 2147483646 w 15"/>
                <a:gd name="T25" fmla="*/ 2147483646 h 16"/>
                <a:gd name="T26" fmla="*/ 2147483646 w 15"/>
                <a:gd name="T27" fmla="*/ 2147483646 h 16"/>
                <a:gd name="T28" fmla="*/ 2147483646 w 15"/>
                <a:gd name="T29" fmla="*/ 2147483646 h 16"/>
                <a:gd name="T30" fmla="*/ 2147483646 w 15"/>
                <a:gd name="T31" fmla="*/ 2147483646 h 16"/>
                <a:gd name="T32" fmla="*/ 2147483646 w 15"/>
                <a:gd name="T33" fmla="*/ 2147483646 h 16"/>
                <a:gd name="T34" fmla="*/ 2147483646 w 15"/>
                <a:gd name="T35" fmla="*/ 2147483646 h 16"/>
                <a:gd name="T36" fmla="*/ 2147483646 w 15"/>
                <a:gd name="T37" fmla="*/ 2147483646 h 1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5" h="16">
                  <a:moveTo>
                    <a:pt x="3" y="15"/>
                  </a:moveTo>
                  <a:cubicBezTo>
                    <a:pt x="5" y="16"/>
                    <a:pt x="7" y="14"/>
                    <a:pt x="9" y="14"/>
                  </a:cubicBezTo>
                  <a:cubicBezTo>
                    <a:pt x="10" y="14"/>
                    <a:pt x="14" y="14"/>
                    <a:pt x="14" y="14"/>
                  </a:cubicBezTo>
                  <a:cubicBezTo>
                    <a:pt x="15" y="13"/>
                    <a:pt x="14" y="12"/>
                    <a:pt x="14" y="12"/>
                  </a:cubicBezTo>
                  <a:cubicBezTo>
                    <a:pt x="13" y="10"/>
                    <a:pt x="13" y="10"/>
                    <a:pt x="14" y="9"/>
                  </a:cubicBezTo>
                  <a:cubicBezTo>
                    <a:pt x="14" y="8"/>
                    <a:pt x="15" y="7"/>
                    <a:pt x="15" y="6"/>
                  </a:cubicBezTo>
                  <a:cubicBezTo>
                    <a:pt x="15" y="5"/>
                    <a:pt x="14" y="5"/>
                    <a:pt x="14" y="4"/>
                  </a:cubicBezTo>
                  <a:cubicBezTo>
                    <a:pt x="14" y="3"/>
                    <a:pt x="13" y="3"/>
                    <a:pt x="13" y="2"/>
                  </a:cubicBezTo>
                  <a:cubicBezTo>
                    <a:pt x="12" y="2"/>
                    <a:pt x="11" y="3"/>
                    <a:pt x="10" y="3"/>
                  </a:cubicBezTo>
                  <a:cubicBezTo>
                    <a:pt x="9" y="3"/>
                    <a:pt x="8" y="0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4" y="2"/>
                    <a:pt x="3" y="1"/>
                    <a:pt x="2" y="2"/>
                  </a:cubicBezTo>
                  <a:cubicBezTo>
                    <a:pt x="0" y="3"/>
                    <a:pt x="3" y="4"/>
                    <a:pt x="2" y="5"/>
                  </a:cubicBezTo>
                  <a:cubicBezTo>
                    <a:pt x="3" y="6"/>
                    <a:pt x="2" y="6"/>
                    <a:pt x="3" y="6"/>
                  </a:cubicBezTo>
                  <a:cubicBezTo>
                    <a:pt x="2" y="6"/>
                    <a:pt x="2" y="6"/>
                    <a:pt x="1" y="6"/>
                  </a:cubicBezTo>
                  <a:cubicBezTo>
                    <a:pt x="2" y="7"/>
                    <a:pt x="2" y="8"/>
                    <a:pt x="1" y="8"/>
                  </a:cubicBezTo>
                  <a:cubicBezTo>
                    <a:pt x="2" y="9"/>
                    <a:pt x="1" y="10"/>
                    <a:pt x="1" y="11"/>
                  </a:cubicBezTo>
                  <a:cubicBezTo>
                    <a:pt x="4" y="11"/>
                    <a:pt x="3" y="13"/>
                    <a:pt x="3" y="1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4" name="Freeform 268"/>
            <p:cNvSpPr>
              <a:spLocks noEditPoints="1"/>
            </p:cNvSpPr>
            <p:nvPr/>
          </p:nvSpPr>
          <p:spPr bwMode="auto">
            <a:xfrm>
              <a:off x="1575324" y="3000611"/>
              <a:ext cx="125900" cy="116485"/>
            </a:xfrm>
            <a:custGeom>
              <a:avLst/>
              <a:gdLst>
                <a:gd name="T0" fmla="*/ 2147483646 w 17"/>
                <a:gd name="T1" fmla="*/ 2147483646 h 16"/>
                <a:gd name="T2" fmla="*/ 2147483646 w 17"/>
                <a:gd name="T3" fmla="*/ 2147483646 h 16"/>
                <a:gd name="T4" fmla="*/ 2147483646 w 17"/>
                <a:gd name="T5" fmla="*/ 2147483646 h 16"/>
                <a:gd name="T6" fmla="*/ 2147483646 w 17"/>
                <a:gd name="T7" fmla="*/ 2147483646 h 16"/>
                <a:gd name="T8" fmla="*/ 2147483646 w 17"/>
                <a:gd name="T9" fmla="*/ 2147483646 h 16"/>
                <a:gd name="T10" fmla="*/ 2147483646 w 17"/>
                <a:gd name="T11" fmla="*/ 2147483646 h 16"/>
                <a:gd name="T12" fmla="*/ 0 w 17"/>
                <a:gd name="T13" fmla="*/ 2147483646 h 16"/>
                <a:gd name="T14" fmla="*/ 2147483646 w 17"/>
                <a:gd name="T15" fmla="*/ 2147483646 h 16"/>
                <a:gd name="T16" fmla="*/ 2147483646 w 17"/>
                <a:gd name="T17" fmla="*/ 2147483646 h 16"/>
                <a:gd name="T18" fmla="*/ 2147483646 w 17"/>
                <a:gd name="T19" fmla="*/ 2147483646 h 16"/>
                <a:gd name="T20" fmla="*/ 2147483646 w 17"/>
                <a:gd name="T21" fmla="*/ 2147483646 h 16"/>
                <a:gd name="T22" fmla="*/ 2147483646 w 17"/>
                <a:gd name="T23" fmla="*/ 0 h 16"/>
                <a:gd name="T24" fmla="*/ 2147483646 w 17"/>
                <a:gd name="T25" fmla="*/ 2147483646 h 16"/>
                <a:gd name="T26" fmla="*/ 2147483646 w 17"/>
                <a:gd name="T27" fmla="*/ 2147483646 h 16"/>
                <a:gd name="T28" fmla="*/ 2147483646 w 17"/>
                <a:gd name="T29" fmla="*/ 2147483646 h 16"/>
                <a:gd name="T30" fmla="*/ 2147483646 w 17"/>
                <a:gd name="T31" fmla="*/ 2147483646 h 16"/>
                <a:gd name="T32" fmla="*/ 2147483646 w 17"/>
                <a:gd name="T33" fmla="*/ 2147483646 h 16"/>
                <a:gd name="T34" fmla="*/ 2147483646 w 17"/>
                <a:gd name="T35" fmla="*/ 2147483646 h 16"/>
                <a:gd name="T36" fmla="*/ 2147483646 w 17"/>
                <a:gd name="T37" fmla="*/ 2147483646 h 16"/>
                <a:gd name="T38" fmla="*/ 2147483646 w 17"/>
                <a:gd name="T39" fmla="*/ 2147483646 h 16"/>
                <a:gd name="T40" fmla="*/ 2147483646 w 17"/>
                <a:gd name="T41" fmla="*/ 2147483646 h 16"/>
                <a:gd name="T42" fmla="*/ 2147483646 w 17"/>
                <a:gd name="T43" fmla="*/ 2147483646 h 16"/>
                <a:gd name="T44" fmla="*/ 2147483646 w 17"/>
                <a:gd name="T45" fmla="*/ 2147483646 h 16"/>
                <a:gd name="T46" fmla="*/ 2147483646 w 17"/>
                <a:gd name="T47" fmla="*/ 2147483646 h 16"/>
                <a:gd name="T48" fmla="*/ 2147483646 w 17"/>
                <a:gd name="T49" fmla="*/ 2147483646 h 16"/>
                <a:gd name="T50" fmla="*/ 2147483646 w 17"/>
                <a:gd name="T51" fmla="*/ 2147483646 h 16"/>
                <a:gd name="T52" fmla="*/ 2147483646 w 17"/>
                <a:gd name="T53" fmla="*/ 2147483646 h 16"/>
                <a:gd name="T54" fmla="*/ 2147483646 w 17"/>
                <a:gd name="T55" fmla="*/ 2147483646 h 16"/>
                <a:gd name="T56" fmla="*/ 2147483646 w 17"/>
                <a:gd name="T57" fmla="*/ 2147483646 h 16"/>
                <a:gd name="T58" fmla="*/ 2147483646 w 17"/>
                <a:gd name="T59" fmla="*/ 2147483646 h 16"/>
                <a:gd name="T60" fmla="*/ 2147483646 w 17"/>
                <a:gd name="T61" fmla="*/ 2147483646 h 16"/>
                <a:gd name="T62" fmla="*/ 2147483646 w 17"/>
                <a:gd name="T63" fmla="*/ 2147483646 h 16"/>
                <a:gd name="T64" fmla="*/ 2147483646 w 17"/>
                <a:gd name="T65" fmla="*/ 2147483646 h 16"/>
                <a:gd name="T66" fmla="*/ 2147483646 w 17"/>
                <a:gd name="T67" fmla="*/ 2147483646 h 16"/>
                <a:gd name="T68" fmla="*/ 2147483646 w 17"/>
                <a:gd name="T69" fmla="*/ 2147483646 h 16"/>
                <a:gd name="T70" fmla="*/ 2147483646 w 17"/>
                <a:gd name="T71" fmla="*/ 2147483646 h 16"/>
                <a:gd name="T72" fmla="*/ 2147483646 w 17"/>
                <a:gd name="T73" fmla="*/ 2147483646 h 16"/>
                <a:gd name="T74" fmla="*/ 2147483646 w 17"/>
                <a:gd name="T75" fmla="*/ 2147483646 h 16"/>
                <a:gd name="T76" fmla="*/ 2147483646 w 17"/>
                <a:gd name="T77" fmla="*/ 2147483646 h 16"/>
                <a:gd name="T78" fmla="*/ 2147483646 w 17"/>
                <a:gd name="T79" fmla="*/ 2147483646 h 16"/>
                <a:gd name="T80" fmla="*/ 2147483646 w 17"/>
                <a:gd name="T81" fmla="*/ 2147483646 h 1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7" h="16">
                  <a:moveTo>
                    <a:pt x="4" y="16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2"/>
                    <a:pt x="3" y="12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9"/>
                    <a:pt x="1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3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5" y="2"/>
                    <a:pt x="15" y="2"/>
                    <a:pt x="15" y="3"/>
                  </a:cubicBezTo>
                  <a:cubicBezTo>
                    <a:pt x="15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5"/>
                  </a:cubicBezTo>
                  <a:cubicBezTo>
                    <a:pt x="16" y="5"/>
                    <a:pt x="17" y="6"/>
                    <a:pt x="17" y="6"/>
                  </a:cubicBezTo>
                  <a:cubicBezTo>
                    <a:pt x="17" y="7"/>
                    <a:pt x="16" y="7"/>
                    <a:pt x="16" y="8"/>
                  </a:cubicBezTo>
                  <a:cubicBezTo>
                    <a:pt x="16" y="8"/>
                    <a:pt x="15" y="9"/>
                    <a:pt x="15" y="9"/>
                  </a:cubicBezTo>
                  <a:cubicBezTo>
                    <a:pt x="15" y="10"/>
                    <a:pt x="15" y="10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7" y="13"/>
                    <a:pt x="16" y="14"/>
                  </a:cubicBezTo>
                  <a:cubicBezTo>
                    <a:pt x="15" y="14"/>
                    <a:pt x="15" y="15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1" y="14"/>
                    <a:pt x="10" y="14"/>
                    <a:pt x="10" y="14"/>
                  </a:cubicBezTo>
                  <a:cubicBezTo>
                    <a:pt x="9" y="14"/>
                    <a:pt x="9" y="15"/>
                    <a:pt x="8" y="15"/>
                  </a:cubicBezTo>
                  <a:cubicBezTo>
                    <a:pt x="7" y="15"/>
                    <a:pt x="6" y="16"/>
                    <a:pt x="4" y="16"/>
                  </a:cubicBezTo>
                  <a:close/>
                  <a:moveTo>
                    <a:pt x="3" y="10"/>
                  </a:moveTo>
                  <a:cubicBezTo>
                    <a:pt x="3" y="10"/>
                    <a:pt x="4" y="10"/>
                    <a:pt x="4" y="11"/>
                  </a:cubicBezTo>
                  <a:cubicBezTo>
                    <a:pt x="5" y="12"/>
                    <a:pt x="5" y="13"/>
                    <a:pt x="5" y="15"/>
                  </a:cubicBezTo>
                  <a:cubicBezTo>
                    <a:pt x="6" y="15"/>
                    <a:pt x="7" y="14"/>
                    <a:pt x="7" y="14"/>
                  </a:cubicBezTo>
                  <a:cubicBezTo>
                    <a:pt x="8" y="14"/>
                    <a:pt x="9" y="13"/>
                    <a:pt x="10" y="13"/>
                  </a:cubicBezTo>
                  <a:cubicBezTo>
                    <a:pt x="10" y="13"/>
                    <a:pt x="11" y="13"/>
                    <a:pt x="12" y="13"/>
                  </a:cubicBezTo>
                  <a:cubicBezTo>
                    <a:pt x="13" y="13"/>
                    <a:pt x="13" y="13"/>
                    <a:pt x="1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0"/>
                    <a:pt x="14" y="10"/>
                    <a:pt x="14" y="8"/>
                  </a:cubicBezTo>
                  <a:cubicBezTo>
                    <a:pt x="14" y="8"/>
                    <a:pt x="14" y="8"/>
                    <a:pt x="15" y="7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6"/>
                    <a:pt x="15" y="6"/>
                    <a:pt x="15" y="5"/>
                  </a:cubicBezTo>
                  <a:cubicBezTo>
                    <a:pt x="15" y="5"/>
                    <a:pt x="15" y="4"/>
                    <a:pt x="15" y="4"/>
                  </a:cubicBezTo>
                  <a:cubicBezTo>
                    <a:pt x="15" y="4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3" y="3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3" y="7"/>
                    <a:pt x="3" y="7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5" name="Freeform 269"/>
            <p:cNvSpPr/>
            <p:nvPr/>
          </p:nvSpPr>
          <p:spPr bwMode="auto">
            <a:xfrm>
              <a:off x="2192232" y="3683783"/>
              <a:ext cx="44065" cy="59817"/>
            </a:xfrm>
            <a:custGeom>
              <a:avLst/>
              <a:gdLst>
                <a:gd name="T0" fmla="*/ 2147483646 w 6"/>
                <a:gd name="T1" fmla="*/ 2147483646 h 8"/>
                <a:gd name="T2" fmla="*/ 2147483646 w 6"/>
                <a:gd name="T3" fmla="*/ 2147483646 h 8"/>
                <a:gd name="T4" fmla="*/ 2147483646 w 6"/>
                <a:gd name="T5" fmla="*/ 2147483646 h 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8">
                  <a:moveTo>
                    <a:pt x="6" y="4"/>
                  </a:moveTo>
                  <a:cubicBezTo>
                    <a:pt x="6" y="7"/>
                    <a:pt x="3" y="8"/>
                    <a:pt x="1" y="5"/>
                  </a:cubicBezTo>
                  <a:cubicBezTo>
                    <a:pt x="0" y="4"/>
                    <a:pt x="5" y="0"/>
                    <a:pt x="6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6" name="Freeform 270"/>
            <p:cNvSpPr>
              <a:spLocks noEditPoints="1"/>
            </p:cNvSpPr>
            <p:nvPr/>
          </p:nvSpPr>
          <p:spPr bwMode="auto">
            <a:xfrm>
              <a:off x="2198527" y="3699524"/>
              <a:ext cx="44065" cy="44076"/>
            </a:xfrm>
            <a:custGeom>
              <a:avLst/>
              <a:gdLst>
                <a:gd name="T0" fmla="*/ 2147483646 w 6"/>
                <a:gd name="T1" fmla="*/ 2147483646 h 6"/>
                <a:gd name="T2" fmla="*/ 0 w 6"/>
                <a:gd name="T3" fmla="*/ 2147483646 h 6"/>
                <a:gd name="T4" fmla="*/ 0 w 6"/>
                <a:gd name="T5" fmla="*/ 2147483646 h 6"/>
                <a:gd name="T6" fmla="*/ 2147483646 w 6"/>
                <a:gd name="T7" fmla="*/ 0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2147483646 h 6"/>
                <a:gd name="T14" fmla="*/ 2147483646 w 6"/>
                <a:gd name="T15" fmla="*/ 2147483646 h 6"/>
                <a:gd name="T16" fmla="*/ 2147483646 w 6"/>
                <a:gd name="T17" fmla="*/ 2147483646 h 6"/>
                <a:gd name="T18" fmla="*/ 2147483646 w 6"/>
                <a:gd name="T19" fmla="*/ 2147483646 h 6"/>
                <a:gd name="T20" fmla="*/ 2147483646 w 6"/>
                <a:gd name="T21" fmla="*/ 2147483646 h 6"/>
                <a:gd name="T22" fmla="*/ 2147483646 w 6"/>
                <a:gd name="T23" fmla="*/ 2147483646 h 6"/>
                <a:gd name="T24" fmla="*/ 2147483646 w 6"/>
                <a:gd name="T25" fmla="*/ 2147483646 h 6"/>
                <a:gd name="T26" fmla="*/ 2147483646 w 6"/>
                <a:gd name="T27" fmla="*/ 2147483646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2" y="6"/>
                    <a:pt x="1" y="5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0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4"/>
                    <a:pt x="4" y="6"/>
                    <a:pt x="3" y="6"/>
                  </a:cubicBezTo>
                  <a:close/>
                  <a:moveTo>
                    <a:pt x="3" y="1"/>
                  </a:moveTo>
                  <a:cubicBezTo>
                    <a:pt x="2" y="1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4"/>
                    <a:pt x="4" y="3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7" name="Freeform 271"/>
            <p:cNvSpPr/>
            <p:nvPr/>
          </p:nvSpPr>
          <p:spPr bwMode="auto">
            <a:xfrm>
              <a:off x="1537554" y="3044688"/>
              <a:ext cx="72392" cy="66113"/>
            </a:xfrm>
            <a:custGeom>
              <a:avLst/>
              <a:gdLst>
                <a:gd name="T0" fmla="*/ 0 w 10"/>
                <a:gd name="T1" fmla="*/ 2147483646 h 9"/>
                <a:gd name="T2" fmla="*/ 2147483646 w 10"/>
                <a:gd name="T3" fmla="*/ 2147483646 h 9"/>
                <a:gd name="T4" fmla="*/ 2147483646 w 10"/>
                <a:gd name="T5" fmla="*/ 2147483646 h 9"/>
                <a:gd name="T6" fmla="*/ 2147483646 w 10"/>
                <a:gd name="T7" fmla="*/ 2147483646 h 9"/>
                <a:gd name="T8" fmla="*/ 2147483646 w 10"/>
                <a:gd name="T9" fmla="*/ 2147483646 h 9"/>
                <a:gd name="T10" fmla="*/ 2147483646 w 10"/>
                <a:gd name="T11" fmla="*/ 0 h 9"/>
                <a:gd name="T12" fmla="*/ 0 w 10"/>
                <a:gd name="T13" fmla="*/ 214748364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9">
                  <a:moveTo>
                    <a:pt x="0" y="3"/>
                  </a:moveTo>
                  <a:cubicBezTo>
                    <a:pt x="3" y="6"/>
                    <a:pt x="5" y="8"/>
                    <a:pt x="9" y="9"/>
                  </a:cubicBezTo>
                  <a:cubicBezTo>
                    <a:pt x="9" y="7"/>
                    <a:pt x="10" y="5"/>
                    <a:pt x="7" y="5"/>
                  </a:cubicBezTo>
                  <a:cubicBezTo>
                    <a:pt x="7" y="4"/>
                    <a:pt x="8" y="2"/>
                    <a:pt x="7" y="2"/>
                  </a:cubicBezTo>
                  <a:cubicBezTo>
                    <a:pt x="6" y="2"/>
                    <a:pt x="6" y="3"/>
                    <a:pt x="5" y="2"/>
                  </a:cubicBezTo>
                  <a:cubicBezTo>
                    <a:pt x="6" y="0"/>
                    <a:pt x="3" y="0"/>
                    <a:pt x="3" y="0"/>
                  </a:cubicBezTo>
                  <a:cubicBezTo>
                    <a:pt x="3" y="1"/>
                    <a:pt x="1" y="3"/>
                    <a:pt x="0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8" name="Freeform 272"/>
            <p:cNvSpPr>
              <a:spLocks noEditPoints="1"/>
            </p:cNvSpPr>
            <p:nvPr/>
          </p:nvSpPr>
          <p:spPr bwMode="auto">
            <a:xfrm>
              <a:off x="1528112" y="3035242"/>
              <a:ext cx="81835" cy="81855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2147483646 w 11"/>
                <a:gd name="T5" fmla="*/ 2147483646 h 11"/>
                <a:gd name="T6" fmla="*/ 0 w 11"/>
                <a:gd name="T7" fmla="*/ 2147483646 h 11"/>
                <a:gd name="T8" fmla="*/ 2147483646 w 11"/>
                <a:gd name="T9" fmla="*/ 2147483646 h 11"/>
                <a:gd name="T10" fmla="*/ 2147483646 w 11"/>
                <a:gd name="T11" fmla="*/ 2147483646 h 11"/>
                <a:gd name="T12" fmla="*/ 2147483646 w 11"/>
                <a:gd name="T13" fmla="*/ 2147483646 h 11"/>
                <a:gd name="T14" fmla="*/ 2147483646 w 11"/>
                <a:gd name="T15" fmla="*/ 0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2147483646 w 11"/>
                <a:gd name="T21" fmla="*/ 2147483646 h 11"/>
                <a:gd name="T22" fmla="*/ 2147483646 w 11"/>
                <a:gd name="T23" fmla="*/ 2147483646 h 11"/>
                <a:gd name="T24" fmla="*/ 2147483646 w 11"/>
                <a:gd name="T25" fmla="*/ 2147483646 h 11"/>
                <a:gd name="T26" fmla="*/ 2147483646 w 11"/>
                <a:gd name="T27" fmla="*/ 2147483646 h 11"/>
                <a:gd name="T28" fmla="*/ 2147483646 w 11"/>
                <a:gd name="T29" fmla="*/ 2147483646 h 11"/>
                <a:gd name="T30" fmla="*/ 2147483646 w 11"/>
                <a:gd name="T31" fmla="*/ 2147483646 h 11"/>
                <a:gd name="T32" fmla="*/ 2147483646 w 11"/>
                <a:gd name="T33" fmla="*/ 2147483646 h 11"/>
                <a:gd name="T34" fmla="*/ 2147483646 w 11"/>
                <a:gd name="T35" fmla="*/ 2147483646 h 11"/>
                <a:gd name="T36" fmla="*/ 2147483646 w 11"/>
                <a:gd name="T37" fmla="*/ 2147483646 h 11"/>
                <a:gd name="T38" fmla="*/ 2147483646 w 11"/>
                <a:gd name="T39" fmla="*/ 2147483646 h 11"/>
                <a:gd name="T40" fmla="*/ 2147483646 w 11"/>
                <a:gd name="T41" fmla="*/ 2147483646 h 11"/>
                <a:gd name="T42" fmla="*/ 2147483646 w 11"/>
                <a:gd name="T43" fmla="*/ 2147483646 h 11"/>
                <a:gd name="T44" fmla="*/ 2147483646 w 11"/>
                <a:gd name="T45" fmla="*/ 2147483646 h 11"/>
                <a:gd name="T46" fmla="*/ 2147483646 w 11"/>
                <a:gd name="T47" fmla="*/ 2147483646 h 11"/>
                <a:gd name="T48" fmla="*/ 2147483646 w 11"/>
                <a:gd name="T49" fmla="*/ 2147483646 h 11"/>
                <a:gd name="T50" fmla="*/ 2147483646 w 11"/>
                <a:gd name="T51" fmla="*/ 2147483646 h 11"/>
                <a:gd name="T52" fmla="*/ 2147483646 w 11"/>
                <a:gd name="T53" fmla="*/ 2147483646 h 11"/>
                <a:gd name="T54" fmla="*/ 2147483646 w 11"/>
                <a:gd name="T55" fmla="*/ 2147483646 h 11"/>
                <a:gd name="T56" fmla="*/ 2147483646 w 11"/>
                <a:gd name="T57" fmla="*/ 2147483646 h 11"/>
                <a:gd name="T58" fmla="*/ 2147483646 w 11"/>
                <a:gd name="T59" fmla="*/ 2147483646 h 11"/>
                <a:gd name="T60" fmla="*/ 2147483646 w 11"/>
                <a:gd name="T61" fmla="*/ 2147483646 h 11"/>
                <a:gd name="T62" fmla="*/ 2147483646 w 11"/>
                <a:gd name="T63" fmla="*/ 2147483646 h 11"/>
                <a:gd name="T64" fmla="*/ 2147483646 w 11"/>
                <a:gd name="T65" fmla="*/ 2147483646 h 1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6" y="9"/>
                    <a:pt x="4" y="7"/>
                    <a:pt x="1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1"/>
                    <a:pt x="6" y="1"/>
                  </a:cubicBezTo>
                  <a:cubicBezTo>
                    <a:pt x="6" y="2"/>
                    <a:pt x="7" y="2"/>
                    <a:pt x="6" y="3"/>
                  </a:cubicBezTo>
                  <a:cubicBezTo>
                    <a:pt x="6" y="3"/>
                    <a:pt x="6" y="3"/>
                    <a:pt x="7" y="3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3"/>
                    <a:pt x="9" y="3"/>
                    <a:pt x="9" y="4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9" y="5"/>
                    <a:pt x="10" y="5"/>
                    <a:pt x="10" y="6"/>
                  </a:cubicBezTo>
                  <a:cubicBezTo>
                    <a:pt x="11" y="7"/>
                    <a:pt x="11" y="9"/>
                    <a:pt x="11" y="10"/>
                  </a:cubicBezTo>
                  <a:lnTo>
                    <a:pt x="11" y="11"/>
                  </a:lnTo>
                  <a:close/>
                  <a:moveTo>
                    <a:pt x="2" y="4"/>
                  </a:moveTo>
                  <a:cubicBezTo>
                    <a:pt x="4" y="6"/>
                    <a:pt x="6" y="8"/>
                    <a:pt x="10" y="9"/>
                  </a:cubicBezTo>
                  <a:cubicBezTo>
                    <a:pt x="10" y="8"/>
                    <a:pt x="10" y="7"/>
                    <a:pt x="9" y="7"/>
                  </a:cubicBezTo>
                  <a:cubicBezTo>
                    <a:pt x="9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4"/>
                    <a:pt x="8" y="4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9" name="Freeform 273"/>
            <p:cNvSpPr/>
            <p:nvPr/>
          </p:nvSpPr>
          <p:spPr bwMode="auto">
            <a:xfrm>
              <a:off x="1893221" y="2581893"/>
              <a:ext cx="276979" cy="267603"/>
            </a:xfrm>
            <a:custGeom>
              <a:avLst/>
              <a:gdLst>
                <a:gd name="T0" fmla="*/ 2147483646 w 37"/>
                <a:gd name="T1" fmla="*/ 2147483646 h 36"/>
                <a:gd name="T2" fmla="*/ 2147483646 w 37"/>
                <a:gd name="T3" fmla="*/ 2147483646 h 36"/>
                <a:gd name="T4" fmla="*/ 2147483646 w 37"/>
                <a:gd name="T5" fmla="*/ 2147483646 h 36"/>
                <a:gd name="T6" fmla="*/ 2147483646 w 37"/>
                <a:gd name="T7" fmla="*/ 2147483646 h 36"/>
                <a:gd name="T8" fmla="*/ 2147483646 w 37"/>
                <a:gd name="T9" fmla="*/ 2147483646 h 36"/>
                <a:gd name="T10" fmla="*/ 2147483646 w 37"/>
                <a:gd name="T11" fmla="*/ 2147483646 h 36"/>
                <a:gd name="T12" fmla="*/ 2147483646 w 37"/>
                <a:gd name="T13" fmla="*/ 2147483646 h 36"/>
                <a:gd name="T14" fmla="*/ 2147483646 w 37"/>
                <a:gd name="T15" fmla="*/ 2147483646 h 36"/>
                <a:gd name="T16" fmla="*/ 2147483646 w 37"/>
                <a:gd name="T17" fmla="*/ 2147483646 h 36"/>
                <a:gd name="T18" fmla="*/ 2147483646 w 37"/>
                <a:gd name="T19" fmla="*/ 2147483646 h 36"/>
                <a:gd name="T20" fmla="*/ 0 w 37"/>
                <a:gd name="T21" fmla="*/ 2147483646 h 36"/>
                <a:gd name="T22" fmla="*/ 2147483646 w 37"/>
                <a:gd name="T23" fmla="*/ 2147483646 h 36"/>
                <a:gd name="T24" fmla="*/ 0 w 37"/>
                <a:gd name="T25" fmla="*/ 2147483646 h 36"/>
                <a:gd name="T26" fmla="*/ 2147483646 w 37"/>
                <a:gd name="T27" fmla="*/ 2147483646 h 36"/>
                <a:gd name="T28" fmla="*/ 2147483646 w 37"/>
                <a:gd name="T29" fmla="*/ 2147483646 h 36"/>
                <a:gd name="T30" fmla="*/ 2147483646 w 37"/>
                <a:gd name="T31" fmla="*/ 0 h 36"/>
                <a:gd name="T32" fmla="*/ 2147483646 w 37"/>
                <a:gd name="T33" fmla="*/ 2147483646 h 36"/>
                <a:gd name="T34" fmla="*/ 2147483646 w 37"/>
                <a:gd name="T35" fmla="*/ 2147483646 h 36"/>
                <a:gd name="T36" fmla="*/ 2147483646 w 37"/>
                <a:gd name="T37" fmla="*/ 2147483646 h 36"/>
                <a:gd name="T38" fmla="*/ 2147483646 w 37"/>
                <a:gd name="T39" fmla="*/ 2147483646 h 36"/>
                <a:gd name="T40" fmla="*/ 2147483646 w 37"/>
                <a:gd name="T41" fmla="*/ 2147483646 h 36"/>
                <a:gd name="T42" fmla="*/ 2147483646 w 37"/>
                <a:gd name="T43" fmla="*/ 2147483646 h 36"/>
                <a:gd name="T44" fmla="*/ 2147483646 w 37"/>
                <a:gd name="T45" fmla="*/ 2147483646 h 36"/>
                <a:gd name="T46" fmla="*/ 2147483646 w 37"/>
                <a:gd name="T47" fmla="*/ 2147483646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7" h="36">
                  <a:moveTo>
                    <a:pt x="36" y="5"/>
                  </a:moveTo>
                  <a:cubicBezTo>
                    <a:pt x="35" y="6"/>
                    <a:pt x="36" y="10"/>
                    <a:pt x="36" y="11"/>
                  </a:cubicBezTo>
                  <a:cubicBezTo>
                    <a:pt x="37" y="14"/>
                    <a:pt x="36" y="18"/>
                    <a:pt x="36" y="21"/>
                  </a:cubicBezTo>
                  <a:cubicBezTo>
                    <a:pt x="36" y="24"/>
                    <a:pt x="36" y="27"/>
                    <a:pt x="36" y="30"/>
                  </a:cubicBezTo>
                  <a:cubicBezTo>
                    <a:pt x="36" y="31"/>
                    <a:pt x="36" y="33"/>
                    <a:pt x="36" y="34"/>
                  </a:cubicBezTo>
                  <a:cubicBezTo>
                    <a:pt x="36" y="35"/>
                    <a:pt x="33" y="33"/>
                    <a:pt x="34" y="36"/>
                  </a:cubicBezTo>
                  <a:cubicBezTo>
                    <a:pt x="28" y="33"/>
                    <a:pt x="23" y="30"/>
                    <a:pt x="17" y="27"/>
                  </a:cubicBezTo>
                  <a:cubicBezTo>
                    <a:pt x="15" y="26"/>
                    <a:pt x="13" y="28"/>
                    <a:pt x="12" y="27"/>
                  </a:cubicBezTo>
                  <a:cubicBezTo>
                    <a:pt x="9" y="25"/>
                    <a:pt x="6" y="27"/>
                    <a:pt x="5" y="24"/>
                  </a:cubicBezTo>
                  <a:cubicBezTo>
                    <a:pt x="4" y="23"/>
                    <a:pt x="3" y="23"/>
                    <a:pt x="2" y="23"/>
                  </a:cubicBezTo>
                  <a:cubicBezTo>
                    <a:pt x="1" y="22"/>
                    <a:pt x="1" y="21"/>
                    <a:pt x="0" y="20"/>
                  </a:cubicBezTo>
                  <a:cubicBezTo>
                    <a:pt x="0" y="19"/>
                    <a:pt x="1" y="14"/>
                    <a:pt x="1" y="12"/>
                  </a:cubicBezTo>
                  <a:cubicBezTo>
                    <a:pt x="1" y="12"/>
                    <a:pt x="0" y="9"/>
                    <a:pt x="0" y="9"/>
                  </a:cubicBezTo>
                  <a:cubicBezTo>
                    <a:pt x="0" y="8"/>
                    <a:pt x="1" y="8"/>
                    <a:pt x="2" y="7"/>
                  </a:cubicBezTo>
                  <a:cubicBezTo>
                    <a:pt x="3" y="5"/>
                    <a:pt x="1" y="5"/>
                    <a:pt x="3" y="4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7" y="1"/>
                    <a:pt x="12" y="1"/>
                    <a:pt x="13" y="3"/>
                  </a:cubicBezTo>
                  <a:cubicBezTo>
                    <a:pt x="15" y="5"/>
                    <a:pt x="15" y="5"/>
                    <a:pt x="18" y="6"/>
                  </a:cubicBezTo>
                  <a:cubicBezTo>
                    <a:pt x="19" y="6"/>
                    <a:pt x="21" y="8"/>
                    <a:pt x="22" y="8"/>
                  </a:cubicBezTo>
                  <a:cubicBezTo>
                    <a:pt x="23" y="8"/>
                    <a:pt x="24" y="8"/>
                    <a:pt x="24" y="7"/>
                  </a:cubicBezTo>
                  <a:cubicBezTo>
                    <a:pt x="25" y="6"/>
                    <a:pt x="24" y="6"/>
                    <a:pt x="24" y="5"/>
                  </a:cubicBezTo>
                  <a:cubicBezTo>
                    <a:pt x="25" y="3"/>
                    <a:pt x="26" y="2"/>
                    <a:pt x="28" y="1"/>
                  </a:cubicBezTo>
                  <a:cubicBezTo>
                    <a:pt x="29" y="1"/>
                    <a:pt x="31" y="1"/>
                    <a:pt x="32" y="3"/>
                  </a:cubicBezTo>
                  <a:cubicBezTo>
                    <a:pt x="33" y="4"/>
                    <a:pt x="36" y="3"/>
                    <a:pt x="36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0" name="Freeform 274"/>
            <p:cNvSpPr>
              <a:spLocks noEditPoints="1"/>
            </p:cNvSpPr>
            <p:nvPr/>
          </p:nvSpPr>
          <p:spPr bwMode="auto">
            <a:xfrm>
              <a:off x="1886926" y="2581893"/>
              <a:ext cx="283274" cy="277046"/>
            </a:xfrm>
            <a:custGeom>
              <a:avLst/>
              <a:gdLst>
                <a:gd name="T0" fmla="*/ 2147483646 w 38"/>
                <a:gd name="T1" fmla="*/ 2147483646 h 37"/>
                <a:gd name="T2" fmla="*/ 2147483646 w 38"/>
                <a:gd name="T3" fmla="*/ 2147483646 h 37"/>
                <a:gd name="T4" fmla="*/ 2147483646 w 38"/>
                <a:gd name="T5" fmla="*/ 2147483646 h 37"/>
                <a:gd name="T6" fmla="*/ 2147483646 w 38"/>
                <a:gd name="T7" fmla="*/ 2147483646 h 37"/>
                <a:gd name="T8" fmla="*/ 2147483646 w 38"/>
                <a:gd name="T9" fmla="*/ 2147483646 h 37"/>
                <a:gd name="T10" fmla="*/ 2147483646 w 38"/>
                <a:gd name="T11" fmla="*/ 2147483646 h 37"/>
                <a:gd name="T12" fmla="*/ 0 w 38"/>
                <a:gd name="T13" fmla="*/ 2147483646 h 37"/>
                <a:gd name="T14" fmla="*/ 2147483646 w 38"/>
                <a:gd name="T15" fmla="*/ 2147483646 h 37"/>
                <a:gd name="T16" fmla="*/ 2147483646 w 38"/>
                <a:gd name="T17" fmla="*/ 2147483646 h 37"/>
                <a:gd name="T18" fmla="*/ 2147483646 w 38"/>
                <a:gd name="T19" fmla="*/ 0 h 37"/>
                <a:gd name="T20" fmla="*/ 2147483646 w 38"/>
                <a:gd name="T21" fmla="*/ 2147483646 h 37"/>
                <a:gd name="T22" fmla="*/ 2147483646 w 38"/>
                <a:gd name="T23" fmla="*/ 2147483646 h 37"/>
                <a:gd name="T24" fmla="*/ 2147483646 w 38"/>
                <a:gd name="T25" fmla="*/ 2147483646 h 37"/>
                <a:gd name="T26" fmla="*/ 2147483646 w 38"/>
                <a:gd name="T27" fmla="*/ 2147483646 h 37"/>
                <a:gd name="T28" fmla="*/ 2147483646 w 38"/>
                <a:gd name="T29" fmla="*/ 2147483646 h 37"/>
                <a:gd name="T30" fmla="*/ 2147483646 w 38"/>
                <a:gd name="T31" fmla="*/ 2147483646 h 37"/>
                <a:gd name="T32" fmla="*/ 2147483646 w 38"/>
                <a:gd name="T33" fmla="*/ 2147483646 h 37"/>
                <a:gd name="T34" fmla="*/ 2147483646 w 38"/>
                <a:gd name="T35" fmla="*/ 2147483646 h 37"/>
                <a:gd name="T36" fmla="*/ 2147483646 w 38"/>
                <a:gd name="T37" fmla="*/ 2147483646 h 37"/>
                <a:gd name="T38" fmla="*/ 2147483646 w 38"/>
                <a:gd name="T39" fmla="*/ 2147483646 h 37"/>
                <a:gd name="T40" fmla="*/ 2147483646 w 38"/>
                <a:gd name="T41" fmla="*/ 2147483646 h 37"/>
                <a:gd name="T42" fmla="*/ 2147483646 w 38"/>
                <a:gd name="T43" fmla="*/ 2147483646 h 37"/>
                <a:gd name="T44" fmla="*/ 2147483646 w 38"/>
                <a:gd name="T45" fmla="*/ 2147483646 h 37"/>
                <a:gd name="T46" fmla="*/ 2147483646 w 38"/>
                <a:gd name="T47" fmla="*/ 2147483646 h 37"/>
                <a:gd name="T48" fmla="*/ 2147483646 w 38"/>
                <a:gd name="T49" fmla="*/ 2147483646 h 37"/>
                <a:gd name="T50" fmla="*/ 2147483646 w 38"/>
                <a:gd name="T51" fmla="*/ 2147483646 h 37"/>
                <a:gd name="T52" fmla="*/ 2147483646 w 38"/>
                <a:gd name="T53" fmla="*/ 2147483646 h 37"/>
                <a:gd name="T54" fmla="*/ 2147483646 w 38"/>
                <a:gd name="T55" fmla="*/ 2147483646 h 37"/>
                <a:gd name="T56" fmla="*/ 2147483646 w 38"/>
                <a:gd name="T57" fmla="*/ 2147483646 h 37"/>
                <a:gd name="T58" fmla="*/ 2147483646 w 38"/>
                <a:gd name="T59" fmla="*/ 2147483646 h 37"/>
                <a:gd name="T60" fmla="*/ 2147483646 w 38"/>
                <a:gd name="T61" fmla="*/ 2147483646 h 37"/>
                <a:gd name="T62" fmla="*/ 2147483646 w 38"/>
                <a:gd name="T63" fmla="*/ 2147483646 h 37"/>
                <a:gd name="T64" fmla="*/ 2147483646 w 38"/>
                <a:gd name="T65" fmla="*/ 2147483646 h 37"/>
                <a:gd name="T66" fmla="*/ 2147483646 w 38"/>
                <a:gd name="T67" fmla="*/ 2147483646 h 37"/>
                <a:gd name="T68" fmla="*/ 2147483646 w 38"/>
                <a:gd name="T69" fmla="*/ 2147483646 h 37"/>
                <a:gd name="T70" fmla="*/ 2147483646 w 38"/>
                <a:gd name="T71" fmla="*/ 2147483646 h 37"/>
                <a:gd name="T72" fmla="*/ 2147483646 w 38"/>
                <a:gd name="T73" fmla="*/ 2147483646 h 37"/>
                <a:gd name="T74" fmla="*/ 2147483646 w 38"/>
                <a:gd name="T75" fmla="*/ 2147483646 h 37"/>
                <a:gd name="T76" fmla="*/ 2147483646 w 38"/>
                <a:gd name="T77" fmla="*/ 2147483646 h 37"/>
                <a:gd name="T78" fmla="*/ 2147483646 w 38"/>
                <a:gd name="T79" fmla="*/ 2147483646 h 37"/>
                <a:gd name="T80" fmla="*/ 2147483646 w 38"/>
                <a:gd name="T81" fmla="*/ 2147483646 h 37"/>
                <a:gd name="T82" fmla="*/ 2147483646 w 38"/>
                <a:gd name="T83" fmla="*/ 2147483646 h 37"/>
                <a:gd name="T84" fmla="*/ 2147483646 w 38"/>
                <a:gd name="T85" fmla="*/ 2147483646 h 37"/>
                <a:gd name="T86" fmla="*/ 2147483646 w 38"/>
                <a:gd name="T87" fmla="*/ 2147483646 h 37"/>
                <a:gd name="T88" fmla="*/ 2147483646 w 38"/>
                <a:gd name="T89" fmla="*/ 2147483646 h 37"/>
                <a:gd name="T90" fmla="*/ 2147483646 w 38"/>
                <a:gd name="T91" fmla="*/ 2147483646 h 37"/>
                <a:gd name="T92" fmla="*/ 2147483646 w 38"/>
                <a:gd name="T93" fmla="*/ 2147483646 h 37"/>
                <a:gd name="T94" fmla="*/ 2147483646 w 38"/>
                <a:gd name="T95" fmla="*/ 2147483646 h 3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8" h="37">
                  <a:moveTo>
                    <a:pt x="36" y="37"/>
                  </a:moveTo>
                  <a:cubicBezTo>
                    <a:pt x="18" y="27"/>
                    <a:pt x="18" y="27"/>
                    <a:pt x="18" y="27"/>
                  </a:cubicBezTo>
                  <a:cubicBezTo>
                    <a:pt x="17" y="27"/>
                    <a:pt x="16" y="27"/>
                    <a:pt x="15" y="27"/>
                  </a:cubicBezTo>
                  <a:cubicBezTo>
                    <a:pt x="14" y="28"/>
                    <a:pt x="13" y="28"/>
                    <a:pt x="12" y="27"/>
                  </a:cubicBezTo>
                  <a:cubicBezTo>
                    <a:pt x="11" y="26"/>
                    <a:pt x="10" y="26"/>
                    <a:pt x="9" y="26"/>
                  </a:cubicBezTo>
                  <a:cubicBezTo>
                    <a:pt x="8" y="26"/>
                    <a:pt x="6" y="26"/>
                    <a:pt x="5" y="24"/>
                  </a:cubicBezTo>
                  <a:cubicBezTo>
                    <a:pt x="5" y="24"/>
                    <a:pt x="5" y="24"/>
                    <a:pt x="4" y="24"/>
                  </a:cubicBezTo>
                  <a:cubicBezTo>
                    <a:pt x="4" y="24"/>
                    <a:pt x="3" y="24"/>
                    <a:pt x="3" y="23"/>
                  </a:cubicBezTo>
                  <a:cubicBezTo>
                    <a:pt x="2" y="23"/>
                    <a:pt x="2" y="22"/>
                    <a:pt x="1" y="21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1" y="19"/>
                    <a:pt x="1" y="18"/>
                    <a:pt x="1" y="16"/>
                  </a:cubicBezTo>
                  <a:cubicBezTo>
                    <a:pt x="1" y="15"/>
                    <a:pt x="1" y="13"/>
                    <a:pt x="1" y="12"/>
                  </a:cubicBezTo>
                  <a:cubicBezTo>
                    <a:pt x="1" y="12"/>
                    <a:pt x="1" y="11"/>
                    <a:pt x="0" y="11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0" y="8"/>
                    <a:pt x="1" y="8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6"/>
                    <a:pt x="3" y="6"/>
                    <a:pt x="3" y="5"/>
                  </a:cubicBezTo>
                  <a:cubicBezTo>
                    <a:pt x="2" y="5"/>
                    <a:pt x="3" y="4"/>
                    <a:pt x="4" y="3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12" y="1"/>
                    <a:pt x="14" y="1"/>
                    <a:pt x="15" y="3"/>
                  </a:cubicBezTo>
                  <a:cubicBezTo>
                    <a:pt x="16" y="5"/>
                    <a:pt x="16" y="5"/>
                    <a:pt x="19" y="5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20" y="6"/>
                    <a:pt x="21" y="7"/>
                  </a:cubicBezTo>
                  <a:cubicBezTo>
                    <a:pt x="22" y="7"/>
                    <a:pt x="23" y="8"/>
                    <a:pt x="23" y="8"/>
                  </a:cubicBezTo>
                  <a:cubicBezTo>
                    <a:pt x="23" y="7"/>
                    <a:pt x="23" y="7"/>
                    <a:pt x="24" y="7"/>
                  </a:cubicBezTo>
                  <a:cubicBezTo>
                    <a:pt x="24" y="7"/>
                    <a:pt x="25" y="7"/>
                    <a:pt x="25" y="7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5"/>
                    <a:pt x="25" y="5"/>
                  </a:cubicBezTo>
                  <a:cubicBezTo>
                    <a:pt x="25" y="3"/>
                    <a:pt x="27" y="1"/>
                    <a:pt x="29" y="1"/>
                  </a:cubicBezTo>
                  <a:cubicBezTo>
                    <a:pt x="29" y="1"/>
                    <a:pt x="30" y="1"/>
                    <a:pt x="30" y="1"/>
                  </a:cubicBezTo>
                  <a:cubicBezTo>
                    <a:pt x="31" y="1"/>
                    <a:pt x="32" y="1"/>
                    <a:pt x="33" y="2"/>
                  </a:cubicBezTo>
                  <a:cubicBezTo>
                    <a:pt x="34" y="3"/>
                    <a:pt x="34" y="3"/>
                    <a:pt x="35" y="3"/>
                  </a:cubicBezTo>
                  <a:cubicBezTo>
                    <a:pt x="36" y="3"/>
                    <a:pt x="37" y="3"/>
                    <a:pt x="38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6"/>
                    <a:pt x="37" y="8"/>
                    <a:pt x="38" y="10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3"/>
                    <a:pt x="38" y="16"/>
                    <a:pt x="38" y="18"/>
                  </a:cubicBezTo>
                  <a:cubicBezTo>
                    <a:pt x="38" y="19"/>
                    <a:pt x="38" y="20"/>
                    <a:pt x="38" y="21"/>
                  </a:cubicBezTo>
                  <a:cubicBezTo>
                    <a:pt x="38" y="24"/>
                    <a:pt x="38" y="27"/>
                    <a:pt x="38" y="30"/>
                  </a:cubicBezTo>
                  <a:cubicBezTo>
                    <a:pt x="38" y="31"/>
                    <a:pt x="38" y="32"/>
                    <a:pt x="38" y="33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5"/>
                    <a:pt x="37" y="35"/>
                  </a:cubicBez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6"/>
                  </a:cubicBezTo>
                  <a:lnTo>
                    <a:pt x="36" y="37"/>
                  </a:lnTo>
                  <a:close/>
                  <a:moveTo>
                    <a:pt x="17" y="26"/>
                  </a:moveTo>
                  <a:cubicBezTo>
                    <a:pt x="17" y="26"/>
                    <a:pt x="18" y="26"/>
                    <a:pt x="18" y="2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5" y="35"/>
                    <a:pt x="35" y="34"/>
                    <a:pt x="35" y="34"/>
                  </a:cubicBezTo>
                  <a:cubicBezTo>
                    <a:pt x="35" y="34"/>
                    <a:pt x="36" y="34"/>
                    <a:pt x="36" y="34"/>
                  </a:cubicBezTo>
                  <a:cubicBezTo>
                    <a:pt x="36" y="34"/>
                    <a:pt x="36" y="34"/>
                    <a:pt x="37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2"/>
                    <a:pt x="37" y="31"/>
                    <a:pt x="37" y="30"/>
                  </a:cubicBezTo>
                  <a:cubicBezTo>
                    <a:pt x="37" y="27"/>
                    <a:pt x="37" y="24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7" y="16"/>
                    <a:pt x="37" y="13"/>
                    <a:pt x="37" y="12"/>
                  </a:cubicBezTo>
                  <a:cubicBezTo>
                    <a:pt x="37" y="11"/>
                    <a:pt x="37" y="11"/>
                    <a:pt x="37" y="10"/>
                  </a:cubicBezTo>
                  <a:cubicBezTo>
                    <a:pt x="36" y="9"/>
                    <a:pt x="35" y="6"/>
                    <a:pt x="37" y="5"/>
                  </a:cubicBezTo>
                  <a:cubicBezTo>
                    <a:pt x="36" y="4"/>
                    <a:pt x="36" y="4"/>
                    <a:pt x="35" y="4"/>
                  </a:cubicBezTo>
                  <a:cubicBezTo>
                    <a:pt x="34" y="4"/>
                    <a:pt x="33" y="4"/>
                    <a:pt x="32" y="3"/>
                  </a:cubicBezTo>
                  <a:cubicBezTo>
                    <a:pt x="32" y="2"/>
                    <a:pt x="31" y="2"/>
                    <a:pt x="30" y="2"/>
                  </a:cubicBezTo>
                  <a:cubicBezTo>
                    <a:pt x="30" y="2"/>
                    <a:pt x="29" y="2"/>
                    <a:pt x="29" y="2"/>
                  </a:cubicBezTo>
                  <a:cubicBezTo>
                    <a:pt x="27" y="2"/>
                    <a:pt x="26" y="4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6" y="6"/>
                    <a:pt x="26" y="7"/>
                  </a:cubicBezTo>
                  <a:cubicBezTo>
                    <a:pt x="25" y="8"/>
                    <a:pt x="25" y="8"/>
                    <a:pt x="24" y="8"/>
                  </a:cubicBezTo>
                  <a:cubicBezTo>
                    <a:pt x="24" y="8"/>
                    <a:pt x="24" y="9"/>
                    <a:pt x="23" y="9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20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6" y="6"/>
                    <a:pt x="15" y="6"/>
                    <a:pt x="14" y="3"/>
                  </a:cubicBezTo>
                  <a:cubicBezTo>
                    <a:pt x="13" y="2"/>
                    <a:pt x="11" y="2"/>
                    <a:pt x="9" y="2"/>
                  </a:cubicBezTo>
                  <a:cubicBezTo>
                    <a:pt x="8" y="2"/>
                    <a:pt x="7" y="1"/>
                    <a:pt x="6" y="1"/>
                  </a:cubicBezTo>
                  <a:cubicBezTo>
                    <a:pt x="6" y="3"/>
                    <a:pt x="6" y="3"/>
                    <a:pt x="5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3" y="8"/>
                    <a:pt x="3" y="8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9"/>
                    <a:pt x="1" y="10"/>
                    <a:pt x="2" y="10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2" y="13"/>
                    <a:pt x="2" y="15"/>
                    <a:pt x="2" y="16"/>
                  </a:cubicBezTo>
                  <a:cubicBezTo>
                    <a:pt x="2" y="17"/>
                    <a:pt x="2" y="19"/>
                    <a:pt x="2" y="19"/>
                  </a:cubicBezTo>
                  <a:cubicBezTo>
                    <a:pt x="2" y="20"/>
                    <a:pt x="2" y="20"/>
                    <a:pt x="2" y="21"/>
                  </a:cubicBezTo>
                  <a:cubicBezTo>
                    <a:pt x="3" y="21"/>
                    <a:pt x="3" y="22"/>
                    <a:pt x="3" y="22"/>
                  </a:cubicBezTo>
                  <a:cubicBezTo>
                    <a:pt x="3" y="22"/>
                    <a:pt x="4" y="23"/>
                    <a:pt x="4" y="23"/>
                  </a:cubicBezTo>
                  <a:cubicBezTo>
                    <a:pt x="5" y="23"/>
                    <a:pt x="6" y="23"/>
                    <a:pt x="6" y="24"/>
                  </a:cubicBezTo>
                  <a:cubicBezTo>
                    <a:pt x="7" y="25"/>
                    <a:pt x="8" y="25"/>
                    <a:pt x="9" y="25"/>
                  </a:cubicBezTo>
                  <a:cubicBezTo>
                    <a:pt x="10" y="25"/>
                    <a:pt x="12" y="25"/>
                    <a:pt x="13" y="26"/>
                  </a:cubicBezTo>
                  <a:cubicBezTo>
                    <a:pt x="14" y="26"/>
                    <a:pt x="14" y="26"/>
                    <a:pt x="15" y="26"/>
                  </a:cubicBezTo>
                  <a:cubicBezTo>
                    <a:pt x="16" y="26"/>
                    <a:pt x="16" y="26"/>
                    <a:pt x="17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1" name="Freeform 275"/>
            <p:cNvSpPr/>
            <p:nvPr/>
          </p:nvSpPr>
          <p:spPr bwMode="auto">
            <a:xfrm>
              <a:off x="2472359" y="3400440"/>
              <a:ext cx="135342" cy="245564"/>
            </a:xfrm>
            <a:custGeom>
              <a:avLst/>
              <a:gdLst>
                <a:gd name="T0" fmla="*/ 2147483646 w 18"/>
                <a:gd name="T1" fmla="*/ 2147483646 h 33"/>
                <a:gd name="T2" fmla="*/ 2147483646 w 18"/>
                <a:gd name="T3" fmla="*/ 2147483646 h 33"/>
                <a:gd name="T4" fmla="*/ 2147483646 w 18"/>
                <a:gd name="T5" fmla="*/ 2147483646 h 33"/>
                <a:gd name="T6" fmla="*/ 2147483646 w 18"/>
                <a:gd name="T7" fmla="*/ 2147483646 h 33"/>
                <a:gd name="T8" fmla="*/ 2147483646 w 18"/>
                <a:gd name="T9" fmla="*/ 2147483646 h 33"/>
                <a:gd name="T10" fmla="*/ 2147483646 w 18"/>
                <a:gd name="T11" fmla="*/ 2147483646 h 33"/>
                <a:gd name="T12" fmla="*/ 2147483646 w 18"/>
                <a:gd name="T13" fmla="*/ 2147483646 h 33"/>
                <a:gd name="T14" fmla="*/ 2147483646 w 18"/>
                <a:gd name="T15" fmla="*/ 2147483646 h 33"/>
                <a:gd name="T16" fmla="*/ 2147483646 w 18"/>
                <a:gd name="T17" fmla="*/ 2147483646 h 33"/>
                <a:gd name="T18" fmla="*/ 2147483646 w 18"/>
                <a:gd name="T19" fmla="*/ 2147483646 h 33"/>
                <a:gd name="T20" fmla="*/ 2147483646 w 18"/>
                <a:gd name="T21" fmla="*/ 2147483646 h 33"/>
                <a:gd name="T22" fmla="*/ 2147483646 w 18"/>
                <a:gd name="T23" fmla="*/ 0 h 33"/>
                <a:gd name="T24" fmla="*/ 2147483646 w 18"/>
                <a:gd name="T25" fmla="*/ 2147483646 h 33"/>
                <a:gd name="T26" fmla="*/ 2147483646 w 18"/>
                <a:gd name="T27" fmla="*/ 2147483646 h 33"/>
                <a:gd name="T28" fmla="*/ 2147483646 w 18"/>
                <a:gd name="T29" fmla="*/ 2147483646 h 33"/>
                <a:gd name="T30" fmla="*/ 2147483646 w 18"/>
                <a:gd name="T31" fmla="*/ 2147483646 h 33"/>
                <a:gd name="T32" fmla="*/ 2147483646 w 18"/>
                <a:gd name="T33" fmla="*/ 2147483646 h 33"/>
                <a:gd name="T34" fmla="*/ 2147483646 w 18"/>
                <a:gd name="T35" fmla="*/ 2147483646 h 33"/>
                <a:gd name="T36" fmla="*/ 2147483646 w 18"/>
                <a:gd name="T37" fmla="*/ 2147483646 h 33"/>
                <a:gd name="T38" fmla="*/ 2147483646 w 18"/>
                <a:gd name="T39" fmla="*/ 2147483646 h 33"/>
                <a:gd name="T40" fmla="*/ 2147483646 w 18"/>
                <a:gd name="T41" fmla="*/ 2147483646 h 33"/>
                <a:gd name="T42" fmla="*/ 2147483646 w 18"/>
                <a:gd name="T43" fmla="*/ 2147483646 h 3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" h="33">
                  <a:moveTo>
                    <a:pt x="3" y="10"/>
                  </a:moveTo>
                  <a:cubicBezTo>
                    <a:pt x="4" y="9"/>
                    <a:pt x="7" y="8"/>
                    <a:pt x="8" y="9"/>
                  </a:cubicBezTo>
                  <a:cubicBezTo>
                    <a:pt x="7" y="8"/>
                    <a:pt x="8" y="7"/>
                    <a:pt x="9" y="7"/>
                  </a:cubicBezTo>
                  <a:cubicBezTo>
                    <a:pt x="9" y="8"/>
                    <a:pt x="9" y="7"/>
                    <a:pt x="10" y="8"/>
                  </a:cubicBezTo>
                  <a:cubicBezTo>
                    <a:pt x="9" y="7"/>
                    <a:pt x="9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11" y="4"/>
                    <a:pt x="11" y="4"/>
                    <a:pt x="11" y="3"/>
                  </a:cubicBezTo>
                  <a:cubicBezTo>
                    <a:pt x="12" y="3"/>
                    <a:pt x="11" y="3"/>
                    <a:pt x="12" y="4"/>
                  </a:cubicBezTo>
                  <a:cubicBezTo>
                    <a:pt x="12" y="3"/>
                    <a:pt x="13" y="3"/>
                    <a:pt x="13" y="2"/>
                  </a:cubicBezTo>
                  <a:cubicBezTo>
                    <a:pt x="14" y="1"/>
                    <a:pt x="12" y="0"/>
                    <a:pt x="14" y="0"/>
                  </a:cubicBezTo>
                  <a:cubicBezTo>
                    <a:pt x="15" y="2"/>
                    <a:pt x="18" y="7"/>
                    <a:pt x="16" y="9"/>
                  </a:cubicBezTo>
                  <a:cubicBezTo>
                    <a:pt x="16" y="8"/>
                    <a:pt x="16" y="8"/>
                    <a:pt x="15" y="7"/>
                  </a:cubicBezTo>
                  <a:cubicBezTo>
                    <a:pt x="16" y="11"/>
                    <a:pt x="14" y="16"/>
                    <a:pt x="13" y="20"/>
                  </a:cubicBezTo>
                  <a:cubicBezTo>
                    <a:pt x="12" y="23"/>
                    <a:pt x="11" y="26"/>
                    <a:pt x="10" y="29"/>
                  </a:cubicBezTo>
                  <a:cubicBezTo>
                    <a:pt x="9" y="31"/>
                    <a:pt x="8" y="31"/>
                    <a:pt x="6" y="32"/>
                  </a:cubicBezTo>
                  <a:cubicBezTo>
                    <a:pt x="4" y="33"/>
                    <a:pt x="2" y="30"/>
                    <a:pt x="2" y="28"/>
                  </a:cubicBezTo>
                  <a:cubicBezTo>
                    <a:pt x="1" y="26"/>
                    <a:pt x="0" y="24"/>
                    <a:pt x="1" y="23"/>
                  </a:cubicBezTo>
                  <a:cubicBezTo>
                    <a:pt x="2" y="20"/>
                    <a:pt x="4" y="19"/>
                    <a:pt x="3" y="16"/>
                  </a:cubicBezTo>
                  <a:cubicBezTo>
                    <a:pt x="3" y="15"/>
                    <a:pt x="2" y="13"/>
                    <a:pt x="2" y="12"/>
                  </a:cubicBezTo>
                  <a:cubicBezTo>
                    <a:pt x="2" y="11"/>
                    <a:pt x="3" y="11"/>
                    <a:pt x="3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2" name="Freeform 276"/>
            <p:cNvSpPr>
              <a:spLocks noEditPoints="1"/>
            </p:cNvSpPr>
            <p:nvPr/>
          </p:nvSpPr>
          <p:spPr bwMode="auto">
            <a:xfrm>
              <a:off x="2466064" y="3394143"/>
              <a:ext cx="147932" cy="251860"/>
            </a:xfrm>
            <a:custGeom>
              <a:avLst/>
              <a:gdLst>
                <a:gd name="T0" fmla="*/ 2147483646 w 20"/>
                <a:gd name="T1" fmla="*/ 2147483646 h 34"/>
                <a:gd name="T2" fmla="*/ 2147483646 w 20"/>
                <a:gd name="T3" fmla="*/ 2147483646 h 34"/>
                <a:gd name="T4" fmla="*/ 2147483646 w 20"/>
                <a:gd name="T5" fmla="*/ 2147483646 h 34"/>
                <a:gd name="T6" fmla="*/ 2147483646 w 20"/>
                <a:gd name="T7" fmla="*/ 2147483646 h 34"/>
                <a:gd name="T8" fmla="*/ 2147483646 w 20"/>
                <a:gd name="T9" fmla="*/ 2147483646 h 34"/>
                <a:gd name="T10" fmla="*/ 2147483646 w 20"/>
                <a:gd name="T11" fmla="*/ 2147483646 h 34"/>
                <a:gd name="T12" fmla="*/ 2147483646 w 20"/>
                <a:gd name="T13" fmla="*/ 2147483646 h 34"/>
                <a:gd name="T14" fmla="*/ 2147483646 w 20"/>
                <a:gd name="T15" fmla="*/ 2147483646 h 34"/>
                <a:gd name="T16" fmla="*/ 2147483646 w 20"/>
                <a:gd name="T17" fmla="*/ 2147483646 h 34"/>
                <a:gd name="T18" fmla="*/ 2147483646 w 20"/>
                <a:gd name="T19" fmla="*/ 2147483646 h 34"/>
                <a:gd name="T20" fmla="*/ 2147483646 w 20"/>
                <a:gd name="T21" fmla="*/ 2147483646 h 34"/>
                <a:gd name="T22" fmla="*/ 2147483646 w 20"/>
                <a:gd name="T23" fmla="*/ 2147483646 h 34"/>
                <a:gd name="T24" fmla="*/ 2147483646 w 20"/>
                <a:gd name="T25" fmla="*/ 2147483646 h 34"/>
                <a:gd name="T26" fmla="*/ 2147483646 w 20"/>
                <a:gd name="T27" fmla="*/ 2147483646 h 34"/>
                <a:gd name="T28" fmla="*/ 2147483646 w 20"/>
                <a:gd name="T29" fmla="*/ 0 h 34"/>
                <a:gd name="T30" fmla="*/ 2147483646 w 20"/>
                <a:gd name="T31" fmla="*/ 2147483646 h 34"/>
                <a:gd name="T32" fmla="*/ 2147483646 w 20"/>
                <a:gd name="T33" fmla="*/ 2147483646 h 34"/>
                <a:gd name="T34" fmla="*/ 2147483646 w 20"/>
                <a:gd name="T35" fmla="*/ 2147483646 h 34"/>
                <a:gd name="T36" fmla="*/ 2147483646 w 20"/>
                <a:gd name="T37" fmla="*/ 2147483646 h 34"/>
                <a:gd name="T38" fmla="*/ 2147483646 w 20"/>
                <a:gd name="T39" fmla="*/ 2147483646 h 34"/>
                <a:gd name="T40" fmla="*/ 2147483646 w 20"/>
                <a:gd name="T41" fmla="*/ 2147483646 h 34"/>
                <a:gd name="T42" fmla="*/ 2147483646 w 20"/>
                <a:gd name="T43" fmla="*/ 2147483646 h 34"/>
                <a:gd name="T44" fmla="*/ 2147483646 w 20"/>
                <a:gd name="T45" fmla="*/ 2147483646 h 34"/>
                <a:gd name="T46" fmla="*/ 2147483646 w 20"/>
                <a:gd name="T47" fmla="*/ 2147483646 h 34"/>
                <a:gd name="T48" fmla="*/ 2147483646 w 20"/>
                <a:gd name="T49" fmla="*/ 2147483646 h 34"/>
                <a:gd name="T50" fmla="*/ 2147483646 w 20"/>
                <a:gd name="T51" fmla="*/ 2147483646 h 34"/>
                <a:gd name="T52" fmla="*/ 2147483646 w 20"/>
                <a:gd name="T53" fmla="*/ 2147483646 h 34"/>
                <a:gd name="T54" fmla="*/ 2147483646 w 20"/>
                <a:gd name="T55" fmla="*/ 2147483646 h 34"/>
                <a:gd name="T56" fmla="*/ 2147483646 w 20"/>
                <a:gd name="T57" fmla="*/ 2147483646 h 34"/>
                <a:gd name="T58" fmla="*/ 2147483646 w 20"/>
                <a:gd name="T59" fmla="*/ 2147483646 h 34"/>
                <a:gd name="T60" fmla="*/ 2147483646 w 20"/>
                <a:gd name="T61" fmla="*/ 2147483646 h 34"/>
                <a:gd name="T62" fmla="*/ 2147483646 w 20"/>
                <a:gd name="T63" fmla="*/ 2147483646 h 34"/>
                <a:gd name="T64" fmla="*/ 2147483646 w 20"/>
                <a:gd name="T65" fmla="*/ 2147483646 h 34"/>
                <a:gd name="T66" fmla="*/ 2147483646 w 20"/>
                <a:gd name="T67" fmla="*/ 2147483646 h 34"/>
                <a:gd name="T68" fmla="*/ 2147483646 w 20"/>
                <a:gd name="T69" fmla="*/ 2147483646 h 34"/>
                <a:gd name="T70" fmla="*/ 2147483646 w 20"/>
                <a:gd name="T71" fmla="*/ 2147483646 h 34"/>
                <a:gd name="T72" fmla="*/ 2147483646 w 20"/>
                <a:gd name="T73" fmla="*/ 2147483646 h 34"/>
                <a:gd name="T74" fmla="*/ 2147483646 w 20"/>
                <a:gd name="T75" fmla="*/ 2147483646 h 34"/>
                <a:gd name="T76" fmla="*/ 2147483646 w 20"/>
                <a:gd name="T77" fmla="*/ 2147483646 h 34"/>
                <a:gd name="T78" fmla="*/ 2147483646 w 20"/>
                <a:gd name="T79" fmla="*/ 2147483646 h 34"/>
                <a:gd name="T80" fmla="*/ 2147483646 w 20"/>
                <a:gd name="T81" fmla="*/ 2147483646 h 34"/>
                <a:gd name="T82" fmla="*/ 2147483646 w 20"/>
                <a:gd name="T83" fmla="*/ 2147483646 h 3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0" h="34">
                  <a:moveTo>
                    <a:pt x="6" y="34"/>
                  </a:moveTo>
                  <a:cubicBezTo>
                    <a:pt x="4" y="34"/>
                    <a:pt x="2" y="31"/>
                    <a:pt x="2" y="29"/>
                  </a:cubicBezTo>
                  <a:cubicBezTo>
                    <a:pt x="2" y="29"/>
                    <a:pt x="2" y="28"/>
                    <a:pt x="1" y="27"/>
                  </a:cubicBezTo>
                  <a:cubicBezTo>
                    <a:pt x="1" y="26"/>
                    <a:pt x="0" y="25"/>
                    <a:pt x="1" y="23"/>
                  </a:cubicBezTo>
                  <a:cubicBezTo>
                    <a:pt x="1" y="23"/>
                    <a:pt x="2" y="22"/>
                    <a:pt x="2" y="22"/>
                  </a:cubicBezTo>
                  <a:cubicBezTo>
                    <a:pt x="3" y="20"/>
                    <a:pt x="4" y="19"/>
                    <a:pt x="3" y="17"/>
                  </a:cubicBezTo>
                  <a:cubicBezTo>
                    <a:pt x="3" y="17"/>
                    <a:pt x="3" y="17"/>
                    <a:pt x="3" y="16"/>
                  </a:cubicBezTo>
                  <a:cubicBezTo>
                    <a:pt x="3" y="15"/>
                    <a:pt x="2" y="14"/>
                    <a:pt x="2" y="13"/>
                  </a:cubicBezTo>
                  <a:cubicBezTo>
                    <a:pt x="2" y="13"/>
                    <a:pt x="3" y="12"/>
                    <a:pt x="3" y="12"/>
                  </a:cubicBezTo>
                  <a:cubicBezTo>
                    <a:pt x="3" y="11"/>
                    <a:pt x="3" y="11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7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9" y="8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4" y="3"/>
                    <a:pt x="14" y="3"/>
                    <a:pt x="14" y="2"/>
                  </a:cubicBezTo>
                  <a:cubicBezTo>
                    <a:pt x="14" y="2"/>
                    <a:pt x="13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2"/>
                    <a:pt x="20" y="8"/>
                    <a:pt x="18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3"/>
                    <a:pt x="16" y="17"/>
                    <a:pt x="15" y="20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3"/>
                    <a:pt x="13" y="25"/>
                    <a:pt x="12" y="28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1" y="32"/>
                    <a:pt x="10" y="32"/>
                    <a:pt x="9" y="33"/>
                  </a:cubicBezTo>
                  <a:cubicBezTo>
                    <a:pt x="8" y="33"/>
                    <a:pt x="8" y="33"/>
                    <a:pt x="7" y="34"/>
                  </a:cubicBezTo>
                  <a:cubicBezTo>
                    <a:pt x="7" y="34"/>
                    <a:pt x="6" y="34"/>
                    <a:pt x="6" y="34"/>
                  </a:cubicBezTo>
                  <a:close/>
                  <a:moveTo>
                    <a:pt x="5" y="11"/>
                  </a:moveTo>
                  <a:cubicBezTo>
                    <a:pt x="5" y="11"/>
                    <a:pt x="4" y="12"/>
                    <a:pt x="4" y="12"/>
                  </a:cubicBezTo>
                  <a:cubicBezTo>
                    <a:pt x="4" y="13"/>
                    <a:pt x="4" y="13"/>
                    <a:pt x="3" y="14"/>
                  </a:cubicBezTo>
                  <a:cubicBezTo>
                    <a:pt x="3" y="14"/>
                    <a:pt x="4" y="15"/>
                    <a:pt x="4" y="16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5" y="19"/>
                    <a:pt x="4" y="21"/>
                    <a:pt x="3" y="23"/>
                  </a:cubicBezTo>
                  <a:cubicBezTo>
                    <a:pt x="3" y="23"/>
                    <a:pt x="2" y="23"/>
                    <a:pt x="2" y="24"/>
                  </a:cubicBezTo>
                  <a:cubicBezTo>
                    <a:pt x="2" y="25"/>
                    <a:pt x="2" y="26"/>
                    <a:pt x="2" y="27"/>
                  </a:cubicBezTo>
                  <a:cubicBezTo>
                    <a:pt x="3" y="28"/>
                    <a:pt x="3" y="28"/>
                    <a:pt x="3" y="29"/>
                  </a:cubicBezTo>
                  <a:cubicBezTo>
                    <a:pt x="3" y="31"/>
                    <a:pt x="4" y="33"/>
                    <a:pt x="6" y="33"/>
                  </a:cubicBezTo>
                  <a:cubicBezTo>
                    <a:pt x="6" y="33"/>
                    <a:pt x="6" y="33"/>
                    <a:pt x="7" y="32"/>
                  </a:cubicBezTo>
                  <a:cubicBezTo>
                    <a:pt x="7" y="32"/>
                    <a:pt x="8" y="32"/>
                    <a:pt x="8" y="32"/>
                  </a:cubicBezTo>
                  <a:cubicBezTo>
                    <a:pt x="9" y="31"/>
                    <a:pt x="10" y="31"/>
                    <a:pt x="10" y="30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5"/>
                    <a:pt x="13" y="23"/>
                    <a:pt x="13" y="2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6" y="12"/>
                    <a:pt x="16" y="8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7"/>
                    <a:pt x="16" y="3"/>
                    <a:pt x="15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3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3" y="4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7"/>
                    <a:pt x="12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10" y="10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10"/>
                    <a:pt x="6" y="10"/>
                    <a:pt x="5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3" name="Freeform 277"/>
            <p:cNvSpPr/>
            <p:nvPr/>
          </p:nvSpPr>
          <p:spPr bwMode="auto">
            <a:xfrm>
              <a:off x="1521817" y="2745602"/>
              <a:ext cx="289569" cy="267603"/>
            </a:xfrm>
            <a:custGeom>
              <a:avLst/>
              <a:gdLst>
                <a:gd name="T0" fmla="*/ 2147483646 w 39"/>
                <a:gd name="T1" fmla="*/ 0 h 36"/>
                <a:gd name="T2" fmla="*/ 2147483646 w 39"/>
                <a:gd name="T3" fmla="*/ 2147483646 h 36"/>
                <a:gd name="T4" fmla="*/ 2147483646 w 39"/>
                <a:gd name="T5" fmla="*/ 2147483646 h 36"/>
                <a:gd name="T6" fmla="*/ 2147483646 w 39"/>
                <a:gd name="T7" fmla="*/ 2147483646 h 36"/>
                <a:gd name="T8" fmla="*/ 2147483646 w 39"/>
                <a:gd name="T9" fmla="*/ 2147483646 h 36"/>
                <a:gd name="T10" fmla="*/ 2147483646 w 39"/>
                <a:gd name="T11" fmla="*/ 2147483646 h 36"/>
                <a:gd name="T12" fmla="*/ 2147483646 w 39"/>
                <a:gd name="T13" fmla="*/ 2147483646 h 36"/>
                <a:gd name="T14" fmla="*/ 2147483646 w 39"/>
                <a:gd name="T15" fmla="*/ 2147483646 h 36"/>
                <a:gd name="T16" fmla="*/ 2147483646 w 39"/>
                <a:gd name="T17" fmla="*/ 2147483646 h 36"/>
                <a:gd name="T18" fmla="*/ 2147483646 w 39"/>
                <a:gd name="T19" fmla="*/ 2147483646 h 36"/>
                <a:gd name="T20" fmla="*/ 2147483646 w 39"/>
                <a:gd name="T21" fmla="*/ 2147483646 h 36"/>
                <a:gd name="T22" fmla="*/ 2147483646 w 39"/>
                <a:gd name="T23" fmla="*/ 2147483646 h 36"/>
                <a:gd name="T24" fmla="*/ 2147483646 w 39"/>
                <a:gd name="T25" fmla="*/ 2147483646 h 36"/>
                <a:gd name="T26" fmla="*/ 2147483646 w 39"/>
                <a:gd name="T27" fmla="*/ 2147483646 h 36"/>
                <a:gd name="T28" fmla="*/ 2147483646 w 39"/>
                <a:gd name="T29" fmla="*/ 2147483646 h 36"/>
                <a:gd name="T30" fmla="*/ 2147483646 w 39"/>
                <a:gd name="T31" fmla="*/ 2147483646 h 36"/>
                <a:gd name="T32" fmla="*/ 2147483646 w 39"/>
                <a:gd name="T33" fmla="*/ 2147483646 h 36"/>
                <a:gd name="T34" fmla="*/ 2147483646 w 39"/>
                <a:gd name="T35" fmla="*/ 2147483646 h 36"/>
                <a:gd name="T36" fmla="*/ 2147483646 w 39"/>
                <a:gd name="T37" fmla="*/ 2147483646 h 36"/>
                <a:gd name="T38" fmla="*/ 2147483646 w 39"/>
                <a:gd name="T39" fmla="*/ 2147483646 h 36"/>
                <a:gd name="T40" fmla="*/ 2147483646 w 39"/>
                <a:gd name="T41" fmla="*/ 2147483646 h 36"/>
                <a:gd name="T42" fmla="*/ 2147483646 w 39"/>
                <a:gd name="T43" fmla="*/ 2147483646 h 36"/>
                <a:gd name="T44" fmla="*/ 2147483646 w 39"/>
                <a:gd name="T45" fmla="*/ 2147483646 h 36"/>
                <a:gd name="T46" fmla="*/ 2147483646 w 39"/>
                <a:gd name="T47" fmla="*/ 2147483646 h 36"/>
                <a:gd name="T48" fmla="*/ 2147483646 w 39"/>
                <a:gd name="T49" fmla="*/ 2147483646 h 36"/>
                <a:gd name="T50" fmla="*/ 2147483646 w 39"/>
                <a:gd name="T51" fmla="*/ 0 h 36"/>
                <a:gd name="T52" fmla="*/ 2147483646 w 39"/>
                <a:gd name="T53" fmla="*/ 0 h 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39" h="36">
                  <a:moveTo>
                    <a:pt x="17" y="0"/>
                  </a:moveTo>
                  <a:cubicBezTo>
                    <a:pt x="22" y="3"/>
                    <a:pt x="26" y="6"/>
                    <a:pt x="31" y="9"/>
                  </a:cubicBezTo>
                  <a:cubicBezTo>
                    <a:pt x="32" y="10"/>
                    <a:pt x="32" y="11"/>
                    <a:pt x="34" y="12"/>
                  </a:cubicBezTo>
                  <a:cubicBezTo>
                    <a:pt x="37" y="13"/>
                    <a:pt x="35" y="16"/>
                    <a:pt x="38" y="14"/>
                  </a:cubicBezTo>
                  <a:cubicBezTo>
                    <a:pt x="38" y="17"/>
                    <a:pt x="39" y="21"/>
                    <a:pt x="37" y="23"/>
                  </a:cubicBezTo>
                  <a:cubicBezTo>
                    <a:pt x="36" y="24"/>
                    <a:pt x="35" y="24"/>
                    <a:pt x="33" y="24"/>
                  </a:cubicBezTo>
                  <a:cubicBezTo>
                    <a:pt x="31" y="24"/>
                    <a:pt x="31" y="25"/>
                    <a:pt x="29" y="25"/>
                  </a:cubicBezTo>
                  <a:cubicBezTo>
                    <a:pt x="26" y="25"/>
                    <a:pt x="24" y="27"/>
                    <a:pt x="21" y="28"/>
                  </a:cubicBezTo>
                  <a:cubicBezTo>
                    <a:pt x="19" y="29"/>
                    <a:pt x="17" y="33"/>
                    <a:pt x="16" y="36"/>
                  </a:cubicBezTo>
                  <a:cubicBezTo>
                    <a:pt x="16" y="35"/>
                    <a:pt x="15" y="35"/>
                    <a:pt x="14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5"/>
                    <a:pt x="13" y="36"/>
                    <a:pt x="11" y="35"/>
                  </a:cubicBezTo>
                  <a:cubicBezTo>
                    <a:pt x="11" y="35"/>
                    <a:pt x="9" y="36"/>
                    <a:pt x="9" y="34"/>
                  </a:cubicBezTo>
                  <a:cubicBezTo>
                    <a:pt x="9" y="34"/>
                    <a:pt x="9" y="34"/>
                    <a:pt x="8" y="34"/>
                  </a:cubicBezTo>
                  <a:cubicBezTo>
                    <a:pt x="9" y="34"/>
                    <a:pt x="9" y="33"/>
                    <a:pt x="9" y="33"/>
                  </a:cubicBezTo>
                  <a:cubicBezTo>
                    <a:pt x="8" y="33"/>
                    <a:pt x="8" y="30"/>
                    <a:pt x="7" y="31"/>
                  </a:cubicBezTo>
                  <a:cubicBezTo>
                    <a:pt x="5" y="32"/>
                    <a:pt x="4" y="31"/>
                    <a:pt x="2" y="31"/>
                  </a:cubicBezTo>
                  <a:cubicBezTo>
                    <a:pt x="3" y="30"/>
                    <a:pt x="1" y="28"/>
                    <a:pt x="1" y="27"/>
                  </a:cubicBezTo>
                  <a:cubicBezTo>
                    <a:pt x="1" y="27"/>
                    <a:pt x="0" y="26"/>
                    <a:pt x="1" y="25"/>
                  </a:cubicBezTo>
                  <a:cubicBezTo>
                    <a:pt x="1" y="24"/>
                    <a:pt x="2" y="23"/>
                    <a:pt x="2" y="22"/>
                  </a:cubicBezTo>
                  <a:cubicBezTo>
                    <a:pt x="3" y="23"/>
                    <a:pt x="3" y="25"/>
                    <a:pt x="4" y="24"/>
                  </a:cubicBezTo>
                  <a:cubicBezTo>
                    <a:pt x="6" y="23"/>
                    <a:pt x="7" y="23"/>
                    <a:pt x="9" y="23"/>
                  </a:cubicBezTo>
                  <a:cubicBezTo>
                    <a:pt x="11" y="23"/>
                    <a:pt x="13" y="23"/>
                    <a:pt x="15" y="23"/>
                  </a:cubicBezTo>
                  <a:cubicBezTo>
                    <a:pt x="15" y="23"/>
                    <a:pt x="16" y="24"/>
                    <a:pt x="16" y="23"/>
                  </a:cubicBezTo>
                  <a:cubicBezTo>
                    <a:pt x="16" y="21"/>
                    <a:pt x="15" y="22"/>
                    <a:pt x="15" y="21"/>
                  </a:cubicBezTo>
                  <a:cubicBezTo>
                    <a:pt x="14" y="14"/>
                    <a:pt x="14" y="7"/>
                    <a:pt x="13" y="0"/>
                  </a:cubicBezTo>
                  <a:cubicBezTo>
                    <a:pt x="14" y="0"/>
                    <a:pt x="16" y="0"/>
                    <a:pt x="17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4" name="Freeform 278"/>
            <p:cNvSpPr>
              <a:spLocks noEditPoints="1"/>
            </p:cNvSpPr>
            <p:nvPr/>
          </p:nvSpPr>
          <p:spPr bwMode="auto">
            <a:xfrm>
              <a:off x="1521817" y="2739306"/>
              <a:ext cx="289569" cy="283344"/>
            </a:xfrm>
            <a:custGeom>
              <a:avLst/>
              <a:gdLst>
                <a:gd name="T0" fmla="*/ 2147483646 w 39"/>
                <a:gd name="T1" fmla="*/ 2147483646 h 38"/>
                <a:gd name="T2" fmla="*/ 2147483646 w 39"/>
                <a:gd name="T3" fmla="*/ 2147483646 h 38"/>
                <a:gd name="T4" fmla="*/ 2147483646 w 39"/>
                <a:gd name="T5" fmla="*/ 2147483646 h 38"/>
                <a:gd name="T6" fmla="*/ 2147483646 w 39"/>
                <a:gd name="T7" fmla="*/ 2147483646 h 38"/>
                <a:gd name="T8" fmla="*/ 2147483646 w 39"/>
                <a:gd name="T9" fmla="*/ 2147483646 h 38"/>
                <a:gd name="T10" fmla="*/ 2147483646 w 39"/>
                <a:gd name="T11" fmla="*/ 2147483646 h 38"/>
                <a:gd name="T12" fmla="*/ 2147483646 w 39"/>
                <a:gd name="T13" fmla="*/ 2147483646 h 38"/>
                <a:gd name="T14" fmla="*/ 2147483646 w 39"/>
                <a:gd name="T15" fmla="*/ 2147483646 h 38"/>
                <a:gd name="T16" fmla="*/ 2147483646 w 39"/>
                <a:gd name="T17" fmla="*/ 2147483646 h 38"/>
                <a:gd name="T18" fmla="*/ 2147483646 w 39"/>
                <a:gd name="T19" fmla="*/ 2147483646 h 38"/>
                <a:gd name="T20" fmla="*/ 0 w 39"/>
                <a:gd name="T21" fmla="*/ 2147483646 h 38"/>
                <a:gd name="T22" fmla="*/ 2147483646 w 39"/>
                <a:gd name="T23" fmla="*/ 2147483646 h 38"/>
                <a:gd name="T24" fmla="*/ 2147483646 w 39"/>
                <a:gd name="T25" fmla="*/ 2147483646 h 38"/>
                <a:gd name="T26" fmla="*/ 2147483646 w 39"/>
                <a:gd name="T27" fmla="*/ 2147483646 h 38"/>
                <a:gd name="T28" fmla="*/ 2147483646 w 39"/>
                <a:gd name="T29" fmla="*/ 2147483646 h 38"/>
                <a:gd name="T30" fmla="*/ 2147483646 w 39"/>
                <a:gd name="T31" fmla="*/ 2147483646 h 38"/>
                <a:gd name="T32" fmla="*/ 2147483646 w 39"/>
                <a:gd name="T33" fmla="*/ 2147483646 h 38"/>
                <a:gd name="T34" fmla="*/ 2147483646 w 39"/>
                <a:gd name="T35" fmla="*/ 2147483646 h 38"/>
                <a:gd name="T36" fmla="*/ 2147483646 w 39"/>
                <a:gd name="T37" fmla="*/ 2147483646 h 38"/>
                <a:gd name="T38" fmla="*/ 2147483646 w 39"/>
                <a:gd name="T39" fmla="*/ 2147483646 h 38"/>
                <a:gd name="T40" fmla="*/ 2147483646 w 39"/>
                <a:gd name="T41" fmla="*/ 0 h 38"/>
                <a:gd name="T42" fmla="*/ 2147483646 w 39"/>
                <a:gd name="T43" fmla="*/ 2147483646 h 38"/>
                <a:gd name="T44" fmla="*/ 2147483646 w 39"/>
                <a:gd name="T45" fmla="*/ 2147483646 h 38"/>
                <a:gd name="T46" fmla="*/ 2147483646 w 39"/>
                <a:gd name="T47" fmla="*/ 2147483646 h 38"/>
                <a:gd name="T48" fmla="*/ 2147483646 w 39"/>
                <a:gd name="T49" fmla="*/ 2147483646 h 38"/>
                <a:gd name="T50" fmla="*/ 2147483646 w 39"/>
                <a:gd name="T51" fmla="*/ 2147483646 h 38"/>
                <a:gd name="T52" fmla="*/ 2147483646 w 39"/>
                <a:gd name="T53" fmla="*/ 2147483646 h 38"/>
                <a:gd name="T54" fmla="*/ 2147483646 w 39"/>
                <a:gd name="T55" fmla="*/ 2147483646 h 38"/>
                <a:gd name="T56" fmla="*/ 2147483646 w 39"/>
                <a:gd name="T57" fmla="*/ 2147483646 h 38"/>
                <a:gd name="T58" fmla="*/ 2147483646 w 39"/>
                <a:gd name="T59" fmla="*/ 2147483646 h 38"/>
                <a:gd name="T60" fmla="*/ 2147483646 w 39"/>
                <a:gd name="T61" fmla="*/ 2147483646 h 38"/>
                <a:gd name="T62" fmla="*/ 2147483646 w 39"/>
                <a:gd name="T63" fmla="*/ 2147483646 h 38"/>
                <a:gd name="T64" fmla="*/ 2147483646 w 39"/>
                <a:gd name="T65" fmla="*/ 2147483646 h 38"/>
                <a:gd name="T66" fmla="*/ 2147483646 w 39"/>
                <a:gd name="T67" fmla="*/ 2147483646 h 38"/>
                <a:gd name="T68" fmla="*/ 2147483646 w 39"/>
                <a:gd name="T69" fmla="*/ 2147483646 h 38"/>
                <a:gd name="T70" fmla="*/ 2147483646 w 39"/>
                <a:gd name="T71" fmla="*/ 2147483646 h 38"/>
                <a:gd name="T72" fmla="*/ 2147483646 w 39"/>
                <a:gd name="T73" fmla="*/ 2147483646 h 38"/>
                <a:gd name="T74" fmla="*/ 2147483646 w 39"/>
                <a:gd name="T75" fmla="*/ 2147483646 h 38"/>
                <a:gd name="T76" fmla="*/ 2147483646 w 39"/>
                <a:gd name="T77" fmla="*/ 2147483646 h 38"/>
                <a:gd name="T78" fmla="*/ 2147483646 w 39"/>
                <a:gd name="T79" fmla="*/ 2147483646 h 38"/>
                <a:gd name="T80" fmla="*/ 2147483646 w 39"/>
                <a:gd name="T81" fmla="*/ 2147483646 h 38"/>
                <a:gd name="T82" fmla="*/ 2147483646 w 39"/>
                <a:gd name="T83" fmla="*/ 2147483646 h 38"/>
                <a:gd name="T84" fmla="*/ 2147483646 w 39"/>
                <a:gd name="T85" fmla="*/ 2147483646 h 38"/>
                <a:gd name="T86" fmla="*/ 2147483646 w 39"/>
                <a:gd name="T87" fmla="*/ 2147483646 h 38"/>
                <a:gd name="T88" fmla="*/ 2147483646 w 39"/>
                <a:gd name="T89" fmla="*/ 2147483646 h 38"/>
                <a:gd name="T90" fmla="*/ 2147483646 w 39"/>
                <a:gd name="T91" fmla="*/ 2147483646 h 38"/>
                <a:gd name="T92" fmla="*/ 2147483646 w 39"/>
                <a:gd name="T93" fmla="*/ 2147483646 h 38"/>
                <a:gd name="T94" fmla="*/ 2147483646 w 39"/>
                <a:gd name="T95" fmla="*/ 2147483646 h 38"/>
                <a:gd name="T96" fmla="*/ 2147483646 w 39"/>
                <a:gd name="T97" fmla="*/ 2147483646 h 38"/>
                <a:gd name="T98" fmla="*/ 2147483646 w 39"/>
                <a:gd name="T99" fmla="*/ 2147483646 h 38"/>
                <a:gd name="T100" fmla="*/ 2147483646 w 39"/>
                <a:gd name="T101" fmla="*/ 2147483646 h 38"/>
                <a:gd name="T102" fmla="*/ 2147483646 w 39"/>
                <a:gd name="T103" fmla="*/ 2147483646 h 38"/>
                <a:gd name="T104" fmla="*/ 2147483646 w 39"/>
                <a:gd name="T105" fmla="*/ 2147483646 h 38"/>
                <a:gd name="T106" fmla="*/ 2147483646 w 39"/>
                <a:gd name="T107" fmla="*/ 2147483646 h 38"/>
                <a:gd name="T108" fmla="*/ 2147483646 w 39"/>
                <a:gd name="T109" fmla="*/ 2147483646 h 38"/>
                <a:gd name="T110" fmla="*/ 2147483646 w 39"/>
                <a:gd name="T111" fmla="*/ 2147483646 h 38"/>
                <a:gd name="T112" fmla="*/ 2147483646 w 39"/>
                <a:gd name="T113" fmla="*/ 2147483646 h 38"/>
                <a:gd name="T114" fmla="*/ 2147483646 w 39"/>
                <a:gd name="T115" fmla="*/ 2147483646 h 38"/>
                <a:gd name="T116" fmla="*/ 2147483646 w 39"/>
                <a:gd name="T117" fmla="*/ 2147483646 h 38"/>
                <a:gd name="T118" fmla="*/ 2147483646 w 39"/>
                <a:gd name="T119" fmla="*/ 2147483646 h 3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" h="38">
                  <a:moveTo>
                    <a:pt x="14" y="38"/>
                  </a:move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3" y="37"/>
                    <a:pt x="13" y="37"/>
                  </a:cubicBezTo>
                  <a:cubicBezTo>
                    <a:pt x="13" y="37"/>
                    <a:pt x="12" y="38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0" y="37"/>
                    <a:pt x="9" y="37"/>
                    <a:pt x="9" y="37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3"/>
                    <a:pt x="8" y="33"/>
                  </a:cubicBezTo>
                  <a:cubicBezTo>
                    <a:pt x="7" y="33"/>
                    <a:pt x="7" y="32"/>
                    <a:pt x="7" y="32"/>
                  </a:cubicBezTo>
                  <a:cubicBezTo>
                    <a:pt x="6" y="33"/>
                    <a:pt x="5" y="33"/>
                    <a:pt x="5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3" y="33"/>
                    <a:pt x="3" y="33"/>
                    <a:pt x="2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2"/>
                    <a:pt x="1" y="31"/>
                    <a:pt x="1" y="30"/>
                  </a:cubicBezTo>
                  <a:cubicBezTo>
                    <a:pt x="0" y="29"/>
                    <a:pt x="0" y="29"/>
                    <a:pt x="0" y="28"/>
                  </a:cubicBezTo>
                  <a:cubicBezTo>
                    <a:pt x="0" y="28"/>
                    <a:pt x="0" y="28"/>
                    <a:pt x="0" y="27"/>
                  </a:cubicBezTo>
                  <a:cubicBezTo>
                    <a:pt x="0" y="27"/>
                    <a:pt x="0" y="26"/>
                    <a:pt x="0" y="26"/>
                  </a:cubicBezTo>
                  <a:cubicBezTo>
                    <a:pt x="0" y="25"/>
                    <a:pt x="0" y="25"/>
                    <a:pt x="1" y="24"/>
                  </a:cubicBezTo>
                  <a:cubicBezTo>
                    <a:pt x="1" y="24"/>
                    <a:pt x="2" y="23"/>
                    <a:pt x="2" y="23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4"/>
                  </a:cubicBezTo>
                  <a:cubicBezTo>
                    <a:pt x="3" y="24"/>
                    <a:pt x="4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4"/>
                    <a:pt x="7" y="24"/>
                  </a:cubicBezTo>
                  <a:cubicBezTo>
                    <a:pt x="7" y="24"/>
                    <a:pt x="7" y="24"/>
                    <a:pt x="8" y="24"/>
                  </a:cubicBezTo>
                  <a:cubicBezTo>
                    <a:pt x="8" y="24"/>
                    <a:pt x="8" y="24"/>
                    <a:pt x="9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2" y="24"/>
                    <a:pt x="13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2"/>
                  </a:cubicBezTo>
                  <a:cubicBezTo>
                    <a:pt x="14" y="18"/>
                    <a:pt x="14" y="13"/>
                    <a:pt x="13" y="8"/>
                  </a:cubicBezTo>
                  <a:cubicBezTo>
                    <a:pt x="13" y="6"/>
                    <a:pt x="13" y="3"/>
                    <a:pt x="1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0"/>
                    <a:pt x="32" y="11"/>
                    <a:pt x="32" y="11"/>
                  </a:cubicBezTo>
                  <a:cubicBezTo>
                    <a:pt x="33" y="12"/>
                    <a:pt x="34" y="12"/>
                    <a:pt x="35" y="13"/>
                  </a:cubicBezTo>
                  <a:cubicBezTo>
                    <a:pt x="36" y="13"/>
                    <a:pt x="36" y="14"/>
                    <a:pt x="36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8" y="15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6"/>
                    <a:pt x="39" y="17"/>
                    <a:pt x="39" y="17"/>
                  </a:cubicBezTo>
                  <a:cubicBezTo>
                    <a:pt x="39" y="20"/>
                    <a:pt x="39" y="22"/>
                    <a:pt x="38" y="24"/>
                  </a:cubicBezTo>
                  <a:cubicBezTo>
                    <a:pt x="37" y="25"/>
                    <a:pt x="36" y="25"/>
                    <a:pt x="35" y="25"/>
                  </a:cubicBezTo>
                  <a:cubicBezTo>
                    <a:pt x="35" y="25"/>
                    <a:pt x="34" y="25"/>
                    <a:pt x="34" y="25"/>
                  </a:cubicBezTo>
                  <a:cubicBezTo>
                    <a:pt x="34" y="25"/>
                    <a:pt x="33" y="25"/>
                    <a:pt x="33" y="25"/>
                  </a:cubicBezTo>
                  <a:cubicBezTo>
                    <a:pt x="32" y="25"/>
                    <a:pt x="32" y="25"/>
                    <a:pt x="31" y="26"/>
                  </a:cubicBezTo>
                  <a:cubicBezTo>
                    <a:pt x="31" y="26"/>
                    <a:pt x="30" y="26"/>
                    <a:pt x="29" y="26"/>
                  </a:cubicBezTo>
                  <a:cubicBezTo>
                    <a:pt x="27" y="26"/>
                    <a:pt x="26" y="27"/>
                    <a:pt x="25" y="28"/>
                  </a:cubicBezTo>
                  <a:cubicBezTo>
                    <a:pt x="24" y="29"/>
                    <a:pt x="23" y="29"/>
                    <a:pt x="21" y="30"/>
                  </a:cubicBezTo>
                  <a:cubicBezTo>
                    <a:pt x="19" y="31"/>
                    <a:pt x="17" y="34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5" y="37"/>
                    <a:pt x="14" y="37"/>
                  </a:cubicBezTo>
                  <a:lnTo>
                    <a:pt x="14" y="38"/>
                  </a:lnTo>
                  <a:close/>
                  <a:moveTo>
                    <a:pt x="11" y="36"/>
                  </a:moveTo>
                  <a:cubicBezTo>
                    <a:pt x="11" y="36"/>
                    <a:pt x="11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3" y="36"/>
                  </a:cubicBezTo>
                  <a:cubicBezTo>
                    <a:pt x="13" y="36"/>
                    <a:pt x="13" y="35"/>
                    <a:pt x="14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6" y="36"/>
                    <a:pt x="16" y="36"/>
                  </a:cubicBezTo>
                  <a:cubicBezTo>
                    <a:pt x="17" y="33"/>
                    <a:pt x="18" y="30"/>
                    <a:pt x="21" y="29"/>
                  </a:cubicBezTo>
                  <a:cubicBezTo>
                    <a:pt x="22" y="28"/>
                    <a:pt x="23" y="28"/>
                    <a:pt x="24" y="27"/>
                  </a:cubicBezTo>
                  <a:cubicBezTo>
                    <a:pt x="26" y="26"/>
                    <a:pt x="27" y="25"/>
                    <a:pt x="29" y="25"/>
                  </a:cubicBezTo>
                  <a:cubicBezTo>
                    <a:pt x="30" y="25"/>
                    <a:pt x="30" y="25"/>
                    <a:pt x="31" y="25"/>
                  </a:cubicBezTo>
                  <a:cubicBezTo>
                    <a:pt x="31" y="24"/>
                    <a:pt x="32" y="24"/>
                    <a:pt x="33" y="24"/>
                  </a:cubicBezTo>
                  <a:cubicBezTo>
                    <a:pt x="33" y="24"/>
                    <a:pt x="34" y="24"/>
                    <a:pt x="34" y="24"/>
                  </a:cubicBezTo>
                  <a:cubicBezTo>
                    <a:pt x="35" y="24"/>
                    <a:pt x="36" y="24"/>
                    <a:pt x="37" y="23"/>
                  </a:cubicBezTo>
                  <a:cubicBezTo>
                    <a:pt x="38" y="22"/>
                    <a:pt x="38" y="20"/>
                    <a:pt x="38" y="17"/>
                  </a:cubicBezTo>
                  <a:cubicBezTo>
                    <a:pt x="38" y="17"/>
                    <a:pt x="38" y="17"/>
                    <a:pt x="38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6" y="16"/>
                    <a:pt x="35" y="16"/>
                    <a:pt x="35" y="15"/>
                  </a:cubicBezTo>
                  <a:cubicBezTo>
                    <a:pt x="35" y="14"/>
                    <a:pt x="35" y="14"/>
                    <a:pt x="34" y="14"/>
                  </a:cubicBezTo>
                  <a:cubicBezTo>
                    <a:pt x="33" y="13"/>
                    <a:pt x="32" y="12"/>
                    <a:pt x="31" y="12"/>
                  </a:cubicBezTo>
                  <a:cubicBezTo>
                    <a:pt x="31" y="11"/>
                    <a:pt x="31" y="11"/>
                    <a:pt x="30" y="1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4"/>
                    <a:pt x="14" y="6"/>
                    <a:pt x="14" y="8"/>
                  </a:cubicBezTo>
                  <a:cubicBezTo>
                    <a:pt x="15" y="13"/>
                    <a:pt x="15" y="18"/>
                    <a:pt x="16" y="22"/>
                  </a:cubicBezTo>
                  <a:cubicBezTo>
                    <a:pt x="17" y="22"/>
                    <a:pt x="17" y="23"/>
                    <a:pt x="16" y="2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3" y="25"/>
                    <a:pt x="12" y="25"/>
                    <a:pt x="10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5" y="25"/>
                    <a:pt x="5" y="25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6"/>
                    <a:pt x="3" y="25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1" y="26"/>
                    <a:pt x="1" y="26"/>
                  </a:cubicBezTo>
                  <a:cubicBezTo>
                    <a:pt x="1" y="26"/>
                    <a:pt x="1" y="27"/>
                    <a:pt x="1" y="27"/>
                  </a:cubicBezTo>
                  <a:cubicBezTo>
                    <a:pt x="1" y="27"/>
                    <a:pt x="2" y="28"/>
                    <a:pt x="1" y="29"/>
                  </a:cubicBezTo>
                  <a:cubicBezTo>
                    <a:pt x="1" y="29"/>
                    <a:pt x="2" y="29"/>
                    <a:pt x="2" y="29"/>
                  </a:cubicBezTo>
                  <a:cubicBezTo>
                    <a:pt x="2" y="30"/>
                    <a:pt x="3" y="31"/>
                    <a:pt x="3" y="32"/>
                  </a:cubicBezTo>
                  <a:cubicBezTo>
                    <a:pt x="3" y="32"/>
                    <a:pt x="3" y="32"/>
                    <a:pt x="4" y="32"/>
                  </a:cubicBezTo>
                  <a:cubicBezTo>
                    <a:pt x="4" y="32"/>
                    <a:pt x="4" y="32"/>
                    <a:pt x="5" y="32"/>
                  </a:cubicBezTo>
                  <a:cubicBezTo>
                    <a:pt x="5" y="32"/>
                    <a:pt x="6" y="32"/>
                    <a:pt x="6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8" y="31"/>
                    <a:pt x="8" y="32"/>
                    <a:pt x="9" y="32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1" y="36"/>
                    <a:pt x="11" y="36"/>
                    <a:pt x="11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5" name="Freeform 279"/>
            <p:cNvSpPr/>
            <p:nvPr/>
          </p:nvSpPr>
          <p:spPr bwMode="auto">
            <a:xfrm>
              <a:off x="1439982" y="2701527"/>
              <a:ext cx="207734" cy="251860"/>
            </a:xfrm>
            <a:custGeom>
              <a:avLst/>
              <a:gdLst>
                <a:gd name="T0" fmla="*/ 0 w 28"/>
                <a:gd name="T1" fmla="*/ 2147483646 h 34"/>
                <a:gd name="T2" fmla="*/ 2147483646 w 28"/>
                <a:gd name="T3" fmla="*/ 2147483646 h 34"/>
                <a:gd name="T4" fmla="*/ 2147483646 w 28"/>
                <a:gd name="T5" fmla="*/ 2147483646 h 34"/>
                <a:gd name="T6" fmla="*/ 2147483646 w 28"/>
                <a:gd name="T7" fmla="*/ 2147483646 h 34"/>
                <a:gd name="T8" fmla="*/ 2147483646 w 28"/>
                <a:gd name="T9" fmla="*/ 2147483646 h 34"/>
                <a:gd name="T10" fmla="*/ 2147483646 w 28"/>
                <a:gd name="T11" fmla="*/ 2147483646 h 34"/>
                <a:gd name="T12" fmla="*/ 2147483646 w 28"/>
                <a:gd name="T13" fmla="*/ 2147483646 h 34"/>
                <a:gd name="T14" fmla="*/ 2147483646 w 28"/>
                <a:gd name="T15" fmla="*/ 2147483646 h 34"/>
                <a:gd name="T16" fmla="*/ 2147483646 w 28"/>
                <a:gd name="T17" fmla="*/ 2147483646 h 34"/>
                <a:gd name="T18" fmla="*/ 2147483646 w 28"/>
                <a:gd name="T19" fmla="*/ 2147483646 h 34"/>
                <a:gd name="T20" fmla="*/ 2147483646 w 28"/>
                <a:gd name="T21" fmla="*/ 2147483646 h 34"/>
                <a:gd name="T22" fmla="*/ 2147483646 w 28"/>
                <a:gd name="T23" fmla="*/ 2147483646 h 34"/>
                <a:gd name="T24" fmla="*/ 2147483646 w 28"/>
                <a:gd name="T25" fmla="*/ 2147483646 h 34"/>
                <a:gd name="T26" fmla="*/ 2147483646 w 28"/>
                <a:gd name="T27" fmla="*/ 0 h 34"/>
                <a:gd name="T28" fmla="*/ 2147483646 w 28"/>
                <a:gd name="T29" fmla="*/ 2147483646 h 34"/>
                <a:gd name="T30" fmla="*/ 2147483646 w 28"/>
                <a:gd name="T31" fmla="*/ 2147483646 h 34"/>
                <a:gd name="T32" fmla="*/ 2147483646 w 28"/>
                <a:gd name="T33" fmla="*/ 2147483646 h 34"/>
                <a:gd name="T34" fmla="*/ 2147483646 w 28"/>
                <a:gd name="T35" fmla="*/ 2147483646 h 34"/>
                <a:gd name="T36" fmla="*/ 0 w 28"/>
                <a:gd name="T37" fmla="*/ 2147483646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8" h="34">
                  <a:moveTo>
                    <a:pt x="0" y="16"/>
                  </a:moveTo>
                  <a:cubicBezTo>
                    <a:pt x="3" y="15"/>
                    <a:pt x="2" y="20"/>
                    <a:pt x="2" y="21"/>
                  </a:cubicBezTo>
                  <a:cubicBezTo>
                    <a:pt x="3" y="23"/>
                    <a:pt x="2" y="25"/>
                    <a:pt x="1" y="28"/>
                  </a:cubicBezTo>
                  <a:cubicBezTo>
                    <a:pt x="2" y="26"/>
                    <a:pt x="3" y="27"/>
                    <a:pt x="5" y="27"/>
                  </a:cubicBezTo>
                  <a:cubicBezTo>
                    <a:pt x="6" y="26"/>
                    <a:pt x="7" y="28"/>
                    <a:pt x="8" y="28"/>
                  </a:cubicBezTo>
                  <a:cubicBezTo>
                    <a:pt x="10" y="28"/>
                    <a:pt x="11" y="34"/>
                    <a:pt x="13" y="28"/>
                  </a:cubicBezTo>
                  <a:cubicBezTo>
                    <a:pt x="14" y="29"/>
                    <a:pt x="14" y="31"/>
                    <a:pt x="15" y="30"/>
                  </a:cubicBezTo>
                  <a:cubicBezTo>
                    <a:pt x="17" y="29"/>
                    <a:pt x="18" y="29"/>
                    <a:pt x="20" y="29"/>
                  </a:cubicBezTo>
                  <a:cubicBezTo>
                    <a:pt x="22" y="29"/>
                    <a:pt x="24" y="29"/>
                    <a:pt x="26" y="29"/>
                  </a:cubicBezTo>
                  <a:cubicBezTo>
                    <a:pt x="26" y="29"/>
                    <a:pt x="27" y="30"/>
                    <a:pt x="27" y="29"/>
                  </a:cubicBezTo>
                  <a:cubicBezTo>
                    <a:pt x="27" y="27"/>
                    <a:pt x="26" y="28"/>
                    <a:pt x="26" y="27"/>
                  </a:cubicBezTo>
                  <a:cubicBezTo>
                    <a:pt x="25" y="20"/>
                    <a:pt x="25" y="13"/>
                    <a:pt x="24" y="6"/>
                  </a:cubicBezTo>
                  <a:cubicBezTo>
                    <a:pt x="25" y="6"/>
                    <a:pt x="27" y="6"/>
                    <a:pt x="28" y="6"/>
                  </a:cubicBezTo>
                  <a:cubicBezTo>
                    <a:pt x="25" y="4"/>
                    <a:pt x="23" y="2"/>
                    <a:pt x="20" y="0"/>
                  </a:cubicBezTo>
                  <a:cubicBezTo>
                    <a:pt x="20" y="3"/>
                    <a:pt x="20" y="3"/>
                    <a:pt x="18" y="3"/>
                  </a:cubicBezTo>
                  <a:cubicBezTo>
                    <a:pt x="17" y="3"/>
                    <a:pt x="12" y="3"/>
                    <a:pt x="12" y="4"/>
                  </a:cubicBezTo>
                  <a:cubicBezTo>
                    <a:pt x="12" y="5"/>
                    <a:pt x="13" y="10"/>
                    <a:pt x="12" y="10"/>
                  </a:cubicBezTo>
                  <a:cubicBezTo>
                    <a:pt x="9" y="11"/>
                    <a:pt x="9" y="12"/>
                    <a:pt x="10" y="15"/>
                  </a:cubicBezTo>
                  <a:cubicBezTo>
                    <a:pt x="8" y="15"/>
                    <a:pt x="1" y="14"/>
                    <a:pt x="0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6" name="Freeform 280"/>
            <p:cNvSpPr>
              <a:spLocks noEditPoints="1"/>
            </p:cNvSpPr>
            <p:nvPr/>
          </p:nvSpPr>
          <p:spPr bwMode="auto">
            <a:xfrm>
              <a:off x="1433687" y="2695230"/>
              <a:ext cx="229767" cy="236119"/>
            </a:xfrm>
            <a:custGeom>
              <a:avLst/>
              <a:gdLst>
                <a:gd name="T0" fmla="*/ 2147483646 w 31"/>
                <a:gd name="T1" fmla="*/ 2147483646 h 32"/>
                <a:gd name="T2" fmla="*/ 2147483646 w 31"/>
                <a:gd name="T3" fmla="*/ 2147483646 h 32"/>
                <a:gd name="T4" fmla="*/ 2147483646 w 31"/>
                <a:gd name="T5" fmla="*/ 2147483646 h 32"/>
                <a:gd name="T6" fmla="*/ 2147483646 w 31"/>
                <a:gd name="T7" fmla="*/ 2147483646 h 32"/>
                <a:gd name="T8" fmla="*/ 2147483646 w 31"/>
                <a:gd name="T9" fmla="*/ 2147483646 h 32"/>
                <a:gd name="T10" fmla="*/ 2147483646 w 31"/>
                <a:gd name="T11" fmla="*/ 2147483646 h 32"/>
                <a:gd name="T12" fmla="*/ 2147483646 w 31"/>
                <a:gd name="T13" fmla="*/ 2147483646 h 32"/>
                <a:gd name="T14" fmla="*/ 2147483646 w 31"/>
                <a:gd name="T15" fmla="*/ 2147483646 h 32"/>
                <a:gd name="T16" fmla="*/ 2147483646 w 31"/>
                <a:gd name="T17" fmla="*/ 2147483646 h 32"/>
                <a:gd name="T18" fmla="*/ 2147483646 w 31"/>
                <a:gd name="T19" fmla="*/ 2147483646 h 32"/>
                <a:gd name="T20" fmla="*/ 2147483646 w 31"/>
                <a:gd name="T21" fmla="*/ 2147483646 h 32"/>
                <a:gd name="T22" fmla="*/ 2147483646 w 31"/>
                <a:gd name="T23" fmla="*/ 2147483646 h 32"/>
                <a:gd name="T24" fmla="*/ 2147483646 w 31"/>
                <a:gd name="T25" fmla="*/ 2147483646 h 32"/>
                <a:gd name="T26" fmla="*/ 2147483646 w 31"/>
                <a:gd name="T27" fmla="*/ 2147483646 h 32"/>
                <a:gd name="T28" fmla="*/ 2147483646 w 31"/>
                <a:gd name="T29" fmla="*/ 0 h 32"/>
                <a:gd name="T30" fmla="*/ 2147483646 w 31"/>
                <a:gd name="T31" fmla="*/ 2147483646 h 32"/>
                <a:gd name="T32" fmla="*/ 2147483646 w 31"/>
                <a:gd name="T33" fmla="*/ 2147483646 h 32"/>
                <a:gd name="T34" fmla="*/ 2147483646 w 31"/>
                <a:gd name="T35" fmla="*/ 2147483646 h 32"/>
                <a:gd name="T36" fmla="*/ 2147483646 w 31"/>
                <a:gd name="T37" fmla="*/ 2147483646 h 32"/>
                <a:gd name="T38" fmla="*/ 2147483646 w 31"/>
                <a:gd name="T39" fmla="*/ 2147483646 h 32"/>
                <a:gd name="T40" fmla="*/ 2147483646 w 31"/>
                <a:gd name="T41" fmla="*/ 2147483646 h 32"/>
                <a:gd name="T42" fmla="*/ 2147483646 w 31"/>
                <a:gd name="T43" fmla="*/ 2147483646 h 32"/>
                <a:gd name="T44" fmla="*/ 2147483646 w 31"/>
                <a:gd name="T45" fmla="*/ 2147483646 h 32"/>
                <a:gd name="T46" fmla="*/ 2147483646 w 31"/>
                <a:gd name="T47" fmla="*/ 2147483646 h 32"/>
                <a:gd name="T48" fmla="*/ 2147483646 w 31"/>
                <a:gd name="T49" fmla="*/ 2147483646 h 32"/>
                <a:gd name="T50" fmla="*/ 2147483646 w 31"/>
                <a:gd name="T51" fmla="*/ 2147483646 h 32"/>
                <a:gd name="T52" fmla="*/ 2147483646 w 31"/>
                <a:gd name="T53" fmla="*/ 2147483646 h 32"/>
                <a:gd name="T54" fmla="*/ 2147483646 w 31"/>
                <a:gd name="T55" fmla="*/ 2147483646 h 32"/>
                <a:gd name="T56" fmla="*/ 2147483646 w 31"/>
                <a:gd name="T57" fmla="*/ 2147483646 h 32"/>
                <a:gd name="T58" fmla="*/ 2147483646 w 31"/>
                <a:gd name="T59" fmla="*/ 2147483646 h 32"/>
                <a:gd name="T60" fmla="*/ 2147483646 w 31"/>
                <a:gd name="T61" fmla="*/ 2147483646 h 32"/>
                <a:gd name="T62" fmla="*/ 2147483646 w 31"/>
                <a:gd name="T63" fmla="*/ 2147483646 h 32"/>
                <a:gd name="T64" fmla="*/ 2147483646 w 31"/>
                <a:gd name="T65" fmla="*/ 2147483646 h 32"/>
                <a:gd name="T66" fmla="*/ 2147483646 w 31"/>
                <a:gd name="T67" fmla="*/ 2147483646 h 32"/>
                <a:gd name="T68" fmla="*/ 2147483646 w 31"/>
                <a:gd name="T69" fmla="*/ 2147483646 h 32"/>
                <a:gd name="T70" fmla="*/ 2147483646 w 31"/>
                <a:gd name="T71" fmla="*/ 2147483646 h 32"/>
                <a:gd name="T72" fmla="*/ 2147483646 w 31"/>
                <a:gd name="T73" fmla="*/ 2147483646 h 32"/>
                <a:gd name="T74" fmla="*/ 2147483646 w 31"/>
                <a:gd name="T75" fmla="*/ 2147483646 h 32"/>
                <a:gd name="T76" fmla="*/ 2147483646 w 31"/>
                <a:gd name="T77" fmla="*/ 2147483646 h 32"/>
                <a:gd name="T78" fmla="*/ 2147483646 w 31"/>
                <a:gd name="T79" fmla="*/ 2147483646 h 32"/>
                <a:gd name="T80" fmla="*/ 2147483646 w 31"/>
                <a:gd name="T81" fmla="*/ 2147483646 h 32"/>
                <a:gd name="T82" fmla="*/ 2147483646 w 31"/>
                <a:gd name="T83" fmla="*/ 2147483646 h 32"/>
                <a:gd name="T84" fmla="*/ 2147483646 w 31"/>
                <a:gd name="T85" fmla="*/ 2147483646 h 32"/>
                <a:gd name="T86" fmla="*/ 2147483646 w 31"/>
                <a:gd name="T87" fmla="*/ 2147483646 h 32"/>
                <a:gd name="T88" fmla="*/ 2147483646 w 31"/>
                <a:gd name="T89" fmla="*/ 2147483646 h 32"/>
                <a:gd name="T90" fmla="*/ 2147483646 w 31"/>
                <a:gd name="T91" fmla="*/ 2147483646 h 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1" h="32">
                  <a:moveTo>
                    <a:pt x="13" y="32"/>
                  </a:moveTo>
                  <a:cubicBezTo>
                    <a:pt x="12" y="32"/>
                    <a:pt x="11" y="31"/>
                    <a:pt x="11" y="31"/>
                  </a:cubicBezTo>
                  <a:cubicBezTo>
                    <a:pt x="10" y="30"/>
                    <a:pt x="10" y="29"/>
                    <a:pt x="9" y="29"/>
                  </a:cubicBezTo>
                  <a:cubicBezTo>
                    <a:pt x="8" y="29"/>
                    <a:pt x="8" y="29"/>
                    <a:pt x="7" y="29"/>
                  </a:cubicBezTo>
                  <a:cubicBezTo>
                    <a:pt x="7" y="28"/>
                    <a:pt x="7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5" y="28"/>
                    <a:pt x="5" y="28"/>
                  </a:cubicBezTo>
                  <a:cubicBezTo>
                    <a:pt x="4" y="28"/>
                    <a:pt x="3" y="28"/>
                    <a:pt x="3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3" y="26"/>
                    <a:pt x="3" y="24"/>
                    <a:pt x="2" y="22"/>
                  </a:cubicBezTo>
                  <a:cubicBezTo>
                    <a:pt x="2" y="22"/>
                    <a:pt x="2" y="21"/>
                    <a:pt x="2" y="20"/>
                  </a:cubicBezTo>
                  <a:cubicBezTo>
                    <a:pt x="2" y="19"/>
                    <a:pt x="2" y="18"/>
                    <a:pt x="2" y="18"/>
                  </a:cubicBezTo>
                  <a:cubicBezTo>
                    <a:pt x="2" y="17"/>
                    <a:pt x="2" y="17"/>
                    <a:pt x="1" y="1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5"/>
                    <a:pt x="4" y="15"/>
                    <a:pt x="6" y="15"/>
                  </a:cubicBezTo>
                  <a:cubicBezTo>
                    <a:pt x="7" y="15"/>
                    <a:pt x="8" y="15"/>
                    <a:pt x="9" y="15"/>
                  </a:cubicBezTo>
                  <a:cubicBezTo>
                    <a:pt x="9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3"/>
                    <a:pt x="9" y="11"/>
                    <a:pt x="13" y="10"/>
                  </a:cubicBezTo>
                  <a:cubicBezTo>
                    <a:pt x="13" y="10"/>
                    <a:pt x="13" y="7"/>
                    <a:pt x="13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5" y="4"/>
                    <a:pt x="15" y="4"/>
                  </a:cubicBezTo>
                  <a:cubicBezTo>
                    <a:pt x="16" y="4"/>
                    <a:pt x="17" y="4"/>
                    <a:pt x="18" y="4"/>
                  </a:cubicBezTo>
                  <a:cubicBezTo>
                    <a:pt x="18" y="4"/>
                    <a:pt x="18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4"/>
                    <a:pt x="20" y="4"/>
                    <a:pt x="20" y="2"/>
                  </a:cubicBezTo>
                  <a:cubicBezTo>
                    <a:pt x="20" y="2"/>
                    <a:pt x="20" y="2"/>
                    <a:pt x="20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10"/>
                    <a:pt x="26" y="12"/>
                    <a:pt x="26" y="14"/>
                  </a:cubicBezTo>
                  <a:cubicBezTo>
                    <a:pt x="27" y="19"/>
                    <a:pt x="27" y="24"/>
                    <a:pt x="28" y="28"/>
                  </a:cubicBezTo>
                  <a:cubicBezTo>
                    <a:pt x="29" y="28"/>
                    <a:pt x="29" y="29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5" y="31"/>
                    <a:pt x="24" y="31"/>
                    <a:pt x="22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7" y="31"/>
                    <a:pt x="17" y="3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5" y="32"/>
                    <a:pt x="15" y="31"/>
                    <a:pt x="14" y="31"/>
                  </a:cubicBezTo>
                  <a:cubicBezTo>
                    <a:pt x="14" y="31"/>
                    <a:pt x="13" y="32"/>
                    <a:pt x="13" y="32"/>
                  </a:cubicBezTo>
                  <a:close/>
                  <a:moveTo>
                    <a:pt x="6" y="27"/>
                  </a:moveTo>
                  <a:cubicBezTo>
                    <a:pt x="7" y="27"/>
                    <a:pt x="8" y="27"/>
                    <a:pt x="8" y="28"/>
                  </a:cubicBezTo>
                  <a:cubicBezTo>
                    <a:pt x="8" y="28"/>
                    <a:pt x="9" y="28"/>
                    <a:pt x="9" y="28"/>
                  </a:cubicBezTo>
                  <a:cubicBezTo>
                    <a:pt x="10" y="28"/>
                    <a:pt x="11" y="29"/>
                    <a:pt x="12" y="30"/>
                  </a:cubicBezTo>
                  <a:cubicBezTo>
                    <a:pt x="12" y="30"/>
                    <a:pt x="12" y="31"/>
                    <a:pt x="13" y="31"/>
                  </a:cubicBezTo>
                  <a:cubicBezTo>
                    <a:pt x="13" y="31"/>
                    <a:pt x="13" y="31"/>
                    <a:pt x="14" y="29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9"/>
                    <a:pt x="15" y="29"/>
                    <a:pt x="15" y="30"/>
                  </a:cubicBezTo>
                  <a:cubicBezTo>
                    <a:pt x="15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0"/>
                    <a:pt x="18" y="30"/>
                    <a:pt x="19" y="30"/>
                  </a:cubicBezTo>
                  <a:cubicBezTo>
                    <a:pt x="19" y="30"/>
                    <a:pt x="19" y="30"/>
                    <a:pt x="20" y="30"/>
                  </a:cubicBezTo>
                  <a:cubicBezTo>
                    <a:pt x="20" y="30"/>
                    <a:pt x="20" y="30"/>
                    <a:pt x="21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8"/>
                  </a:cubicBezTo>
                  <a:cubicBezTo>
                    <a:pt x="26" y="24"/>
                    <a:pt x="26" y="19"/>
                    <a:pt x="25" y="14"/>
                  </a:cubicBezTo>
                  <a:cubicBezTo>
                    <a:pt x="25" y="12"/>
                    <a:pt x="25" y="9"/>
                    <a:pt x="25" y="7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4" y="6"/>
                  </a:cubicBezTo>
                  <a:cubicBezTo>
                    <a:pt x="14" y="9"/>
                    <a:pt x="14" y="11"/>
                    <a:pt x="13" y="11"/>
                  </a:cubicBezTo>
                  <a:cubicBezTo>
                    <a:pt x="11" y="12"/>
                    <a:pt x="11" y="13"/>
                    <a:pt x="11" y="15"/>
                  </a:cubicBezTo>
                  <a:cubicBezTo>
                    <a:pt x="11" y="15"/>
                    <a:pt x="11" y="15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8" y="16"/>
                    <a:pt x="7" y="16"/>
                    <a:pt x="6" y="16"/>
                  </a:cubicBezTo>
                  <a:cubicBezTo>
                    <a:pt x="4" y="16"/>
                    <a:pt x="3" y="16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9"/>
                    <a:pt x="3" y="20"/>
                  </a:cubicBezTo>
                  <a:cubicBezTo>
                    <a:pt x="3" y="21"/>
                    <a:pt x="3" y="22"/>
                    <a:pt x="3" y="22"/>
                  </a:cubicBezTo>
                  <a:cubicBezTo>
                    <a:pt x="4" y="24"/>
                    <a:pt x="4" y="25"/>
                    <a:pt x="3" y="27"/>
                  </a:cubicBezTo>
                  <a:cubicBezTo>
                    <a:pt x="4" y="27"/>
                    <a:pt x="5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7" name="Freeform 281"/>
            <p:cNvSpPr/>
            <p:nvPr/>
          </p:nvSpPr>
          <p:spPr bwMode="auto">
            <a:xfrm>
              <a:off x="1515522" y="2522076"/>
              <a:ext cx="198292" cy="173154"/>
            </a:xfrm>
            <a:custGeom>
              <a:avLst/>
              <a:gdLst>
                <a:gd name="T0" fmla="*/ 0 w 27"/>
                <a:gd name="T1" fmla="*/ 2147483646 h 23"/>
                <a:gd name="T2" fmla="*/ 2147483646 w 27"/>
                <a:gd name="T3" fmla="*/ 2147483646 h 23"/>
                <a:gd name="T4" fmla="*/ 2147483646 w 27"/>
                <a:gd name="T5" fmla="*/ 2147483646 h 23"/>
                <a:gd name="T6" fmla="*/ 2147483646 w 27"/>
                <a:gd name="T7" fmla="*/ 2147483646 h 23"/>
                <a:gd name="T8" fmla="*/ 2147483646 w 27"/>
                <a:gd name="T9" fmla="*/ 2147483646 h 23"/>
                <a:gd name="T10" fmla="*/ 2147483646 w 27"/>
                <a:gd name="T11" fmla="*/ 2147483646 h 23"/>
                <a:gd name="T12" fmla="*/ 2147483646 w 27"/>
                <a:gd name="T13" fmla="*/ 2147483646 h 23"/>
                <a:gd name="T14" fmla="*/ 2147483646 w 27"/>
                <a:gd name="T15" fmla="*/ 2147483646 h 23"/>
                <a:gd name="T16" fmla="*/ 2147483646 w 27"/>
                <a:gd name="T17" fmla="*/ 2147483646 h 23"/>
                <a:gd name="T18" fmla="*/ 2147483646 w 27"/>
                <a:gd name="T19" fmla="*/ 2147483646 h 23"/>
                <a:gd name="T20" fmla="*/ 2147483646 w 27"/>
                <a:gd name="T21" fmla="*/ 2147483646 h 23"/>
                <a:gd name="T22" fmla="*/ 2147483646 w 27"/>
                <a:gd name="T23" fmla="*/ 2147483646 h 23"/>
                <a:gd name="T24" fmla="*/ 2147483646 w 27"/>
                <a:gd name="T25" fmla="*/ 2147483646 h 23"/>
                <a:gd name="T26" fmla="*/ 2147483646 w 27"/>
                <a:gd name="T27" fmla="*/ 2147483646 h 23"/>
                <a:gd name="T28" fmla="*/ 2147483646 w 27"/>
                <a:gd name="T29" fmla="*/ 2147483646 h 23"/>
                <a:gd name="T30" fmla="*/ 2147483646 w 27"/>
                <a:gd name="T31" fmla="*/ 2147483646 h 23"/>
                <a:gd name="T32" fmla="*/ 0 w 27"/>
                <a:gd name="T33" fmla="*/ 2147483646 h 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7" h="23">
                  <a:moveTo>
                    <a:pt x="0" y="23"/>
                  </a:moveTo>
                  <a:cubicBezTo>
                    <a:pt x="0" y="22"/>
                    <a:pt x="2" y="22"/>
                    <a:pt x="3" y="21"/>
                  </a:cubicBezTo>
                  <a:cubicBezTo>
                    <a:pt x="4" y="20"/>
                    <a:pt x="6" y="20"/>
                    <a:pt x="6" y="18"/>
                  </a:cubicBezTo>
                  <a:cubicBezTo>
                    <a:pt x="7" y="16"/>
                    <a:pt x="7" y="15"/>
                    <a:pt x="7" y="14"/>
                  </a:cubicBezTo>
                  <a:cubicBezTo>
                    <a:pt x="7" y="13"/>
                    <a:pt x="9" y="10"/>
                    <a:pt x="9" y="10"/>
                  </a:cubicBezTo>
                  <a:cubicBezTo>
                    <a:pt x="10" y="8"/>
                    <a:pt x="12" y="7"/>
                    <a:pt x="14" y="6"/>
                  </a:cubicBezTo>
                  <a:cubicBezTo>
                    <a:pt x="15" y="5"/>
                    <a:pt x="15" y="3"/>
                    <a:pt x="16" y="2"/>
                  </a:cubicBezTo>
                  <a:cubicBezTo>
                    <a:pt x="17" y="0"/>
                    <a:pt x="18" y="2"/>
                    <a:pt x="19" y="3"/>
                  </a:cubicBezTo>
                  <a:cubicBezTo>
                    <a:pt x="20" y="3"/>
                    <a:pt x="23" y="3"/>
                    <a:pt x="25" y="3"/>
                  </a:cubicBezTo>
                  <a:cubicBezTo>
                    <a:pt x="25" y="3"/>
                    <a:pt x="25" y="3"/>
                    <a:pt x="24" y="3"/>
                  </a:cubicBezTo>
                  <a:cubicBezTo>
                    <a:pt x="26" y="4"/>
                    <a:pt x="26" y="6"/>
                    <a:pt x="26" y="8"/>
                  </a:cubicBezTo>
                  <a:cubicBezTo>
                    <a:pt x="26" y="9"/>
                    <a:pt x="27" y="10"/>
                    <a:pt x="27" y="11"/>
                  </a:cubicBezTo>
                  <a:cubicBezTo>
                    <a:pt x="25" y="11"/>
                    <a:pt x="19" y="11"/>
                    <a:pt x="21" y="14"/>
                  </a:cubicBezTo>
                  <a:cubicBezTo>
                    <a:pt x="19" y="15"/>
                    <a:pt x="17" y="17"/>
                    <a:pt x="16" y="17"/>
                  </a:cubicBezTo>
                  <a:cubicBezTo>
                    <a:pt x="14" y="17"/>
                    <a:pt x="12" y="18"/>
                    <a:pt x="10" y="19"/>
                  </a:cubicBezTo>
                  <a:cubicBezTo>
                    <a:pt x="8" y="21"/>
                    <a:pt x="11" y="23"/>
                    <a:pt x="8" y="23"/>
                  </a:cubicBezTo>
                  <a:cubicBezTo>
                    <a:pt x="5" y="23"/>
                    <a:pt x="2" y="23"/>
                    <a:pt x="0" y="2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8" name="Freeform 282"/>
            <p:cNvSpPr>
              <a:spLocks noEditPoints="1"/>
            </p:cNvSpPr>
            <p:nvPr/>
          </p:nvSpPr>
          <p:spPr bwMode="auto">
            <a:xfrm>
              <a:off x="1506080" y="2522076"/>
              <a:ext cx="232914" cy="179451"/>
            </a:xfrm>
            <a:custGeom>
              <a:avLst/>
              <a:gdLst>
                <a:gd name="T0" fmla="*/ 0 w 31"/>
                <a:gd name="T1" fmla="*/ 2147483646 h 24"/>
                <a:gd name="T2" fmla="*/ 2147483646 w 31"/>
                <a:gd name="T3" fmla="*/ 2147483646 h 24"/>
                <a:gd name="T4" fmla="*/ 2147483646 w 31"/>
                <a:gd name="T5" fmla="*/ 2147483646 h 24"/>
                <a:gd name="T6" fmla="*/ 2147483646 w 31"/>
                <a:gd name="T7" fmla="*/ 2147483646 h 24"/>
                <a:gd name="T8" fmla="*/ 2147483646 w 31"/>
                <a:gd name="T9" fmla="*/ 2147483646 h 24"/>
                <a:gd name="T10" fmla="*/ 2147483646 w 31"/>
                <a:gd name="T11" fmla="*/ 2147483646 h 24"/>
                <a:gd name="T12" fmla="*/ 2147483646 w 31"/>
                <a:gd name="T13" fmla="*/ 2147483646 h 24"/>
                <a:gd name="T14" fmla="*/ 2147483646 w 31"/>
                <a:gd name="T15" fmla="*/ 2147483646 h 24"/>
                <a:gd name="T16" fmla="*/ 2147483646 w 31"/>
                <a:gd name="T17" fmla="*/ 2147483646 h 24"/>
                <a:gd name="T18" fmla="*/ 2147483646 w 31"/>
                <a:gd name="T19" fmla="*/ 2147483646 h 24"/>
                <a:gd name="T20" fmla="*/ 2147483646 w 31"/>
                <a:gd name="T21" fmla="*/ 2147483646 h 24"/>
                <a:gd name="T22" fmla="*/ 2147483646 w 31"/>
                <a:gd name="T23" fmla="*/ 2147483646 h 24"/>
                <a:gd name="T24" fmla="*/ 2147483646 w 31"/>
                <a:gd name="T25" fmla="*/ 2147483646 h 24"/>
                <a:gd name="T26" fmla="*/ 2147483646 w 31"/>
                <a:gd name="T27" fmla="*/ 2147483646 h 24"/>
                <a:gd name="T28" fmla="*/ 2147483646 w 31"/>
                <a:gd name="T29" fmla="*/ 2147483646 h 24"/>
                <a:gd name="T30" fmla="*/ 2147483646 w 31"/>
                <a:gd name="T31" fmla="*/ 2147483646 h 24"/>
                <a:gd name="T32" fmla="*/ 2147483646 w 31"/>
                <a:gd name="T33" fmla="*/ 2147483646 h 24"/>
                <a:gd name="T34" fmla="*/ 2147483646 w 31"/>
                <a:gd name="T35" fmla="*/ 2147483646 h 24"/>
                <a:gd name="T36" fmla="*/ 2147483646 w 31"/>
                <a:gd name="T37" fmla="*/ 2147483646 h 24"/>
                <a:gd name="T38" fmla="*/ 2147483646 w 31"/>
                <a:gd name="T39" fmla="*/ 2147483646 h 24"/>
                <a:gd name="T40" fmla="*/ 2147483646 w 31"/>
                <a:gd name="T41" fmla="*/ 2147483646 h 24"/>
                <a:gd name="T42" fmla="*/ 2147483646 w 31"/>
                <a:gd name="T43" fmla="*/ 2147483646 h 24"/>
                <a:gd name="T44" fmla="*/ 2147483646 w 31"/>
                <a:gd name="T45" fmla="*/ 2147483646 h 24"/>
                <a:gd name="T46" fmla="*/ 2147483646 w 31"/>
                <a:gd name="T47" fmla="*/ 2147483646 h 24"/>
                <a:gd name="T48" fmla="*/ 2147483646 w 31"/>
                <a:gd name="T49" fmla="*/ 2147483646 h 24"/>
                <a:gd name="T50" fmla="*/ 2147483646 w 31"/>
                <a:gd name="T51" fmla="*/ 2147483646 h 24"/>
                <a:gd name="T52" fmla="*/ 2147483646 w 31"/>
                <a:gd name="T53" fmla="*/ 2147483646 h 24"/>
                <a:gd name="T54" fmla="*/ 2147483646 w 31"/>
                <a:gd name="T55" fmla="*/ 2147483646 h 24"/>
                <a:gd name="T56" fmla="*/ 2147483646 w 31"/>
                <a:gd name="T57" fmla="*/ 2147483646 h 24"/>
                <a:gd name="T58" fmla="*/ 2147483646 w 31"/>
                <a:gd name="T59" fmla="*/ 2147483646 h 24"/>
                <a:gd name="T60" fmla="*/ 2147483646 w 31"/>
                <a:gd name="T61" fmla="*/ 2147483646 h 24"/>
                <a:gd name="T62" fmla="*/ 2147483646 w 31"/>
                <a:gd name="T63" fmla="*/ 2147483646 h 24"/>
                <a:gd name="T64" fmla="*/ 2147483646 w 31"/>
                <a:gd name="T65" fmla="*/ 2147483646 h 24"/>
                <a:gd name="T66" fmla="*/ 2147483646 w 31"/>
                <a:gd name="T67" fmla="*/ 2147483646 h 24"/>
                <a:gd name="T68" fmla="*/ 2147483646 w 31"/>
                <a:gd name="T69" fmla="*/ 2147483646 h 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1" h="24">
                  <a:moveTo>
                    <a:pt x="9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2"/>
                    <a:pt x="1" y="22"/>
                    <a:pt x="2" y="22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4" y="21"/>
                    <a:pt x="4" y="21"/>
                    <a:pt x="4" y="20"/>
                  </a:cubicBezTo>
                  <a:cubicBezTo>
                    <a:pt x="5" y="20"/>
                    <a:pt x="6" y="19"/>
                    <a:pt x="7" y="18"/>
                  </a:cubicBezTo>
                  <a:cubicBezTo>
                    <a:pt x="7" y="17"/>
                    <a:pt x="7" y="16"/>
                    <a:pt x="7" y="15"/>
                  </a:cubicBezTo>
                  <a:cubicBezTo>
                    <a:pt x="7" y="15"/>
                    <a:pt x="7" y="14"/>
                    <a:pt x="7" y="14"/>
                  </a:cubicBezTo>
                  <a:cubicBezTo>
                    <a:pt x="7" y="12"/>
                    <a:pt x="9" y="10"/>
                    <a:pt x="10" y="9"/>
                  </a:cubicBezTo>
                  <a:cubicBezTo>
                    <a:pt x="11" y="8"/>
                    <a:pt x="12" y="7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5"/>
                    <a:pt x="16" y="4"/>
                    <a:pt x="16" y="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1"/>
                    <a:pt x="17" y="0"/>
                    <a:pt x="18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2"/>
                    <a:pt x="22" y="2"/>
                    <a:pt x="22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2"/>
                    <a:pt x="26" y="2"/>
                    <a:pt x="26" y="2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5"/>
                    <a:pt x="27" y="6"/>
                    <a:pt x="27" y="7"/>
                  </a:cubicBezTo>
                  <a:cubicBezTo>
                    <a:pt x="27" y="7"/>
                    <a:pt x="27" y="8"/>
                    <a:pt x="27" y="8"/>
                  </a:cubicBezTo>
                  <a:cubicBezTo>
                    <a:pt x="28" y="8"/>
                    <a:pt x="28" y="9"/>
                    <a:pt x="28" y="9"/>
                  </a:cubicBezTo>
                  <a:cubicBezTo>
                    <a:pt x="28" y="10"/>
                    <a:pt x="29" y="10"/>
                    <a:pt x="28" y="11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4" y="12"/>
                    <a:pt x="23" y="13"/>
                    <a:pt x="22" y="13"/>
                  </a:cubicBezTo>
                  <a:cubicBezTo>
                    <a:pt x="22" y="13"/>
                    <a:pt x="22" y="14"/>
                    <a:pt x="23" y="1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1" y="16"/>
                    <a:pt x="20" y="16"/>
                  </a:cubicBezTo>
                  <a:cubicBezTo>
                    <a:pt x="19" y="17"/>
                    <a:pt x="18" y="18"/>
                    <a:pt x="17" y="18"/>
                  </a:cubicBezTo>
                  <a:cubicBezTo>
                    <a:pt x="15" y="18"/>
                    <a:pt x="13" y="19"/>
                    <a:pt x="12" y="20"/>
                  </a:cubicBezTo>
                  <a:cubicBezTo>
                    <a:pt x="11" y="21"/>
                    <a:pt x="11" y="21"/>
                    <a:pt x="11" y="22"/>
                  </a:cubicBezTo>
                  <a:cubicBezTo>
                    <a:pt x="11" y="22"/>
                    <a:pt x="11" y="23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lose/>
                  <a:moveTo>
                    <a:pt x="3" y="22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10" y="20"/>
                    <a:pt x="11" y="19"/>
                  </a:cubicBezTo>
                  <a:cubicBezTo>
                    <a:pt x="12" y="18"/>
                    <a:pt x="15" y="17"/>
                    <a:pt x="16" y="17"/>
                  </a:cubicBezTo>
                  <a:cubicBezTo>
                    <a:pt x="17" y="17"/>
                    <a:pt x="19" y="16"/>
                    <a:pt x="20" y="15"/>
                  </a:cubicBezTo>
                  <a:cubicBezTo>
                    <a:pt x="20" y="15"/>
                    <a:pt x="21" y="14"/>
                    <a:pt x="21" y="1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1"/>
                    <a:pt x="25" y="11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9"/>
                    <a:pt x="26" y="9"/>
                    <a:pt x="26" y="8"/>
                  </a:cubicBezTo>
                  <a:cubicBezTo>
                    <a:pt x="26" y="8"/>
                    <a:pt x="26" y="7"/>
                    <a:pt x="26" y="7"/>
                  </a:cubicBezTo>
                  <a:cubicBezTo>
                    <a:pt x="26" y="5"/>
                    <a:pt x="26" y="4"/>
                    <a:pt x="25" y="4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4" y="3"/>
                    <a:pt x="24" y="3"/>
                    <a:pt x="23" y="3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1" y="3"/>
                    <a:pt x="20" y="3"/>
                  </a:cubicBezTo>
                  <a:cubicBezTo>
                    <a:pt x="20" y="3"/>
                    <a:pt x="19" y="3"/>
                    <a:pt x="19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8"/>
                    <a:pt x="12" y="9"/>
                    <a:pt x="11" y="10"/>
                  </a:cubicBezTo>
                  <a:cubicBezTo>
                    <a:pt x="10" y="11"/>
                    <a:pt x="9" y="13"/>
                    <a:pt x="8" y="14"/>
                  </a:cubicBezTo>
                  <a:cubicBezTo>
                    <a:pt x="8" y="14"/>
                    <a:pt x="8" y="15"/>
                    <a:pt x="8" y="15"/>
                  </a:cubicBezTo>
                  <a:cubicBezTo>
                    <a:pt x="9" y="16"/>
                    <a:pt x="9" y="17"/>
                    <a:pt x="8" y="18"/>
                  </a:cubicBezTo>
                  <a:cubicBezTo>
                    <a:pt x="7" y="20"/>
                    <a:pt x="6" y="20"/>
                    <a:pt x="5" y="21"/>
                  </a:cubicBezTo>
                  <a:cubicBezTo>
                    <a:pt x="5" y="21"/>
                    <a:pt x="4" y="22"/>
                    <a:pt x="4" y="22"/>
                  </a:cubicBezTo>
                  <a:cubicBezTo>
                    <a:pt x="4" y="22"/>
                    <a:pt x="4" y="22"/>
                    <a:pt x="3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9" name="Freeform 283"/>
            <p:cNvSpPr/>
            <p:nvPr/>
          </p:nvSpPr>
          <p:spPr bwMode="auto">
            <a:xfrm>
              <a:off x="1738994" y="2767640"/>
              <a:ext cx="273832" cy="217230"/>
            </a:xfrm>
            <a:custGeom>
              <a:avLst/>
              <a:gdLst>
                <a:gd name="T0" fmla="*/ 2147483646 w 37"/>
                <a:gd name="T1" fmla="*/ 2147483646 h 29"/>
                <a:gd name="T2" fmla="*/ 2147483646 w 37"/>
                <a:gd name="T3" fmla="*/ 2147483646 h 29"/>
                <a:gd name="T4" fmla="*/ 2147483646 w 37"/>
                <a:gd name="T5" fmla="*/ 2147483646 h 29"/>
                <a:gd name="T6" fmla="*/ 2147483646 w 37"/>
                <a:gd name="T7" fmla="*/ 2147483646 h 29"/>
                <a:gd name="T8" fmla="*/ 2147483646 w 37"/>
                <a:gd name="T9" fmla="*/ 2147483646 h 29"/>
                <a:gd name="T10" fmla="*/ 2147483646 w 37"/>
                <a:gd name="T11" fmla="*/ 2147483646 h 29"/>
                <a:gd name="T12" fmla="*/ 2147483646 w 37"/>
                <a:gd name="T13" fmla="*/ 2147483646 h 29"/>
                <a:gd name="T14" fmla="*/ 2147483646 w 37"/>
                <a:gd name="T15" fmla="*/ 2147483646 h 29"/>
                <a:gd name="T16" fmla="*/ 0 w 37"/>
                <a:gd name="T17" fmla="*/ 2147483646 h 29"/>
                <a:gd name="T18" fmla="*/ 2147483646 w 37"/>
                <a:gd name="T19" fmla="*/ 2147483646 h 29"/>
                <a:gd name="T20" fmla="*/ 2147483646 w 37"/>
                <a:gd name="T21" fmla="*/ 2147483646 h 29"/>
                <a:gd name="T22" fmla="*/ 2147483646 w 37"/>
                <a:gd name="T23" fmla="*/ 2147483646 h 29"/>
                <a:gd name="T24" fmla="*/ 2147483646 w 37"/>
                <a:gd name="T25" fmla="*/ 2147483646 h 29"/>
                <a:gd name="T26" fmla="*/ 2147483646 w 37"/>
                <a:gd name="T27" fmla="*/ 2147483646 h 29"/>
                <a:gd name="T28" fmla="*/ 2147483646 w 37"/>
                <a:gd name="T29" fmla="*/ 2147483646 h 29"/>
                <a:gd name="T30" fmla="*/ 2147483646 w 37"/>
                <a:gd name="T31" fmla="*/ 2147483646 h 29"/>
                <a:gd name="T32" fmla="*/ 2147483646 w 37"/>
                <a:gd name="T33" fmla="*/ 2147483646 h 29"/>
                <a:gd name="T34" fmla="*/ 2147483646 w 37"/>
                <a:gd name="T35" fmla="*/ 2147483646 h 29"/>
                <a:gd name="T36" fmla="*/ 2147483646 w 37"/>
                <a:gd name="T37" fmla="*/ 2147483646 h 29"/>
                <a:gd name="T38" fmla="*/ 2147483646 w 37"/>
                <a:gd name="T39" fmla="*/ 2147483646 h 29"/>
                <a:gd name="T40" fmla="*/ 2147483646 w 37"/>
                <a:gd name="T41" fmla="*/ 2147483646 h 29"/>
                <a:gd name="T42" fmla="*/ 2147483646 w 37"/>
                <a:gd name="T43" fmla="*/ 2147483646 h 29"/>
                <a:gd name="T44" fmla="*/ 2147483646 w 37"/>
                <a:gd name="T45" fmla="*/ 2147483646 h 29"/>
                <a:gd name="T46" fmla="*/ 2147483646 w 37"/>
                <a:gd name="T47" fmla="*/ 2147483646 h 29"/>
                <a:gd name="T48" fmla="*/ 2147483646 w 37"/>
                <a:gd name="T49" fmla="*/ 2147483646 h 29"/>
                <a:gd name="T50" fmla="*/ 2147483646 w 37"/>
                <a:gd name="T51" fmla="*/ 2147483646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7" h="29">
                  <a:moveTo>
                    <a:pt x="34" y="2"/>
                  </a:moveTo>
                  <a:cubicBezTo>
                    <a:pt x="33" y="3"/>
                    <a:pt x="33" y="1"/>
                    <a:pt x="32" y="1"/>
                  </a:cubicBezTo>
                  <a:cubicBezTo>
                    <a:pt x="31" y="0"/>
                    <a:pt x="29" y="1"/>
                    <a:pt x="27" y="1"/>
                  </a:cubicBezTo>
                  <a:cubicBezTo>
                    <a:pt x="25" y="1"/>
                    <a:pt x="22" y="4"/>
                    <a:pt x="21" y="5"/>
                  </a:cubicBezTo>
                  <a:cubicBezTo>
                    <a:pt x="19" y="6"/>
                    <a:pt x="17" y="7"/>
                    <a:pt x="15" y="9"/>
                  </a:cubicBezTo>
                  <a:cubicBezTo>
                    <a:pt x="14" y="10"/>
                    <a:pt x="9" y="12"/>
                    <a:pt x="9" y="12"/>
                  </a:cubicBezTo>
                  <a:cubicBezTo>
                    <a:pt x="9" y="14"/>
                    <a:pt x="10" y="18"/>
                    <a:pt x="9" y="19"/>
                  </a:cubicBezTo>
                  <a:cubicBezTo>
                    <a:pt x="7" y="22"/>
                    <a:pt x="4" y="19"/>
                    <a:pt x="2" y="21"/>
                  </a:cubicBezTo>
                  <a:cubicBezTo>
                    <a:pt x="2" y="22"/>
                    <a:pt x="0" y="21"/>
                    <a:pt x="0" y="22"/>
                  </a:cubicBezTo>
                  <a:cubicBezTo>
                    <a:pt x="0" y="23"/>
                    <a:pt x="1" y="24"/>
                    <a:pt x="1" y="25"/>
                  </a:cubicBezTo>
                  <a:cubicBezTo>
                    <a:pt x="2" y="26"/>
                    <a:pt x="2" y="26"/>
                    <a:pt x="3" y="27"/>
                  </a:cubicBezTo>
                  <a:cubicBezTo>
                    <a:pt x="3" y="27"/>
                    <a:pt x="4" y="27"/>
                    <a:pt x="4" y="27"/>
                  </a:cubicBezTo>
                  <a:cubicBezTo>
                    <a:pt x="5" y="28"/>
                    <a:pt x="4" y="28"/>
                    <a:pt x="5" y="29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6" y="27"/>
                    <a:pt x="7" y="29"/>
                    <a:pt x="8" y="29"/>
                  </a:cubicBezTo>
                  <a:cubicBezTo>
                    <a:pt x="7" y="27"/>
                    <a:pt x="10" y="25"/>
                    <a:pt x="12" y="24"/>
                  </a:cubicBezTo>
                  <a:cubicBezTo>
                    <a:pt x="13" y="24"/>
                    <a:pt x="14" y="25"/>
                    <a:pt x="15" y="26"/>
                  </a:cubicBezTo>
                  <a:cubicBezTo>
                    <a:pt x="16" y="27"/>
                    <a:pt x="17" y="25"/>
                    <a:pt x="19" y="26"/>
                  </a:cubicBezTo>
                  <a:cubicBezTo>
                    <a:pt x="20" y="27"/>
                    <a:pt x="21" y="27"/>
                    <a:pt x="22" y="26"/>
                  </a:cubicBezTo>
                  <a:cubicBezTo>
                    <a:pt x="23" y="25"/>
                    <a:pt x="24" y="25"/>
                    <a:pt x="26" y="25"/>
                  </a:cubicBezTo>
                  <a:cubicBezTo>
                    <a:pt x="28" y="25"/>
                    <a:pt x="28" y="26"/>
                    <a:pt x="30" y="25"/>
                  </a:cubicBezTo>
                  <a:cubicBezTo>
                    <a:pt x="30" y="24"/>
                    <a:pt x="29" y="23"/>
                    <a:pt x="31" y="23"/>
                  </a:cubicBezTo>
                  <a:cubicBezTo>
                    <a:pt x="30" y="22"/>
                    <a:pt x="32" y="20"/>
                    <a:pt x="33" y="19"/>
                  </a:cubicBezTo>
                  <a:cubicBezTo>
                    <a:pt x="35" y="17"/>
                    <a:pt x="35" y="16"/>
                    <a:pt x="35" y="13"/>
                  </a:cubicBezTo>
                  <a:cubicBezTo>
                    <a:pt x="36" y="11"/>
                    <a:pt x="37" y="8"/>
                    <a:pt x="36" y="8"/>
                  </a:cubicBezTo>
                  <a:cubicBezTo>
                    <a:pt x="34" y="6"/>
                    <a:pt x="34" y="4"/>
                    <a:pt x="34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0" name="Freeform 284"/>
            <p:cNvSpPr>
              <a:spLocks noEditPoints="1"/>
            </p:cNvSpPr>
            <p:nvPr/>
          </p:nvSpPr>
          <p:spPr bwMode="auto">
            <a:xfrm>
              <a:off x="1729551" y="2767640"/>
              <a:ext cx="283274" cy="232971"/>
            </a:xfrm>
            <a:custGeom>
              <a:avLst/>
              <a:gdLst>
                <a:gd name="T0" fmla="*/ 2147483646 w 38"/>
                <a:gd name="T1" fmla="*/ 2147483646 h 31"/>
                <a:gd name="T2" fmla="*/ 2147483646 w 38"/>
                <a:gd name="T3" fmla="*/ 2147483646 h 31"/>
                <a:gd name="T4" fmla="*/ 2147483646 w 38"/>
                <a:gd name="T5" fmla="*/ 2147483646 h 31"/>
                <a:gd name="T6" fmla="*/ 2147483646 w 38"/>
                <a:gd name="T7" fmla="*/ 2147483646 h 31"/>
                <a:gd name="T8" fmla="*/ 2147483646 w 38"/>
                <a:gd name="T9" fmla="*/ 2147483646 h 31"/>
                <a:gd name="T10" fmla="*/ 2147483646 w 38"/>
                <a:gd name="T11" fmla="*/ 2147483646 h 31"/>
                <a:gd name="T12" fmla="*/ 0 w 38"/>
                <a:gd name="T13" fmla="*/ 2147483646 h 31"/>
                <a:gd name="T14" fmla="*/ 2147483646 w 38"/>
                <a:gd name="T15" fmla="*/ 2147483646 h 31"/>
                <a:gd name="T16" fmla="*/ 2147483646 w 38"/>
                <a:gd name="T17" fmla="*/ 2147483646 h 31"/>
                <a:gd name="T18" fmla="*/ 2147483646 w 38"/>
                <a:gd name="T19" fmla="*/ 2147483646 h 31"/>
                <a:gd name="T20" fmla="*/ 2147483646 w 38"/>
                <a:gd name="T21" fmla="*/ 2147483646 h 31"/>
                <a:gd name="T22" fmla="*/ 2147483646 w 38"/>
                <a:gd name="T23" fmla="*/ 2147483646 h 31"/>
                <a:gd name="T24" fmla="*/ 2147483646 w 38"/>
                <a:gd name="T25" fmla="*/ 2147483646 h 31"/>
                <a:gd name="T26" fmla="*/ 2147483646 w 38"/>
                <a:gd name="T27" fmla="*/ 0 h 31"/>
                <a:gd name="T28" fmla="*/ 2147483646 w 38"/>
                <a:gd name="T29" fmla="*/ 2147483646 h 31"/>
                <a:gd name="T30" fmla="*/ 2147483646 w 38"/>
                <a:gd name="T31" fmla="*/ 2147483646 h 31"/>
                <a:gd name="T32" fmla="*/ 2147483646 w 38"/>
                <a:gd name="T33" fmla="*/ 2147483646 h 31"/>
                <a:gd name="T34" fmla="*/ 2147483646 w 38"/>
                <a:gd name="T35" fmla="*/ 2147483646 h 31"/>
                <a:gd name="T36" fmla="*/ 2147483646 w 38"/>
                <a:gd name="T37" fmla="*/ 2147483646 h 31"/>
                <a:gd name="T38" fmla="*/ 2147483646 w 38"/>
                <a:gd name="T39" fmla="*/ 2147483646 h 31"/>
                <a:gd name="T40" fmla="*/ 2147483646 w 38"/>
                <a:gd name="T41" fmla="*/ 2147483646 h 31"/>
                <a:gd name="T42" fmla="*/ 2147483646 w 38"/>
                <a:gd name="T43" fmla="*/ 2147483646 h 31"/>
                <a:gd name="T44" fmla="*/ 2147483646 w 38"/>
                <a:gd name="T45" fmla="*/ 2147483646 h 31"/>
                <a:gd name="T46" fmla="*/ 2147483646 w 38"/>
                <a:gd name="T47" fmla="*/ 2147483646 h 31"/>
                <a:gd name="T48" fmla="*/ 2147483646 w 38"/>
                <a:gd name="T49" fmla="*/ 2147483646 h 31"/>
                <a:gd name="T50" fmla="*/ 2147483646 w 38"/>
                <a:gd name="T51" fmla="*/ 2147483646 h 31"/>
                <a:gd name="T52" fmla="*/ 2147483646 w 38"/>
                <a:gd name="T53" fmla="*/ 2147483646 h 31"/>
                <a:gd name="T54" fmla="*/ 2147483646 w 38"/>
                <a:gd name="T55" fmla="*/ 2147483646 h 31"/>
                <a:gd name="T56" fmla="*/ 2147483646 w 38"/>
                <a:gd name="T57" fmla="*/ 2147483646 h 31"/>
                <a:gd name="T58" fmla="*/ 2147483646 w 38"/>
                <a:gd name="T59" fmla="*/ 2147483646 h 31"/>
                <a:gd name="T60" fmla="*/ 2147483646 w 38"/>
                <a:gd name="T61" fmla="*/ 2147483646 h 31"/>
                <a:gd name="T62" fmla="*/ 2147483646 w 38"/>
                <a:gd name="T63" fmla="*/ 2147483646 h 31"/>
                <a:gd name="T64" fmla="*/ 2147483646 w 38"/>
                <a:gd name="T65" fmla="*/ 2147483646 h 31"/>
                <a:gd name="T66" fmla="*/ 2147483646 w 38"/>
                <a:gd name="T67" fmla="*/ 2147483646 h 31"/>
                <a:gd name="T68" fmla="*/ 2147483646 w 38"/>
                <a:gd name="T69" fmla="*/ 2147483646 h 31"/>
                <a:gd name="T70" fmla="*/ 2147483646 w 38"/>
                <a:gd name="T71" fmla="*/ 2147483646 h 31"/>
                <a:gd name="T72" fmla="*/ 2147483646 w 38"/>
                <a:gd name="T73" fmla="*/ 2147483646 h 31"/>
                <a:gd name="T74" fmla="*/ 2147483646 w 38"/>
                <a:gd name="T75" fmla="*/ 2147483646 h 31"/>
                <a:gd name="T76" fmla="*/ 2147483646 w 38"/>
                <a:gd name="T77" fmla="*/ 2147483646 h 31"/>
                <a:gd name="T78" fmla="*/ 2147483646 w 38"/>
                <a:gd name="T79" fmla="*/ 2147483646 h 31"/>
                <a:gd name="T80" fmla="*/ 2147483646 w 38"/>
                <a:gd name="T81" fmla="*/ 2147483646 h 31"/>
                <a:gd name="T82" fmla="*/ 2147483646 w 38"/>
                <a:gd name="T83" fmla="*/ 2147483646 h 31"/>
                <a:gd name="T84" fmla="*/ 2147483646 w 38"/>
                <a:gd name="T85" fmla="*/ 2147483646 h 31"/>
                <a:gd name="T86" fmla="*/ 2147483646 w 38"/>
                <a:gd name="T87" fmla="*/ 2147483646 h 31"/>
                <a:gd name="T88" fmla="*/ 2147483646 w 38"/>
                <a:gd name="T89" fmla="*/ 2147483646 h 31"/>
                <a:gd name="T90" fmla="*/ 2147483646 w 38"/>
                <a:gd name="T91" fmla="*/ 2147483646 h 31"/>
                <a:gd name="T92" fmla="*/ 2147483646 w 38"/>
                <a:gd name="T93" fmla="*/ 2147483646 h 31"/>
                <a:gd name="T94" fmla="*/ 2147483646 w 38"/>
                <a:gd name="T95" fmla="*/ 2147483646 h 31"/>
                <a:gd name="T96" fmla="*/ 2147483646 w 38"/>
                <a:gd name="T97" fmla="*/ 2147483646 h 31"/>
                <a:gd name="T98" fmla="*/ 2147483646 w 38"/>
                <a:gd name="T99" fmla="*/ 2147483646 h 31"/>
                <a:gd name="T100" fmla="*/ 2147483646 w 38"/>
                <a:gd name="T101" fmla="*/ 2147483646 h 31"/>
                <a:gd name="T102" fmla="*/ 2147483646 w 38"/>
                <a:gd name="T103" fmla="*/ 2147483646 h 31"/>
                <a:gd name="T104" fmla="*/ 2147483646 w 38"/>
                <a:gd name="T105" fmla="*/ 2147483646 h 3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8" h="31">
                  <a:moveTo>
                    <a:pt x="10" y="31"/>
                  </a:move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29"/>
                    <a:pt x="8" y="29"/>
                  </a:cubicBezTo>
                  <a:cubicBezTo>
                    <a:pt x="7" y="29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5" y="29"/>
                    <a:pt x="5" y="28"/>
                    <a:pt x="5" y="28"/>
                  </a:cubicBezTo>
                  <a:cubicBezTo>
                    <a:pt x="5" y="28"/>
                    <a:pt x="5" y="28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8"/>
                    <a:pt x="3" y="27"/>
                    <a:pt x="3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1"/>
                    <a:pt x="1" y="21"/>
                    <a:pt x="2" y="21"/>
                  </a:cubicBezTo>
                  <a:cubicBezTo>
                    <a:pt x="2" y="21"/>
                    <a:pt x="3" y="21"/>
                    <a:pt x="3" y="20"/>
                  </a:cubicBezTo>
                  <a:cubicBezTo>
                    <a:pt x="3" y="20"/>
                    <a:pt x="4" y="20"/>
                    <a:pt x="5" y="20"/>
                  </a:cubicBezTo>
                  <a:cubicBezTo>
                    <a:pt x="5" y="20"/>
                    <a:pt x="6" y="20"/>
                    <a:pt x="6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0"/>
                    <a:pt x="9" y="20"/>
                    <a:pt x="9" y="19"/>
                  </a:cubicBezTo>
                  <a:cubicBezTo>
                    <a:pt x="10" y="18"/>
                    <a:pt x="10" y="16"/>
                    <a:pt x="10" y="14"/>
                  </a:cubicBezTo>
                  <a:cubicBezTo>
                    <a:pt x="10" y="13"/>
                    <a:pt x="10" y="12"/>
                    <a:pt x="10" y="12"/>
                  </a:cubicBezTo>
                  <a:cubicBezTo>
                    <a:pt x="10" y="11"/>
                    <a:pt x="10" y="11"/>
                    <a:pt x="12" y="10"/>
                  </a:cubicBezTo>
                  <a:cubicBezTo>
                    <a:pt x="13" y="9"/>
                    <a:pt x="15" y="9"/>
                    <a:pt x="15" y="8"/>
                  </a:cubicBezTo>
                  <a:cubicBezTo>
                    <a:pt x="18" y="7"/>
                    <a:pt x="20" y="5"/>
                    <a:pt x="21" y="4"/>
                  </a:cubicBezTo>
                  <a:cubicBezTo>
                    <a:pt x="22" y="4"/>
                    <a:pt x="22" y="4"/>
                    <a:pt x="23" y="3"/>
                  </a:cubicBezTo>
                  <a:cubicBezTo>
                    <a:pt x="25" y="2"/>
                    <a:pt x="27" y="0"/>
                    <a:pt x="28" y="0"/>
                  </a:cubicBezTo>
                  <a:cubicBezTo>
                    <a:pt x="29" y="0"/>
                    <a:pt x="29" y="0"/>
                    <a:pt x="30" y="0"/>
                  </a:cubicBezTo>
                  <a:cubicBezTo>
                    <a:pt x="31" y="0"/>
                    <a:pt x="32" y="0"/>
                    <a:pt x="33" y="0"/>
                  </a:cubicBezTo>
                  <a:cubicBezTo>
                    <a:pt x="33" y="0"/>
                    <a:pt x="34" y="1"/>
                    <a:pt x="34" y="1"/>
                  </a:cubicBezTo>
                  <a:cubicBezTo>
                    <a:pt x="35" y="2"/>
                    <a:pt x="35" y="2"/>
                    <a:pt x="35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3"/>
                    <a:pt x="36" y="3"/>
                  </a:cubicBezTo>
                  <a:cubicBezTo>
                    <a:pt x="36" y="5"/>
                    <a:pt x="36" y="6"/>
                    <a:pt x="37" y="7"/>
                  </a:cubicBezTo>
                  <a:cubicBezTo>
                    <a:pt x="38" y="8"/>
                    <a:pt x="38" y="10"/>
                    <a:pt x="37" y="11"/>
                  </a:cubicBezTo>
                  <a:cubicBezTo>
                    <a:pt x="37" y="12"/>
                    <a:pt x="37" y="12"/>
                    <a:pt x="37" y="13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6"/>
                    <a:pt x="37" y="17"/>
                    <a:pt x="34" y="19"/>
                  </a:cubicBezTo>
                  <a:cubicBezTo>
                    <a:pt x="34" y="19"/>
                    <a:pt x="34" y="20"/>
                    <a:pt x="34" y="20"/>
                  </a:cubicBezTo>
                  <a:cubicBezTo>
                    <a:pt x="34" y="20"/>
                    <a:pt x="32" y="22"/>
                    <a:pt x="32" y="23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2" y="24"/>
                    <a:pt x="32" y="25"/>
                    <a:pt x="31" y="25"/>
                  </a:cubicBezTo>
                  <a:cubicBezTo>
                    <a:pt x="30" y="26"/>
                    <a:pt x="29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5" y="26"/>
                    <a:pt x="25" y="26"/>
                    <a:pt x="23" y="27"/>
                  </a:cubicBezTo>
                  <a:cubicBezTo>
                    <a:pt x="23" y="27"/>
                    <a:pt x="22" y="27"/>
                    <a:pt x="22" y="27"/>
                  </a:cubicBezTo>
                  <a:cubicBezTo>
                    <a:pt x="21" y="27"/>
                    <a:pt x="20" y="27"/>
                    <a:pt x="19" y="26"/>
                  </a:cubicBezTo>
                  <a:cubicBezTo>
                    <a:pt x="19" y="26"/>
                    <a:pt x="18" y="26"/>
                    <a:pt x="18" y="27"/>
                  </a:cubicBezTo>
                  <a:cubicBezTo>
                    <a:pt x="17" y="27"/>
                    <a:pt x="17" y="27"/>
                    <a:pt x="16" y="27"/>
                  </a:cubicBezTo>
                  <a:cubicBezTo>
                    <a:pt x="16" y="27"/>
                    <a:pt x="15" y="26"/>
                    <a:pt x="15" y="26"/>
                  </a:cubicBezTo>
                  <a:cubicBezTo>
                    <a:pt x="14" y="25"/>
                    <a:pt x="14" y="25"/>
                    <a:pt x="13" y="25"/>
                  </a:cubicBezTo>
                  <a:cubicBezTo>
                    <a:pt x="12" y="25"/>
                    <a:pt x="10" y="26"/>
                    <a:pt x="10" y="27"/>
                  </a:cubicBezTo>
                  <a:cubicBezTo>
                    <a:pt x="9" y="27"/>
                    <a:pt x="9" y="28"/>
                    <a:pt x="9" y="29"/>
                  </a:cubicBezTo>
                  <a:lnTo>
                    <a:pt x="10" y="31"/>
                  </a:lnTo>
                  <a:close/>
                  <a:moveTo>
                    <a:pt x="7" y="27"/>
                  </a:moveTo>
                  <a:cubicBezTo>
                    <a:pt x="7" y="27"/>
                    <a:pt x="8" y="27"/>
                    <a:pt x="8" y="28"/>
                  </a:cubicBezTo>
                  <a:cubicBezTo>
                    <a:pt x="8" y="27"/>
                    <a:pt x="8" y="27"/>
                    <a:pt x="9" y="26"/>
                  </a:cubicBezTo>
                  <a:cubicBezTo>
                    <a:pt x="10" y="25"/>
                    <a:pt x="11" y="24"/>
                    <a:pt x="13" y="24"/>
                  </a:cubicBezTo>
                  <a:cubicBezTo>
                    <a:pt x="14" y="24"/>
                    <a:pt x="15" y="24"/>
                    <a:pt x="16" y="25"/>
                  </a:cubicBezTo>
                  <a:cubicBezTo>
                    <a:pt x="16" y="25"/>
                    <a:pt x="16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8" y="25"/>
                    <a:pt x="19" y="25"/>
                    <a:pt x="20" y="26"/>
                  </a:cubicBezTo>
                  <a:cubicBezTo>
                    <a:pt x="21" y="26"/>
                    <a:pt x="22" y="26"/>
                    <a:pt x="23" y="26"/>
                  </a:cubicBezTo>
                  <a:cubicBezTo>
                    <a:pt x="24" y="25"/>
                    <a:pt x="25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8" y="25"/>
                    <a:pt x="29" y="25"/>
                  </a:cubicBezTo>
                  <a:cubicBezTo>
                    <a:pt x="29" y="25"/>
                    <a:pt x="29" y="25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21"/>
                    <a:pt x="32" y="20"/>
                    <a:pt x="33" y="19"/>
                  </a:cubicBezTo>
                  <a:cubicBezTo>
                    <a:pt x="33" y="19"/>
                    <a:pt x="34" y="19"/>
                    <a:pt x="34" y="19"/>
                  </a:cubicBezTo>
                  <a:cubicBezTo>
                    <a:pt x="35" y="17"/>
                    <a:pt x="35" y="16"/>
                    <a:pt x="36" y="14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2"/>
                    <a:pt x="36" y="12"/>
                    <a:pt x="36" y="11"/>
                  </a:cubicBezTo>
                  <a:cubicBezTo>
                    <a:pt x="36" y="10"/>
                    <a:pt x="37" y="9"/>
                    <a:pt x="36" y="8"/>
                  </a:cubicBezTo>
                  <a:cubicBezTo>
                    <a:pt x="35" y="7"/>
                    <a:pt x="35" y="5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3"/>
                    <a:pt x="34" y="2"/>
                    <a:pt x="33" y="2"/>
                  </a:cubicBezTo>
                  <a:cubicBezTo>
                    <a:pt x="33" y="2"/>
                    <a:pt x="33" y="1"/>
                    <a:pt x="32" y="1"/>
                  </a:cubicBezTo>
                  <a:cubicBezTo>
                    <a:pt x="32" y="1"/>
                    <a:pt x="31" y="1"/>
                    <a:pt x="30" y="1"/>
                  </a:cubicBezTo>
                  <a:cubicBezTo>
                    <a:pt x="29" y="1"/>
                    <a:pt x="29" y="1"/>
                    <a:pt x="28" y="1"/>
                  </a:cubicBezTo>
                  <a:cubicBezTo>
                    <a:pt x="27" y="1"/>
                    <a:pt x="25" y="3"/>
                    <a:pt x="24" y="4"/>
                  </a:cubicBezTo>
                  <a:cubicBezTo>
                    <a:pt x="23" y="4"/>
                    <a:pt x="23" y="5"/>
                    <a:pt x="22" y="5"/>
                  </a:cubicBezTo>
                  <a:cubicBezTo>
                    <a:pt x="20" y="6"/>
                    <a:pt x="18" y="8"/>
                    <a:pt x="16" y="9"/>
                  </a:cubicBezTo>
                  <a:cubicBezTo>
                    <a:pt x="16" y="10"/>
                    <a:pt x="14" y="10"/>
                    <a:pt x="13" y="11"/>
                  </a:cubicBezTo>
                  <a:cubicBezTo>
                    <a:pt x="12" y="12"/>
                    <a:pt x="11" y="12"/>
                    <a:pt x="11" y="12"/>
                  </a:cubicBezTo>
                  <a:cubicBezTo>
                    <a:pt x="11" y="13"/>
                    <a:pt x="11" y="13"/>
                    <a:pt x="11" y="14"/>
                  </a:cubicBezTo>
                  <a:cubicBezTo>
                    <a:pt x="11" y="16"/>
                    <a:pt x="11" y="18"/>
                    <a:pt x="10" y="20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6" y="21"/>
                    <a:pt x="6" y="21"/>
                  </a:cubicBezTo>
                  <a:cubicBezTo>
                    <a:pt x="6" y="21"/>
                    <a:pt x="5" y="21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2"/>
                    <a:pt x="3" y="22"/>
                    <a:pt x="2" y="22"/>
                  </a:cubicBezTo>
                  <a:cubicBezTo>
                    <a:pt x="2" y="22"/>
                    <a:pt x="1" y="22"/>
                    <a:pt x="1" y="22"/>
                  </a:cubicBezTo>
                  <a:cubicBezTo>
                    <a:pt x="1" y="23"/>
                    <a:pt x="2" y="24"/>
                    <a:pt x="2" y="25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5" y="26"/>
                    <a:pt x="5" y="26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7" y="27"/>
                    <a:pt x="7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1" name="Freeform 285"/>
            <p:cNvSpPr/>
            <p:nvPr/>
          </p:nvSpPr>
          <p:spPr bwMode="auto">
            <a:xfrm>
              <a:off x="1783059" y="2947091"/>
              <a:ext cx="207734" cy="170006"/>
            </a:xfrm>
            <a:custGeom>
              <a:avLst/>
              <a:gdLst>
                <a:gd name="T0" fmla="*/ 2147483646 w 28"/>
                <a:gd name="T1" fmla="*/ 2147483646 h 23"/>
                <a:gd name="T2" fmla="*/ 0 w 28"/>
                <a:gd name="T3" fmla="*/ 2147483646 h 23"/>
                <a:gd name="T4" fmla="*/ 0 w 28"/>
                <a:gd name="T5" fmla="*/ 2147483646 h 23"/>
                <a:gd name="T6" fmla="*/ 2147483646 w 28"/>
                <a:gd name="T7" fmla="*/ 2147483646 h 23"/>
                <a:gd name="T8" fmla="*/ 2147483646 w 28"/>
                <a:gd name="T9" fmla="*/ 2147483646 h 23"/>
                <a:gd name="T10" fmla="*/ 2147483646 w 28"/>
                <a:gd name="T11" fmla="*/ 0 h 23"/>
                <a:gd name="T12" fmla="*/ 2147483646 w 28"/>
                <a:gd name="T13" fmla="*/ 2147483646 h 23"/>
                <a:gd name="T14" fmla="*/ 2147483646 w 28"/>
                <a:gd name="T15" fmla="*/ 2147483646 h 23"/>
                <a:gd name="T16" fmla="*/ 2147483646 w 28"/>
                <a:gd name="T17" fmla="*/ 2147483646 h 23"/>
                <a:gd name="T18" fmla="*/ 2147483646 w 28"/>
                <a:gd name="T19" fmla="*/ 2147483646 h 23"/>
                <a:gd name="T20" fmla="*/ 2147483646 w 28"/>
                <a:gd name="T21" fmla="*/ 0 h 23"/>
                <a:gd name="T22" fmla="*/ 2147483646 w 28"/>
                <a:gd name="T23" fmla="*/ 2147483646 h 23"/>
                <a:gd name="T24" fmla="*/ 2147483646 w 28"/>
                <a:gd name="T25" fmla="*/ 2147483646 h 23"/>
                <a:gd name="T26" fmla="*/ 2147483646 w 28"/>
                <a:gd name="T27" fmla="*/ 2147483646 h 23"/>
                <a:gd name="T28" fmla="*/ 2147483646 w 28"/>
                <a:gd name="T29" fmla="*/ 2147483646 h 23"/>
                <a:gd name="T30" fmla="*/ 2147483646 w 28"/>
                <a:gd name="T31" fmla="*/ 2147483646 h 23"/>
                <a:gd name="T32" fmla="*/ 2147483646 w 28"/>
                <a:gd name="T33" fmla="*/ 2147483646 h 23"/>
                <a:gd name="T34" fmla="*/ 2147483646 w 28"/>
                <a:gd name="T35" fmla="*/ 2147483646 h 23"/>
                <a:gd name="T36" fmla="*/ 2147483646 w 28"/>
                <a:gd name="T37" fmla="*/ 2147483646 h 23"/>
                <a:gd name="T38" fmla="*/ 2147483646 w 28"/>
                <a:gd name="T39" fmla="*/ 2147483646 h 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8" h="23">
                  <a:moveTo>
                    <a:pt x="5" y="19"/>
                  </a:moveTo>
                  <a:cubicBezTo>
                    <a:pt x="4" y="17"/>
                    <a:pt x="2" y="18"/>
                    <a:pt x="0" y="18"/>
                  </a:cubicBezTo>
                  <a:cubicBezTo>
                    <a:pt x="0" y="16"/>
                    <a:pt x="0" y="14"/>
                    <a:pt x="0" y="13"/>
                  </a:cubicBezTo>
                  <a:cubicBezTo>
                    <a:pt x="1" y="11"/>
                    <a:pt x="2" y="9"/>
                    <a:pt x="2" y="8"/>
                  </a:cubicBezTo>
                  <a:cubicBezTo>
                    <a:pt x="2" y="7"/>
                    <a:pt x="1" y="5"/>
                    <a:pt x="2" y="4"/>
                  </a:cubicBezTo>
                  <a:cubicBezTo>
                    <a:pt x="2" y="2"/>
                    <a:pt x="4" y="1"/>
                    <a:pt x="5" y="0"/>
                  </a:cubicBezTo>
                  <a:cubicBezTo>
                    <a:pt x="7" y="0"/>
                    <a:pt x="9" y="3"/>
                    <a:pt x="10" y="2"/>
                  </a:cubicBezTo>
                  <a:cubicBezTo>
                    <a:pt x="12" y="1"/>
                    <a:pt x="12" y="2"/>
                    <a:pt x="15" y="3"/>
                  </a:cubicBezTo>
                  <a:cubicBezTo>
                    <a:pt x="15" y="3"/>
                    <a:pt x="16" y="2"/>
                    <a:pt x="17" y="2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2" y="1"/>
                    <a:pt x="23" y="2"/>
                    <a:pt x="24" y="0"/>
                  </a:cubicBezTo>
                  <a:cubicBezTo>
                    <a:pt x="25" y="2"/>
                    <a:pt x="28" y="4"/>
                    <a:pt x="26" y="6"/>
                  </a:cubicBezTo>
                  <a:cubicBezTo>
                    <a:pt x="24" y="8"/>
                    <a:pt x="24" y="11"/>
                    <a:pt x="22" y="13"/>
                  </a:cubicBezTo>
                  <a:cubicBezTo>
                    <a:pt x="21" y="14"/>
                    <a:pt x="21" y="15"/>
                    <a:pt x="20" y="17"/>
                  </a:cubicBezTo>
                  <a:cubicBezTo>
                    <a:pt x="19" y="19"/>
                    <a:pt x="19" y="17"/>
                    <a:pt x="18" y="16"/>
                  </a:cubicBezTo>
                  <a:cubicBezTo>
                    <a:pt x="15" y="16"/>
                    <a:pt x="14" y="19"/>
                    <a:pt x="13" y="22"/>
                  </a:cubicBezTo>
                  <a:cubicBezTo>
                    <a:pt x="13" y="22"/>
                    <a:pt x="13" y="21"/>
                    <a:pt x="13" y="21"/>
                  </a:cubicBezTo>
                  <a:cubicBezTo>
                    <a:pt x="12" y="23"/>
                    <a:pt x="12" y="22"/>
                    <a:pt x="10" y="22"/>
                  </a:cubicBezTo>
                  <a:cubicBezTo>
                    <a:pt x="10" y="22"/>
                    <a:pt x="9" y="23"/>
                    <a:pt x="8" y="23"/>
                  </a:cubicBezTo>
                  <a:cubicBezTo>
                    <a:pt x="6" y="23"/>
                    <a:pt x="6" y="20"/>
                    <a:pt x="5" y="1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2" name="Freeform 286"/>
            <p:cNvSpPr>
              <a:spLocks noEditPoints="1"/>
            </p:cNvSpPr>
            <p:nvPr/>
          </p:nvSpPr>
          <p:spPr bwMode="auto">
            <a:xfrm>
              <a:off x="1773616" y="2940794"/>
              <a:ext cx="210882" cy="176303"/>
            </a:xfrm>
            <a:custGeom>
              <a:avLst/>
              <a:gdLst>
                <a:gd name="T0" fmla="*/ 2147483646 w 28"/>
                <a:gd name="T1" fmla="*/ 2147483646 h 24"/>
                <a:gd name="T2" fmla="*/ 2147483646 w 28"/>
                <a:gd name="T3" fmla="*/ 2147483646 h 24"/>
                <a:gd name="T4" fmla="*/ 2147483646 w 28"/>
                <a:gd name="T5" fmla="*/ 2147483646 h 24"/>
                <a:gd name="T6" fmla="*/ 2147483646 w 28"/>
                <a:gd name="T7" fmla="*/ 2147483646 h 24"/>
                <a:gd name="T8" fmla="*/ 0 w 28"/>
                <a:gd name="T9" fmla="*/ 2147483646 h 24"/>
                <a:gd name="T10" fmla="*/ 2147483646 w 28"/>
                <a:gd name="T11" fmla="*/ 2147483646 h 24"/>
                <a:gd name="T12" fmla="*/ 2147483646 w 28"/>
                <a:gd name="T13" fmla="*/ 2147483646 h 24"/>
                <a:gd name="T14" fmla="*/ 2147483646 w 28"/>
                <a:gd name="T15" fmla="*/ 2147483646 h 24"/>
                <a:gd name="T16" fmla="*/ 2147483646 w 28"/>
                <a:gd name="T17" fmla="*/ 2147483646 h 24"/>
                <a:gd name="T18" fmla="*/ 2147483646 w 28"/>
                <a:gd name="T19" fmla="*/ 2147483646 h 24"/>
                <a:gd name="T20" fmla="*/ 2147483646 w 28"/>
                <a:gd name="T21" fmla="*/ 2147483646 h 24"/>
                <a:gd name="T22" fmla="*/ 2147483646 w 28"/>
                <a:gd name="T23" fmla="*/ 2147483646 h 24"/>
                <a:gd name="T24" fmla="*/ 2147483646 w 28"/>
                <a:gd name="T25" fmla="*/ 2147483646 h 24"/>
                <a:gd name="T26" fmla="*/ 2147483646 w 28"/>
                <a:gd name="T27" fmla="*/ 2147483646 h 24"/>
                <a:gd name="T28" fmla="*/ 2147483646 w 28"/>
                <a:gd name="T29" fmla="*/ 0 h 24"/>
                <a:gd name="T30" fmla="*/ 2147483646 w 28"/>
                <a:gd name="T31" fmla="*/ 2147483646 h 24"/>
                <a:gd name="T32" fmla="*/ 2147483646 w 28"/>
                <a:gd name="T33" fmla="*/ 2147483646 h 24"/>
                <a:gd name="T34" fmla="*/ 2147483646 w 28"/>
                <a:gd name="T35" fmla="*/ 2147483646 h 24"/>
                <a:gd name="T36" fmla="*/ 2147483646 w 28"/>
                <a:gd name="T37" fmla="*/ 2147483646 h 24"/>
                <a:gd name="T38" fmla="*/ 2147483646 w 28"/>
                <a:gd name="T39" fmla="*/ 2147483646 h 24"/>
                <a:gd name="T40" fmla="*/ 2147483646 w 28"/>
                <a:gd name="T41" fmla="*/ 2147483646 h 24"/>
                <a:gd name="T42" fmla="*/ 2147483646 w 28"/>
                <a:gd name="T43" fmla="*/ 2147483646 h 24"/>
                <a:gd name="T44" fmla="*/ 2147483646 w 28"/>
                <a:gd name="T45" fmla="*/ 2147483646 h 24"/>
                <a:gd name="T46" fmla="*/ 2147483646 w 28"/>
                <a:gd name="T47" fmla="*/ 2147483646 h 24"/>
                <a:gd name="T48" fmla="*/ 2147483646 w 28"/>
                <a:gd name="T49" fmla="*/ 2147483646 h 24"/>
                <a:gd name="T50" fmla="*/ 2147483646 w 28"/>
                <a:gd name="T51" fmla="*/ 2147483646 h 24"/>
                <a:gd name="T52" fmla="*/ 2147483646 w 28"/>
                <a:gd name="T53" fmla="*/ 2147483646 h 24"/>
                <a:gd name="T54" fmla="*/ 2147483646 w 28"/>
                <a:gd name="T55" fmla="*/ 2147483646 h 24"/>
                <a:gd name="T56" fmla="*/ 2147483646 w 28"/>
                <a:gd name="T57" fmla="*/ 2147483646 h 24"/>
                <a:gd name="T58" fmla="*/ 2147483646 w 28"/>
                <a:gd name="T59" fmla="*/ 2147483646 h 24"/>
                <a:gd name="T60" fmla="*/ 2147483646 w 28"/>
                <a:gd name="T61" fmla="*/ 2147483646 h 24"/>
                <a:gd name="T62" fmla="*/ 2147483646 w 28"/>
                <a:gd name="T63" fmla="*/ 2147483646 h 24"/>
                <a:gd name="T64" fmla="*/ 2147483646 w 28"/>
                <a:gd name="T65" fmla="*/ 2147483646 h 24"/>
                <a:gd name="T66" fmla="*/ 2147483646 w 28"/>
                <a:gd name="T67" fmla="*/ 2147483646 h 24"/>
                <a:gd name="T68" fmla="*/ 2147483646 w 28"/>
                <a:gd name="T69" fmla="*/ 2147483646 h 24"/>
                <a:gd name="T70" fmla="*/ 2147483646 w 28"/>
                <a:gd name="T71" fmla="*/ 2147483646 h 24"/>
                <a:gd name="T72" fmla="*/ 2147483646 w 28"/>
                <a:gd name="T73" fmla="*/ 2147483646 h 24"/>
                <a:gd name="T74" fmla="*/ 2147483646 w 28"/>
                <a:gd name="T75" fmla="*/ 2147483646 h 24"/>
                <a:gd name="T76" fmla="*/ 2147483646 w 28"/>
                <a:gd name="T77" fmla="*/ 2147483646 h 24"/>
                <a:gd name="T78" fmla="*/ 2147483646 w 28"/>
                <a:gd name="T79" fmla="*/ 2147483646 h 24"/>
                <a:gd name="T80" fmla="*/ 2147483646 w 28"/>
                <a:gd name="T81" fmla="*/ 2147483646 h 24"/>
                <a:gd name="T82" fmla="*/ 2147483646 w 28"/>
                <a:gd name="T83" fmla="*/ 2147483646 h 24"/>
                <a:gd name="T84" fmla="*/ 2147483646 w 28"/>
                <a:gd name="T85" fmla="*/ 2147483646 h 24"/>
                <a:gd name="T86" fmla="*/ 2147483646 w 28"/>
                <a:gd name="T87" fmla="*/ 2147483646 h 24"/>
                <a:gd name="T88" fmla="*/ 2147483646 w 28"/>
                <a:gd name="T89" fmla="*/ 2147483646 h 24"/>
                <a:gd name="T90" fmla="*/ 2147483646 w 28"/>
                <a:gd name="T91" fmla="*/ 2147483646 h 24"/>
                <a:gd name="T92" fmla="*/ 2147483646 w 28"/>
                <a:gd name="T93" fmla="*/ 2147483646 h 2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8" h="24">
                  <a:moveTo>
                    <a:pt x="9" y="24"/>
                  </a:moveTo>
                  <a:cubicBezTo>
                    <a:pt x="8" y="24"/>
                    <a:pt x="7" y="23"/>
                    <a:pt x="7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19"/>
                    <a:pt x="3" y="19"/>
                  </a:cubicBezTo>
                  <a:cubicBezTo>
                    <a:pt x="3" y="19"/>
                    <a:pt x="2" y="19"/>
                    <a:pt x="2" y="19"/>
                  </a:cubicBezTo>
                  <a:cubicBezTo>
                    <a:pt x="2" y="19"/>
                    <a:pt x="1" y="19"/>
                    <a:pt x="1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7"/>
                  </a:cubicBezTo>
                  <a:cubicBezTo>
                    <a:pt x="0" y="16"/>
                    <a:pt x="0" y="15"/>
                    <a:pt x="1" y="13"/>
                  </a:cubicBezTo>
                  <a:cubicBezTo>
                    <a:pt x="1" y="13"/>
                    <a:pt x="1" y="12"/>
                    <a:pt x="2" y="11"/>
                  </a:cubicBezTo>
                  <a:cubicBezTo>
                    <a:pt x="2" y="10"/>
                    <a:pt x="3" y="10"/>
                    <a:pt x="3" y="9"/>
                  </a:cubicBezTo>
                  <a:cubicBezTo>
                    <a:pt x="3" y="9"/>
                    <a:pt x="2" y="8"/>
                    <a:pt x="2" y="7"/>
                  </a:cubicBezTo>
                  <a:cubicBezTo>
                    <a:pt x="2" y="7"/>
                    <a:pt x="2" y="6"/>
                    <a:pt x="2" y="4"/>
                  </a:cubicBezTo>
                  <a:cubicBezTo>
                    <a:pt x="3" y="3"/>
                    <a:pt x="4" y="1"/>
                    <a:pt x="6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2"/>
                    <a:pt x="10" y="3"/>
                    <a:pt x="11" y="3"/>
                  </a:cubicBezTo>
                  <a:cubicBezTo>
                    <a:pt x="12" y="2"/>
                    <a:pt x="13" y="2"/>
                    <a:pt x="14" y="3"/>
                  </a:cubicBezTo>
                  <a:cubicBezTo>
                    <a:pt x="15" y="3"/>
                    <a:pt x="15" y="3"/>
                    <a:pt x="16" y="3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7" y="2"/>
                    <a:pt x="18" y="2"/>
                    <a:pt x="18" y="2"/>
                  </a:cubicBezTo>
                  <a:cubicBezTo>
                    <a:pt x="19" y="2"/>
                    <a:pt x="20" y="2"/>
                    <a:pt x="20" y="2"/>
                  </a:cubicBezTo>
                  <a:cubicBezTo>
                    <a:pt x="20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2"/>
                    <a:pt x="24" y="2"/>
                    <a:pt x="24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6" y="1"/>
                    <a:pt x="26" y="2"/>
                    <a:pt x="26" y="2"/>
                  </a:cubicBezTo>
                  <a:cubicBezTo>
                    <a:pt x="27" y="3"/>
                    <a:pt x="28" y="5"/>
                    <a:pt x="28" y="6"/>
                  </a:cubicBezTo>
                  <a:cubicBezTo>
                    <a:pt x="28" y="7"/>
                    <a:pt x="28" y="7"/>
                    <a:pt x="27" y="7"/>
                  </a:cubicBezTo>
                  <a:cubicBezTo>
                    <a:pt x="26" y="8"/>
                    <a:pt x="26" y="9"/>
                    <a:pt x="26" y="11"/>
                  </a:cubicBezTo>
                  <a:cubicBezTo>
                    <a:pt x="25" y="12"/>
                    <a:pt x="25" y="13"/>
                    <a:pt x="24" y="14"/>
                  </a:cubicBezTo>
                  <a:cubicBezTo>
                    <a:pt x="23" y="15"/>
                    <a:pt x="23" y="16"/>
                    <a:pt x="22" y="17"/>
                  </a:cubicBezTo>
                  <a:cubicBezTo>
                    <a:pt x="22" y="17"/>
                    <a:pt x="22" y="18"/>
                    <a:pt x="22" y="18"/>
                  </a:cubicBezTo>
                  <a:cubicBezTo>
                    <a:pt x="22" y="18"/>
                    <a:pt x="21" y="19"/>
                    <a:pt x="21" y="19"/>
                  </a:cubicBezTo>
                  <a:cubicBezTo>
                    <a:pt x="20" y="19"/>
                    <a:pt x="20" y="19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6" y="18"/>
                    <a:pt x="16" y="19"/>
                    <a:pt x="15" y="22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3" y="24"/>
                    <a:pt x="13" y="24"/>
                    <a:pt x="12" y="24"/>
                  </a:cubicBezTo>
                  <a:cubicBezTo>
                    <a:pt x="12" y="24"/>
                    <a:pt x="11" y="23"/>
                    <a:pt x="11" y="23"/>
                  </a:cubicBezTo>
                  <a:cubicBezTo>
                    <a:pt x="11" y="23"/>
                    <a:pt x="11" y="24"/>
                    <a:pt x="10" y="24"/>
                  </a:cubicBezTo>
                  <a:cubicBezTo>
                    <a:pt x="10" y="24"/>
                    <a:pt x="10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lose/>
                  <a:moveTo>
                    <a:pt x="7" y="20"/>
                  </a:moveTo>
                  <a:cubicBezTo>
                    <a:pt x="7" y="20"/>
                    <a:pt x="7" y="21"/>
                    <a:pt x="8" y="22"/>
                  </a:cubicBezTo>
                  <a:cubicBezTo>
                    <a:pt x="8" y="23"/>
                    <a:pt x="8" y="23"/>
                    <a:pt x="9" y="23"/>
                  </a:cubicBezTo>
                  <a:cubicBezTo>
                    <a:pt x="9" y="23"/>
                    <a:pt x="10" y="23"/>
                    <a:pt x="10" y="23"/>
                  </a:cubicBezTo>
                  <a:cubicBezTo>
                    <a:pt x="10" y="23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19"/>
                    <a:pt x="16" y="16"/>
                    <a:pt x="19" y="17"/>
                  </a:cubicBezTo>
                  <a:cubicBezTo>
                    <a:pt x="20" y="17"/>
                    <a:pt x="20" y="17"/>
                    <a:pt x="20" y="18"/>
                  </a:cubicBezTo>
                  <a:cubicBezTo>
                    <a:pt x="20" y="18"/>
                    <a:pt x="20" y="18"/>
                    <a:pt x="21" y="18"/>
                  </a:cubicBezTo>
                  <a:cubicBezTo>
                    <a:pt x="21" y="18"/>
                    <a:pt x="21" y="18"/>
                    <a:pt x="21" y="17"/>
                  </a:cubicBezTo>
                  <a:cubicBezTo>
                    <a:pt x="21" y="17"/>
                    <a:pt x="21" y="17"/>
                    <a:pt x="21" y="16"/>
                  </a:cubicBezTo>
                  <a:cubicBezTo>
                    <a:pt x="22" y="15"/>
                    <a:pt x="22" y="14"/>
                    <a:pt x="23" y="13"/>
                  </a:cubicBezTo>
                  <a:cubicBezTo>
                    <a:pt x="24" y="12"/>
                    <a:pt x="24" y="11"/>
                    <a:pt x="24" y="10"/>
                  </a:cubicBezTo>
                  <a:cubicBezTo>
                    <a:pt x="25" y="9"/>
                    <a:pt x="25" y="8"/>
                    <a:pt x="27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5"/>
                    <a:pt x="26" y="4"/>
                    <a:pt x="25" y="3"/>
                  </a:cubicBezTo>
                  <a:cubicBezTo>
                    <a:pt x="25" y="3"/>
                    <a:pt x="25" y="2"/>
                    <a:pt x="25" y="2"/>
                  </a:cubicBezTo>
                  <a:cubicBezTo>
                    <a:pt x="24" y="3"/>
                    <a:pt x="23" y="3"/>
                    <a:pt x="22" y="3"/>
                  </a:cubicBezTo>
                  <a:cubicBezTo>
                    <a:pt x="22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0" y="3"/>
                    <a:pt x="20" y="3"/>
                  </a:cubicBezTo>
                  <a:cubicBezTo>
                    <a:pt x="20" y="3"/>
                    <a:pt x="20" y="3"/>
                    <a:pt x="19" y="3"/>
                  </a:cubicBezTo>
                  <a:cubicBezTo>
                    <a:pt x="19" y="3"/>
                    <a:pt x="19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4"/>
                    <a:pt x="16" y="5"/>
                    <a:pt x="16" y="4"/>
                  </a:cubicBezTo>
                  <a:cubicBezTo>
                    <a:pt x="15" y="4"/>
                    <a:pt x="14" y="4"/>
                    <a:pt x="14" y="4"/>
                  </a:cubicBezTo>
                  <a:cubicBezTo>
                    <a:pt x="13" y="3"/>
                    <a:pt x="12" y="3"/>
                    <a:pt x="11" y="4"/>
                  </a:cubicBezTo>
                  <a:cubicBezTo>
                    <a:pt x="10" y="4"/>
                    <a:pt x="10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4" y="4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10"/>
                    <a:pt x="3" y="11"/>
                    <a:pt x="3" y="12"/>
                  </a:cubicBezTo>
                  <a:cubicBezTo>
                    <a:pt x="2" y="12"/>
                    <a:pt x="2" y="13"/>
                    <a:pt x="2" y="14"/>
                  </a:cubicBezTo>
                  <a:cubicBezTo>
                    <a:pt x="1" y="15"/>
                    <a:pt x="1" y="16"/>
                    <a:pt x="2" y="17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3" y="18"/>
                    <a:pt x="3" y="18"/>
                  </a:cubicBezTo>
                  <a:cubicBezTo>
                    <a:pt x="4" y="18"/>
                    <a:pt x="6" y="18"/>
                    <a:pt x="7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3" name="Freeform 287"/>
            <p:cNvSpPr/>
            <p:nvPr/>
          </p:nvSpPr>
          <p:spPr bwMode="auto">
            <a:xfrm>
              <a:off x="1446277" y="2969129"/>
              <a:ext cx="59802" cy="31483"/>
            </a:xfrm>
            <a:custGeom>
              <a:avLst/>
              <a:gdLst>
                <a:gd name="T0" fmla="*/ 2147483646 w 8"/>
                <a:gd name="T1" fmla="*/ 2147483646 h 4"/>
                <a:gd name="T2" fmla="*/ 2147483646 w 8"/>
                <a:gd name="T3" fmla="*/ 2147483646 h 4"/>
                <a:gd name="T4" fmla="*/ 0 w 8"/>
                <a:gd name="T5" fmla="*/ 2147483646 h 4"/>
                <a:gd name="T6" fmla="*/ 2147483646 w 8"/>
                <a:gd name="T7" fmla="*/ 0 h 4"/>
                <a:gd name="T8" fmla="*/ 2147483646 w 8"/>
                <a:gd name="T9" fmla="*/ 2147483646 h 4"/>
                <a:gd name="T10" fmla="*/ 2147483646 w 8"/>
                <a:gd name="T11" fmla="*/ 2147483646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cubicBezTo>
                    <a:pt x="2" y="3"/>
                    <a:pt x="3" y="2"/>
                    <a:pt x="4" y="2"/>
                  </a:cubicBezTo>
                  <a:cubicBezTo>
                    <a:pt x="2" y="2"/>
                    <a:pt x="2" y="2"/>
                    <a:pt x="0" y="1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8" y="0"/>
                    <a:pt x="6" y="0"/>
                    <a:pt x="7" y="2"/>
                  </a:cubicBezTo>
                  <a:cubicBezTo>
                    <a:pt x="5" y="2"/>
                    <a:pt x="4" y="3"/>
                    <a:pt x="4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4" name="Freeform 288"/>
            <p:cNvSpPr>
              <a:spLocks noEditPoints="1"/>
            </p:cNvSpPr>
            <p:nvPr/>
          </p:nvSpPr>
          <p:spPr bwMode="auto">
            <a:xfrm>
              <a:off x="1433687" y="2962832"/>
              <a:ext cx="72392" cy="44076"/>
            </a:xfrm>
            <a:custGeom>
              <a:avLst/>
              <a:gdLst>
                <a:gd name="T0" fmla="*/ 2147483646 w 10"/>
                <a:gd name="T1" fmla="*/ 2147483646 h 6"/>
                <a:gd name="T2" fmla="*/ 2147483646 w 10"/>
                <a:gd name="T3" fmla="*/ 2147483646 h 6"/>
                <a:gd name="T4" fmla="*/ 2147483646 w 10"/>
                <a:gd name="T5" fmla="*/ 2147483646 h 6"/>
                <a:gd name="T6" fmla="*/ 2147483646 w 10"/>
                <a:gd name="T7" fmla="*/ 2147483646 h 6"/>
                <a:gd name="T8" fmla="*/ 0 w 10"/>
                <a:gd name="T9" fmla="*/ 2147483646 h 6"/>
                <a:gd name="T10" fmla="*/ 2147483646 w 10"/>
                <a:gd name="T11" fmla="*/ 2147483646 h 6"/>
                <a:gd name="T12" fmla="*/ 2147483646 w 10"/>
                <a:gd name="T13" fmla="*/ 2147483646 h 6"/>
                <a:gd name="T14" fmla="*/ 2147483646 w 10"/>
                <a:gd name="T15" fmla="*/ 0 h 6"/>
                <a:gd name="T16" fmla="*/ 2147483646 w 10"/>
                <a:gd name="T17" fmla="*/ 2147483646 h 6"/>
                <a:gd name="T18" fmla="*/ 2147483646 w 10"/>
                <a:gd name="T19" fmla="*/ 2147483646 h 6"/>
                <a:gd name="T20" fmla="*/ 2147483646 w 10"/>
                <a:gd name="T21" fmla="*/ 2147483646 h 6"/>
                <a:gd name="T22" fmla="*/ 2147483646 w 10"/>
                <a:gd name="T23" fmla="*/ 2147483646 h 6"/>
                <a:gd name="T24" fmla="*/ 2147483646 w 10"/>
                <a:gd name="T25" fmla="*/ 2147483646 h 6"/>
                <a:gd name="T26" fmla="*/ 2147483646 w 10"/>
                <a:gd name="T27" fmla="*/ 2147483646 h 6"/>
                <a:gd name="T28" fmla="*/ 2147483646 w 10"/>
                <a:gd name="T29" fmla="*/ 2147483646 h 6"/>
                <a:gd name="T30" fmla="*/ 2147483646 w 10"/>
                <a:gd name="T31" fmla="*/ 2147483646 h 6"/>
                <a:gd name="T32" fmla="*/ 2147483646 w 10"/>
                <a:gd name="T33" fmla="*/ 2147483646 h 6"/>
                <a:gd name="T34" fmla="*/ 2147483646 w 10"/>
                <a:gd name="T35" fmla="*/ 2147483646 h 6"/>
                <a:gd name="T36" fmla="*/ 2147483646 w 10"/>
                <a:gd name="T37" fmla="*/ 2147483646 h 6"/>
                <a:gd name="T38" fmla="*/ 2147483646 w 10"/>
                <a:gd name="T39" fmla="*/ 2147483646 h 6"/>
                <a:gd name="T40" fmla="*/ 2147483646 w 10"/>
                <a:gd name="T41" fmla="*/ 2147483646 h 6"/>
                <a:gd name="T42" fmla="*/ 2147483646 w 10"/>
                <a:gd name="T43" fmla="*/ 2147483646 h 6"/>
                <a:gd name="T44" fmla="*/ 2147483646 w 10"/>
                <a:gd name="T45" fmla="*/ 2147483646 h 6"/>
                <a:gd name="T46" fmla="*/ 2147483646 w 10"/>
                <a:gd name="T47" fmla="*/ 2147483646 h 6"/>
                <a:gd name="T48" fmla="*/ 2147483646 w 10"/>
                <a:gd name="T49" fmla="*/ 2147483646 h 6"/>
                <a:gd name="T50" fmla="*/ 2147483646 w 10"/>
                <a:gd name="T51" fmla="*/ 2147483646 h 6"/>
                <a:gd name="T52" fmla="*/ 2147483646 w 10"/>
                <a:gd name="T53" fmla="*/ 2147483646 h 6"/>
                <a:gd name="T54" fmla="*/ 2147483646 w 10"/>
                <a:gd name="T55" fmla="*/ 2147483646 h 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0" h="6">
                  <a:moveTo>
                    <a:pt x="6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4" y="4"/>
                    <a:pt x="4" y="4"/>
                  </a:cubicBezTo>
                  <a:cubicBezTo>
                    <a:pt x="3" y="4"/>
                    <a:pt x="3" y="3"/>
                    <a:pt x="2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8" y="0"/>
                    <a:pt x="9" y="0"/>
                    <a:pt x="9" y="1"/>
                  </a:cubicBezTo>
                  <a:cubicBezTo>
                    <a:pt x="9" y="1"/>
                    <a:pt x="9" y="1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4"/>
                    <a:pt x="7" y="4"/>
                    <a:pt x="6" y="5"/>
                  </a:cubicBezTo>
                  <a:lnTo>
                    <a:pt x="6" y="6"/>
                  </a:lnTo>
                  <a:close/>
                  <a:moveTo>
                    <a:pt x="6" y="2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3"/>
                    <a:pt x="7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6" y="2"/>
                  </a:cubicBezTo>
                  <a:cubicBezTo>
                    <a:pt x="6" y="2"/>
                    <a:pt x="5" y="2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4" y="3"/>
                    <a:pt x="4" y="3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5" name="Freeform 289"/>
            <p:cNvSpPr/>
            <p:nvPr/>
          </p:nvSpPr>
          <p:spPr bwMode="auto">
            <a:xfrm>
              <a:off x="2226855" y="3208396"/>
              <a:ext cx="47212" cy="37780"/>
            </a:xfrm>
            <a:custGeom>
              <a:avLst/>
              <a:gdLst>
                <a:gd name="T0" fmla="*/ 2147483646 w 6"/>
                <a:gd name="T1" fmla="*/ 0 h 5"/>
                <a:gd name="T2" fmla="*/ 2147483646 w 6"/>
                <a:gd name="T3" fmla="*/ 0 h 5"/>
                <a:gd name="T4" fmla="*/ 2147483646 w 6"/>
                <a:gd name="T5" fmla="*/ 2147483646 h 5"/>
                <a:gd name="T6" fmla="*/ 2147483646 w 6"/>
                <a:gd name="T7" fmla="*/ 2147483646 h 5"/>
                <a:gd name="T8" fmla="*/ 2147483646 w 6"/>
                <a:gd name="T9" fmla="*/ 2147483646 h 5"/>
                <a:gd name="T10" fmla="*/ 2147483646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" h="5">
                  <a:moveTo>
                    <a:pt x="2" y="0"/>
                  </a:moveTo>
                  <a:cubicBezTo>
                    <a:pt x="3" y="0"/>
                    <a:pt x="4" y="1"/>
                    <a:pt x="4" y="0"/>
                  </a:cubicBezTo>
                  <a:cubicBezTo>
                    <a:pt x="4" y="0"/>
                    <a:pt x="6" y="3"/>
                    <a:pt x="4" y="3"/>
                  </a:cubicBezTo>
                  <a:cubicBezTo>
                    <a:pt x="3" y="3"/>
                    <a:pt x="2" y="5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0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6" name="Freeform 290"/>
            <p:cNvSpPr>
              <a:spLocks noEditPoints="1"/>
            </p:cNvSpPr>
            <p:nvPr/>
          </p:nvSpPr>
          <p:spPr bwMode="auto">
            <a:xfrm>
              <a:off x="2226855" y="3198952"/>
              <a:ext cx="47212" cy="47224"/>
            </a:xfrm>
            <a:custGeom>
              <a:avLst/>
              <a:gdLst>
                <a:gd name="T0" fmla="*/ 2147483646 w 6"/>
                <a:gd name="T1" fmla="*/ 2147483646 h 6"/>
                <a:gd name="T2" fmla="*/ 2147483646 w 6"/>
                <a:gd name="T3" fmla="*/ 2147483646 h 6"/>
                <a:gd name="T4" fmla="*/ 2147483646 w 6"/>
                <a:gd name="T5" fmla="*/ 2147483646 h 6"/>
                <a:gd name="T6" fmla="*/ 2147483646 w 6"/>
                <a:gd name="T7" fmla="*/ 2147483646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2147483646 h 6"/>
                <a:gd name="T14" fmla="*/ 2147483646 w 6"/>
                <a:gd name="T15" fmla="*/ 0 h 6"/>
                <a:gd name="T16" fmla="*/ 2147483646 w 6"/>
                <a:gd name="T17" fmla="*/ 0 h 6"/>
                <a:gd name="T18" fmla="*/ 2147483646 w 6"/>
                <a:gd name="T19" fmla="*/ 2147483646 h 6"/>
                <a:gd name="T20" fmla="*/ 2147483646 w 6"/>
                <a:gd name="T21" fmla="*/ 2147483646 h 6"/>
                <a:gd name="T22" fmla="*/ 2147483646 w 6"/>
                <a:gd name="T23" fmla="*/ 2147483646 h 6"/>
                <a:gd name="T24" fmla="*/ 2147483646 w 6"/>
                <a:gd name="T25" fmla="*/ 2147483646 h 6"/>
                <a:gd name="T26" fmla="*/ 2147483646 w 6"/>
                <a:gd name="T27" fmla="*/ 2147483646 h 6"/>
                <a:gd name="T28" fmla="*/ 2147483646 w 6"/>
                <a:gd name="T29" fmla="*/ 2147483646 h 6"/>
                <a:gd name="T30" fmla="*/ 2147483646 w 6"/>
                <a:gd name="T31" fmla="*/ 2147483646 h 6"/>
                <a:gd name="T32" fmla="*/ 2147483646 w 6"/>
                <a:gd name="T33" fmla="*/ 2147483646 h 6"/>
                <a:gd name="T34" fmla="*/ 2147483646 w 6"/>
                <a:gd name="T35" fmla="*/ 2147483646 h 6"/>
                <a:gd name="T36" fmla="*/ 2147483646 w 6"/>
                <a:gd name="T37" fmla="*/ 2147483646 h 6"/>
                <a:gd name="T38" fmla="*/ 2147483646 w 6"/>
                <a:gd name="T39" fmla="*/ 2147483646 h 6"/>
                <a:gd name="T40" fmla="*/ 2147483646 w 6"/>
                <a:gd name="T41" fmla="*/ 2147483646 h 6"/>
                <a:gd name="T42" fmla="*/ 2147483646 w 6"/>
                <a:gd name="T43" fmla="*/ 2147483646 h 6"/>
                <a:gd name="T44" fmla="*/ 2147483646 w 6"/>
                <a:gd name="T45" fmla="*/ 2147483646 h 6"/>
                <a:gd name="T46" fmla="*/ 2147483646 w 6"/>
                <a:gd name="T47" fmla="*/ 2147483646 h 6"/>
                <a:gd name="T48" fmla="*/ 2147483646 w 6"/>
                <a:gd name="T49" fmla="*/ 2147483646 h 6"/>
                <a:gd name="T50" fmla="*/ 2147483646 w 6"/>
                <a:gd name="T51" fmla="*/ 2147483646 h 6"/>
                <a:gd name="T52" fmla="*/ 2147483646 w 6"/>
                <a:gd name="T53" fmla="*/ 2147483646 h 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" h="6">
                  <a:moveTo>
                    <a:pt x="1" y="6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6" y="3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4"/>
                    <a:pt x="4" y="5"/>
                    <a:pt x="3" y="5"/>
                  </a:cubicBezTo>
                  <a:cubicBezTo>
                    <a:pt x="3" y="5"/>
                    <a:pt x="3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lnTo>
                    <a:pt x="1" y="6"/>
                  </a:lnTo>
                  <a:close/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4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3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7" name="Freeform 291"/>
            <p:cNvSpPr/>
            <p:nvPr/>
          </p:nvSpPr>
          <p:spPr bwMode="auto">
            <a:xfrm>
              <a:off x="1842861" y="3176913"/>
              <a:ext cx="6295" cy="9445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8" name="Freeform 292"/>
            <p:cNvSpPr/>
            <p:nvPr/>
          </p:nvSpPr>
          <p:spPr bwMode="auto">
            <a:xfrm>
              <a:off x="1842861" y="3176913"/>
              <a:ext cx="12590" cy="15741"/>
            </a:xfrm>
            <a:custGeom>
              <a:avLst/>
              <a:gdLst>
                <a:gd name="T0" fmla="*/ 0 w 2"/>
                <a:gd name="T1" fmla="*/ 2147483646 h 2"/>
                <a:gd name="T2" fmla="*/ 0 w 2"/>
                <a:gd name="T3" fmla="*/ 2147483646 h 2"/>
                <a:gd name="T4" fmla="*/ 0 w 2"/>
                <a:gd name="T5" fmla="*/ 0 h 2"/>
                <a:gd name="T6" fmla="*/ 2147483646 w 2"/>
                <a:gd name="T7" fmla="*/ 0 h 2"/>
                <a:gd name="T8" fmla="*/ 2147483646 w 2"/>
                <a:gd name="T9" fmla="*/ 0 h 2"/>
                <a:gd name="T10" fmla="*/ 2147483646 w 2"/>
                <a:gd name="T11" fmla="*/ 2147483646 h 2"/>
                <a:gd name="T12" fmla="*/ 2147483646 w 2"/>
                <a:gd name="T13" fmla="*/ 2147483646 h 2"/>
                <a:gd name="T14" fmla="*/ 0 w 2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9" name="Freeform 293"/>
            <p:cNvSpPr/>
            <p:nvPr/>
          </p:nvSpPr>
          <p:spPr bwMode="auto">
            <a:xfrm>
              <a:off x="1433687" y="2896719"/>
              <a:ext cx="110162" cy="88151"/>
            </a:xfrm>
            <a:custGeom>
              <a:avLst/>
              <a:gdLst>
                <a:gd name="T0" fmla="*/ 2147483646 w 15"/>
                <a:gd name="T1" fmla="*/ 2147483646 h 12"/>
                <a:gd name="T2" fmla="*/ 2147483646 w 15"/>
                <a:gd name="T3" fmla="*/ 2147483646 h 12"/>
                <a:gd name="T4" fmla="*/ 2147483646 w 15"/>
                <a:gd name="T5" fmla="*/ 2147483646 h 12"/>
                <a:gd name="T6" fmla="*/ 2147483646 w 15"/>
                <a:gd name="T7" fmla="*/ 2147483646 h 12"/>
                <a:gd name="T8" fmla="*/ 2147483646 w 15"/>
                <a:gd name="T9" fmla="*/ 2147483646 h 12"/>
                <a:gd name="T10" fmla="*/ 2147483646 w 15"/>
                <a:gd name="T11" fmla="*/ 2147483646 h 12"/>
                <a:gd name="T12" fmla="*/ 2147483646 w 15"/>
                <a:gd name="T13" fmla="*/ 2147483646 h 12"/>
                <a:gd name="T14" fmla="*/ 2147483646 w 15"/>
                <a:gd name="T15" fmla="*/ 2147483646 h 12"/>
                <a:gd name="T16" fmla="*/ 0 w 15"/>
                <a:gd name="T17" fmla="*/ 2147483646 h 12"/>
                <a:gd name="T18" fmla="*/ 2147483646 w 15"/>
                <a:gd name="T19" fmla="*/ 2147483646 h 12"/>
                <a:gd name="T20" fmla="*/ 2147483646 w 15"/>
                <a:gd name="T21" fmla="*/ 2147483646 h 12"/>
                <a:gd name="T22" fmla="*/ 2147483646 w 15"/>
                <a:gd name="T23" fmla="*/ 2147483646 h 12"/>
                <a:gd name="T24" fmla="*/ 2147483646 w 15"/>
                <a:gd name="T25" fmla="*/ 2147483646 h 12"/>
                <a:gd name="T26" fmla="*/ 2147483646 w 15"/>
                <a:gd name="T27" fmla="*/ 2147483646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" h="12">
                  <a:moveTo>
                    <a:pt x="2" y="9"/>
                  </a:moveTo>
                  <a:cubicBezTo>
                    <a:pt x="1" y="12"/>
                    <a:pt x="6" y="10"/>
                    <a:pt x="7" y="10"/>
                  </a:cubicBezTo>
                  <a:cubicBezTo>
                    <a:pt x="10" y="10"/>
                    <a:pt x="12" y="11"/>
                    <a:pt x="14" y="11"/>
                  </a:cubicBezTo>
                  <a:cubicBezTo>
                    <a:pt x="15" y="10"/>
                    <a:pt x="14" y="9"/>
                    <a:pt x="14" y="8"/>
                  </a:cubicBezTo>
                  <a:cubicBezTo>
                    <a:pt x="13" y="7"/>
                    <a:pt x="13" y="7"/>
                    <a:pt x="13" y="6"/>
                  </a:cubicBezTo>
                  <a:cubicBezTo>
                    <a:pt x="13" y="5"/>
                    <a:pt x="10" y="2"/>
                    <a:pt x="9" y="2"/>
                  </a:cubicBezTo>
                  <a:cubicBezTo>
                    <a:pt x="8" y="2"/>
                    <a:pt x="8" y="0"/>
                    <a:pt x="7" y="1"/>
                  </a:cubicBezTo>
                  <a:cubicBezTo>
                    <a:pt x="6" y="1"/>
                    <a:pt x="4" y="1"/>
                    <a:pt x="3" y="1"/>
                  </a:cubicBezTo>
                  <a:cubicBezTo>
                    <a:pt x="2" y="1"/>
                    <a:pt x="2" y="4"/>
                    <a:pt x="0" y="5"/>
                  </a:cubicBezTo>
                  <a:cubicBezTo>
                    <a:pt x="2" y="6"/>
                    <a:pt x="1" y="8"/>
                    <a:pt x="4" y="8"/>
                  </a:cubicBezTo>
                  <a:cubicBezTo>
                    <a:pt x="5" y="8"/>
                    <a:pt x="5" y="7"/>
                    <a:pt x="6" y="7"/>
                  </a:cubicBezTo>
                  <a:cubicBezTo>
                    <a:pt x="7" y="8"/>
                    <a:pt x="8" y="8"/>
                    <a:pt x="9" y="8"/>
                  </a:cubicBezTo>
                  <a:cubicBezTo>
                    <a:pt x="8" y="10"/>
                    <a:pt x="7" y="8"/>
                    <a:pt x="6" y="8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0" name="Freeform 294"/>
            <p:cNvSpPr>
              <a:spLocks noEditPoints="1"/>
            </p:cNvSpPr>
            <p:nvPr/>
          </p:nvSpPr>
          <p:spPr bwMode="auto">
            <a:xfrm>
              <a:off x="1417950" y="2896719"/>
              <a:ext cx="125900" cy="81855"/>
            </a:xfrm>
            <a:custGeom>
              <a:avLst/>
              <a:gdLst>
                <a:gd name="T0" fmla="*/ 2147483646 w 17"/>
                <a:gd name="T1" fmla="*/ 2147483646 h 11"/>
                <a:gd name="T2" fmla="*/ 2147483646 w 17"/>
                <a:gd name="T3" fmla="*/ 2147483646 h 11"/>
                <a:gd name="T4" fmla="*/ 2147483646 w 17"/>
                <a:gd name="T5" fmla="*/ 2147483646 h 11"/>
                <a:gd name="T6" fmla="*/ 2147483646 w 17"/>
                <a:gd name="T7" fmla="*/ 2147483646 h 11"/>
                <a:gd name="T8" fmla="*/ 2147483646 w 17"/>
                <a:gd name="T9" fmla="*/ 2147483646 h 11"/>
                <a:gd name="T10" fmla="*/ 2147483646 w 17"/>
                <a:gd name="T11" fmla="*/ 2147483646 h 11"/>
                <a:gd name="T12" fmla="*/ 2147483646 w 17"/>
                <a:gd name="T13" fmla="*/ 2147483646 h 11"/>
                <a:gd name="T14" fmla="*/ 2147483646 w 17"/>
                <a:gd name="T15" fmla="*/ 2147483646 h 11"/>
                <a:gd name="T16" fmla="*/ 2147483646 w 17"/>
                <a:gd name="T17" fmla="*/ 2147483646 h 11"/>
                <a:gd name="T18" fmla="*/ 0 w 17"/>
                <a:gd name="T19" fmla="*/ 2147483646 h 11"/>
                <a:gd name="T20" fmla="*/ 2147483646 w 17"/>
                <a:gd name="T21" fmla="*/ 2147483646 h 11"/>
                <a:gd name="T22" fmla="*/ 2147483646 w 17"/>
                <a:gd name="T23" fmla="*/ 2147483646 h 11"/>
                <a:gd name="T24" fmla="*/ 2147483646 w 17"/>
                <a:gd name="T25" fmla="*/ 0 h 11"/>
                <a:gd name="T26" fmla="*/ 2147483646 w 17"/>
                <a:gd name="T27" fmla="*/ 0 h 11"/>
                <a:gd name="T28" fmla="*/ 2147483646 w 17"/>
                <a:gd name="T29" fmla="*/ 0 h 11"/>
                <a:gd name="T30" fmla="*/ 2147483646 w 17"/>
                <a:gd name="T31" fmla="*/ 2147483646 h 11"/>
                <a:gd name="T32" fmla="*/ 2147483646 w 17"/>
                <a:gd name="T33" fmla="*/ 2147483646 h 11"/>
                <a:gd name="T34" fmla="*/ 2147483646 w 17"/>
                <a:gd name="T35" fmla="*/ 2147483646 h 11"/>
                <a:gd name="T36" fmla="*/ 2147483646 w 17"/>
                <a:gd name="T37" fmla="*/ 2147483646 h 11"/>
                <a:gd name="T38" fmla="*/ 2147483646 w 17"/>
                <a:gd name="T39" fmla="*/ 2147483646 h 11"/>
                <a:gd name="T40" fmla="*/ 2147483646 w 17"/>
                <a:gd name="T41" fmla="*/ 2147483646 h 11"/>
                <a:gd name="T42" fmla="*/ 2147483646 w 17"/>
                <a:gd name="T43" fmla="*/ 2147483646 h 11"/>
                <a:gd name="T44" fmla="*/ 2147483646 w 17"/>
                <a:gd name="T45" fmla="*/ 2147483646 h 11"/>
                <a:gd name="T46" fmla="*/ 2147483646 w 17"/>
                <a:gd name="T47" fmla="*/ 2147483646 h 11"/>
                <a:gd name="T48" fmla="*/ 2147483646 w 17"/>
                <a:gd name="T49" fmla="*/ 2147483646 h 11"/>
                <a:gd name="T50" fmla="*/ 2147483646 w 17"/>
                <a:gd name="T51" fmla="*/ 2147483646 h 11"/>
                <a:gd name="T52" fmla="*/ 2147483646 w 17"/>
                <a:gd name="T53" fmla="*/ 2147483646 h 11"/>
                <a:gd name="T54" fmla="*/ 2147483646 w 17"/>
                <a:gd name="T55" fmla="*/ 2147483646 h 11"/>
                <a:gd name="T56" fmla="*/ 2147483646 w 17"/>
                <a:gd name="T57" fmla="*/ 2147483646 h 11"/>
                <a:gd name="T58" fmla="*/ 2147483646 w 17"/>
                <a:gd name="T59" fmla="*/ 2147483646 h 11"/>
                <a:gd name="T60" fmla="*/ 2147483646 w 17"/>
                <a:gd name="T61" fmla="*/ 2147483646 h 11"/>
                <a:gd name="T62" fmla="*/ 2147483646 w 17"/>
                <a:gd name="T63" fmla="*/ 2147483646 h 11"/>
                <a:gd name="T64" fmla="*/ 2147483646 w 17"/>
                <a:gd name="T65" fmla="*/ 2147483646 h 11"/>
                <a:gd name="T66" fmla="*/ 2147483646 w 17"/>
                <a:gd name="T67" fmla="*/ 2147483646 h 11"/>
                <a:gd name="T68" fmla="*/ 2147483646 w 17"/>
                <a:gd name="T69" fmla="*/ 2147483646 h 11"/>
                <a:gd name="T70" fmla="*/ 2147483646 w 17"/>
                <a:gd name="T71" fmla="*/ 2147483646 h 11"/>
                <a:gd name="T72" fmla="*/ 2147483646 w 17"/>
                <a:gd name="T73" fmla="*/ 2147483646 h 11"/>
                <a:gd name="T74" fmla="*/ 2147483646 w 17"/>
                <a:gd name="T75" fmla="*/ 2147483646 h 11"/>
                <a:gd name="T76" fmla="*/ 2147483646 w 17"/>
                <a:gd name="T77" fmla="*/ 2147483646 h 11"/>
                <a:gd name="T78" fmla="*/ 2147483646 w 17"/>
                <a:gd name="T79" fmla="*/ 2147483646 h 11"/>
                <a:gd name="T80" fmla="*/ 2147483646 w 17"/>
                <a:gd name="T81" fmla="*/ 2147483646 h 11"/>
                <a:gd name="T82" fmla="*/ 2147483646 w 17"/>
                <a:gd name="T83" fmla="*/ 2147483646 h 11"/>
                <a:gd name="T84" fmla="*/ 2147483646 w 17"/>
                <a:gd name="T85" fmla="*/ 2147483646 h 11"/>
                <a:gd name="T86" fmla="*/ 2147483646 w 17"/>
                <a:gd name="T87" fmla="*/ 2147483646 h 11"/>
                <a:gd name="T88" fmla="*/ 2147483646 w 17"/>
                <a:gd name="T89" fmla="*/ 2147483646 h 11"/>
                <a:gd name="T90" fmla="*/ 2147483646 w 17"/>
                <a:gd name="T91" fmla="*/ 2147483646 h 11"/>
                <a:gd name="T92" fmla="*/ 2147483646 w 17"/>
                <a:gd name="T93" fmla="*/ 2147483646 h 11"/>
                <a:gd name="T94" fmla="*/ 2147483646 w 17"/>
                <a:gd name="T95" fmla="*/ 2147483646 h 11"/>
                <a:gd name="T96" fmla="*/ 2147483646 w 17"/>
                <a:gd name="T97" fmla="*/ 2147483646 h 11"/>
                <a:gd name="T98" fmla="*/ 2147483646 w 17"/>
                <a:gd name="T99" fmla="*/ 2147483646 h 11"/>
                <a:gd name="T100" fmla="*/ 2147483646 w 17"/>
                <a:gd name="T101" fmla="*/ 2147483646 h 11"/>
                <a:gd name="T102" fmla="*/ 2147483646 w 17"/>
                <a:gd name="T103" fmla="*/ 2147483646 h 11"/>
                <a:gd name="T104" fmla="*/ 2147483646 w 17"/>
                <a:gd name="T105" fmla="*/ 2147483646 h 11"/>
                <a:gd name="T106" fmla="*/ 2147483646 w 17"/>
                <a:gd name="T107" fmla="*/ 2147483646 h 11"/>
                <a:gd name="T108" fmla="*/ 2147483646 w 17"/>
                <a:gd name="T109" fmla="*/ 2147483646 h 11"/>
                <a:gd name="T110" fmla="*/ 2147483646 w 17"/>
                <a:gd name="T111" fmla="*/ 2147483646 h 11"/>
                <a:gd name="T112" fmla="*/ 2147483646 w 17"/>
                <a:gd name="T113" fmla="*/ 2147483646 h 11"/>
                <a:gd name="T114" fmla="*/ 2147483646 w 17"/>
                <a:gd name="T115" fmla="*/ 2147483646 h 11"/>
                <a:gd name="T116" fmla="*/ 2147483646 w 17"/>
                <a:gd name="T117" fmla="*/ 2147483646 h 11"/>
                <a:gd name="T118" fmla="*/ 2147483646 w 17"/>
                <a:gd name="T119" fmla="*/ 2147483646 h 1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7" h="11">
                  <a:moveTo>
                    <a:pt x="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3" y="10"/>
                    <a:pt x="3" y="10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5" y="8"/>
                  </a:cubicBezTo>
                  <a:cubicBezTo>
                    <a:pt x="4" y="8"/>
                    <a:pt x="3" y="7"/>
                    <a:pt x="3" y="7"/>
                  </a:cubicBezTo>
                  <a:cubicBezTo>
                    <a:pt x="3" y="6"/>
                    <a:pt x="2" y="6"/>
                    <a:pt x="2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3"/>
                    <a:pt x="3" y="2"/>
                  </a:cubicBezTo>
                  <a:cubicBezTo>
                    <a:pt x="4" y="1"/>
                    <a:pt x="4" y="0"/>
                    <a:pt x="5" y="0"/>
                  </a:cubicBezTo>
                  <a:cubicBezTo>
                    <a:pt x="6" y="0"/>
                    <a:pt x="8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5" y="5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8"/>
                    <a:pt x="16" y="8"/>
                  </a:cubicBezTo>
                  <a:cubicBezTo>
                    <a:pt x="17" y="9"/>
                    <a:pt x="17" y="9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5" y="11"/>
                    <a:pt x="14" y="11"/>
                    <a:pt x="13" y="11"/>
                  </a:cubicBezTo>
                  <a:cubicBezTo>
                    <a:pt x="12" y="11"/>
                    <a:pt x="11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8" y="11"/>
                    <a:pt x="8" y="11"/>
                  </a:cubicBezTo>
                  <a:cubicBezTo>
                    <a:pt x="7" y="11"/>
                    <a:pt x="6" y="11"/>
                    <a:pt x="5" y="11"/>
                  </a:cubicBezTo>
                  <a:close/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8" y="10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9"/>
                    <a:pt x="12" y="10"/>
                    <a:pt x="13" y="10"/>
                  </a:cubicBezTo>
                  <a:cubicBezTo>
                    <a:pt x="14" y="10"/>
                    <a:pt x="15" y="10"/>
                    <a:pt x="16" y="10"/>
                  </a:cubicBezTo>
                  <a:cubicBezTo>
                    <a:pt x="16" y="10"/>
                    <a:pt x="16" y="9"/>
                    <a:pt x="15" y="9"/>
                  </a:cubicBezTo>
                  <a:cubicBezTo>
                    <a:pt x="14" y="8"/>
                    <a:pt x="14" y="8"/>
                    <a:pt x="14" y="7"/>
                  </a:cubicBezTo>
                  <a:cubicBezTo>
                    <a:pt x="14" y="7"/>
                    <a:pt x="14" y="6"/>
                    <a:pt x="14" y="6"/>
                  </a:cubicBezTo>
                  <a:cubicBezTo>
                    <a:pt x="14" y="6"/>
                    <a:pt x="12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6" y="1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4" y="3"/>
                    <a:pt x="4" y="4"/>
                    <a:pt x="3" y="5"/>
                  </a:cubicBezTo>
                  <a:cubicBezTo>
                    <a:pt x="3" y="5"/>
                    <a:pt x="4" y="6"/>
                    <a:pt x="4" y="6"/>
                  </a:cubicBezTo>
                  <a:cubicBezTo>
                    <a:pt x="4" y="7"/>
                    <a:pt x="5" y="7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10" y="8"/>
                    <a:pt x="10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8"/>
                    <a:pt x="8" y="8"/>
                  </a:cubicBezTo>
                  <a:cubicBezTo>
                    <a:pt x="7" y="8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1" name="Freeform 295"/>
            <p:cNvSpPr/>
            <p:nvPr/>
          </p:nvSpPr>
          <p:spPr bwMode="auto">
            <a:xfrm>
              <a:off x="1506080" y="3013204"/>
              <a:ext cx="53507" cy="59817"/>
            </a:xfrm>
            <a:custGeom>
              <a:avLst/>
              <a:gdLst>
                <a:gd name="T0" fmla="*/ 0 w 7"/>
                <a:gd name="T1" fmla="*/ 2147483646 h 8"/>
                <a:gd name="T2" fmla="*/ 2147483646 w 7"/>
                <a:gd name="T3" fmla="*/ 2147483646 h 8"/>
                <a:gd name="T4" fmla="*/ 2147483646 w 7"/>
                <a:gd name="T5" fmla="*/ 2147483646 h 8"/>
                <a:gd name="T6" fmla="*/ 2147483646 w 7"/>
                <a:gd name="T7" fmla="*/ 2147483646 h 8"/>
                <a:gd name="T8" fmla="*/ 2147483646 w 7"/>
                <a:gd name="T9" fmla="*/ 0 h 8"/>
                <a:gd name="T10" fmla="*/ 2147483646 w 7"/>
                <a:gd name="T11" fmla="*/ 2147483646 h 8"/>
                <a:gd name="T12" fmla="*/ 0 w 7"/>
                <a:gd name="T13" fmla="*/ 2147483646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" h="8">
                  <a:moveTo>
                    <a:pt x="0" y="2"/>
                  </a:moveTo>
                  <a:cubicBezTo>
                    <a:pt x="0" y="4"/>
                    <a:pt x="0" y="6"/>
                    <a:pt x="3" y="7"/>
                  </a:cubicBezTo>
                  <a:cubicBezTo>
                    <a:pt x="5" y="8"/>
                    <a:pt x="6" y="5"/>
                    <a:pt x="7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0"/>
                    <a:pt x="4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2"/>
                    <a:pt x="1" y="2"/>
                    <a:pt x="0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2" name="Freeform 296"/>
            <p:cNvSpPr>
              <a:spLocks noEditPoints="1"/>
            </p:cNvSpPr>
            <p:nvPr/>
          </p:nvSpPr>
          <p:spPr bwMode="auto">
            <a:xfrm>
              <a:off x="1499785" y="3013204"/>
              <a:ext cx="59802" cy="59817"/>
            </a:xfrm>
            <a:custGeom>
              <a:avLst/>
              <a:gdLst>
                <a:gd name="T0" fmla="*/ 2147483646 w 8"/>
                <a:gd name="T1" fmla="*/ 2147483646 h 8"/>
                <a:gd name="T2" fmla="*/ 2147483646 w 8"/>
                <a:gd name="T3" fmla="*/ 2147483646 h 8"/>
                <a:gd name="T4" fmla="*/ 2147483646 w 8"/>
                <a:gd name="T5" fmla="*/ 2147483646 h 8"/>
                <a:gd name="T6" fmla="*/ 2147483646 w 8"/>
                <a:gd name="T7" fmla="*/ 2147483646 h 8"/>
                <a:gd name="T8" fmla="*/ 0 w 8"/>
                <a:gd name="T9" fmla="*/ 2147483646 h 8"/>
                <a:gd name="T10" fmla="*/ 0 w 8"/>
                <a:gd name="T11" fmla="*/ 2147483646 h 8"/>
                <a:gd name="T12" fmla="*/ 2147483646 w 8"/>
                <a:gd name="T13" fmla="*/ 2147483646 h 8"/>
                <a:gd name="T14" fmla="*/ 2147483646 w 8"/>
                <a:gd name="T15" fmla="*/ 2147483646 h 8"/>
                <a:gd name="T16" fmla="*/ 2147483646 w 8"/>
                <a:gd name="T17" fmla="*/ 0 h 8"/>
                <a:gd name="T18" fmla="*/ 2147483646 w 8"/>
                <a:gd name="T19" fmla="*/ 0 h 8"/>
                <a:gd name="T20" fmla="*/ 2147483646 w 8"/>
                <a:gd name="T21" fmla="*/ 0 h 8"/>
                <a:gd name="T22" fmla="*/ 2147483646 w 8"/>
                <a:gd name="T23" fmla="*/ 0 h 8"/>
                <a:gd name="T24" fmla="*/ 2147483646 w 8"/>
                <a:gd name="T25" fmla="*/ 0 h 8"/>
                <a:gd name="T26" fmla="*/ 2147483646 w 8"/>
                <a:gd name="T27" fmla="*/ 2147483646 h 8"/>
                <a:gd name="T28" fmla="*/ 2147483646 w 8"/>
                <a:gd name="T29" fmla="*/ 2147483646 h 8"/>
                <a:gd name="T30" fmla="*/ 2147483646 w 8"/>
                <a:gd name="T31" fmla="*/ 2147483646 h 8"/>
                <a:gd name="T32" fmla="*/ 2147483646 w 8"/>
                <a:gd name="T33" fmla="*/ 2147483646 h 8"/>
                <a:gd name="T34" fmla="*/ 2147483646 w 8"/>
                <a:gd name="T35" fmla="*/ 2147483646 h 8"/>
                <a:gd name="T36" fmla="*/ 2147483646 w 8"/>
                <a:gd name="T37" fmla="*/ 2147483646 h 8"/>
                <a:gd name="T38" fmla="*/ 2147483646 w 8"/>
                <a:gd name="T39" fmla="*/ 2147483646 h 8"/>
                <a:gd name="T40" fmla="*/ 2147483646 w 8"/>
                <a:gd name="T41" fmla="*/ 2147483646 h 8"/>
                <a:gd name="T42" fmla="*/ 2147483646 w 8"/>
                <a:gd name="T43" fmla="*/ 2147483646 h 8"/>
                <a:gd name="T44" fmla="*/ 2147483646 w 8"/>
                <a:gd name="T45" fmla="*/ 2147483646 h 8"/>
                <a:gd name="T46" fmla="*/ 2147483646 w 8"/>
                <a:gd name="T47" fmla="*/ 2147483646 h 8"/>
                <a:gd name="T48" fmla="*/ 2147483646 w 8"/>
                <a:gd name="T49" fmla="*/ 2147483646 h 8"/>
                <a:gd name="T50" fmla="*/ 2147483646 w 8"/>
                <a:gd name="T51" fmla="*/ 2147483646 h 8"/>
                <a:gd name="T52" fmla="*/ 2147483646 w 8"/>
                <a:gd name="T53" fmla="*/ 2147483646 h 8"/>
                <a:gd name="T54" fmla="*/ 2147483646 w 8"/>
                <a:gd name="T55" fmla="*/ 2147483646 h 8"/>
                <a:gd name="T56" fmla="*/ 2147483646 w 8"/>
                <a:gd name="T57" fmla="*/ 2147483646 h 8"/>
                <a:gd name="T58" fmla="*/ 2147483646 w 8"/>
                <a:gd name="T59" fmla="*/ 2147483646 h 8"/>
                <a:gd name="T60" fmla="*/ 2147483646 w 8"/>
                <a:gd name="T61" fmla="*/ 2147483646 h 8"/>
                <a:gd name="T62" fmla="*/ 2147483646 w 8"/>
                <a:gd name="T63" fmla="*/ 2147483646 h 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8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4" y="8"/>
                    <a:pt x="4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7" y="2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7" y="8"/>
                    <a:pt x="5" y="8"/>
                  </a:cubicBezTo>
                  <a:close/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5"/>
                    <a:pt x="2" y="6"/>
                    <a:pt x="4" y="6"/>
                  </a:cubicBezTo>
                  <a:cubicBezTo>
                    <a:pt x="5" y="7"/>
                    <a:pt x="6" y="6"/>
                    <a:pt x="7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3" name="Freeform 297"/>
            <p:cNvSpPr/>
            <p:nvPr/>
          </p:nvSpPr>
          <p:spPr bwMode="auto">
            <a:xfrm>
              <a:off x="2437737" y="2978573"/>
              <a:ext cx="176259" cy="236119"/>
            </a:xfrm>
            <a:custGeom>
              <a:avLst/>
              <a:gdLst>
                <a:gd name="T0" fmla="*/ 2147483646 w 24"/>
                <a:gd name="T1" fmla="*/ 2147483646 h 32"/>
                <a:gd name="T2" fmla="*/ 2147483646 w 24"/>
                <a:gd name="T3" fmla="*/ 2147483646 h 32"/>
                <a:gd name="T4" fmla="*/ 2147483646 w 24"/>
                <a:gd name="T5" fmla="*/ 2147483646 h 32"/>
                <a:gd name="T6" fmla="*/ 2147483646 w 24"/>
                <a:gd name="T7" fmla="*/ 2147483646 h 32"/>
                <a:gd name="T8" fmla="*/ 0 w 24"/>
                <a:gd name="T9" fmla="*/ 2147483646 h 32"/>
                <a:gd name="T10" fmla="*/ 2147483646 w 24"/>
                <a:gd name="T11" fmla="*/ 2147483646 h 32"/>
                <a:gd name="T12" fmla="*/ 2147483646 w 24"/>
                <a:gd name="T13" fmla="*/ 2147483646 h 32"/>
                <a:gd name="T14" fmla="*/ 2147483646 w 24"/>
                <a:gd name="T15" fmla="*/ 2147483646 h 32"/>
                <a:gd name="T16" fmla="*/ 2147483646 w 24"/>
                <a:gd name="T17" fmla="*/ 2147483646 h 32"/>
                <a:gd name="T18" fmla="*/ 2147483646 w 24"/>
                <a:gd name="T19" fmla="*/ 2147483646 h 32"/>
                <a:gd name="T20" fmla="*/ 2147483646 w 24"/>
                <a:gd name="T21" fmla="*/ 2147483646 h 32"/>
                <a:gd name="T22" fmla="*/ 2147483646 w 24"/>
                <a:gd name="T23" fmla="*/ 2147483646 h 32"/>
                <a:gd name="T24" fmla="*/ 2147483646 w 24"/>
                <a:gd name="T25" fmla="*/ 2147483646 h 32"/>
                <a:gd name="T26" fmla="*/ 2147483646 w 24"/>
                <a:gd name="T27" fmla="*/ 2147483646 h 32"/>
                <a:gd name="T28" fmla="*/ 2147483646 w 24"/>
                <a:gd name="T29" fmla="*/ 2147483646 h 32"/>
                <a:gd name="T30" fmla="*/ 2147483646 w 24"/>
                <a:gd name="T31" fmla="*/ 2147483646 h 32"/>
                <a:gd name="T32" fmla="*/ 2147483646 w 24"/>
                <a:gd name="T33" fmla="*/ 2147483646 h 32"/>
                <a:gd name="T34" fmla="*/ 2147483646 w 24"/>
                <a:gd name="T35" fmla="*/ 2147483646 h 3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" h="32">
                  <a:moveTo>
                    <a:pt x="6" y="2"/>
                  </a:moveTo>
                  <a:cubicBezTo>
                    <a:pt x="2" y="7"/>
                    <a:pt x="14" y="10"/>
                    <a:pt x="17" y="10"/>
                  </a:cubicBezTo>
                  <a:cubicBezTo>
                    <a:pt x="16" y="12"/>
                    <a:pt x="13" y="14"/>
                    <a:pt x="11" y="16"/>
                  </a:cubicBezTo>
                  <a:cubicBezTo>
                    <a:pt x="9" y="17"/>
                    <a:pt x="7" y="17"/>
                    <a:pt x="4" y="18"/>
                  </a:cubicBezTo>
                  <a:cubicBezTo>
                    <a:pt x="2" y="20"/>
                    <a:pt x="0" y="21"/>
                    <a:pt x="0" y="24"/>
                  </a:cubicBezTo>
                  <a:cubicBezTo>
                    <a:pt x="0" y="27"/>
                    <a:pt x="0" y="30"/>
                    <a:pt x="2" y="32"/>
                  </a:cubicBezTo>
                  <a:cubicBezTo>
                    <a:pt x="3" y="31"/>
                    <a:pt x="3" y="30"/>
                    <a:pt x="4" y="29"/>
                  </a:cubicBezTo>
                  <a:cubicBezTo>
                    <a:pt x="5" y="28"/>
                    <a:pt x="7" y="27"/>
                    <a:pt x="8" y="26"/>
                  </a:cubicBezTo>
                  <a:cubicBezTo>
                    <a:pt x="11" y="23"/>
                    <a:pt x="13" y="22"/>
                    <a:pt x="16" y="19"/>
                  </a:cubicBezTo>
                  <a:cubicBezTo>
                    <a:pt x="18" y="17"/>
                    <a:pt x="19" y="14"/>
                    <a:pt x="20" y="11"/>
                  </a:cubicBezTo>
                  <a:cubicBezTo>
                    <a:pt x="21" y="10"/>
                    <a:pt x="22" y="9"/>
                    <a:pt x="22" y="8"/>
                  </a:cubicBezTo>
                  <a:cubicBezTo>
                    <a:pt x="23" y="7"/>
                    <a:pt x="23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4"/>
                    <a:pt x="24" y="0"/>
                    <a:pt x="22" y="1"/>
                  </a:cubicBezTo>
                  <a:cubicBezTo>
                    <a:pt x="21" y="2"/>
                    <a:pt x="18" y="2"/>
                    <a:pt x="16" y="3"/>
                  </a:cubicBezTo>
                  <a:cubicBezTo>
                    <a:pt x="15" y="3"/>
                    <a:pt x="14" y="3"/>
                    <a:pt x="14" y="4"/>
                  </a:cubicBezTo>
                  <a:cubicBezTo>
                    <a:pt x="13" y="4"/>
                    <a:pt x="12" y="3"/>
                    <a:pt x="11" y="4"/>
                  </a:cubicBezTo>
                  <a:cubicBezTo>
                    <a:pt x="8" y="5"/>
                    <a:pt x="8" y="4"/>
                    <a:pt x="6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4" name="Freeform 298"/>
            <p:cNvSpPr>
              <a:spLocks noEditPoints="1"/>
            </p:cNvSpPr>
            <p:nvPr/>
          </p:nvSpPr>
          <p:spPr bwMode="auto">
            <a:xfrm>
              <a:off x="2437737" y="2978573"/>
              <a:ext cx="207734" cy="242416"/>
            </a:xfrm>
            <a:custGeom>
              <a:avLst/>
              <a:gdLst>
                <a:gd name="T0" fmla="*/ 2147483646 w 28"/>
                <a:gd name="T1" fmla="*/ 2147483646 h 33"/>
                <a:gd name="T2" fmla="*/ 0 w 28"/>
                <a:gd name="T3" fmla="*/ 2147483646 h 33"/>
                <a:gd name="T4" fmla="*/ 2147483646 w 28"/>
                <a:gd name="T5" fmla="*/ 2147483646 h 33"/>
                <a:gd name="T6" fmla="*/ 2147483646 w 28"/>
                <a:gd name="T7" fmla="*/ 2147483646 h 33"/>
                <a:gd name="T8" fmla="*/ 2147483646 w 28"/>
                <a:gd name="T9" fmla="*/ 2147483646 h 33"/>
                <a:gd name="T10" fmla="*/ 2147483646 w 28"/>
                <a:gd name="T11" fmla="*/ 2147483646 h 33"/>
                <a:gd name="T12" fmla="*/ 2147483646 w 28"/>
                <a:gd name="T13" fmla="*/ 2147483646 h 33"/>
                <a:gd name="T14" fmla="*/ 2147483646 w 28"/>
                <a:gd name="T15" fmla="*/ 2147483646 h 33"/>
                <a:gd name="T16" fmla="*/ 2147483646 w 28"/>
                <a:gd name="T17" fmla="*/ 2147483646 h 33"/>
                <a:gd name="T18" fmla="*/ 2147483646 w 28"/>
                <a:gd name="T19" fmla="*/ 2147483646 h 33"/>
                <a:gd name="T20" fmla="*/ 2147483646 w 28"/>
                <a:gd name="T21" fmla="*/ 2147483646 h 33"/>
                <a:gd name="T22" fmla="*/ 2147483646 w 28"/>
                <a:gd name="T23" fmla="*/ 2147483646 h 33"/>
                <a:gd name="T24" fmla="*/ 2147483646 w 28"/>
                <a:gd name="T25" fmla="*/ 2147483646 h 33"/>
                <a:gd name="T26" fmla="*/ 2147483646 w 28"/>
                <a:gd name="T27" fmla="*/ 2147483646 h 33"/>
                <a:gd name="T28" fmla="*/ 2147483646 w 28"/>
                <a:gd name="T29" fmla="*/ 2147483646 h 33"/>
                <a:gd name="T30" fmla="*/ 2147483646 w 28"/>
                <a:gd name="T31" fmla="*/ 2147483646 h 33"/>
                <a:gd name="T32" fmla="*/ 2147483646 w 28"/>
                <a:gd name="T33" fmla="*/ 2147483646 h 33"/>
                <a:gd name="T34" fmla="*/ 2147483646 w 28"/>
                <a:gd name="T35" fmla="*/ 2147483646 h 33"/>
                <a:gd name="T36" fmla="*/ 2147483646 w 28"/>
                <a:gd name="T37" fmla="*/ 2147483646 h 33"/>
                <a:gd name="T38" fmla="*/ 2147483646 w 28"/>
                <a:gd name="T39" fmla="*/ 2147483646 h 33"/>
                <a:gd name="T40" fmla="*/ 2147483646 w 28"/>
                <a:gd name="T41" fmla="*/ 2147483646 h 33"/>
                <a:gd name="T42" fmla="*/ 2147483646 w 28"/>
                <a:gd name="T43" fmla="*/ 2147483646 h 33"/>
                <a:gd name="T44" fmla="*/ 2147483646 w 28"/>
                <a:gd name="T45" fmla="*/ 2147483646 h 33"/>
                <a:gd name="T46" fmla="*/ 2147483646 w 28"/>
                <a:gd name="T47" fmla="*/ 2147483646 h 33"/>
                <a:gd name="T48" fmla="*/ 2147483646 w 28"/>
                <a:gd name="T49" fmla="*/ 2147483646 h 33"/>
                <a:gd name="T50" fmla="*/ 2147483646 w 28"/>
                <a:gd name="T51" fmla="*/ 2147483646 h 33"/>
                <a:gd name="T52" fmla="*/ 2147483646 w 28"/>
                <a:gd name="T53" fmla="*/ 2147483646 h 33"/>
                <a:gd name="T54" fmla="*/ 2147483646 w 28"/>
                <a:gd name="T55" fmla="*/ 2147483646 h 33"/>
                <a:gd name="T56" fmla="*/ 2147483646 w 28"/>
                <a:gd name="T57" fmla="*/ 2147483646 h 33"/>
                <a:gd name="T58" fmla="*/ 2147483646 w 28"/>
                <a:gd name="T59" fmla="*/ 2147483646 h 33"/>
                <a:gd name="T60" fmla="*/ 2147483646 w 28"/>
                <a:gd name="T61" fmla="*/ 2147483646 h 33"/>
                <a:gd name="T62" fmla="*/ 2147483646 w 28"/>
                <a:gd name="T63" fmla="*/ 2147483646 h 33"/>
                <a:gd name="T64" fmla="*/ 2147483646 w 28"/>
                <a:gd name="T65" fmla="*/ 2147483646 h 33"/>
                <a:gd name="T66" fmla="*/ 2147483646 w 28"/>
                <a:gd name="T67" fmla="*/ 2147483646 h 33"/>
                <a:gd name="T68" fmla="*/ 2147483646 w 28"/>
                <a:gd name="T69" fmla="*/ 2147483646 h 33"/>
                <a:gd name="T70" fmla="*/ 2147483646 w 28"/>
                <a:gd name="T71" fmla="*/ 2147483646 h 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" h="33">
                  <a:moveTo>
                    <a:pt x="2" y="33"/>
                  </a:moveTo>
                  <a:cubicBezTo>
                    <a:pt x="1" y="33"/>
                    <a:pt x="1" y="33"/>
                    <a:pt x="1" y="33"/>
                  </a:cubicBezTo>
                  <a:cubicBezTo>
                    <a:pt x="0" y="31"/>
                    <a:pt x="0" y="28"/>
                    <a:pt x="0" y="26"/>
                  </a:cubicBezTo>
                  <a:cubicBezTo>
                    <a:pt x="0" y="25"/>
                    <a:pt x="0" y="24"/>
                    <a:pt x="0" y="24"/>
                  </a:cubicBezTo>
                  <a:cubicBezTo>
                    <a:pt x="0" y="21"/>
                    <a:pt x="2" y="19"/>
                    <a:pt x="4" y="18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8" y="17"/>
                    <a:pt x="10" y="16"/>
                    <a:pt x="11" y="15"/>
                  </a:cubicBezTo>
                  <a:cubicBezTo>
                    <a:pt x="11" y="15"/>
                    <a:pt x="12" y="14"/>
                    <a:pt x="12" y="14"/>
                  </a:cubicBezTo>
                  <a:cubicBezTo>
                    <a:pt x="14" y="13"/>
                    <a:pt x="15" y="12"/>
                    <a:pt x="16" y="10"/>
                  </a:cubicBezTo>
                  <a:cubicBezTo>
                    <a:pt x="13" y="10"/>
                    <a:pt x="6" y="8"/>
                    <a:pt x="5" y="5"/>
                  </a:cubicBezTo>
                  <a:cubicBezTo>
                    <a:pt x="4" y="4"/>
                    <a:pt x="4" y="3"/>
                    <a:pt x="5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8" y="4"/>
                    <a:pt x="9" y="4"/>
                    <a:pt x="11" y="3"/>
                  </a:cubicBezTo>
                  <a:cubicBezTo>
                    <a:pt x="11" y="3"/>
                    <a:pt x="12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5" y="2"/>
                    <a:pt x="16" y="2"/>
                  </a:cubicBezTo>
                  <a:cubicBezTo>
                    <a:pt x="16" y="2"/>
                    <a:pt x="17" y="2"/>
                    <a:pt x="17" y="2"/>
                  </a:cubicBezTo>
                  <a:cubicBezTo>
                    <a:pt x="19" y="2"/>
                    <a:pt x="21" y="2"/>
                    <a:pt x="22" y="1"/>
                  </a:cubicBezTo>
                  <a:cubicBezTo>
                    <a:pt x="23" y="0"/>
                    <a:pt x="24" y="0"/>
                    <a:pt x="24" y="1"/>
                  </a:cubicBezTo>
                  <a:cubicBezTo>
                    <a:pt x="25" y="1"/>
                    <a:pt x="24" y="3"/>
                    <a:pt x="24" y="4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6"/>
                    <a:pt x="23" y="7"/>
                  </a:cubicBezTo>
                  <a:cubicBezTo>
                    <a:pt x="23" y="7"/>
                    <a:pt x="23" y="8"/>
                    <a:pt x="23" y="9"/>
                  </a:cubicBezTo>
                  <a:cubicBezTo>
                    <a:pt x="23" y="9"/>
                    <a:pt x="22" y="9"/>
                    <a:pt x="22" y="10"/>
                  </a:cubicBezTo>
                  <a:cubicBezTo>
                    <a:pt x="22" y="10"/>
                    <a:pt x="21" y="11"/>
                    <a:pt x="21" y="12"/>
                  </a:cubicBezTo>
                  <a:cubicBezTo>
                    <a:pt x="20" y="14"/>
                    <a:pt x="18" y="18"/>
                    <a:pt x="16" y="20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4"/>
                    <a:pt x="10" y="25"/>
                    <a:pt x="9" y="26"/>
                  </a:cubicBezTo>
                  <a:cubicBezTo>
                    <a:pt x="8" y="27"/>
                    <a:pt x="7" y="27"/>
                    <a:pt x="6" y="28"/>
                  </a:cubicBezTo>
                  <a:cubicBezTo>
                    <a:pt x="6" y="28"/>
                    <a:pt x="5" y="29"/>
                    <a:pt x="5" y="29"/>
                  </a:cubicBezTo>
                  <a:cubicBezTo>
                    <a:pt x="4" y="30"/>
                    <a:pt x="4" y="30"/>
                    <a:pt x="3" y="31"/>
                  </a:cubicBezTo>
                  <a:cubicBezTo>
                    <a:pt x="3" y="32"/>
                    <a:pt x="3" y="32"/>
                    <a:pt x="2" y="33"/>
                  </a:cubicBezTo>
                  <a:close/>
                  <a:moveTo>
                    <a:pt x="18" y="9"/>
                  </a:move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3" y="15"/>
                  </a:cubicBezTo>
                  <a:cubicBezTo>
                    <a:pt x="12" y="15"/>
                    <a:pt x="12" y="16"/>
                    <a:pt x="11" y="16"/>
                  </a:cubicBezTo>
                  <a:cubicBezTo>
                    <a:pt x="10" y="17"/>
                    <a:pt x="9" y="18"/>
                    <a:pt x="7" y="18"/>
                  </a:cubicBezTo>
                  <a:cubicBezTo>
                    <a:pt x="6" y="18"/>
                    <a:pt x="6" y="19"/>
                    <a:pt x="5" y="19"/>
                  </a:cubicBezTo>
                  <a:cubicBezTo>
                    <a:pt x="3" y="20"/>
                    <a:pt x="1" y="21"/>
                    <a:pt x="1" y="24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30"/>
                    <a:pt x="2" y="31"/>
                  </a:cubicBezTo>
                  <a:cubicBezTo>
                    <a:pt x="2" y="31"/>
                    <a:pt x="2" y="31"/>
                    <a:pt x="2" y="30"/>
                  </a:cubicBezTo>
                  <a:cubicBezTo>
                    <a:pt x="3" y="30"/>
                    <a:pt x="3" y="29"/>
                    <a:pt x="4" y="29"/>
                  </a:cubicBezTo>
                  <a:cubicBezTo>
                    <a:pt x="4" y="28"/>
                    <a:pt x="5" y="27"/>
                    <a:pt x="6" y="27"/>
                  </a:cubicBezTo>
                  <a:cubicBezTo>
                    <a:pt x="7" y="26"/>
                    <a:pt x="7" y="26"/>
                    <a:pt x="8" y="25"/>
                  </a:cubicBezTo>
                  <a:cubicBezTo>
                    <a:pt x="9" y="24"/>
                    <a:pt x="10" y="23"/>
                    <a:pt x="11" y="22"/>
                  </a:cubicBezTo>
                  <a:cubicBezTo>
                    <a:pt x="13" y="21"/>
                    <a:pt x="14" y="20"/>
                    <a:pt x="15" y="19"/>
                  </a:cubicBezTo>
                  <a:cubicBezTo>
                    <a:pt x="17" y="17"/>
                    <a:pt x="19" y="14"/>
                    <a:pt x="20" y="11"/>
                  </a:cubicBezTo>
                  <a:cubicBezTo>
                    <a:pt x="20" y="10"/>
                    <a:pt x="21" y="10"/>
                    <a:pt x="21" y="9"/>
                  </a:cubicBezTo>
                  <a:cubicBezTo>
                    <a:pt x="21" y="9"/>
                    <a:pt x="22" y="8"/>
                    <a:pt x="22" y="8"/>
                  </a:cubicBezTo>
                  <a:cubicBezTo>
                    <a:pt x="22" y="8"/>
                    <a:pt x="22" y="7"/>
                    <a:pt x="22" y="7"/>
                  </a:cubicBezTo>
                  <a:cubicBezTo>
                    <a:pt x="22" y="6"/>
                    <a:pt x="22" y="5"/>
                    <a:pt x="23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3"/>
                    <a:pt x="23" y="2"/>
                    <a:pt x="23" y="1"/>
                  </a:cubicBezTo>
                  <a:cubicBezTo>
                    <a:pt x="23" y="1"/>
                    <a:pt x="23" y="1"/>
                    <a:pt x="23" y="2"/>
                  </a:cubicBezTo>
                  <a:cubicBezTo>
                    <a:pt x="21" y="3"/>
                    <a:pt x="19" y="3"/>
                    <a:pt x="17" y="3"/>
                  </a:cubicBezTo>
                  <a:cubicBezTo>
                    <a:pt x="17" y="3"/>
                    <a:pt x="16" y="3"/>
                    <a:pt x="16" y="3"/>
                  </a:cubicBezTo>
                  <a:cubicBezTo>
                    <a:pt x="15" y="3"/>
                    <a:pt x="15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9" y="6"/>
                    <a:pt x="8" y="5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4"/>
                    <a:pt x="6" y="5"/>
                  </a:cubicBezTo>
                  <a:cubicBezTo>
                    <a:pt x="7" y="7"/>
                    <a:pt x="13" y="9"/>
                    <a:pt x="16" y="9"/>
                  </a:cubicBezTo>
                  <a:cubicBezTo>
                    <a:pt x="16" y="9"/>
                    <a:pt x="17" y="9"/>
                    <a:pt x="17" y="9"/>
                  </a:cubicBezTo>
                  <a:lnTo>
                    <a:pt x="18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5" name="Freeform 299"/>
            <p:cNvSpPr/>
            <p:nvPr/>
          </p:nvSpPr>
          <p:spPr bwMode="auto">
            <a:xfrm>
              <a:off x="2012825" y="3570445"/>
              <a:ext cx="289569" cy="255009"/>
            </a:xfrm>
            <a:custGeom>
              <a:avLst/>
              <a:gdLst>
                <a:gd name="T0" fmla="*/ 2147483646 w 39"/>
                <a:gd name="T1" fmla="*/ 2147483646 h 34"/>
                <a:gd name="T2" fmla="*/ 2147483646 w 39"/>
                <a:gd name="T3" fmla="*/ 2147483646 h 34"/>
                <a:gd name="T4" fmla="*/ 2147483646 w 39"/>
                <a:gd name="T5" fmla="*/ 2147483646 h 34"/>
                <a:gd name="T6" fmla="*/ 2147483646 w 39"/>
                <a:gd name="T7" fmla="*/ 2147483646 h 34"/>
                <a:gd name="T8" fmla="*/ 2147483646 w 39"/>
                <a:gd name="T9" fmla="*/ 2147483646 h 34"/>
                <a:gd name="T10" fmla="*/ 2147483646 w 39"/>
                <a:gd name="T11" fmla="*/ 2147483646 h 34"/>
                <a:gd name="T12" fmla="*/ 2147483646 w 39"/>
                <a:gd name="T13" fmla="*/ 2147483646 h 34"/>
                <a:gd name="T14" fmla="*/ 2147483646 w 39"/>
                <a:gd name="T15" fmla="*/ 2147483646 h 34"/>
                <a:gd name="T16" fmla="*/ 2147483646 w 39"/>
                <a:gd name="T17" fmla="*/ 2147483646 h 34"/>
                <a:gd name="T18" fmla="*/ 2147483646 w 39"/>
                <a:gd name="T19" fmla="*/ 2147483646 h 34"/>
                <a:gd name="T20" fmla="*/ 2147483646 w 39"/>
                <a:gd name="T21" fmla="*/ 2147483646 h 34"/>
                <a:gd name="T22" fmla="*/ 2147483646 w 39"/>
                <a:gd name="T23" fmla="*/ 2147483646 h 34"/>
                <a:gd name="T24" fmla="*/ 2147483646 w 39"/>
                <a:gd name="T25" fmla="*/ 2147483646 h 34"/>
                <a:gd name="T26" fmla="*/ 2147483646 w 39"/>
                <a:gd name="T27" fmla="*/ 2147483646 h 34"/>
                <a:gd name="T28" fmla="*/ 2147483646 w 39"/>
                <a:gd name="T29" fmla="*/ 2147483646 h 34"/>
                <a:gd name="T30" fmla="*/ 2147483646 w 39"/>
                <a:gd name="T31" fmla="*/ 2147483646 h 34"/>
                <a:gd name="T32" fmla="*/ 2147483646 w 39"/>
                <a:gd name="T33" fmla="*/ 2147483646 h 34"/>
                <a:gd name="T34" fmla="*/ 2147483646 w 39"/>
                <a:gd name="T35" fmla="*/ 2147483646 h 34"/>
                <a:gd name="T36" fmla="*/ 2147483646 w 39"/>
                <a:gd name="T37" fmla="*/ 2147483646 h 34"/>
                <a:gd name="T38" fmla="*/ 2147483646 w 39"/>
                <a:gd name="T39" fmla="*/ 2147483646 h 34"/>
                <a:gd name="T40" fmla="*/ 2147483646 w 39"/>
                <a:gd name="T41" fmla="*/ 2147483646 h 34"/>
                <a:gd name="T42" fmla="*/ 2147483646 w 39"/>
                <a:gd name="T43" fmla="*/ 2147483646 h 34"/>
                <a:gd name="T44" fmla="*/ 2147483646 w 39"/>
                <a:gd name="T45" fmla="*/ 2147483646 h 34"/>
                <a:gd name="T46" fmla="*/ 2147483646 w 39"/>
                <a:gd name="T47" fmla="*/ 2147483646 h 34"/>
                <a:gd name="T48" fmla="*/ 2147483646 w 39"/>
                <a:gd name="T49" fmla="*/ 2147483646 h 34"/>
                <a:gd name="T50" fmla="*/ 2147483646 w 39"/>
                <a:gd name="T51" fmla="*/ 2147483646 h 34"/>
                <a:gd name="T52" fmla="*/ 2147483646 w 39"/>
                <a:gd name="T53" fmla="*/ 2147483646 h 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39" h="34">
                  <a:moveTo>
                    <a:pt x="39" y="12"/>
                  </a:moveTo>
                  <a:cubicBezTo>
                    <a:pt x="37" y="12"/>
                    <a:pt x="35" y="15"/>
                    <a:pt x="34" y="12"/>
                  </a:cubicBezTo>
                  <a:cubicBezTo>
                    <a:pt x="33" y="10"/>
                    <a:pt x="36" y="11"/>
                    <a:pt x="36" y="9"/>
                  </a:cubicBezTo>
                  <a:cubicBezTo>
                    <a:pt x="36" y="8"/>
                    <a:pt x="37" y="3"/>
                    <a:pt x="35" y="2"/>
                  </a:cubicBezTo>
                  <a:cubicBezTo>
                    <a:pt x="32" y="0"/>
                    <a:pt x="30" y="1"/>
                    <a:pt x="28" y="2"/>
                  </a:cubicBezTo>
                  <a:cubicBezTo>
                    <a:pt x="26" y="4"/>
                    <a:pt x="24" y="5"/>
                    <a:pt x="22" y="7"/>
                  </a:cubicBezTo>
                  <a:cubicBezTo>
                    <a:pt x="22" y="8"/>
                    <a:pt x="22" y="9"/>
                    <a:pt x="21" y="9"/>
                  </a:cubicBezTo>
                  <a:cubicBezTo>
                    <a:pt x="20" y="10"/>
                    <a:pt x="19" y="9"/>
                    <a:pt x="18" y="9"/>
                  </a:cubicBezTo>
                  <a:cubicBezTo>
                    <a:pt x="15" y="9"/>
                    <a:pt x="15" y="13"/>
                    <a:pt x="12" y="13"/>
                  </a:cubicBezTo>
                  <a:cubicBezTo>
                    <a:pt x="10" y="12"/>
                    <a:pt x="10" y="12"/>
                    <a:pt x="10" y="10"/>
                  </a:cubicBezTo>
                  <a:cubicBezTo>
                    <a:pt x="11" y="9"/>
                    <a:pt x="9" y="8"/>
                    <a:pt x="8" y="7"/>
                  </a:cubicBezTo>
                  <a:cubicBezTo>
                    <a:pt x="8" y="10"/>
                    <a:pt x="10" y="16"/>
                    <a:pt x="8" y="18"/>
                  </a:cubicBezTo>
                  <a:cubicBezTo>
                    <a:pt x="7" y="18"/>
                    <a:pt x="4" y="19"/>
                    <a:pt x="3" y="18"/>
                  </a:cubicBezTo>
                  <a:cubicBezTo>
                    <a:pt x="3" y="16"/>
                    <a:pt x="0" y="16"/>
                    <a:pt x="1" y="18"/>
                  </a:cubicBezTo>
                  <a:cubicBezTo>
                    <a:pt x="2" y="22"/>
                    <a:pt x="4" y="25"/>
                    <a:pt x="4" y="28"/>
                  </a:cubicBezTo>
                  <a:cubicBezTo>
                    <a:pt x="4" y="28"/>
                    <a:pt x="4" y="28"/>
                    <a:pt x="4" y="29"/>
                  </a:cubicBezTo>
                  <a:cubicBezTo>
                    <a:pt x="4" y="30"/>
                    <a:pt x="5" y="31"/>
                    <a:pt x="5" y="31"/>
                  </a:cubicBezTo>
                  <a:cubicBezTo>
                    <a:pt x="6" y="33"/>
                    <a:pt x="6" y="33"/>
                    <a:pt x="8" y="34"/>
                  </a:cubicBezTo>
                  <a:cubicBezTo>
                    <a:pt x="9" y="34"/>
                    <a:pt x="12" y="33"/>
                    <a:pt x="13" y="33"/>
                  </a:cubicBezTo>
                  <a:cubicBezTo>
                    <a:pt x="13" y="33"/>
                    <a:pt x="14" y="32"/>
                    <a:pt x="15" y="32"/>
                  </a:cubicBezTo>
                  <a:cubicBezTo>
                    <a:pt x="16" y="32"/>
                    <a:pt x="17" y="32"/>
                    <a:pt x="18" y="32"/>
                  </a:cubicBezTo>
                  <a:cubicBezTo>
                    <a:pt x="19" y="32"/>
                    <a:pt x="21" y="32"/>
                    <a:pt x="22" y="32"/>
                  </a:cubicBezTo>
                  <a:cubicBezTo>
                    <a:pt x="22" y="32"/>
                    <a:pt x="22" y="31"/>
                    <a:pt x="24" y="31"/>
                  </a:cubicBezTo>
                  <a:cubicBezTo>
                    <a:pt x="25" y="31"/>
                    <a:pt x="25" y="31"/>
                    <a:pt x="26" y="30"/>
                  </a:cubicBezTo>
                  <a:cubicBezTo>
                    <a:pt x="29" y="28"/>
                    <a:pt x="32" y="25"/>
                    <a:pt x="34" y="22"/>
                  </a:cubicBezTo>
                  <a:cubicBezTo>
                    <a:pt x="35" y="20"/>
                    <a:pt x="35" y="19"/>
                    <a:pt x="37" y="17"/>
                  </a:cubicBezTo>
                  <a:cubicBezTo>
                    <a:pt x="38" y="16"/>
                    <a:pt x="38" y="14"/>
                    <a:pt x="39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6" name="Freeform 300"/>
            <p:cNvSpPr>
              <a:spLocks noEditPoints="1"/>
            </p:cNvSpPr>
            <p:nvPr/>
          </p:nvSpPr>
          <p:spPr bwMode="auto">
            <a:xfrm>
              <a:off x="2012825" y="3570445"/>
              <a:ext cx="289569" cy="255009"/>
            </a:xfrm>
            <a:custGeom>
              <a:avLst/>
              <a:gdLst>
                <a:gd name="T0" fmla="*/ 2147483646 w 39"/>
                <a:gd name="T1" fmla="*/ 2147483646 h 34"/>
                <a:gd name="T2" fmla="*/ 2147483646 w 39"/>
                <a:gd name="T3" fmla="*/ 2147483646 h 34"/>
                <a:gd name="T4" fmla="*/ 2147483646 w 39"/>
                <a:gd name="T5" fmla="*/ 2147483646 h 34"/>
                <a:gd name="T6" fmla="*/ 2147483646 w 39"/>
                <a:gd name="T7" fmla="*/ 2147483646 h 34"/>
                <a:gd name="T8" fmla="*/ 2147483646 w 39"/>
                <a:gd name="T9" fmla="*/ 2147483646 h 34"/>
                <a:gd name="T10" fmla="*/ 2147483646 w 39"/>
                <a:gd name="T11" fmla="*/ 2147483646 h 34"/>
                <a:gd name="T12" fmla="*/ 2147483646 w 39"/>
                <a:gd name="T13" fmla="*/ 2147483646 h 34"/>
                <a:gd name="T14" fmla="*/ 2147483646 w 39"/>
                <a:gd name="T15" fmla="*/ 2147483646 h 34"/>
                <a:gd name="T16" fmla="*/ 2147483646 w 39"/>
                <a:gd name="T17" fmla="*/ 2147483646 h 34"/>
                <a:gd name="T18" fmla="*/ 2147483646 w 39"/>
                <a:gd name="T19" fmla="*/ 2147483646 h 34"/>
                <a:gd name="T20" fmla="*/ 2147483646 w 39"/>
                <a:gd name="T21" fmla="*/ 2147483646 h 34"/>
                <a:gd name="T22" fmla="*/ 2147483646 w 39"/>
                <a:gd name="T23" fmla="*/ 2147483646 h 34"/>
                <a:gd name="T24" fmla="*/ 2147483646 w 39"/>
                <a:gd name="T25" fmla="*/ 2147483646 h 34"/>
                <a:gd name="T26" fmla="*/ 2147483646 w 39"/>
                <a:gd name="T27" fmla="*/ 2147483646 h 34"/>
                <a:gd name="T28" fmla="*/ 2147483646 w 39"/>
                <a:gd name="T29" fmla="*/ 2147483646 h 34"/>
                <a:gd name="T30" fmla="*/ 2147483646 w 39"/>
                <a:gd name="T31" fmla="*/ 0 h 34"/>
                <a:gd name="T32" fmla="*/ 2147483646 w 39"/>
                <a:gd name="T33" fmla="*/ 2147483646 h 34"/>
                <a:gd name="T34" fmla="*/ 2147483646 w 39"/>
                <a:gd name="T35" fmla="*/ 2147483646 h 34"/>
                <a:gd name="T36" fmla="*/ 2147483646 w 39"/>
                <a:gd name="T37" fmla="*/ 2147483646 h 34"/>
                <a:gd name="T38" fmla="*/ 2147483646 w 39"/>
                <a:gd name="T39" fmla="*/ 2147483646 h 34"/>
                <a:gd name="T40" fmla="*/ 2147483646 w 39"/>
                <a:gd name="T41" fmla="*/ 2147483646 h 34"/>
                <a:gd name="T42" fmla="*/ 2147483646 w 39"/>
                <a:gd name="T43" fmla="*/ 2147483646 h 34"/>
                <a:gd name="T44" fmla="*/ 2147483646 w 39"/>
                <a:gd name="T45" fmla="*/ 2147483646 h 34"/>
                <a:gd name="T46" fmla="*/ 2147483646 w 39"/>
                <a:gd name="T47" fmla="*/ 2147483646 h 34"/>
                <a:gd name="T48" fmla="*/ 2147483646 w 39"/>
                <a:gd name="T49" fmla="*/ 2147483646 h 34"/>
                <a:gd name="T50" fmla="*/ 2147483646 w 39"/>
                <a:gd name="T51" fmla="*/ 2147483646 h 34"/>
                <a:gd name="T52" fmla="*/ 2147483646 w 39"/>
                <a:gd name="T53" fmla="*/ 2147483646 h 34"/>
                <a:gd name="T54" fmla="*/ 2147483646 w 39"/>
                <a:gd name="T55" fmla="*/ 2147483646 h 34"/>
                <a:gd name="T56" fmla="*/ 2147483646 w 39"/>
                <a:gd name="T57" fmla="*/ 2147483646 h 34"/>
                <a:gd name="T58" fmla="*/ 2147483646 w 39"/>
                <a:gd name="T59" fmla="*/ 2147483646 h 34"/>
                <a:gd name="T60" fmla="*/ 2147483646 w 39"/>
                <a:gd name="T61" fmla="*/ 2147483646 h 34"/>
                <a:gd name="T62" fmla="*/ 2147483646 w 39"/>
                <a:gd name="T63" fmla="*/ 2147483646 h 34"/>
                <a:gd name="T64" fmla="*/ 2147483646 w 39"/>
                <a:gd name="T65" fmla="*/ 2147483646 h 34"/>
                <a:gd name="T66" fmla="*/ 2147483646 w 39"/>
                <a:gd name="T67" fmla="*/ 2147483646 h 34"/>
                <a:gd name="T68" fmla="*/ 2147483646 w 39"/>
                <a:gd name="T69" fmla="*/ 2147483646 h 34"/>
                <a:gd name="T70" fmla="*/ 2147483646 w 39"/>
                <a:gd name="T71" fmla="*/ 2147483646 h 34"/>
                <a:gd name="T72" fmla="*/ 2147483646 w 39"/>
                <a:gd name="T73" fmla="*/ 2147483646 h 34"/>
                <a:gd name="T74" fmla="*/ 2147483646 w 39"/>
                <a:gd name="T75" fmla="*/ 2147483646 h 34"/>
                <a:gd name="T76" fmla="*/ 2147483646 w 39"/>
                <a:gd name="T77" fmla="*/ 2147483646 h 34"/>
                <a:gd name="T78" fmla="*/ 2147483646 w 39"/>
                <a:gd name="T79" fmla="*/ 2147483646 h 34"/>
                <a:gd name="T80" fmla="*/ 2147483646 w 39"/>
                <a:gd name="T81" fmla="*/ 2147483646 h 34"/>
                <a:gd name="T82" fmla="*/ 2147483646 w 39"/>
                <a:gd name="T83" fmla="*/ 2147483646 h 34"/>
                <a:gd name="T84" fmla="*/ 2147483646 w 39"/>
                <a:gd name="T85" fmla="*/ 2147483646 h 34"/>
                <a:gd name="T86" fmla="*/ 2147483646 w 39"/>
                <a:gd name="T87" fmla="*/ 2147483646 h 34"/>
                <a:gd name="T88" fmla="*/ 2147483646 w 39"/>
                <a:gd name="T89" fmla="*/ 2147483646 h 34"/>
                <a:gd name="T90" fmla="*/ 2147483646 w 39"/>
                <a:gd name="T91" fmla="*/ 2147483646 h 34"/>
                <a:gd name="T92" fmla="*/ 2147483646 w 39"/>
                <a:gd name="T93" fmla="*/ 2147483646 h 34"/>
                <a:gd name="T94" fmla="*/ 2147483646 w 39"/>
                <a:gd name="T95" fmla="*/ 2147483646 h 34"/>
                <a:gd name="T96" fmla="*/ 2147483646 w 39"/>
                <a:gd name="T97" fmla="*/ 2147483646 h 34"/>
                <a:gd name="T98" fmla="*/ 2147483646 w 39"/>
                <a:gd name="T99" fmla="*/ 2147483646 h 34"/>
                <a:gd name="T100" fmla="*/ 2147483646 w 39"/>
                <a:gd name="T101" fmla="*/ 2147483646 h 34"/>
                <a:gd name="T102" fmla="*/ 2147483646 w 39"/>
                <a:gd name="T103" fmla="*/ 2147483646 h 34"/>
                <a:gd name="T104" fmla="*/ 2147483646 w 39"/>
                <a:gd name="T105" fmla="*/ 2147483646 h 34"/>
                <a:gd name="T106" fmla="*/ 2147483646 w 39"/>
                <a:gd name="T107" fmla="*/ 2147483646 h 34"/>
                <a:gd name="T108" fmla="*/ 2147483646 w 39"/>
                <a:gd name="T109" fmla="*/ 2147483646 h 3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39" h="34">
                  <a:moveTo>
                    <a:pt x="8" y="34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6" y="33"/>
                    <a:pt x="5" y="33"/>
                    <a:pt x="5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0"/>
                    <a:pt x="3" y="30"/>
                    <a:pt x="3" y="29"/>
                  </a:cubicBezTo>
                  <a:cubicBezTo>
                    <a:pt x="3" y="29"/>
                    <a:pt x="3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6"/>
                    <a:pt x="3" y="24"/>
                    <a:pt x="2" y="21"/>
                  </a:cubicBezTo>
                  <a:cubicBezTo>
                    <a:pt x="1" y="20"/>
                    <a:pt x="1" y="20"/>
                    <a:pt x="0" y="19"/>
                  </a:cubicBezTo>
                  <a:cubicBezTo>
                    <a:pt x="0" y="18"/>
                    <a:pt x="0" y="17"/>
                    <a:pt x="1" y="17"/>
                  </a:cubicBezTo>
                  <a:cubicBezTo>
                    <a:pt x="1" y="16"/>
                    <a:pt x="1" y="16"/>
                    <a:pt x="2" y="16"/>
                  </a:cubicBezTo>
                  <a:cubicBezTo>
                    <a:pt x="3" y="16"/>
                    <a:pt x="4" y="17"/>
                    <a:pt x="4" y="17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9" y="16"/>
                    <a:pt x="8" y="12"/>
                    <a:pt x="8" y="10"/>
                  </a:cubicBezTo>
                  <a:cubicBezTo>
                    <a:pt x="8" y="9"/>
                    <a:pt x="8" y="8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8"/>
                    <a:pt x="11" y="9"/>
                    <a:pt x="11" y="10"/>
                  </a:cubicBezTo>
                  <a:cubicBezTo>
                    <a:pt x="11" y="10"/>
                    <a:pt x="11" y="11"/>
                    <a:pt x="11" y="11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3" y="12"/>
                    <a:pt x="14" y="11"/>
                    <a:pt x="14" y="10"/>
                  </a:cubicBezTo>
                  <a:cubicBezTo>
                    <a:pt x="15" y="9"/>
                    <a:pt x="16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9" y="8"/>
                    <a:pt x="19" y="9"/>
                  </a:cubicBezTo>
                  <a:cubicBezTo>
                    <a:pt x="20" y="9"/>
                    <a:pt x="20" y="9"/>
                    <a:pt x="21" y="9"/>
                  </a:cubicBezTo>
                  <a:cubicBezTo>
                    <a:pt x="21" y="9"/>
                    <a:pt x="21" y="8"/>
                    <a:pt x="21" y="8"/>
                  </a:cubicBezTo>
                  <a:cubicBezTo>
                    <a:pt x="21" y="8"/>
                    <a:pt x="22" y="7"/>
                    <a:pt x="22" y="7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4" y="5"/>
                    <a:pt x="26" y="3"/>
                    <a:pt x="28" y="2"/>
                  </a:cubicBezTo>
                  <a:cubicBezTo>
                    <a:pt x="29" y="1"/>
                    <a:pt x="31" y="0"/>
                    <a:pt x="32" y="0"/>
                  </a:cubicBezTo>
                  <a:cubicBezTo>
                    <a:pt x="33" y="0"/>
                    <a:pt x="34" y="0"/>
                    <a:pt x="36" y="1"/>
                  </a:cubicBezTo>
                  <a:cubicBezTo>
                    <a:pt x="37" y="2"/>
                    <a:pt x="37" y="5"/>
                    <a:pt x="37" y="8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10"/>
                    <a:pt x="36" y="10"/>
                    <a:pt x="35" y="11"/>
                  </a:cubicBezTo>
                  <a:cubicBezTo>
                    <a:pt x="35" y="11"/>
                    <a:pt x="35" y="11"/>
                    <a:pt x="34" y="11"/>
                  </a:cubicBezTo>
                  <a:cubicBezTo>
                    <a:pt x="34" y="11"/>
                    <a:pt x="34" y="12"/>
                    <a:pt x="35" y="12"/>
                  </a:cubicBezTo>
                  <a:cubicBezTo>
                    <a:pt x="35" y="12"/>
                    <a:pt x="35" y="13"/>
                    <a:pt x="35" y="13"/>
                  </a:cubicBezTo>
                  <a:cubicBezTo>
                    <a:pt x="35" y="13"/>
                    <a:pt x="36" y="13"/>
                    <a:pt x="36" y="12"/>
                  </a:cubicBezTo>
                  <a:cubicBezTo>
                    <a:pt x="37" y="12"/>
                    <a:pt x="38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3"/>
                    <a:pt x="39" y="13"/>
                    <a:pt x="39" y="14"/>
                  </a:cubicBezTo>
                  <a:cubicBezTo>
                    <a:pt x="39" y="15"/>
                    <a:pt x="38" y="17"/>
                    <a:pt x="37" y="18"/>
                  </a:cubicBezTo>
                  <a:cubicBezTo>
                    <a:pt x="36" y="19"/>
                    <a:pt x="35" y="20"/>
                    <a:pt x="34" y="22"/>
                  </a:cubicBezTo>
                  <a:cubicBezTo>
                    <a:pt x="32" y="25"/>
                    <a:pt x="30" y="28"/>
                    <a:pt x="26" y="31"/>
                  </a:cubicBezTo>
                  <a:cubicBezTo>
                    <a:pt x="26" y="31"/>
                    <a:pt x="25" y="31"/>
                    <a:pt x="24" y="31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2" y="33"/>
                  </a:cubicBezTo>
                  <a:cubicBezTo>
                    <a:pt x="22" y="33"/>
                    <a:pt x="21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3"/>
                    <a:pt x="18" y="33"/>
                    <a:pt x="18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6" y="33"/>
                    <a:pt x="15" y="32"/>
                    <a:pt x="15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3" y="33"/>
                    <a:pt x="13" y="33"/>
                  </a:cubicBezTo>
                  <a:cubicBezTo>
                    <a:pt x="12" y="34"/>
                    <a:pt x="11" y="34"/>
                    <a:pt x="11" y="34"/>
                  </a:cubicBezTo>
                  <a:cubicBezTo>
                    <a:pt x="9" y="34"/>
                    <a:pt x="9" y="34"/>
                    <a:pt x="8" y="34"/>
                  </a:cubicBezTo>
                  <a:close/>
                  <a:moveTo>
                    <a:pt x="4" y="28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5" y="30"/>
                    <a:pt x="5" y="30"/>
                  </a:cubicBezTo>
                  <a:cubicBezTo>
                    <a:pt x="5" y="30"/>
                    <a:pt x="5" y="31"/>
                    <a:pt x="6" y="31"/>
                  </a:cubicBezTo>
                  <a:cubicBezTo>
                    <a:pt x="6" y="32"/>
                    <a:pt x="6" y="32"/>
                    <a:pt x="9" y="33"/>
                  </a:cubicBezTo>
                  <a:cubicBezTo>
                    <a:pt x="9" y="33"/>
                    <a:pt x="10" y="33"/>
                    <a:pt x="10" y="33"/>
                  </a:cubicBezTo>
                  <a:cubicBezTo>
                    <a:pt x="12" y="33"/>
                    <a:pt x="12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1"/>
                    <a:pt x="15" y="31"/>
                  </a:cubicBezTo>
                  <a:cubicBezTo>
                    <a:pt x="15" y="31"/>
                    <a:pt x="16" y="31"/>
                    <a:pt x="17" y="32"/>
                  </a:cubicBezTo>
                  <a:cubicBezTo>
                    <a:pt x="17" y="32"/>
                    <a:pt x="17" y="32"/>
                    <a:pt x="18" y="32"/>
                  </a:cubicBezTo>
                  <a:cubicBezTo>
                    <a:pt x="18" y="32"/>
                    <a:pt x="19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2" y="32"/>
                    <a:pt x="22" y="31"/>
                    <a:pt x="22" y="31"/>
                  </a:cubicBezTo>
                  <a:cubicBezTo>
                    <a:pt x="22" y="31"/>
                    <a:pt x="23" y="31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5" y="30"/>
                    <a:pt x="25" y="30"/>
                    <a:pt x="26" y="30"/>
                  </a:cubicBezTo>
                  <a:cubicBezTo>
                    <a:pt x="29" y="27"/>
                    <a:pt x="31" y="24"/>
                    <a:pt x="33" y="21"/>
                  </a:cubicBezTo>
                  <a:cubicBezTo>
                    <a:pt x="34" y="19"/>
                    <a:pt x="35" y="18"/>
                    <a:pt x="36" y="17"/>
                  </a:cubicBezTo>
                  <a:cubicBezTo>
                    <a:pt x="37" y="16"/>
                    <a:pt x="38" y="15"/>
                    <a:pt x="38" y="14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6" y="14"/>
                    <a:pt x="36" y="14"/>
                    <a:pt x="35" y="14"/>
                  </a:cubicBezTo>
                  <a:cubicBezTo>
                    <a:pt x="34" y="14"/>
                    <a:pt x="34" y="13"/>
                    <a:pt x="33" y="13"/>
                  </a:cubicBezTo>
                  <a:cubicBezTo>
                    <a:pt x="33" y="12"/>
                    <a:pt x="33" y="11"/>
                    <a:pt x="33" y="11"/>
                  </a:cubicBezTo>
                  <a:cubicBezTo>
                    <a:pt x="34" y="10"/>
                    <a:pt x="34" y="10"/>
                    <a:pt x="35" y="10"/>
                  </a:cubicBezTo>
                  <a:cubicBezTo>
                    <a:pt x="35" y="9"/>
                    <a:pt x="36" y="9"/>
                    <a:pt x="36" y="9"/>
                  </a:cubicBezTo>
                  <a:cubicBezTo>
                    <a:pt x="36" y="9"/>
                    <a:pt x="36" y="9"/>
                    <a:pt x="36" y="8"/>
                  </a:cubicBezTo>
                  <a:cubicBezTo>
                    <a:pt x="36" y="7"/>
                    <a:pt x="36" y="3"/>
                    <a:pt x="35" y="2"/>
                  </a:cubicBezTo>
                  <a:cubicBezTo>
                    <a:pt x="33" y="1"/>
                    <a:pt x="31" y="1"/>
                    <a:pt x="28" y="3"/>
                  </a:cubicBezTo>
                  <a:cubicBezTo>
                    <a:pt x="26" y="4"/>
                    <a:pt x="25" y="5"/>
                    <a:pt x="23" y="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23" y="8"/>
                    <a:pt x="22" y="8"/>
                  </a:cubicBezTo>
                  <a:cubicBezTo>
                    <a:pt x="22" y="9"/>
                    <a:pt x="22" y="10"/>
                    <a:pt x="21" y="10"/>
                  </a:cubicBezTo>
                  <a:cubicBezTo>
                    <a:pt x="20" y="10"/>
                    <a:pt x="20" y="10"/>
                    <a:pt x="19" y="10"/>
                  </a:cubicBezTo>
                  <a:cubicBezTo>
                    <a:pt x="19" y="10"/>
                    <a:pt x="18" y="9"/>
                    <a:pt x="18" y="9"/>
                  </a:cubicBezTo>
                  <a:cubicBezTo>
                    <a:pt x="17" y="9"/>
                    <a:pt x="16" y="10"/>
                    <a:pt x="15" y="11"/>
                  </a:cubicBezTo>
                  <a:cubicBezTo>
                    <a:pt x="15" y="12"/>
                    <a:pt x="14" y="13"/>
                    <a:pt x="12" y="13"/>
                  </a:cubicBezTo>
                  <a:cubicBezTo>
                    <a:pt x="10" y="13"/>
                    <a:pt x="10" y="12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13"/>
                    <a:pt x="10" y="17"/>
                    <a:pt x="8" y="18"/>
                  </a:cubicBezTo>
                  <a:cubicBezTo>
                    <a:pt x="7" y="19"/>
                    <a:pt x="6" y="19"/>
                    <a:pt x="5" y="19"/>
                  </a:cubicBezTo>
                  <a:cubicBezTo>
                    <a:pt x="3" y="19"/>
                    <a:pt x="3" y="18"/>
                    <a:pt x="3" y="18"/>
                  </a:cubicBezTo>
                  <a:cubicBezTo>
                    <a:pt x="2" y="17"/>
                    <a:pt x="2" y="17"/>
                    <a:pt x="1" y="17"/>
                  </a:cubicBezTo>
                  <a:cubicBezTo>
                    <a:pt x="1" y="18"/>
                    <a:pt x="1" y="18"/>
                    <a:pt x="2" y="18"/>
                  </a:cubicBezTo>
                  <a:cubicBezTo>
                    <a:pt x="2" y="19"/>
                    <a:pt x="2" y="20"/>
                    <a:pt x="3" y="21"/>
                  </a:cubicBezTo>
                  <a:cubicBezTo>
                    <a:pt x="4" y="23"/>
                    <a:pt x="5" y="26"/>
                    <a:pt x="5" y="28"/>
                  </a:cubicBezTo>
                  <a:lnTo>
                    <a:pt x="4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7" name="Freeform 301"/>
            <p:cNvSpPr/>
            <p:nvPr/>
          </p:nvSpPr>
          <p:spPr bwMode="auto">
            <a:xfrm>
              <a:off x="2192232" y="3683783"/>
              <a:ext cx="44065" cy="59817"/>
            </a:xfrm>
            <a:custGeom>
              <a:avLst/>
              <a:gdLst>
                <a:gd name="T0" fmla="*/ 2147483646 w 6"/>
                <a:gd name="T1" fmla="*/ 2147483646 h 8"/>
                <a:gd name="T2" fmla="*/ 2147483646 w 6"/>
                <a:gd name="T3" fmla="*/ 2147483646 h 8"/>
                <a:gd name="T4" fmla="*/ 2147483646 w 6"/>
                <a:gd name="T5" fmla="*/ 2147483646 h 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8">
                  <a:moveTo>
                    <a:pt x="6" y="4"/>
                  </a:moveTo>
                  <a:cubicBezTo>
                    <a:pt x="6" y="7"/>
                    <a:pt x="3" y="8"/>
                    <a:pt x="1" y="5"/>
                  </a:cubicBezTo>
                  <a:cubicBezTo>
                    <a:pt x="0" y="4"/>
                    <a:pt x="5" y="0"/>
                    <a:pt x="6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8" name="Freeform 302"/>
            <p:cNvSpPr>
              <a:spLocks noEditPoints="1"/>
            </p:cNvSpPr>
            <p:nvPr/>
          </p:nvSpPr>
          <p:spPr bwMode="auto">
            <a:xfrm>
              <a:off x="2198527" y="3699524"/>
              <a:ext cx="44065" cy="44076"/>
            </a:xfrm>
            <a:custGeom>
              <a:avLst/>
              <a:gdLst>
                <a:gd name="T0" fmla="*/ 2147483646 w 6"/>
                <a:gd name="T1" fmla="*/ 2147483646 h 6"/>
                <a:gd name="T2" fmla="*/ 0 w 6"/>
                <a:gd name="T3" fmla="*/ 2147483646 h 6"/>
                <a:gd name="T4" fmla="*/ 0 w 6"/>
                <a:gd name="T5" fmla="*/ 2147483646 h 6"/>
                <a:gd name="T6" fmla="*/ 2147483646 w 6"/>
                <a:gd name="T7" fmla="*/ 0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2147483646 h 6"/>
                <a:gd name="T14" fmla="*/ 2147483646 w 6"/>
                <a:gd name="T15" fmla="*/ 2147483646 h 6"/>
                <a:gd name="T16" fmla="*/ 2147483646 w 6"/>
                <a:gd name="T17" fmla="*/ 2147483646 h 6"/>
                <a:gd name="T18" fmla="*/ 2147483646 w 6"/>
                <a:gd name="T19" fmla="*/ 2147483646 h 6"/>
                <a:gd name="T20" fmla="*/ 2147483646 w 6"/>
                <a:gd name="T21" fmla="*/ 2147483646 h 6"/>
                <a:gd name="T22" fmla="*/ 2147483646 w 6"/>
                <a:gd name="T23" fmla="*/ 2147483646 h 6"/>
                <a:gd name="T24" fmla="*/ 2147483646 w 6"/>
                <a:gd name="T25" fmla="*/ 2147483646 h 6"/>
                <a:gd name="T26" fmla="*/ 2147483646 w 6"/>
                <a:gd name="T27" fmla="*/ 2147483646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2" y="6"/>
                    <a:pt x="1" y="5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0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4"/>
                    <a:pt x="4" y="6"/>
                    <a:pt x="3" y="6"/>
                  </a:cubicBezTo>
                  <a:close/>
                  <a:moveTo>
                    <a:pt x="3" y="1"/>
                  </a:moveTo>
                  <a:cubicBezTo>
                    <a:pt x="2" y="1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4"/>
                    <a:pt x="4" y="3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9" name="Freeform 303"/>
            <p:cNvSpPr/>
            <p:nvPr/>
          </p:nvSpPr>
          <p:spPr bwMode="auto">
            <a:xfrm>
              <a:off x="2170200" y="3453960"/>
              <a:ext cx="132195" cy="132227"/>
            </a:xfrm>
            <a:custGeom>
              <a:avLst/>
              <a:gdLst>
                <a:gd name="T0" fmla="*/ 2147483646 w 18"/>
                <a:gd name="T1" fmla="*/ 2147483646 h 18"/>
                <a:gd name="T2" fmla="*/ 2147483646 w 18"/>
                <a:gd name="T3" fmla="*/ 2147483646 h 18"/>
                <a:gd name="T4" fmla="*/ 2147483646 w 18"/>
                <a:gd name="T5" fmla="*/ 2147483646 h 18"/>
                <a:gd name="T6" fmla="*/ 2147483646 w 18"/>
                <a:gd name="T7" fmla="*/ 2147483646 h 18"/>
                <a:gd name="T8" fmla="*/ 2147483646 w 18"/>
                <a:gd name="T9" fmla="*/ 2147483646 h 18"/>
                <a:gd name="T10" fmla="*/ 2147483646 w 18"/>
                <a:gd name="T11" fmla="*/ 2147483646 h 18"/>
                <a:gd name="T12" fmla="*/ 2147483646 w 18"/>
                <a:gd name="T13" fmla="*/ 2147483646 h 18"/>
                <a:gd name="T14" fmla="*/ 2147483646 w 18"/>
                <a:gd name="T15" fmla="*/ 2147483646 h 18"/>
                <a:gd name="T16" fmla="*/ 0 w 18"/>
                <a:gd name="T17" fmla="*/ 2147483646 h 18"/>
                <a:gd name="T18" fmla="*/ 2147483646 w 18"/>
                <a:gd name="T19" fmla="*/ 2147483646 h 18"/>
                <a:gd name="T20" fmla="*/ 2147483646 w 18"/>
                <a:gd name="T21" fmla="*/ 2147483646 h 18"/>
                <a:gd name="T22" fmla="*/ 2147483646 w 18"/>
                <a:gd name="T23" fmla="*/ 2147483646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8" h="18">
                  <a:moveTo>
                    <a:pt x="9" y="17"/>
                  </a:moveTo>
                  <a:cubicBezTo>
                    <a:pt x="11" y="17"/>
                    <a:pt x="13" y="17"/>
                    <a:pt x="14" y="18"/>
                  </a:cubicBezTo>
                  <a:cubicBezTo>
                    <a:pt x="15" y="17"/>
                    <a:pt x="16" y="16"/>
                    <a:pt x="16" y="14"/>
                  </a:cubicBezTo>
                  <a:cubicBezTo>
                    <a:pt x="17" y="12"/>
                    <a:pt x="18" y="11"/>
                    <a:pt x="17" y="9"/>
                  </a:cubicBezTo>
                  <a:cubicBezTo>
                    <a:pt x="17" y="8"/>
                    <a:pt x="18" y="7"/>
                    <a:pt x="18" y="5"/>
                  </a:cubicBezTo>
                  <a:cubicBezTo>
                    <a:pt x="18" y="3"/>
                    <a:pt x="16" y="3"/>
                    <a:pt x="14" y="2"/>
                  </a:cubicBezTo>
                  <a:cubicBezTo>
                    <a:pt x="12" y="1"/>
                    <a:pt x="8" y="0"/>
                    <a:pt x="8" y="3"/>
                  </a:cubicBezTo>
                  <a:cubicBezTo>
                    <a:pt x="8" y="3"/>
                    <a:pt x="5" y="5"/>
                    <a:pt x="4" y="6"/>
                  </a:cubicBezTo>
                  <a:cubicBezTo>
                    <a:pt x="3" y="7"/>
                    <a:pt x="1" y="6"/>
                    <a:pt x="0" y="6"/>
                  </a:cubicBezTo>
                  <a:cubicBezTo>
                    <a:pt x="1" y="9"/>
                    <a:pt x="2" y="10"/>
                    <a:pt x="5" y="12"/>
                  </a:cubicBezTo>
                  <a:cubicBezTo>
                    <a:pt x="6" y="13"/>
                    <a:pt x="6" y="13"/>
                    <a:pt x="6" y="15"/>
                  </a:cubicBezTo>
                  <a:cubicBezTo>
                    <a:pt x="6" y="16"/>
                    <a:pt x="9" y="16"/>
                    <a:pt x="9" y="1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0" name="Freeform 304"/>
            <p:cNvSpPr>
              <a:spLocks noEditPoints="1"/>
            </p:cNvSpPr>
            <p:nvPr/>
          </p:nvSpPr>
          <p:spPr bwMode="auto">
            <a:xfrm>
              <a:off x="2160757" y="3453960"/>
              <a:ext cx="141637" cy="138523"/>
            </a:xfrm>
            <a:custGeom>
              <a:avLst/>
              <a:gdLst>
                <a:gd name="T0" fmla="*/ 2147483646 w 19"/>
                <a:gd name="T1" fmla="*/ 2147483646 h 19"/>
                <a:gd name="T2" fmla="*/ 2147483646 w 19"/>
                <a:gd name="T3" fmla="*/ 2147483646 h 19"/>
                <a:gd name="T4" fmla="*/ 2147483646 w 19"/>
                <a:gd name="T5" fmla="*/ 2147483646 h 19"/>
                <a:gd name="T6" fmla="*/ 2147483646 w 19"/>
                <a:gd name="T7" fmla="*/ 2147483646 h 19"/>
                <a:gd name="T8" fmla="*/ 2147483646 w 19"/>
                <a:gd name="T9" fmla="*/ 2147483646 h 19"/>
                <a:gd name="T10" fmla="*/ 2147483646 w 19"/>
                <a:gd name="T11" fmla="*/ 2147483646 h 19"/>
                <a:gd name="T12" fmla="*/ 2147483646 w 19"/>
                <a:gd name="T13" fmla="*/ 2147483646 h 19"/>
                <a:gd name="T14" fmla="*/ 2147483646 w 19"/>
                <a:gd name="T15" fmla="*/ 2147483646 h 19"/>
                <a:gd name="T16" fmla="*/ 0 w 19"/>
                <a:gd name="T17" fmla="*/ 2147483646 h 19"/>
                <a:gd name="T18" fmla="*/ 0 w 19"/>
                <a:gd name="T19" fmla="*/ 2147483646 h 19"/>
                <a:gd name="T20" fmla="*/ 2147483646 w 19"/>
                <a:gd name="T21" fmla="*/ 2147483646 h 19"/>
                <a:gd name="T22" fmla="*/ 2147483646 w 19"/>
                <a:gd name="T23" fmla="*/ 2147483646 h 19"/>
                <a:gd name="T24" fmla="*/ 2147483646 w 19"/>
                <a:gd name="T25" fmla="*/ 2147483646 h 19"/>
                <a:gd name="T26" fmla="*/ 2147483646 w 19"/>
                <a:gd name="T27" fmla="*/ 2147483646 h 19"/>
                <a:gd name="T28" fmla="*/ 2147483646 w 19"/>
                <a:gd name="T29" fmla="*/ 2147483646 h 19"/>
                <a:gd name="T30" fmla="*/ 2147483646 w 19"/>
                <a:gd name="T31" fmla="*/ 0 h 19"/>
                <a:gd name="T32" fmla="*/ 2147483646 w 19"/>
                <a:gd name="T33" fmla="*/ 2147483646 h 19"/>
                <a:gd name="T34" fmla="*/ 2147483646 w 19"/>
                <a:gd name="T35" fmla="*/ 2147483646 h 19"/>
                <a:gd name="T36" fmla="*/ 2147483646 w 19"/>
                <a:gd name="T37" fmla="*/ 2147483646 h 19"/>
                <a:gd name="T38" fmla="*/ 2147483646 w 19"/>
                <a:gd name="T39" fmla="*/ 2147483646 h 19"/>
                <a:gd name="T40" fmla="*/ 2147483646 w 19"/>
                <a:gd name="T41" fmla="*/ 2147483646 h 19"/>
                <a:gd name="T42" fmla="*/ 2147483646 w 19"/>
                <a:gd name="T43" fmla="*/ 2147483646 h 19"/>
                <a:gd name="T44" fmla="*/ 2147483646 w 19"/>
                <a:gd name="T45" fmla="*/ 2147483646 h 19"/>
                <a:gd name="T46" fmla="*/ 2147483646 w 19"/>
                <a:gd name="T47" fmla="*/ 2147483646 h 19"/>
                <a:gd name="T48" fmla="*/ 2147483646 w 19"/>
                <a:gd name="T49" fmla="*/ 2147483646 h 19"/>
                <a:gd name="T50" fmla="*/ 2147483646 w 19"/>
                <a:gd name="T51" fmla="*/ 2147483646 h 19"/>
                <a:gd name="T52" fmla="*/ 2147483646 w 19"/>
                <a:gd name="T53" fmla="*/ 2147483646 h 19"/>
                <a:gd name="T54" fmla="*/ 2147483646 w 19"/>
                <a:gd name="T55" fmla="*/ 2147483646 h 19"/>
                <a:gd name="T56" fmla="*/ 2147483646 w 19"/>
                <a:gd name="T57" fmla="*/ 2147483646 h 19"/>
                <a:gd name="T58" fmla="*/ 2147483646 w 19"/>
                <a:gd name="T59" fmla="*/ 2147483646 h 19"/>
                <a:gd name="T60" fmla="*/ 2147483646 w 19"/>
                <a:gd name="T61" fmla="*/ 2147483646 h 19"/>
                <a:gd name="T62" fmla="*/ 2147483646 w 19"/>
                <a:gd name="T63" fmla="*/ 2147483646 h 19"/>
                <a:gd name="T64" fmla="*/ 2147483646 w 19"/>
                <a:gd name="T65" fmla="*/ 2147483646 h 19"/>
                <a:gd name="T66" fmla="*/ 2147483646 w 19"/>
                <a:gd name="T67" fmla="*/ 2147483646 h 19"/>
                <a:gd name="T68" fmla="*/ 2147483646 w 19"/>
                <a:gd name="T69" fmla="*/ 2147483646 h 19"/>
                <a:gd name="T70" fmla="*/ 2147483646 w 19"/>
                <a:gd name="T71" fmla="*/ 2147483646 h 19"/>
                <a:gd name="T72" fmla="*/ 2147483646 w 19"/>
                <a:gd name="T73" fmla="*/ 2147483646 h 19"/>
                <a:gd name="T74" fmla="*/ 2147483646 w 19"/>
                <a:gd name="T75" fmla="*/ 2147483646 h 19"/>
                <a:gd name="T76" fmla="*/ 2147483646 w 19"/>
                <a:gd name="T77" fmla="*/ 2147483646 h 19"/>
                <a:gd name="T78" fmla="*/ 2147483646 w 19"/>
                <a:gd name="T79" fmla="*/ 2147483646 h 19"/>
                <a:gd name="T80" fmla="*/ 2147483646 w 19"/>
                <a:gd name="T81" fmla="*/ 2147483646 h 19"/>
                <a:gd name="T82" fmla="*/ 2147483646 w 19"/>
                <a:gd name="T83" fmla="*/ 2147483646 h 19"/>
                <a:gd name="T84" fmla="*/ 2147483646 w 19"/>
                <a:gd name="T85" fmla="*/ 2147483646 h 19"/>
                <a:gd name="T86" fmla="*/ 2147483646 w 19"/>
                <a:gd name="T87" fmla="*/ 2147483646 h 19"/>
                <a:gd name="T88" fmla="*/ 2147483646 w 19"/>
                <a:gd name="T89" fmla="*/ 2147483646 h 19"/>
                <a:gd name="T90" fmla="*/ 2147483646 w 19"/>
                <a:gd name="T91" fmla="*/ 2147483646 h 19"/>
                <a:gd name="T92" fmla="*/ 2147483646 w 19"/>
                <a:gd name="T93" fmla="*/ 2147483646 h 19"/>
                <a:gd name="T94" fmla="*/ 2147483646 w 19"/>
                <a:gd name="T95" fmla="*/ 2147483646 h 1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9" h="19">
                  <a:moveTo>
                    <a:pt x="16" y="19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4" y="17"/>
                    <a:pt x="13" y="17"/>
                    <a:pt x="11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9" y="17"/>
                  </a:cubicBezTo>
                  <a:cubicBezTo>
                    <a:pt x="8" y="16"/>
                    <a:pt x="7" y="16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3" y="11"/>
                    <a:pt x="2" y="9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4" y="6"/>
                    <a:pt x="5" y="5"/>
                  </a:cubicBezTo>
                  <a:cubicBezTo>
                    <a:pt x="5" y="5"/>
                    <a:pt x="6" y="5"/>
                    <a:pt x="6" y="4"/>
                  </a:cubicBezTo>
                  <a:cubicBezTo>
                    <a:pt x="7" y="4"/>
                    <a:pt x="8" y="3"/>
                    <a:pt x="8" y="3"/>
                  </a:cubicBezTo>
                  <a:cubicBezTo>
                    <a:pt x="8" y="1"/>
                    <a:pt x="10" y="0"/>
                    <a:pt x="11" y="0"/>
                  </a:cubicBezTo>
                  <a:cubicBezTo>
                    <a:pt x="13" y="0"/>
                    <a:pt x="15" y="1"/>
                    <a:pt x="15" y="1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2"/>
                    <a:pt x="19" y="3"/>
                    <a:pt x="19" y="5"/>
                  </a:cubicBezTo>
                  <a:cubicBezTo>
                    <a:pt x="19" y="6"/>
                    <a:pt x="19" y="7"/>
                    <a:pt x="19" y="8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9" y="11"/>
                    <a:pt x="19" y="12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7" y="16"/>
                    <a:pt x="17" y="16"/>
                  </a:cubicBezTo>
                  <a:cubicBezTo>
                    <a:pt x="17" y="17"/>
                    <a:pt x="16" y="17"/>
                    <a:pt x="16" y="18"/>
                  </a:cubicBezTo>
                  <a:lnTo>
                    <a:pt x="16" y="19"/>
                  </a:lnTo>
                  <a:close/>
                  <a:moveTo>
                    <a:pt x="10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3" y="16"/>
                    <a:pt x="14" y="16"/>
                    <a:pt x="15" y="17"/>
                  </a:cubicBezTo>
                  <a:cubicBezTo>
                    <a:pt x="15" y="16"/>
                    <a:pt x="16" y="16"/>
                    <a:pt x="16" y="15"/>
                  </a:cubicBezTo>
                  <a:cubicBezTo>
                    <a:pt x="16" y="15"/>
                    <a:pt x="17" y="15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2"/>
                    <a:pt x="18" y="11"/>
                    <a:pt x="18" y="9"/>
                  </a:cubicBezTo>
                  <a:cubicBezTo>
                    <a:pt x="17" y="9"/>
                    <a:pt x="18" y="8"/>
                    <a:pt x="18" y="7"/>
                  </a:cubicBezTo>
                  <a:cubicBezTo>
                    <a:pt x="18" y="7"/>
                    <a:pt x="18" y="6"/>
                    <a:pt x="18" y="5"/>
                  </a:cubicBezTo>
                  <a:cubicBezTo>
                    <a:pt x="18" y="4"/>
                    <a:pt x="17" y="3"/>
                    <a:pt x="16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2"/>
                    <a:pt x="13" y="1"/>
                    <a:pt x="11" y="1"/>
                  </a:cubicBezTo>
                  <a:cubicBezTo>
                    <a:pt x="10" y="1"/>
                    <a:pt x="9" y="2"/>
                    <a:pt x="9" y="3"/>
                  </a:cubicBezTo>
                  <a:cubicBezTo>
                    <a:pt x="9" y="4"/>
                    <a:pt x="8" y="4"/>
                    <a:pt x="7" y="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3" y="9"/>
                    <a:pt x="4" y="10"/>
                    <a:pt x="6" y="12"/>
                  </a:cubicBezTo>
                  <a:cubicBezTo>
                    <a:pt x="7" y="13"/>
                    <a:pt x="7" y="13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9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1" name="Freeform 305"/>
            <p:cNvSpPr/>
            <p:nvPr/>
          </p:nvSpPr>
          <p:spPr bwMode="auto">
            <a:xfrm>
              <a:off x="1915253" y="3475998"/>
              <a:ext cx="254947" cy="229823"/>
            </a:xfrm>
            <a:custGeom>
              <a:avLst/>
              <a:gdLst>
                <a:gd name="T0" fmla="*/ 2147483646 w 34"/>
                <a:gd name="T1" fmla="*/ 2147483646 h 31"/>
                <a:gd name="T2" fmla="*/ 2147483646 w 34"/>
                <a:gd name="T3" fmla="*/ 2147483646 h 31"/>
                <a:gd name="T4" fmla="*/ 2147483646 w 34"/>
                <a:gd name="T5" fmla="*/ 2147483646 h 31"/>
                <a:gd name="T6" fmla="*/ 2147483646 w 34"/>
                <a:gd name="T7" fmla="*/ 2147483646 h 31"/>
                <a:gd name="T8" fmla="*/ 2147483646 w 34"/>
                <a:gd name="T9" fmla="*/ 2147483646 h 31"/>
                <a:gd name="T10" fmla="*/ 2147483646 w 34"/>
                <a:gd name="T11" fmla="*/ 2147483646 h 31"/>
                <a:gd name="T12" fmla="*/ 2147483646 w 34"/>
                <a:gd name="T13" fmla="*/ 2147483646 h 31"/>
                <a:gd name="T14" fmla="*/ 2147483646 w 34"/>
                <a:gd name="T15" fmla="*/ 2147483646 h 31"/>
                <a:gd name="T16" fmla="*/ 2147483646 w 34"/>
                <a:gd name="T17" fmla="*/ 2147483646 h 31"/>
                <a:gd name="T18" fmla="*/ 2147483646 w 34"/>
                <a:gd name="T19" fmla="*/ 2147483646 h 31"/>
                <a:gd name="T20" fmla="*/ 2147483646 w 34"/>
                <a:gd name="T21" fmla="*/ 2147483646 h 31"/>
                <a:gd name="T22" fmla="*/ 2147483646 w 34"/>
                <a:gd name="T23" fmla="*/ 2147483646 h 31"/>
                <a:gd name="T24" fmla="*/ 2147483646 w 34"/>
                <a:gd name="T25" fmla="*/ 2147483646 h 31"/>
                <a:gd name="T26" fmla="*/ 2147483646 w 34"/>
                <a:gd name="T27" fmla="*/ 2147483646 h 31"/>
                <a:gd name="T28" fmla="*/ 2147483646 w 34"/>
                <a:gd name="T29" fmla="*/ 214748364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14" y="30"/>
                  </a:moveTo>
                  <a:cubicBezTo>
                    <a:pt x="9" y="27"/>
                    <a:pt x="9" y="21"/>
                    <a:pt x="9" y="16"/>
                  </a:cubicBezTo>
                  <a:cubicBezTo>
                    <a:pt x="9" y="13"/>
                    <a:pt x="0" y="3"/>
                    <a:pt x="3" y="1"/>
                  </a:cubicBezTo>
                  <a:cubicBezTo>
                    <a:pt x="5" y="0"/>
                    <a:pt x="6" y="2"/>
                    <a:pt x="8" y="2"/>
                  </a:cubicBezTo>
                  <a:cubicBezTo>
                    <a:pt x="11" y="2"/>
                    <a:pt x="15" y="1"/>
                    <a:pt x="18" y="2"/>
                  </a:cubicBezTo>
                  <a:cubicBezTo>
                    <a:pt x="20" y="2"/>
                    <a:pt x="23" y="4"/>
                    <a:pt x="25" y="4"/>
                  </a:cubicBezTo>
                  <a:cubicBezTo>
                    <a:pt x="27" y="3"/>
                    <a:pt x="32" y="1"/>
                    <a:pt x="34" y="3"/>
                  </a:cubicBezTo>
                  <a:cubicBezTo>
                    <a:pt x="32" y="3"/>
                    <a:pt x="31" y="4"/>
                    <a:pt x="30" y="5"/>
                  </a:cubicBezTo>
                  <a:cubicBezTo>
                    <a:pt x="30" y="3"/>
                    <a:pt x="27" y="4"/>
                    <a:pt x="26" y="4"/>
                  </a:cubicBezTo>
                  <a:cubicBezTo>
                    <a:pt x="23" y="5"/>
                    <a:pt x="24" y="5"/>
                    <a:pt x="24" y="8"/>
                  </a:cubicBezTo>
                  <a:cubicBezTo>
                    <a:pt x="24" y="10"/>
                    <a:pt x="25" y="13"/>
                    <a:pt x="23" y="13"/>
                  </a:cubicBezTo>
                  <a:cubicBezTo>
                    <a:pt x="20" y="13"/>
                    <a:pt x="21" y="17"/>
                    <a:pt x="21" y="18"/>
                  </a:cubicBezTo>
                  <a:cubicBezTo>
                    <a:pt x="21" y="22"/>
                    <a:pt x="21" y="26"/>
                    <a:pt x="21" y="30"/>
                  </a:cubicBezTo>
                  <a:cubicBezTo>
                    <a:pt x="21" y="31"/>
                    <a:pt x="18" y="31"/>
                    <a:pt x="17" y="31"/>
                  </a:cubicBezTo>
                  <a:cubicBezTo>
                    <a:pt x="16" y="31"/>
                    <a:pt x="15" y="28"/>
                    <a:pt x="14" y="3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2" name="Freeform 307"/>
            <p:cNvSpPr/>
            <p:nvPr/>
          </p:nvSpPr>
          <p:spPr bwMode="auto">
            <a:xfrm>
              <a:off x="1439982" y="2685786"/>
              <a:ext cx="147932" cy="135375"/>
            </a:xfrm>
            <a:custGeom>
              <a:avLst/>
              <a:gdLst>
                <a:gd name="T0" fmla="*/ 0 w 20"/>
                <a:gd name="T1" fmla="*/ 2147483646 h 18"/>
                <a:gd name="T2" fmla="*/ 2147483646 w 20"/>
                <a:gd name="T3" fmla="*/ 2147483646 h 18"/>
                <a:gd name="T4" fmla="*/ 2147483646 w 20"/>
                <a:gd name="T5" fmla="*/ 2147483646 h 18"/>
                <a:gd name="T6" fmla="*/ 2147483646 w 20"/>
                <a:gd name="T7" fmla="*/ 2147483646 h 18"/>
                <a:gd name="T8" fmla="*/ 2147483646 w 20"/>
                <a:gd name="T9" fmla="*/ 2147483646 h 18"/>
                <a:gd name="T10" fmla="*/ 2147483646 w 20"/>
                <a:gd name="T11" fmla="*/ 2147483646 h 18"/>
                <a:gd name="T12" fmla="*/ 2147483646 w 20"/>
                <a:gd name="T13" fmla="*/ 2147483646 h 18"/>
                <a:gd name="T14" fmla="*/ 2147483646 w 20"/>
                <a:gd name="T15" fmla="*/ 2147483646 h 18"/>
                <a:gd name="T16" fmla="*/ 2147483646 w 20"/>
                <a:gd name="T17" fmla="*/ 2147483646 h 18"/>
                <a:gd name="T18" fmla="*/ 0 w 20"/>
                <a:gd name="T19" fmla="*/ 2147483646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18">
                  <a:moveTo>
                    <a:pt x="0" y="18"/>
                  </a:moveTo>
                  <a:cubicBezTo>
                    <a:pt x="1" y="14"/>
                    <a:pt x="4" y="11"/>
                    <a:pt x="6" y="7"/>
                  </a:cubicBezTo>
                  <a:cubicBezTo>
                    <a:pt x="6" y="5"/>
                    <a:pt x="8" y="3"/>
                    <a:pt x="10" y="1"/>
                  </a:cubicBezTo>
                  <a:cubicBezTo>
                    <a:pt x="10" y="0"/>
                    <a:pt x="16" y="1"/>
                    <a:pt x="17" y="1"/>
                  </a:cubicBezTo>
                  <a:cubicBezTo>
                    <a:pt x="20" y="1"/>
                    <a:pt x="20" y="1"/>
                    <a:pt x="20" y="5"/>
                  </a:cubicBezTo>
                  <a:cubicBezTo>
                    <a:pt x="19" y="6"/>
                    <a:pt x="14" y="5"/>
                    <a:pt x="13" y="5"/>
                  </a:cubicBezTo>
                  <a:cubicBezTo>
                    <a:pt x="12" y="5"/>
                    <a:pt x="12" y="10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9" y="14"/>
                    <a:pt x="10" y="16"/>
                    <a:pt x="10" y="17"/>
                  </a:cubicBezTo>
                  <a:cubicBezTo>
                    <a:pt x="8" y="17"/>
                    <a:pt x="1" y="16"/>
                    <a:pt x="0" y="1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3" name="Freeform 308"/>
            <p:cNvSpPr>
              <a:spLocks noEditPoints="1"/>
            </p:cNvSpPr>
            <p:nvPr/>
          </p:nvSpPr>
          <p:spPr bwMode="auto">
            <a:xfrm>
              <a:off x="1439982" y="2685786"/>
              <a:ext cx="147932" cy="135375"/>
            </a:xfrm>
            <a:custGeom>
              <a:avLst/>
              <a:gdLst>
                <a:gd name="T0" fmla="*/ 2147483646 w 20"/>
                <a:gd name="T1" fmla="*/ 2147483646 h 18"/>
                <a:gd name="T2" fmla="*/ 0 w 20"/>
                <a:gd name="T3" fmla="*/ 2147483646 h 18"/>
                <a:gd name="T4" fmla="*/ 2147483646 w 20"/>
                <a:gd name="T5" fmla="*/ 2147483646 h 18"/>
                <a:gd name="T6" fmla="*/ 2147483646 w 20"/>
                <a:gd name="T7" fmla="*/ 2147483646 h 18"/>
                <a:gd name="T8" fmla="*/ 2147483646 w 20"/>
                <a:gd name="T9" fmla="*/ 2147483646 h 18"/>
                <a:gd name="T10" fmla="*/ 2147483646 w 20"/>
                <a:gd name="T11" fmla="*/ 2147483646 h 18"/>
                <a:gd name="T12" fmla="*/ 2147483646 w 20"/>
                <a:gd name="T13" fmla="*/ 0 h 18"/>
                <a:gd name="T14" fmla="*/ 2147483646 w 20"/>
                <a:gd name="T15" fmla="*/ 0 h 18"/>
                <a:gd name="T16" fmla="*/ 2147483646 w 20"/>
                <a:gd name="T17" fmla="*/ 0 h 18"/>
                <a:gd name="T18" fmla="*/ 2147483646 w 20"/>
                <a:gd name="T19" fmla="*/ 2147483646 h 18"/>
                <a:gd name="T20" fmla="*/ 2147483646 w 20"/>
                <a:gd name="T21" fmla="*/ 2147483646 h 18"/>
                <a:gd name="T22" fmla="*/ 2147483646 w 20"/>
                <a:gd name="T23" fmla="*/ 2147483646 h 18"/>
                <a:gd name="T24" fmla="*/ 2147483646 w 20"/>
                <a:gd name="T25" fmla="*/ 2147483646 h 18"/>
                <a:gd name="T26" fmla="*/ 2147483646 w 20"/>
                <a:gd name="T27" fmla="*/ 2147483646 h 18"/>
                <a:gd name="T28" fmla="*/ 2147483646 w 20"/>
                <a:gd name="T29" fmla="*/ 2147483646 h 18"/>
                <a:gd name="T30" fmla="*/ 2147483646 w 20"/>
                <a:gd name="T31" fmla="*/ 2147483646 h 18"/>
                <a:gd name="T32" fmla="*/ 2147483646 w 20"/>
                <a:gd name="T33" fmla="*/ 2147483646 h 18"/>
                <a:gd name="T34" fmla="*/ 2147483646 w 20"/>
                <a:gd name="T35" fmla="*/ 2147483646 h 18"/>
                <a:gd name="T36" fmla="*/ 2147483646 w 20"/>
                <a:gd name="T37" fmla="*/ 2147483646 h 18"/>
                <a:gd name="T38" fmla="*/ 2147483646 w 20"/>
                <a:gd name="T39" fmla="*/ 2147483646 h 18"/>
                <a:gd name="T40" fmla="*/ 2147483646 w 20"/>
                <a:gd name="T41" fmla="*/ 2147483646 h 18"/>
                <a:gd name="T42" fmla="*/ 2147483646 w 20"/>
                <a:gd name="T43" fmla="*/ 2147483646 h 18"/>
                <a:gd name="T44" fmla="*/ 2147483646 w 20"/>
                <a:gd name="T45" fmla="*/ 2147483646 h 18"/>
                <a:gd name="T46" fmla="*/ 2147483646 w 20"/>
                <a:gd name="T47" fmla="*/ 2147483646 h 18"/>
                <a:gd name="T48" fmla="*/ 2147483646 w 20"/>
                <a:gd name="T49" fmla="*/ 2147483646 h 18"/>
                <a:gd name="T50" fmla="*/ 2147483646 w 20"/>
                <a:gd name="T51" fmla="*/ 2147483646 h 18"/>
                <a:gd name="T52" fmla="*/ 2147483646 w 20"/>
                <a:gd name="T53" fmla="*/ 2147483646 h 18"/>
                <a:gd name="T54" fmla="*/ 2147483646 w 20"/>
                <a:gd name="T55" fmla="*/ 2147483646 h 18"/>
                <a:gd name="T56" fmla="*/ 2147483646 w 20"/>
                <a:gd name="T57" fmla="*/ 2147483646 h 18"/>
                <a:gd name="T58" fmla="*/ 2147483646 w 20"/>
                <a:gd name="T59" fmla="*/ 2147483646 h 18"/>
                <a:gd name="T60" fmla="*/ 2147483646 w 20"/>
                <a:gd name="T61" fmla="*/ 2147483646 h 18"/>
                <a:gd name="T62" fmla="*/ 2147483646 w 20"/>
                <a:gd name="T63" fmla="*/ 2147483646 h 18"/>
                <a:gd name="T64" fmla="*/ 2147483646 w 20"/>
                <a:gd name="T65" fmla="*/ 2147483646 h 18"/>
                <a:gd name="T66" fmla="*/ 2147483646 w 20"/>
                <a:gd name="T67" fmla="*/ 2147483646 h 18"/>
                <a:gd name="T68" fmla="*/ 2147483646 w 20"/>
                <a:gd name="T69" fmla="*/ 2147483646 h 18"/>
                <a:gd name="T70" fmla="*/ 2147483646 w 20"/>
                <a:gd name="T71" fmla="*/ 2147483646 h 18"/>
                <a:gd name="T72" fmla="*/ 2147483646 w 20"/>
                <a:gd name="T73" fmla="*/ 2147483646 h 18"/>
                <a:gd name="T74" fmla="*/ 2147483646 w 20"/>
                <a:gd name="T75" fmla="*/ 2147483646 h 18"/>
                <a:gd name="T76" fmla="*/ 2147483646 w 20"/>
                <a:gd name="T77" fmla="*/ 2147483646 h 18"/>
                <a:gd name="T78" fmla="*/ 2147483646 w 20"/>
                <a:gd name="T79" fmla="*/ 2147483646 h 18"/>
                <a:gd name="T80" fmla="*/ 2147483646 w 20"/>
                <a:gd name="T81" fmla="*/ 2147483646 h 18"/>
                <a:gd name="T82" fmla="*/ 2147483646 w 20"/>
                <a:gd name="T83" fmla="*/ 2147483646 h 18"/>
                <a:gd name="T84" fmla="*/ 2147483646 w 20"/>
                <a:gd name="T85" fmla="*/ 2147483646 h 18"/>
                <a:gd name="T86" fmla="*/ 2147483646 w 20"/>
                <a:gd name="T87" fmla="*/ 2147483646 h 18"/>
                <a:gd name="T88" fmla="*/ 2147483646 w 20"/>
                <a:gd name="T89" fmla="*/ 2147483646 h 18"/>
                <a:gd name="T90" fmla="*/ 2147483646 w 20"/>
                <a:gd name="T91" fmla="*/ 2147483646 h 18"/>
                <a:gd name="T92" fmla="*/ 2147483646 w 20"/>
                <a:gd name="T93" fmla="*/ 2147483646 h 18"/>
                <a:gd name="T94" fmla="*/ 2147483646 w 20"/>
                <a:gd name="T95" fmla="*/ 2147483646 h 18"/>
                <a:gd name="T96" fmla="*/ 2147483646 w 20"/>
                <a:gd name="T97" fmla="*/ 2147483646 h 18"/>
                <a:gd name="T98" fmla="*/ 2147483646 w 20"/>
                <a:gd name="T99" fmla="*/ 2147483646 h 18"/>
                <a:gd name="T100" fmla="*/ 2147483646 w 20"/>
                <a:gd name="T101" fmla="*/ 2147483646 h 1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0" h="18">
                  <a:moveTo>
                    <a:pt x="1" y="18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2" y="13"/>
                    <a:pt x="3" y="11"/>
                  </a:cubicBezTo>
                  <a:cubicBezTo>
                    <a:pt x="4" y="10"/>
                    <a:pt x="4" y="8"/>
                    <a:pt x="5" y="7"/>
                  </a:cubicBezTo>
                  <a:cubicBezTo>
                    <a:pt x="6" y="5"/>
                    <a:pt x="6" y="4"/>
                    <a:pt x="7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0"/>
                    <a:pt x="10" y="0"/>
                    <a:pt x="12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19" y="0"/>
                    <a:pt x="19" y="0"/>
                    <a:pt x="20" y="1"/>
                  </a:cubicBezTo>
                  <a:cubicBezTo>
                    <a:pt x="20" y="2"/>
                    <a:pt x="20" y="2"/>
                    <a:pt x="20" y="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6"/>
                    <a:pt x="18" y="6"/>
                    <a:pt x="17" y="6"/>
                  </a:cubicBezTo>
                  <a:cubicBezTo>
                    <a:pt x="16" y="6"/>
                    <a:pt x="15" y="6"/>
                    <a:pt x="14" y="6"/>
                  </a:cubicBezTo>
                  <a:cubicBezTo>
                    <a:pt x="14" y="6"/>
                    <a:pt x="13" y="6"/>
                    <a:pt x="13" y="6"/>
                  </a:cubicBezTo>
                  <a:cubicBezTo>
                    <a:pt x="12" y="6"/>
                    <a:pt x="13" y="9"/>
                    <a:pt x="13" y="10"/>
                  </a:cubicBezTo>
                  <a:cubicBezTo>
                    <a:pt x="13" y="11"/>
                    <a:pt x="13" y="11"/>
                    <a:pt x="13" y="12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11" y="13"/>
                    <a:pt x="10" y="13"/>
                    <a:pt x="10" y="13"/>
                  </a:cubicBezTo>
                  <a:cubicBezTo>
                    <a:pt x="10" y="14"/>
                    <a:pt x="10" y="15"/>
                    <a:pt x="10" y="16"/>
                  </a:cubicBezTo>
                  <a:cubicBezTo>
                    <a:pt x="10" y="16"/>
                    <a:pt x="10" y="16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9" y="17"/>
                    <a:pt x="9" y="17"/>
                    <a:pt x="8" y="17"/>
                  </a:cubicBezTo>
                  <a:cubicBezTo>
                    <a:pt x="7" y="17"/>
                    <a:pt x="6" y="17"/>
                    <a:pt x="5" y="17"/>
                  </a:cubicBezTo>
                  <a:cubicBezTo>
                    <a:pt x="2" y="17"/>
                    <a:pt x="1" y="18"/>
                    <a:pt x="1" y="18"/>
                  </a:cubicBezTo>
                  <a:close/>
                  <a:moveTo>
                    <a:pt x="12" y="1"/>
                  </a:moveTo>
                  <a:cubicBezTo>
                    <a:pt x="10" y="1"/>
                    <a:pt x="10" y="2"/>
                    <a:pt x="10" y="2"/>
                  </a:cubicBezTo>
                  <a:cubicBezTo>
                    <a:pt x="10" y="3"/>
                    <a:pt x="9" y="3"/>
                    <a:pt x="8" y="4"/>
                  </a:cubicBezTo>
                  <a:cubicBezTo>
                    <a:pt x="7" y="5"/>
                    <a:pt x="7" y="6"/>
                    <a:pt x="6" y="7"/>
                  </a:cubicBezTo>
                  <a:cubicBezTo>
                    <a:pt x="6" y="9"/>
                    <a:pt x="5" y="10"/>
                    <a:pt x="4" y="12"/>
                  </a:cubicBezTo>
                  <a:cubicBezTo>
                    <a:pt x="3" y="13"/>
                    <a:pt x="2" y="15"/>
                    <a:pt x="1" y="16"/>
                  </a:cubicBezTo>
                  <a:cubicBezTo>
                    <a:pt x="2" y="16"/>
                    <a:pt x="4" y="16"/>
                    <a:pt x="5" y="16"/>
                  </a:cubicBezTo>
                  <a:cubicBezTo>
                    <a:pt x="6" y="16"/>
                    <a:pt x="7" y="16"/>
                    <a:pt x="8" y="16"/>
                  </a:cubicBezTo>
                  <a:cubicBezTo>
                    <a:pt x="8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5"/>
                    <a:pt x="8" y="13"/>
                    <a:pt x="9" y="12"/>
                  </a:cubicBezTo>
                  <a:cubicBezTo>
                    <a:pt x="9" y="12"/>
                    <a:pt x="10" y="12"/>
                    <a:pt x="11" y="12"/>
                  </a:cubicBezTo>
                  <a:cubicBezTo>
                    <a:pt x="11" y="11"/>
                    <a:pt x="11" y="11"/>
                    <a:pt x="12" y="11"/>
                  </a:cubicBezTo>
                  <a:cubicBezTo>
                    <a:pt x="12" y="11"/>
                    <a:pt x="12" y="11"/>
                    <a:pt x="11" y="10"/>
                  </a:cubicBezTo>
                  <a:cubicBezTo>
                    <a:pt x="11" y="8"/>
                    <a:pt x="11" y="6"/>
                    <a:pt x="12" y="5"/>
                  </a:cubicBezTo>
                  <a:cubicBezTo>
                    <a:pt x="12" y="5"/>
                    <a:pt x="12" y="5"/>
                    <a:pt x="13" y="5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5" y="5"/>
                    <a:pt x="16" y="5"/>
                    <a:pt x="17" y="5"/>
                  </a:cubicBezTo>
                  <a:cubicBezTo>
                    <a:pt x="19" y="5"/>
                    <a:pt x="19" y="5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2"/>
                    <a:pt x="19" y="2"/>
                  </a:cubicBezTo>
                  <a:cubicBezTo>
                    <a:pt x="19" y="2"/>
                    <a:pt x="18" y="2"/>
                    <a:pt x="17" y="2"/>
                  </a:cubicBezTo>
                  <a:cubicBezTo>
                    <a:pt x="17" y="2"/>
                    <a:pt x="16" y="2"/>
                    <a:pt x="16" y="2"/>
                  </a:cubicBezTo>
                  <a:cubicBezTo>
                    <a:pt x="15" y="1"/>
                    <a:pt x="13" y="1"/>
                    <a:pt x="1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4" name="Freeform 309"/>
            <p:cNvSpPr/>
            <p:nvPr/>
          </p:nvSpPr>
          <p:spPr bwMode="auto">
            <a:xfrm>
              <a:off x="2110398" y="2783383"/>
              <a:ext cx="295864" cy="343160"/>
            </a:xfrm>
            <a:custGeom>
              <a:avLst/>
              <a:gdLst>
                <a:gd name="T0" fmla="*/ 2147483646 w 40"/>
                <a:gd name="T1" fmla="*/ 0 h 46"/>
                <a:gd name="T2" fmla="*/ 2147483646 w 40"/>
                <a:gd name="T3" fmla="*/ 2147483646 h 46"/>
                <a:gd name="T4" fmla="*/ 2147483646 w 40"/>
                <a:gd name="T5" fmla="*/ 2147483646 h 46"/>
                <a:gd name="T6" fmla="*/ 2147483646 w 40"/>
                <a:gd name="T7" fmla="*/ 2147483646 h 46"/>
                <a:gd name="T8" fmla="*/ 2147483646 w 40"/>
                <a:gd name="T9" fmla="*/ 2147483646 h 46"/>
                <a:gd name="T10" fmla="*/ 2147483646 w 40"/>
                <a:gd name="T11" fmla="*/ 2147483646 h 46"/>
                <a:gd name="T12" fmla="*/ 2147483646 w 40"/>
                <a:gd name="T13" fmla="*/ 2147483646 h 46"/>
                <a:gd name="T14" fmla="*/ 2147483646 w 40"/>
                <a:gd name="T15" fmla="*/ 2147483646 h 46"/>
                <a:gd name="T16" fmla="*/ 2147483646 w 40"/>
                <a:gd name="T17" fmla="*/ 2147483646 h 46"/>
                <a:gd name="T18" fmla="*/ 2147483646 w 40"/>
                <a:gd name="T19" fmla="*/ 2147483646 h 46"/>
                <a:gd name="T20" fmla="*/ 0 w 40"/>
                <a:gd name="T21" fmla="*/ 2147483646 h 46"/>
                <a:gd name="T22" fmla="*/ 2147483646 w 40"/>
                <a:gd name="T23" fmla="*/ 2147483646 h 46"/>
                <a:gd name="T24" fmla="*/ 2147483646 w 40"/>
                <a:gd name="T25" fmla="*/ 2147483646 h 46"/>
                <a:gd name="T26" fmla="*/ 2147483646 w 40"/>
                <a:gd name="T27" fmla="*/ 2147483646 h 46"/>
                <a:gd name="T28" fmla="*/ 2147483646 w 40"/>
                <a:gd name="T29" fmla="*/ 2147483646 h 46"/>
                <a:gd name="T30" fmla="*/ 2147483646 w 40"/>
                <a:gd name="T31" fmla="*/ 2147483646 h 46"/>
                <a:gd name="T32" fmla="*/ 2147483646 w 40"/>
                <a:gd name="T33" fmla="*/ 2147483646 h 46"/>
                <a:gd name="T34" fmla="*/ 2147483646 w 40"/>
                <a:gd name="T35" fmla="*/ 2147483646 h 46"/>
                <a:gd name="T36" fmla="*/ 2147483646 w 40"/>
                <a:gd name="T37" fmla="*/ 2147483646 h 46"/>
                <a:gd name="T38" fmla="*/ 2147483646 w 40"/>
                <a:gd name="T39" fmla="*/ 2147483646 h 46"/>
                <a:gd name="T40" fmla="*/ 2147483646 w 40"/>
                <a:gd name="T41" fmla="*/ 2147483646 h 46"/>
                <a:gd name="T42" fmla="*/ 2147483646 w 40"/>
                <a:gd name="T43" fmla="*/ 2147483646 h 46"/>
                <a:gd name="T44" fmla="*/ 2147483646 w 40"/>
                <a:gd name="T45" fmla="*/ 2147483646 h 46"/>
                <a:gd name="T46" fmla="*/ 2147483646 w 40"/>
                <a:gd name="T47" fmla="*/ 2147483646 h 46"/>
                <a:gd name="T48" fmla="*/ 2147483646 w 40"/>
                <a:gd name="T49" fmla="*/ 2147483646 h 46"/>
                <a:gd name="T50" fmla="*/ 2147483646 w 40"/>
                <a:gd name="T51" fmla="*/ 2147483646 h 46"/>
                <a:gd name="T52" fmla="*/ 2147483646 w 40"/>
                <a:gd name="T53" fmla="*/ 2147483646 h 46"/>
                <a:gd name="T54" fmla="*/ 2147483646 w 40"/>
                <a:gd name="T55" fmla="*/ 2147483646 h 46"/>
                <a:gd name="T56" fmla="*/ 2147483646 w 40"/>
                <a:gd name="T57" fmla="*/ 2147483646 h 46"/>
                <a:gd name="T58" fmla="*/ 2147483646 w 40"/>
                <a:gd name="T59" fmla="*/ 2147483646 h 46"/>
                <a:gd name="T60" fmla="*/ 2147483646 w 40"/>
                <a:gd name="T61" fmla="*/ 2147483646 h 46"/>
                <a:gd name="T62" fmla="*/ 2147483646 w 40"/>
                <a:gd name="T63" fmla="*/ 2147483646 h 46"/>
                <a:gd name="T64" fmla="*/ 2147483646 w 40"/>
                <a:gd name="T65" fmla="*/ 2147483646 h 46"/>
                <a:gd name="T66" fmla="*/ 2147483646 w 40"/>
                <a:gd name="T67" fmla="*/ 0 h 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0" h="46">
                  <a:moveTo>
                    <a:pt x="32" y="0"/>
                  </a:moveTo>
                  <a:cubicBezTo>
                    <a:pt x="32" y="0"/>
                    <a:pt x="30" y="1"/>
                    <a:pt x="30" y="1"/>
                  </a:cubicBezTo>
                  <a:cubicBezTo>
                    <a:pt x="30" y="1"/>
                    <a:pt x="29" y="3"/>
                    <a:pt x="28" y="3"/>
                  </a:cubicBezTo>
                  <a:cubicBezTo>
                    <a:pt x="27" y="3"/>
                    <a:pt x="24" y="3"/>
                    <a:pt x="22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0" y="4"/>
                    <a:pt x="14" y="3"/>
                    <a:pt x="11" y="3"/>
                  </a:cubicBezTo>
                  <a:cubicBezTo>
                    <a:pt x="10" y="3"/>
                    <a:pt x="7" y="2"/>
                    <a:pt x="7" y="3"/>
                  </a:cubicBezTo>
                  <a:cubicBezTo>
                    <a:pt x="7" y="5"/>
                    <a:pt x="7" y="6"/>
                    <a:pt x="7" y="7"/>
                  </a:cubicBezTo>
                  <a:cubicBezTo>
                    <a:pt x="7" y="8"/>
                    <a:pt x="5" y="7"/>
                    <a:pt x="5" y="7"/>
                  </a:cubicBezTo>
                  <a:cubicBezTo>
                    <a:pt x="3" y="9"/>
                    <a:pt x="7" y="17"/>
                    <a:pt x="4" y="18"/>
                  </a:cubicBezTo>
                  <a:cubicBezTo>
                    <a:pt x="2" y="18"/>
                    <a:pt x="0" y="22"/>
                    <a:pt x="0" y="25"/>
                  </a:cubicBezTo>
                  <a:cubicBezTo>
                    <a:pt x="2" y="24"/>
                    <a:pt x="2" y="29"/>
                    <a:pt x="2" y="29"/>
                  </a:cubicBezTo>
                  <a:cubicBezTo>
                    <a:pt x="4" y="31"/>
                    <a:pt x="4" y="31"/>
                    <a:pt x="4" y="33"/>
                  </a:cubicBezTo>
                  <a:cubicBezTo>
                    <a:pt x="4" y="34"/>
                    <a:pt x="5" y="35"/>
                    <a:pt x="6" y="35"/>
                  </a:cubicBezTo>
                  <a:cubicBezTo>
                    <a:pt x="6" y="35"/>
                    <a:pt x="7" y="35"/>
                    <a:pt x="7" y="36"/>
                  </a:cubicBezTo>
                  <a:cubicBezTo>
                    <a:pt x="8" y="36"/>
                    <a:pt x="8" y="37"/>
                    <a:pt x="8" y="37"/>
                  </a:cubicBezTo>
                  <a:cubicBezTo>
                    <a:pt x="10" y="38"/>
                    <a:pt x="10" y="39"/>
                    <a:pt x="11" y="40"/>
                  </a:cubicBezTo>
                  <a:cubicBezTo>
                    <a:pt x="11" y="41"/>
                    <a:pt x="15" y="45"/>
                    <a:pt x="16" y="44"/>
                  </a:cubicBezTo>
                  <a:cubicBezTo>
                    <a:pt x="18" y="42"/>
                    <a:pt x="19" y="46"/>
                    <a:pt x="21" y="46"/>
                  </a:cubicBezTo>
                  <a:cubicBezTo>
                    <a:pt x="24" y="46"/>
                    <a:pt x="27" y="46"/>
                    <a:pt x="29" y="44"/>
                  </a:cubicBezTo>
                  <a:cubicBezTo>
                    <a:pt x="30" y="43"/>
                    <a:pt x="32" y="45"/>
                    <a:pt x="33" y="44"/>
                  </a:cubicBezTo>
                  <a:cubicBezTo>
                    <a:pt x="34" y="42"/>
                    <a:pt x="31" y="42"/>
                    <a:pt x="31" y="41"/>
                  </a:cubicBezTo>
                  <a:cubicBezTo>
                    <a:pt x="30" y="39"/>
                    <a:pt x="28" y="37"/>
                    <a:pt x="26" y="36"/>
                  </a:cubicBezTo>
                  <a:cubicBezTo>
                    <a:pt x="26" y="34"/>
                    <a:pt x="28" y="36"/>
                    <a:pt x="29" y="34"/>
                  </a:cubicBezTo>
                  <a:cubicBezTo>
                    <a:pt x="29" y="33"/>
                    <a:pt x="29" y="32"/>
                    <a:pt x="29" y="30"/>
                  </a:cubicBezTo>
                  <a:cubicBezTo>
                    <a:pt x="29" y="30"/>
                    <a:pt x="30" y="30"/>
                    <a:pt x="30" y="29"/>
                  </a:cubicBezTo>
                  <a:cubicBezTo>
                    <a:pt x="31" y="28"/>
                    <a:pt x="31" y="28"/>
                    <a:pt x="31" y="27"/>
                  </a:cubicBezTo>
                  <a:cubicBezTo>
                    <a:pt x="32" y="26"/>
                    <a:pt x="33" y="25"/>
                    <a:pt x="33" y="24"/>
                  </a:cubicBezTo>
                  <a:cubicBezTo>
                    <a:pt x="34" y="23"/>
                    <a:pt x="34" y="21"/>
                    <a:pt x="34" y="19"/>
                  </a:cubicBezTo>
                  <a:cubicBezTo>
                    <a:pt x="35" y="17"/>
                    <a:pt x="34" y="15"/>
                    <a:pt x="37" y="14"/>
                  </a:cubicBezTo>
                  <a:cubicBezTo>
                    <a:pt x="40" y="12"/>
                    <a:pt x="37" y="12"/>
                    <a:pt x="36" y="10"/>
                  </a:cubicBezTo>
                  <a:cubicBezTo>
                    <a:pt x="35" y="8"/>
                    <a:pt x="37" y="6"/>
                    <a:pt x="35" y="4"/>
                  </a:cubicBezTo>
                  <a:cubicBezTo>
                    <a:pt x="35" y="4"/>
                    <a:pt x="35" y="3"/>
                    <a:pt x="35" y="2"/>
                  </a:cubicBezTo>
                  <a:cubicBezTo>
                    <a:pt x="34" y="2"/>
                    <a:pt x="33" y="1"/>
                    <a:pt x="3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5" name="Freeform 310"/>
            <p:cNvSpPr>
              <a:spLocks noEditPoints="1"/>
            </p:cNvSpPr>
            <p:nvPr/>
          </p:nvSpPr>
          <p:spPr bwMode="auto">
            <a:xfrm>
              <a:off x="2110398" y="2777085"/>
              <a:ext cx="289569" cy="355753"/>
            </a:xfrm>
            <a:custGeom>
              <a:avLst/>
              <a:gdLst>
                <a:gd name="T0" fmla="*/ 2147483646 w 39"/>
                <a:gd name="T1" fmla="*/ 2147483646 h 48"/>
                <a:gd name="T2" fmla="*/ 2147483646 w 39"/>
                <a:gd name="T3" fmla="*/ 2147483646 h 48"/>
                <a:gd name="T4" fmla="*/ 2147483646 w 39"/>
                <a:gd name="T5" fmla="*/ 2147483646 h 48"/>
                <a:gd name="T6" fmla="*/ 2147483646 w 39"/>
                <a:gd name="T7" fmla="*/ 2147483646 h 48"/>
                <a:gd name="T8" fmla="*/ 2147483646 w 39"/>
                <a:gd name="T9" fmla="*/ 2147483646 h 48"/>
                <a:gd name="T10" fmla="*/ 0 w 39"/>
                <a:gd name="T11" fmla="*/ 2147483646 h 48"/>
                <a:gd name="T12" fmla="*/ 2147483646 w 39"/>
                <a:gd name="T13" fmla="*/ 2147483646 h 48"/>
                <a:gd name="T14" fmla="*/ 2147483646 w 39"/>
                <a:gd name="T15" fmla="*/ 2147483646 h 48"/>
                <a:gd name="T16" fmla="*/ 2147483646 w 39"/>
                <a:gd name="T17" fmla="*/ 2147483646 h 48"/>
                <a:gd name="T18" fmla="*/ 2147483646 w 39"/>
                <a:gd name="T19" fmla="*/ 2147483646 h 48"/>
                <a:gd name="T20" fmla="*/ 2147483646 w 39"/>
                <a:gd name="T21" fmla="*/ 2147483646 h 48"/>
                <a:gd name="T22" fmla="*/ 2147483646 w 39"/>
                <a:gd name="T23" fmla="*/ 2147483646 h 48"/>
                <a:gd name="T24" fmla="*/ 2147483646 w 39"/>
                <a:gd name="T25" fmla="*/ 0 h 48"/>
                <a:gd name="T26" fmla="*/ 2147483646 w 39"/>
                <a:gd name="T27" fmla="*/ 2147483646 h 48"/>
                <a:gd name="T28" fmla="*/ 2147483646 w 39"/>
                <a:gd name="T29" fmla="*/ 2147483646 h 48"/>
                <a:gd name="T30" fmla="*/ 2147483646 w 39"/>
                <a:gd name="T31" fmla="*/ 2147483646 h 48"/>
                <a:gd name="T32" fmla="*/ 2147483646 w 39"/>
                <a:gd name="T33" fmla="*/ 2147483646 h 48"/>
                <a:gd name="T34" fmla="*/ 2147483646 w 39"/>
                <a:gd name="T35" fmla="*/ 2147483646 h 48"/>
                <a:gd name="T36" fmla="*/ 2147483646 w 39"/>
                <a:gd name="T37" fmla="*/ 2147483646 h 48"/>
                <a:gd name="T38" fmla="*/ 2147483646 w 39"/>
                <a:gd name="T39" fmla="*/ 2147483646 h 48"/>
                <a:gd name="T40" fmla="*/ 2147483646 w 39"/>
                <a:gd name="T41" fmla="*/ 2147483646 h 48"/>
                <a:gd name="T42" fmla="*/ 2147483646 w 39"/>
                <a:gd name="T43" fmla="*/ 2147483646 h 48"/>
                <a:gd name="T44" fmla="*/ 2147483646 w 39"/>
                <a:gd name="T45" fmla="*/ 2147483646 h 48"/>
                <a:gd name="T46" fmla="*/ 2147483646 w 39"/>
                <a:gd name="T47" fmla="*/ 2147483646 h 48"/>
                <a:gd name="T48" fmla="*/ 2147483646 w 39"/>
                <a:gd name="T49" fmla="*/ 2147483646 h 48"/>
                <a:gd name="T50" fmla="*/ 2147483646 w 39"/>
                <a:gd name="T51" fmla="*/ 2147483646 h 48"/>
                <a:gd name="T52" fmla="*/ 2147483646 w 39"/>
                <a:gd name="T53" fmla="*/ 2147483646 h 48"/>
                <a:gd name="T54" fmla="*/ 2147483646 w 39"/>
                <a:gd name="T55" fmla="*/ 2147483646 h 48"/>
                <a:gd name="T56" fmla="*/ 2147483646 w 39"/>
                <a:gd name="T57" fmla="*/ 2147483646 h 48"/>
                <a:gd name="T58" fmla="*/ 2147483646 w 39"/>
                <a:gd name="T59" fmla="*/ 2147483646 h 48"/>
                <a:gd name="T60" fmla="*/ 2147483646 w 39"/>
                <a:gd name="T61" fmla="*/ 2147483646 h 48"/>
                <a:gd name="T62" fmla="*/ 2147483646 w 39"/>
                <a:gd name="T63" fmla="*/ 2147483646 h 48"/>
                <a:gd name="T64" fmla="*/ 2147483646 w 39"/>
                <a:gd name="T65" fmla="*/ 2147483646 h 48"/>
                <a:gd name="T66" fmla="*/ 2147483646 w 39"/>
                <a:gd name="T67" fmla="*/ 2147483646 h 48"/>
                <a:gd name="T68" fmla="*/ 2147483646 w 39"/>
                <a:gd name="T69" fmla="*/ 2147483646 h 48"/>
                <a:gd name="T70" fmla="*/ 2147483646 w 39"/>
                <a:gd name="T71" fmla="*/ 2147483646 h 48"/>
                <a:gd name="T72" fmla="*/ 2147483646 w 39"/>
                <a:gd name="T73" fmla="*/ 2147483646 h 48"/>
                <a:gd name="T74" fmla="*/ 2147483646 w 39"/>
                <a:gd name="T75" fmla="*/ 2147483646 h 48"/>
                <a:gd name="T76" fmla="*/ 2147483646 w 39"/>
                <a:gd name="T77" fmla="*/ 2147483646 h 48"/>
                <a:gd name="T78" fmla="*/ 2147483646 w 39"/>
                <a:gd name="T79" fmla="*/ 2147483646 h 48"/>
                <a:gd name="T80" fmla="*/ 2147483646 w 39"/>
                <a:gd name="T81" fmla="*/ 2147483646 h 48"/>
                <a:gd name="T82" fmla="*/ 2147483646 w 39"/>
                <a:gd name="T83" fmla="*/ 2147483646 h 48"/>
                <a:gd name="T84" fmla="*/ 2147483646 w 39"/>
                <a:gd name="T85" fmla="*/ 2147483646 h 48"/>
                <a:gd name="T86" fmla="*/ 2147483646 w 39"/>
                <a:gd name="T87" fmla="*/ 2147483646 h 48"/>
                <a:gd name="T88" fmla="*/ 2147483646 w 39"/>
                <a:gd name="T89" fmla="*/ 2147483646 h 48"/>
                <a:gd name="T90" fmla="*/ 2147483646 w 39"/>
                <a:gd name="T91" fmla="*/ 2147483646 h 48"/>
                <a:gd name="T92" fmla="*/ 2147483646 w 39"/>
                <a:gd name="T93" fmla="*/ 2147483646 h 48"/>
                <a:gd name="T94" fmla="*/ 2147483646 w 39"/>
                <a:gd name="T95" fmla="*/ 2147483646 h 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9" h="48">
                  <a:moveTo>
                    <a:pt x="21" y="48"/>
                  </a:moveTo>
                  <a:cubicBezTo>
                    <a:pt x="20" y="48"/>
                    <a:pt x="20" y="47"/>
                    <a:pt x="19" y="46"/>
                  </a:cubicBezTo>
                  <a:cubicBezTo>
                    <a:pt x="18" y="46"/>
                    <a:pt x="17" y="45"/>
                    <a:pt x="16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4" y="46"/>
                    <a:pt x="11" y="42"/>
                    <a:pt x="11" y="41"/>
                  </a:cubicBezTo>
                  <a:cubicBezTo>
                    <a:pt x="10" y="40"/>
                    <a:pt x="9" y="40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7" y="38"/>
                    <a:pt x="7" y="38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6" y="37"/>
                    <a:pt x="6" y="37"/>
                    <a:pt x="5" y="37"/>
                  </a:cubicBezTo>
                  <a:cubicBezTo>
                    <a:pt x="4" y="36"/>
                    <a:pt x="3" y="35"/>
                    <a:pt x="3" y="34"/>
                  </a:cubicBezTo>
                  <a:cubicBezTo>
                    <a:pt x="3" y="32"/>
                    <a:pt x="3" y="32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0"/>
                    <a:pt x="2" y="30"/>
                    <a:pt x="1" y="29"/>
                  </a:cubicBezTo>
                  <a:cubicBezTo>
                    <a:pt x="1" y="28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3"/>
                    <a:pt x="1" y="19"/>
                    <a:pt x="4" y="18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5" y="17"/>
                    <a:pt x="5" y="15"/>
                    <a:pt x="4" y="13"/>
                  </a:cubicBezTo>
                  <a:cubicBezTo>
                    <a:pt x="4" y="11"/>
                    <a:pt x="4" y="9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7" y="8"/>
                    <a:pt x="7" y="8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3"/>
                    <a:pt x="9" y="3"/>
                  </a:cubicBezTo>
                  <a:cubicBezTo>
                    <a:pt x="9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3" y="3"/>
                    <a:pt x="14" y="3"/>
                  </a:cubicBezTo>
                  <a:cubicBezTo>
                    <a:pt x="15" y="3"/>
                    <a:pt x="17" y="3"/>
                    <a:pt x="18" y="3"/>
                  </a:cubicBezTo>
                  <a:cubicBezTo>
                    <a:pt x="20" y="3"/>
                    <a:pt x="22" y="3"/>
                    <a:pt x="22" y="3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6" y="3"/>
                    <a:pt x="27" y="4"/>
                    <a:pt x="28" y="3"/>
                  </a:cubicBezTo>
                  <a:cubicBezTo>
                    <a:pt x="28" y="3"/>
                    <a:pt x="29" y="2"/>
                    <a:pt x="30" y="2"/>
                  </a:cubicBezTo>
                  <a:cubicBezTo>
                    <a:pt x="30" y="1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1"/>
                    <a:pt x="33" y="1"/>
                    <a:pt x="34" y="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6" y="4"/>
                    <a:pt x="36" y="4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6"/>
                    <a:pt x="36" y="7"/>
                    <a:pt x="36" y="8"/>
                  </a:cubicBezTo>
                  <a:cubicBezTo>
                    <a:pt x="36" y="9"/>
                    <a:pt x="36" y="10"/>
                    <a:pt x="37" y="11"/>
                  </a:cubicBezTo>
                  <a:cubicBezTo>
                    <a:pt x="37" y="11"/>
                    <a:pt x="37" y="12"/>
                    <a:pt x="38" y="12"/>
                  </a:cubicBezTo>
                  <a:cubicBezTo>
                    <a:pt x="38" y="13"/>
                    <a:pt x="39" y="13"/>
                    <a:pt x="39" y="14"/>
                  </a:cubicBezTo>
                  <a:cubicBezTo>
                    <a:pt x="39" y="14"/>
                    <a:pt x="38" y="15"/>
                    <a:pt x="37" y="15"/>
                  </a:cubicBezTo>
                  <a:cubicBezTo>
                    <a:pt x="35" y="16"/>
                    <a:pt x="35" y="17"/>
                    <a:pt x="35" y="19"/>
                  </a:cubicBezTo>
                  <a:cubicBezTo>
                    <a:pt x="35" y="19"/>
                    <a:pt x="35" y="20"/>
                    <a:pt x="35" y="20"/>
                  </a:cubicBezTo>
                  <a:cubicBezTo>
                    <a:pt x="34" y="21"/>
                    <a:pt x="34" y="22"/>
                    <a:pt x="34" y="22"/>
                  </a:cubicBezTo>
                  <a:cubicBezTo>
                    <a:pt x="34" y="23"/>
                    <a:pt x="34" y="25"/>
                    <a:pt x="34" y="26"/>
                  </a:cubicBezTo>
                  <a:cubicBezTo>
                    <a:pt x="33" y="26"/>
                    <a:pt x="33" y="27"/>
                    <a:pt x="32" y="27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1" y="28"/>
                    <a:pt x="31" y="29"/>
                    <a:pt x="31" y="29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1"/>
                    <a:pt x="30" y="31"/>
                    <a:pt x="30" y="31"/>
                  </a:cubicBezTo>
                  <a:cubicBezTo>
                    <a:pt x="30" y="31"/>
                    <a:pt x="29" y="31"/>
                    <a:pt x="29" y="31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6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9" y="38"/>
                    <a:pt x="31" y="41"/>
                    <a:pt x="31" y="42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3" y="43"/>
                    <a:pt x="33" y="43"/>
                    <a:pt x="34" y="44"/>
                  </a:cubicBezTo>
                  <a:cubicBezTo>
                    <a:pt x="34" y="44"/>
                    <a:pt x="33" y="45"/>
                    <a:pt x="33" y="45"/>
                  </a:cubicBezTo>
                  <a:cubicBezTo>
                    <a:pt x="33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1" y="46"/>
                    <a:pt x="31" y="46"/>
                  </a:cubicBezTo>
                  <a:cubicBezTo>
                    <a:pt x="31" y="46"/>
                    <a:pt x="30" y="45"/>
                    <a:pt x="30" y="45"/>
                  </a:cubicBezTo>
                  <a:cubicBezTo>
                    <a:pt x="30" y="45"/>
                    <a:pt x="29" y="46"/>
                    <a:pt x="29" y="46"/>
                  </a:cubicBezTo>
                  <a:cubicBezTo>
                    <a:pt x="27" y="48"/>
                    <a:pt x="25" y="48"/>
                    <a:pt x="23" y="48"/>
                  </a:cubicBezTo>
                  <a:cubicBezTo>
                    <a:pt x="22" y="48"/>
                    <a:pt x="22" y="48"/>
                    <a:pt x="21" y="48"/>
                  </a:cubicBezTo>
                  <a:close/>
                  <a:moveTo>
                    <a:pt x="17" y="44"/>
                  </a:moveTo>
                  <a:cubicBezTo>
                    <a:pt x="18" y="44"/>
                    <a:pt x="19" y="45"/>
                    <a:pt x="20" y="46"/>
                  </a:cubicBezTo>
                  <a:cubicBezTo>
                    <a:pt x="20" y="46"/>
                    <a:pt x="21" y="47"/>
                    <a:pt x="21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2" y="47"/>
                    <a:pt x="22" y="46"/>
                    <a:pt x="23" y="46"/>
                  </a:cubicBezTo>
                  <a:cubicBezTo>
                    <a:pt x="25" y="46"/>
                    <a:pt x="27" y="46"/>
                    <a:pt x="29" y="45"/>
                  </a:cubicBezTo>
                  <a:cubicBezTo>
                    <a:pt x="29" y="44"/>
                    <a:pt x="30" y="44"/>
                    <a:pt x="31" y="44"/>
                  </a:cubicBezTo>
                  <a:cubicBezTo>
                    <a:pt x="31" y="44"/>
                    <a:pt x="32" y="45"/>
                    <a:pt x="32" y="45"/>
                  </a:cubicBezTo>
                  <a:cubicBezTo>
                    <a:pt x="32" y="45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3"/>
                    <a:pt x="31" y="43"/>
                  </a:cubicBezTo>
                  <a:cubicBezTo>
                    <a:pt x="31" y="43"/>
                    <a:pt x="30" y="43"/>
                    <a:pt x="30" y="43"/>
                  </a:cubicBezTo>
                  <a:cubicBezTo>
                    <a:pt x="30" y="42"/>
                    <a:pt x="29" y="38"/>
                    <a:pt x="26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6" y="36"/>
                    <a:pt x="27" y="36"/>
                    <a:pt x="27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9" y="30"/>
                    <a:pt x="29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29"/>
                    <a:pt x="30" y="29"/>
                  </a:cubicBezTo>
                  <a:cubicBezTo>
                    <a:pt x="30" y="28"/>
                    <a:pt x="30" y="28"/>
                    <a:pt x="31" y="27"/>
                  </a:cubicBezTo>
                  <a:cubicBezTo>
                    <a:pt x="31" y="27"/>
                    <a:pt x="31" y="27"/>
                    <a:pt x="32" y="27"/>
                  </a:cubicBezTo>
                  <a:cubicBezTo>
                    <a:pt x="32" y="26"/>
                    <a:pt x="33" y="26"/>
                    <a:pt x="33" y="25"/>
                  </a:cubicBezTo>
                  <a:cubicBezTo>
                    <a:pt x="33" y="24"/>
                    <a:pt x="33" y="23"/>
                    <a:pt x="33" y="22"/>
                  </a:cubicBezTo>
                  <a:cubicBezTo>
                    <a:pt x="33" y="22"/>
                    <a:pt x="33" y="21"/>
                    <a:pt x="33" y="20"/>
                  </a:cubicBezTo>
                  <a:cubicBezTo>
                    <a:pt x="34" y="20"/>
                    <a:pt x="34" y="19"/>
                    <a:pt x="34" y="19"/>
                  </a:cubicBezTo>
                  <a:cubicBezTo>
                    <a:pt x="34" y="17"/>
                    <a:pt x="34" y="15"/>
                    <a:pt x="36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7" y="13"/>
                    <a:pt x="37" y="13"/>
                  </a:cubicBezTo>
                  <a:cubicBezTo>
                    <a:pt x="37" y="13"/>
                    <a:pt x="36" y="12"/>
                    <a:pt x="35" y="11"/>
                  </a:cubicBezTo>
                  <a:cubicBezTo>
                    <a:pt x="35" y="10"/>
                    <a:pt x="35" y="9"/>
                    <a:pt x="35" y="8"/>
                  </a:cubicBezTo>
                  <a:cubicBezTo>
                    <a:pt x="35" y="7"/>
                    <a:pt x="35" y="6"/>
                    <a:pt x="35" y="6"/>
                  </a:cubicBezTo>
                  <a:cubicBezTo>
                    <a:pt x="34" y="5"/>
                    <a:pt x="34" y="5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2"/>
                    <a:pt x="32" y="2"/>
                    <a:pt x="32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0" y="3"/>
                    <a:pt x="29" y="4"/>
                    <a:pt x="28" y="5"/>
                  </a:cubicBezTo>
                  <a:cubicBezTo>
                    <a:pt x="27" y="5"/>
                    <a:pt x="26" y="5"/>
                    <a:pt x="24" y="4"/>
                  </a:cubicBezTo>
                  <a:cubicBezTo>
                    <a:pt x="24" y="4"/>
                    <a:pt x="23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0" y="5"/>
                    <a:pt x="18" y="5"/>
                  </a:cubicBezTo>
                  <a:cubicBezTo>
                    <a:pt x="17" y="5"/>
                    <a:pt x="15" y="4"/>
                    <a:pt x="14" y="4"/>
                  </a:cubicBezTo>
                  <a:cubicBezTo>
                    <a:pt x="13" y="4"/>
                    <a:pt x="12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9"/>
                    <a:pt x="7" y="9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5" y="10"/>
                    <a:pt x="5" y="12"/>
                    <a:pt x="6" y="13"/>
                  </a:cubicBezTo>
                  <a:cubicBezTo>
                    <a:pt x="6" y="15"/>
                    <a:pt x="6" y="17"/>
                    <a:pt x="6" y="19"/>
                  </a:cubicBezTo>
                  <a:cubicBezTo>
                    <a:pt x="5" y="19"/>
                    <a:pt x="5" y="19"/>
                    <a:pt x="4" y="19"/>
                  </a:cubicBezTo>
                  <a:cubicBezTo>
                    <a:pt x="2" y="20"/>
                    <a:pt x="1" y="23"/>
                    <a:pt x="1" y="25"/>
                  </a:cubicBezTo>
                  <a:cubicBezTo>
                    <a:pt x="2" y="26"/>
                    <a:pt x="2" y="28"/>
                    <a:pt x="3" y="29"/>
                  </a:cubicBezTo>
                  <a:cubicBezTo>
                    <a:pt x="3" y="29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4" y="31"/>
                    <a:pt x="5" y="32"/>
                    <a:pt x="5" y="34"/>
                  </a:cubicBezTo>
                  <a:cubicBezTo>
                    <a:pt x="5" y="35"/>
                    <a:pt x="5" y="35"/>
                    <a:pt x="6" y="36"/>
                  </a:cubicBezTo>
                  <a:cubicBezTo>
                    <a:pt x="6" y="36"/>
                    <a:pt x="7" y="36"/>
                    <a:pt x="7" y="36"/>
                  </a:cubicBezTo>
                  <a:cubicBezTo>
                    <a:pt x="7" y="36"/>
                    <a:pt x="7" y="36"/>
                    <a:pt x="8" y="36"/>
                  </a:cubicBezTo>
                  <a:cubicBezTo>
                    <a:pt x="8" y="36"/>
                    <a:pt x="8" y="37"/>
                    <a:pt x="9" y="37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10" y="39"/>
                    <a:pt x="11" y="39"/>
                    <a:pt x="12" y="41"/>
                  </a:cubicBezTo>
                  <a:cubicBezTo>
                    <a:pt x="12" y="42"/>
                    <a:pt x="15" y="45"/>
                    <a:pt x="16" y="45"/>
                  </a:cubicBezTo>
                  <a:cubicBezTo>
                    <a:pt x="16" y="44"/>
                    <a:pt x="17" y="44"/>
                    <a:pt x="1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6" name="Freeform 311"/>
            <p:cNvSpPr/>
            <p:nvPr/>
          </p:nvSpPr>
          <p:spPr bwMode="auto">
            <a:xfrm>
              <a:off x="2264625" y="3639707"/>
              <a:ext cx="22032" cy="34631"/>
            </a:xfrm>
            <a:custGeom>
              <a:avLst/>
              <a:gdLst>
                <a:gd name="T0" fmla="*/ 2147483646 w 3"/>
                <a:gd name="T1" fmla="*/ 2147483646 h 5"/>
                <a:gd name="T2" fmla="*/ 0 w 3"/>
                <a:gd name="T3" fmla="*/ 2147483646 h 5"/>
                <a:gd name="T4" fmla="*/ 2147483646 w 3"/>
                <a:gd name="T5" fmla="*/ 2147483646 h 5"/>
                <a:gd name="T6" fmla="*/ 2147483646 w 3"/>
                <a:gd name="T7" fmla="*/ 2147483646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5">
                  <a:moveTo>
                    <a:pt x="2" y="1"/>
                  </a:moveTo>
                  <a:cubicBezTo>
                    <a:pt x="1" y="0"/>
                    <a:pt x="0" y="2"/>
                    <a:pt x="0" y="4"/>
                  </a:cubicBezTo>
                  <a:cubicBezTo>
                    <a:pt x="0" y="5"/>
                    <a:pt x="2" y="5"/>
                    <a:pt x="2" y="4"/>
                  </a:cubicBezTo>
                  <a:cubicBezTo>
                    <a:pt x="3" y="3"/>
                    <a:pt x="3" y="2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7" name="Freeform 312"/>
            <p:cNvSpPr>
              <a:spLocks noEditPoints="1"/>
            </p:cNvSpPr>
            <p:nvPr/>
          </p:nvSpPr>
          <p:spPr bwMode="auto">
            <a:xfrm>
              <a:off x="2258330" y="3639707"/>
              <a:ext cx="28327" cy="34631"/>
            </a:xfrm>
            <a:custGeom>
              <a:avLst/>
              <a:gdLst>
                <a:gd name="T0" fmla="*/ 2147483646 w 4"/>
                <a:gd name="T1" fmla="*/ 2147483646 h 5"/>
                <a:gd name="T2" fmla="*/ 2147483646 w 4"/>
                <a:gd name="T3" fmla="*/ 2147483646 h 5"/>
                <a:gd name="T4" fmla="*/ 2147483646 w 4"/>
                <a:gd name="T5" fmla="*/ 2147483646 h 5"/>
                <a:gd name="T6" fmla="*/ 2147483646 w 4"/>
                <a:gd name="T7" fmla="*/ 0 h 5"/>
                <a:gd name="T8" fmla="*/ 2147483646 w 4"/>
                <a:gd name="T9" fmla="*/ 2147483646 h 5"/>
                <a:gd name="T10" fmla="*/ 2147483646 w 4"/>
                <a:gd name="T11" fmla="*/ 2147483646 h 5"/>
                <a:gd name="T12" fmla="*/ 2147483646 w 4"/>
                <a:gd name="T13" fmla="*/ 2147483646 h 5"/>
                <a:gd name="T14" fmla="*/ 2147483646 w 4"/>
                <a:gd name="T15" fmla="*/ 2147483646 h 5"/>
                <a:gd name="T16" fmla="*/ 2147483646 w 4"/>
                <a:gd name="T17" fmla="*/ 2147483646 h 5"/>
                <a:gd name="T18" fmla="*/ 2147483646 w 4"/>
                <a:gd name="T19" fmla="*/ 2147483646 h 5"/>
                <a:gd name="T20" fmla="*/ 2147483646 w 4"/>
                <a:gd name="T21" fmla="*/ 2147483646 h 5"/>
                <a:gd name="T22" fmla="*/ 2147483646 w 4"/>
                <a:gd name="T23" fmla="*/ 2147483646 h 5"/>
                <a:gd name="T24" fmla="*/ 2147483646 w 4"/>
                <a:gd name="T25" fmla="*/ 2147483646 h 5"/>
                <a:gd name="T26" fmla="*/ 2147483646 w 4"/>
                <a:gd name="T27" fmla="*/ 2147483646 h 5"/>
                <a:gd name="T28" fmla="*/ 2147483646 w 4"/>
                <a:gd name="T29" fmla="*/ 2147483646 h 5"/>
                <a:gd name="T30" fmla="*/ 2147483646 w 4"/>
                <a:gd name="T31" fmla="*/ 2147483646 h 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cubicBezTo>
                    <a:pt x="2" y="5"/>
                    <a:pt x="1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5"/>
                  </a:cubicBezTo>
                  <a:cubicBezTo>
                    <a:pt x="3" y="5"/>
                    <a:pt x="3" y="5"/>
                    <a:pt x="2" y="5"/>
                  </a:cubicBezTo>
                  <a:close/>
                  <a:moveTo>
                    <a:pt x="3" y="1"/>
                  </a:move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8" name="Freeform 313"/>
            <p:cNvSpPr/>
            <p:nvPr/>
          </p:nvSpPr>
          <p:spPr bwMode="auto">
            <a:xfrm>
              <a:off x="1729551" y="3000611"/>
              <a:ext cx="37770" cy="94448"/>
            </a:xfrm>
            <a:custGeom>
              <a:avLst/>
              <a:gdLst>
                <a:gd name="T0" fmla="*/ 2147483646 w 5"/>
                <a:gd name="T1" fmla="*/ 2147483646 h 13"/>
                <a:gd name="T2" fmla="*/ 2147483646 w 5"/>
                <a:gd name="T3" fmla="*/ 2147483646 h 13"/>
                <a:gd name="T4" fmla="*/ 0 w 5"/>
                <a:gd name="T5" fmla="*/ 0 h 13"/>
                <a:gd name="T6" fmla="*/ 2147483646 w 5"/>
                <a:gd name="T7" fmla="*/ 0 h 13"/>
                <a:gd name="T8" fmla="*/ 2147483646 w 5"/>
                <a:gd name="T9" fmla="*/ 2147483646 h 13"/>
                <a:gd name="T10" fmla="*/ 2147483646 w 5"/>
                <a:gd name="T11" fmla="*/ 2147483646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" h="13">
                  <a:moveTo>
                    <a:pt x="5" y="11"/>
                  </a:moveTo>
                  <a:cubicBezTo>
                    <a:pt x="2" y="13"/>
                    <a:pt x="2" y="7"/>
                    <a:pt x="2" y="5"/>
                  </a:cubicBezTo>
                  <a:cubicBezTo>
                    <a:pt x="2" y="3"/>
                    <a:pt x="0" y="1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2" y="1"/>
                    <a:pt x="4" y="3"/>
                    <a:pt x="4" y="5"/>
                  </a:cubicBezTo>
                  <a:cubicBezTo>
                    <a:pt x="5" y="7"/>
                    <a:pt x="4" y="9"/>
                    <a:pt x="5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9" name="Freeform 314"/>
            <p:cNvSpPr>
              <a:spLocks noEditPoints="1"/>
            </p:cNvSpPr>
            <p:nvPr/>
          </p:nvSpPr>
          <p:spPr bwMode="auto">
            <a:xfrm>
              <a:off x="1723256" y="2991166"/>
              <a:ext cx="50360" cy="97596"/>
            </a:xfrm>
            <a:custGeom>
              <a:avLst/>
              <a:gdLst>
                <a:gd name="T0" fmla="*/ 2147483646 w 7"/>
                <a:gd name="T1" fmla="*/ 2147483646 h 13"/>
                <a:gd name="T2" fmla="*/ 2147483646 w 7"/>
                <a:gd name="T3" fmla="*/ 2147483646 h 13"/>
                <a:gd name="T4" fmla="*/ 2147483646 w 7"/>
                <a:gd name="T5" fmla="*/ 2147483646 h 13"/>
                <a:gd name="T6" fmla="*/ 2147483646 w 7"/>
                <a:gd name="T7" fmla="*/ 2147483646 h 13"/>
                <a:gd name="T8" fmla="*/ 2147483646 w 7"/>
                <a:gd name="T9" fmla="*/ 2147483646 h 13"/>
                <a:gd name="T10" fmla="*/ 0 w 7"/>
                <a:gd name="T11" fmla="*/ 0 h 13"/>
                <a:gd name="T12" fmla="*/ 2147483646 w 7"/>
                <a:gd name="T13" fmla="*/ 0 h 13"/>
                <a:gd name="T14" fmla="*/ 2147483646 w 7"/>
                <a:gd name="T15" fmla="*/ 0 h 13"/>
                <a:gd name="T16" fmla="*/ 2147483646 w 7"/>
                <a:gd name="T17" fmla="*/ 0 h 13"/>
                <a:gd name="T18" fmla="*/ 2147483646 w 7"/>
                <a:gd name="T19" fmla="*/ 2147483646 h 13"/>
                <a:gd name="T20" fmla="*/ 2147483646 w 7"/>
                <a:gd name="T21" fmla="*/ 2147483646 h 13"/>
                <a:gd name="T22" fmla="*/ 2147483646 w 7"/>
                <a:gd name="T23" fmla="*/ 2147483646 h 13"/>
                <a:gd name="T24" fmla="*/ 2147483646 w 7"/>
                <a:gd name="T25" fmla="*/ 2147483646 h 13"/>
                <a:gd name="T26" fmla="*/ 2147483646 w 7"/>
                <a:gd name="T27" fmla="*/ 2147483646 h 13"/>
                <a:gd name="T28" fmla="*/ 2147483646 w 7"/>
                <a:gd name="T29" fmla="*/ 2147483646 h 13"/>
                <a:gd name="T30" fmla="*/ 2147483646 w 7"/>
                <a:gd name="T31" fmla="*/ 2147483646 h 13"/>
                <a:gd name="T32" fmla="*/ 2147483646 w 7"/>
                <a:gd name="T33" fmla="*/ 2147483646 h 13"/>
                <a:gd name="T34" fmla="*/ 2147483646 w 7"/>
                <a:gd name="T35" fmla="*/ 2147483646 h 13"/>
                <a:gd name="T36" fmla="*/ 2147483646 w 7"/>
                <a:gd name="T37" fmla="*/ 2147483646 h 13"/>
                <a:gd name="T38" fmla="*/ 2147483646 w 7"/>
                <a:gd name="T39" fmla="*/ 2147483646 h 13"/>
                <a:gd name="T40" fmla="*/ 2147483646 w 7"/>
                <a:gd name="T41" fmla="*/ 2147483646 h 13"/>
                <a:gd name="T42" fmla="*/ 2147483646 w 7"/>
                <a:gd name="T43" fmla="*/ 2147483646 h 13"/>
                <a:gd name="T44" fmla="*/ 2147483646 w 7"/>
                <a:gd name="T45" fmla="*/ 2147483646 h 13"/>
                <a:gd name="T46" fmla="*/ 2147483646 w 7"/>
                <a:gd name="T47" fmla="*/ 2147483646 h 13"/>
                <a:gd name="T48" fmla="*/ 2147483646 w 7"/>
                <a:gd name="T49" fmla="*/ 2147483646 h 13"/>
                <a:gd name="T50" fmla="*/ 2147483646 w 7"/>
                <a:gd name="T51" fmla="*/ 2147483646 h 13"/>
                <a:gd name="T52" fmla="*/ 2147483646 w 7"/>
                <a:gd name="T53" fmla="*/ 2147483646 h 13"/>
                <a:gd name="T54" fmla="*/ 2147483646 w 7"/>
                <a:gd name="T55" fmla="*/ 2147483646 h 1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7" h="13">
                  <a:moveTo>
                    <a:pt x="5" y="13"/>
                  </a:moveTo>
                  <a:cubicBezTo>
                    <a:pt x="2" y="13"/>
                    <a:pt x="2" y="9"/>
                    <a:pt x="2" y="7"/>
                  </a:cubicBezTo>
                  <a:cubicBezTo>
                    <a:pt x="2" y="7"/>
                    <a:pt x="2" y="6"/>
                    <a:pt x="2" y="6"/>
                  </a:cubicBezTo>
                  <a:cubicBezTo>
                    <a:pt x="2" y="5"/>
                    <a:pt x="2" y="4"/>
                    <a:pt x="1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1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3"/>
                    <a:pt x="5" y="4"/>
                  </a:cubicBezTo>
                  <a:cubicBezTo>
                    <a:pt x="5" y="5"/>
                    <a:pt x="6" y="5"/>
                    <a:pt x="6" y="6"/>
                  </a:cubicBezTo>
                  <a:cubicBezTo>
                    <a:pt x="6" y="7"/>
                    <a:pt x="6" y="8"/>
                    <a:pt x="6" y="9"/>
                  </a:cubicBezTo>
                  <a:cubicBezTo>
                    <a:pt x="6" y="10"/>
                    <a:pt x="6" y="11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lose/>
                  <a:moveTo>
                    <a:pt x="2" y="2"/>
                  </a:moveTo>
                  <a:cubicBezTo>
                    <a:pt x="2" y="2"/>
                    <a:pt x="2" y="2"/>
                    <a:pt x="2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8"/>
                    <a:pt x="4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0"/>
                    <a:pt x="5" y="9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5" y="6"/>
                    <a:pt x="4" y="5"/>
                    <a:pt x="4" y="5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0" name="Freeform 315"/>
            <p:cNvSpPr/>
            <p:nvPr/>
          </p:nvSpPr>
          <p:spPr bwMode="auto">
            <a:xfrm>
              <a:off x="1855451" y="2500039"/>
              <a:ext cx="75540" cy="141671"/>
            </a:xfrm>
            <a:custGeom>
              <a:avLst/>
              <a:gdLst>
                <a:gd name="T0" fmla="*/ 2147483646 w 10"/>
                <a:gd name="T1" fmla="*/ 2147483646 h 19"/>
                <a:gd name="T2" fmla="*/ 2147483646 w 10"/>
                <a:gd name="T3" fmla="*/ 0 h 19"/>
                <a:gd name="T4" fmla="*/ 2147483646 w 10"/>
                <a:gd name="T5" fmla="*/ 0 h 19"/>
                <a:gd name="T6" fmla="*/ 2147483646 w 10"/>
                <a:gd name="T7" fmla="*/ 2147483646 h 19"/>
                <a:gd name="T8" fmla="*/ 2147483646 w 10"/>
                <a:gd name="T9" fmla="*/ 2147483646 h 19"/>
                <a:gd name="T10" fmla="*/ 2147483646 w 10"/>
                <a:gd name="T11" fmla="*/ 2147483646 h 19"/>
                <a:gd name="T12" fmla="*/ 2147483646 w 10"/>
                <a:gd name="T13" fmla="*/ 2147483646 h 19"/>
                <a:gd name="T14" fmla="*/ 2147483646 w 10"/>
                <a:gd name="T15" fmla="*/ 2147483646 h 19"/>
                <a:gd name="T16" fmla="*/ 2147483646 w 10"/>
                <a:gd name="T17" fmla="*/ 2147483646 h 19"/>
                <a:gd name="T18" fmla="*/ 2147483646 w 10"/>
                <a:gd name="T19" fmla="*/ 2147483646 h 19"/>
                <a:gd name="T20" fmla="*/ 2147483646 w 10"/>
                <a:gd name="T21" fmla="*/ 2147483646 h 19"/>
                <a:gd name="T22" fmla="*/ 2147483646 w 10"/>
                <a:gd name="T23" fmla="*/ 2147483646 h 19"/>
                <a:gd name="T24" fmla="*/ 2147483646 w 10"/>
                <a:gd name="T25" fmla="*/ 2147483646 h 19"/>
                <a:gd name="T26" fmla="*/ 2147483646 w 10"/>
                <a:gd name="T27" fmla="*/ 2147483646 h 19"/>
                <a:gd name="T28" fmla="*/ 2147483646 w 10"/>
                <a:gd name="T29" fmla="*/ 2147483646 h 19"/>
                <a:gd name="T30" fmla="*/ 2147483646 w 10"/>
                <a:gd name="T31" fmla="*/ 2147483646 h 19"/>
                <a:gd name="T32" fmla="*/ 2147483646 w 10"/>
                <a:gd name="T33" fmla="*/ 2147483646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" h="19">
                  <a:moveTo>
                    <a:pt x="4" y="1"/>
                  </a:moveTo>
                  <a:cubicBezTo>
                    <a:pt x="5" y="0"/>
                    <a:pt x="6" y="0"/>
                    <a:pt x="7" y="0"/>
                  </a:cubicBezTo>
                  <a:cubicBezTo>
                    <a:pt x="8" y="0"/>
                    <a:pt x="7" y="3"/>
                    <a:pt x="9" y="0"/>
                  </a:cubicBezTo>
                  <a:cubicBezTo>
                    <a:pt x="9" y="1"/>
                    <a:pt x="9" y="2"/>
                    <a:pt x="8" y="2"/>
                  </a:cubicBezTo>
                  <a:cubicBezTo>
                    <a:pt x="7" y="4"/>
                    <a:pt x="9" y="3"/>
                    <a:pt x="9" y="5"/>
                  </a:cubicBezTo>
                  <a:cubicBezTo>
                    <a:pt x="10" y="7"/>
                    <a:pt x="7" y="7"/>
                    <a:pt x="7" y="9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6" y="10"/>
                    <a:pt x="7" y="11"/>
                    <a:pt x="8" y="10"/>
                  </a:cubicBezTo>
                  <a:cubicBezTo>
                    <a:pt x="9" y="10"/>
                    <a:pt x="10" y="13"/>
                    <a:pt x="10" y="13"/>
                  </a:cubicBezTo>
                  <a:cubicBezTo>
                    <a:pt x="9" y="15"/>
                    <a:pt x="7" y="15"/>
                    <a:pt x="7" y="16"/>
                  </a:cubicBezTo>
                  <a:cubicBezTo>
                    <a:pt x="6" y="17"/>
                    <a:pt x="8" y="18"/>
                    <a:pt x="5" y="19"/>
                  </a:cubicBezTo>
                  <a:cubicBezTo>
                    <a:pt x="5" y="18"/>
                    <a:pt x="5" y="15"/>
                    <a:pt x="4" y="14"/>
                  </a:cubicBezTo>
                  <a:cubicBezTo>
                    <a:pt x="3" y="14"/>
                    <a:pt x="3" y="14"/>
                    <a:pt x="2" y="12"/>
                  </a:cubicBezTo>
                  <a:cubicBezTo>
                    <a:pt x="2" y="11"/>
                    <a:pt x="1" y="11"/>
                    <a:pt x="1" y="10"/>
                  </a:cubicBezTo>
                  <a:cubicBezTo>
                    <a:pt x="0" y="8"/>
                    <a:pt x="2" y="8"/>
                    <a:pt x="3" y="6"/>
                  </a:cubicBezTo>
                  <a:cubicBezTo>
                    <a:pt x="3" y="5"/>
                    <a:pt x="3" y="2"/>
                    <a:pt x="3" y="2"/>
                  </a:cubicBezTo>
                  <a:cubicBezTo>
                    <a:pt x="3" y="2"/>
                    <a:pt x="3" y="1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1" name="Freeform 316"/>
            <p:cNvSpPr>
              <a:spLocks noEditPoints="1"/>
            </p:cNvSpPr>
            <p:nvPr/>
          </p:nvSpPr>
          <p:spPr bwMode="auto">
            <a:xfrm>
              <a:off x="1855451" y="2493742"/>
              <a:ext cx="75540" cy="157413"/>
            </a:xfrm>
            <a:custGeom>
              <a:avLst/>
              <a:gdLst>
                <a:gd name="T0" fmla="*/ 2147483646 w 10"/>
                <a:gd name="T1" fmla="*/ 2147483646 h 21"/>
                <a:gd name="T2" fmla="*/ 2147483646 w 10"/>
                <a:gd name="T3" fmla="*/ 2147483646 h 21"/>
                <a:gd name="T4" fmla="*/ 2147483646 w 10"/>
                <a:gd name="T5" fmla="*/ 2147483646 h 21"/>
                <a:gd name="T6" fmla="*/ 0 w 10"/>
                <a:gd name="T7" fmla="*/ 2147483646 h 21"/>
                <a:gd name="T8" fmla="*/ 2147483646 w 10"/>
                <a:gd name="T9" fmla="*/ 2147483646 h 21"/>
                <a:gd name="T10" fmla="*/ 2147483646 w 10"/>
                <a:gd name="T11" fmla="*/ 2147483646 h 21"/>
                <a:gd name="T12" fmla="*/ 2147483646 w 10"/>
                <a:gd name="T13" fmla="*/ 2147483646 h 21"/>
                <a:gd name="T14" fmla="*/ 2147483646 w 10"/>
                <a:gd name="T15" fmla="*/ 2147483646 h 21"/>
                <a:gd name="T16" fmla="*/ 2147483646 w 10"/>
                <a:gd name="T17" fmla="*/ 2147483646 h 21"/>
                <a:gd name="T18" fmla="*/ 2147483646 w 10"/>
                <a:gd name="T19" fmla="*/ 2147483646 h 21"/>
                <a:gd name="T20" fmla="*/ 2147483646 w 10"/>
                <a:gd name="T21" fmla="*/ 2147483646 h 21"/>
                <a:gd name="T22" fmla="*/ 2147483646 w 10"/>
                <a:gd name="T23" fmla="*/ 2147483646 h 21"/>
                <a:gd name="T24" fmla="*/ 2147483646 w 10"/>
                <a:gd name="T25" fmla="*/ 2147483646 h 21"/>
                <a:gd name="T26" fmla="*/ 2147483646 w 10"/>
                <a:gd name="T27" fmla="*/ 2147483646 h 21"/>
                <a:gd name="T28" fmla="*/ 2147483646 w 10"/>
                <a:gd name="T29" fmla="*/ 2147483646 h 21"/>
                <a:gd name="T30" fmla="*/ 2147483646 w 10"/>
                <a:gd name="T31" fmla="*/ 2147483646 h 21"/>
                <a:gd name="T32" fmla="*/ 2147483646 w 10"/>
                <a:gd name="T33" fmla="*/ 2147483646 h 21"/>
                <a:gd name="T34" fmla="*/ 2147483646 w 10"/>
                <a:gd name="T35" fmla="*/ 2147483646 h 21"/>
                <a:gd name="T36" fmla="*/ 2147483646 w 10"/>
                <a:gd name="T37" fmla="*/ 2147483646 h 21"/>
                <a:gd name="T38" fmla="*/ 2147483646 w 10"/>
                <a:gd name="T39" fmla="*/ 2147483646 h 21"/>
                <a:gd name="T40" fmla="*/ 2147483646 w 10"/>
                <a:gd name="T41" fmla="*/ 2147483646 h 21"/>
                <a:gd name="T42" fmla="*/ 2147483646 w 10"/>
                <a:gd name="T43" fmla="*/ 2147483646 h 21"/>
                <a:gd name="T44" fmla="*/ 2147483646 w 10"/>
                <a:gd name="T45" fmla="*/ 2147483646 h 21"/>
                <a:gd name="T46" fmla="*/ 2147483646 w 10"/>
                <a:gd name="T47" fmla="*/ 2147483646 h 21"/>
                <a:gd name="T48" fmla="*/ 2147483646 w 10"/>
                <a:gd name="T49" fmla="*/ 2147483646 h 21"/>
                <a:gd name="T50" fmla="*/ 2147483646 w 10"/>
                <a:gd name="T51" fmla="*/ 2147483646 h 21"/>
                <a:gd name="T52" fmla="*/ 2147483646 w 10"/>
                <a:gd name="T53" fmla="*/ 2147483646 h 21"/>
                <a:gd name="T54" fmla="*/ 2147483646 w 10"/>
                <a:gd name="T55" fmla="*/ 2147483646 h 21"/>
                <a:gd name="T56" fmla="*/ 2147483646 w 10"/>
                <a:gd name="T57" fmla="*/ 2147483646 h 21"/>
                <a:gd name="T58" fmla="*/ 2147483646 w 10"/>
                <a:gd name="T59" fmla="*/ 2147483646 h 21"/>
                <a:gd name="T60" fmla="*/ 2147483646 w 10"/>
                <a:gd name="T61" fmla="*/ 2147483646 h 21"/>
                <a:gd name="T62" fmla="*/ 2147483646 w 10"/>
                <a:gd name="T63" fmla="*/ 2147483646 h 21"/>
                <a:gd name="T64" fmla="*/ 2147483646 w 10"/>
                <a:gd name="T65" fmla="*/ 2147483646 h 21"/>
                <a:gd name="T66" fmla="*/ 2147483646 w 10"/>
                <a:gd name="T67" fmla="*/ 2147483646 h 2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19"/>
                  </a:cubicBezTo>
                  <a:cubicBezTo>
                    <a:pt x="4" y="18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5"/>
                    <a:pt x="2" y="15"/>
                    <a:pt x="2" y="13"/>
                  </a:cubicBezTo>
                  <a:cubicBezTo>
                    <a:pt x="2" y="13"/>
                    <a:pt x="2" y="13"/>
                    <a:pt x="1" y="13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10"/>
                    <a:pt x="1" y="9"/>
                    <a:pt x="1" y="9"/>
                  </a:cubicBezTo>
                  <a:cubicBezTo>
                    <a:pt x="2" y="8"/>
                    <a:pt x="2" y="8"/>
                    <a:pt x="2" y="7"/>
                  </a:cubicBezTo>
                  <a:cubicBezTo>
                    <a:pt x="3" y="6"/>
                    <a:pt x="2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0"/>
                    <a:pt x="5" y="0"/>
                    <a:pt x="7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5"/>
                    <a:pt x="10" y="5"/>
                  </a:cubicBezTo>
                  <a:cubicBezTo>
                    <a:pt x="10" y="7"/>
                    <a:pt x="9" y="8"/>
                    <a:pt x="8" y="9"/>
                  </a:cubicBezTo>
                  <a:cubicBezTo>
                    <a:pt x="8" y="9"/>
                    <a:pt x="7" y="9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9" y="11"/>
                    <a:pt x="9" y="11"/>
                  </a:cubicBezTo>
                  <a:cubicBezTo>
                    <a:pt x="10" y="12"/>
                    <a:pt x="10" y="14"/>
                    <a:pt x="10" y="14"/>
                  </a:cubicBezTo>
                  <a:cubicBezTo>
                    <a:pt x="10" y="15"/>
                    <a:pt x="9" y="16"/>
                    <a:pt x="8" y="16"/>
                  </a:cubicBezTo>
                  <a:cubicBezTo>
                    <a:pt x="8" y="16"/>
                    <a:pt x="7" y="17"/>
                    <a:pt x="7" y="17"/>
                  </a:cubicBezTo>
                  <a:cubicBezTo>
                    <a:pt x="7" y="17"/>
                    <a:pt x="7" y="18"/>
                    <a:pt x="7" y="18"/>
                  </a:cubicBezTo>
                  <a:cubicBezTo>
                    <a:pt x="7" y="19"/>
                    <a:pt x="7" y="20"/>
                    <a:pt x="6" y="21"/>
                  </a:cubicBezTo>
                  <a:lnTo>
                    <a:pt x="5" y="21"/>
                  </a:lnTo>
                  <a:close/>
                  <a:moveTo>
                    <a:pt x="3" y="3"/>
                  </a:moveTo>
                  <a:cubicBezTo>
                    <a:pt x="4" y="4"/>
                    <a:pt x="4" y="7"/>
                    <a:pt x="4" y="7"/>
                  </a:cubicBezTo>
                  <a:cubicBezTo>
                    <a:pt x="3" y="8"/>
                    <a:pt x="3" y="9"/>
                    <a:pt x="2" y="9"/>
                  </a:cubicBezTo>
                  <a:cubicBezTo>
                    <a:pt x="2" y="10"/>
                    <a:pt x="1" y="10"/>
                    <a:pt x="1" y="11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2" y="12"/>
                    <a:pt x="3" y="12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6" y="17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7" y="16"/>
                    <a:pt x="7" y="15"/>
                    <a:pt x="8" y="15"/>
                  </a:cubicBezTo>
                  <a:cubicBezTo>
                    <a:pt x="8" y="15"/>
                    <a:pt x="9" y="15"/>
                    <a:pt x="9" y="14"/>
                  </a:cubicBezTo>
                  <a:cubicBezTo>
                    <a:pt x="9" y="13"/>
                    <a:pt x="9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7" y="12"/>
                    <a:pt x="6" y="11"/>
                    <a:pt x="6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8"/>
                    <a:pt x="8" y="8"/>
                  </a:cubicBezTo>
                  <a:cubicBezTo>
                    <a:pt x="8" y="7"/>
                    <a:pt x="9" y="7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7" y="5"/>
                    <a:pt x="7" y="4"/>
                  </a:cubicBezTo>
                  <a:cubicBezTo>
                    <a:pt x="7" y="4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1"/>
                    <a:pt x="5" y="2"/>
                    <a:pt x="4" y="2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2" name="Freeform 317"/>
            <p:cNvSpPr/>
            <p:nvPr/>
          </p:nvSpPr>
          <p:spPr bwMode="auto">
            <a:xfrm>
              <a:off x="1915253" y="2575597"/>
              <a:ext cx="9442" cy="0"/>
            </a:xfrm>
            <a:custGeom>
              <a:avLst/>
              <a:gdLst>
                <a:gd name="T0" fmla="*/ 0 w 1"/>
                <a:gd name="T1" fmla="*/ 0 w 1"/>
                <a:gd name="T2" fmla="*/ 0 w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3" name="Freeform 318"/>
            <p:cNvSpPr/>
            <p:nvPr/>
          </p:nvSpPr>
          <p:spPr bwMode="auto">
            <a:xfrm>
              <a:off x="1908958" y="2553560"/>
              <a:ext cx="22032" cy="28334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0 w 3"/>
                <a:gd name="T5" fmla="*/ 2147483646 h 4"/>
                <a:gd name="T6" fmla="*/ 2147483646 w 3"/>
                <a:gd name="T7" fmla="*/ 0 h 4"/>
                <a:gd name="T8" fmla="*/ 2147483646 w 3"/>
                <a:gd name="T9" fmla="*/ 2147483646 h 4"/>
                <a:gd name="T10" fmla="*/ 2147483646 w 3"/>
                <a:gd name="T11" fmla="*/ 2147483646 h 4"/>
                <a:gd name="T12" fmla="*/ 2147483646 w 3"/>
                <a:gd name="T13" fmla="*/ 2147483646 h 4"/>
                <a:gd name="T14" fmla="*/ 2147483646 w 3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1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4" name="Freeform 319"/>
            <p:cNvSpPr/>
            <p:nvPr/>
          </p:nvSpPr>
          <p:spPr bwMode="auto">
            <a:xfrm>
              <a:off x="2145020" y="2613376"/>
              <a:ext cx="210882" cy="201488"/>
            </a:xfrm>
            <a:custGeom>
              <a:avLst/>
              <a:gdLst>
                <a:gd name="T0" fmla="*/ 2147483646 w 28"/>
                <a:gd name="T1" fmla="*/ 2147483646 h 27"/>
                <a:gd name="T2" fmla="*/ 2147483646 w 28"/>
                <a:gd name="T3" fmla="*/ 2147483646 h 27"/>
                <a:gd name="T4" fmla="*/ 2147483646 w 28"/>
                <a:gd name="T5" fmla="*/ 2147483646 h 27"/>
                <a:gd name="T6" fmla="*/ 2147483646 w 28"/>
                <a:gd name="T7" fmla="*/ 2147483646 h 27"/>
                <a:gd name="T8" fmla="*/ 2147483646 w 28"/>
                <a:gd name="T9" fmla="*/ 2147483646 h 27"/>
                <a:gd name="T10" fmla="*/ 2147483646 w 28"/>
                <a:gd name="T11" fmla="*/ 2147483646 h 27"/>
                <a:gd name="T12" fmla="*/ 2147483646 w 28"/>
                <a:gd name="T13" fmla="*/ 2147483646 h 27"/>
                <a:gd name="T14" fmla="*/ 2147483646 w 28"/>
                <a:gd name="T15" fmla="*/ 2147483646 h 27"/>
                <a:gd name="T16" fmla="*/ 2147483646 w 28"/>
                <a:gd name="T17" fmla="*/ 2147483646 h 27"/>
                <a:gd name="T18" fmla="*/ 2147483646 w 28"/>
                <a:gd name="T19" fmla="*/ 2147483646 h 27"/>
                <a:gd name="T20" fmla="*/ 2147483646 w 28"/>
                <a:gd name="T21" fmla="*/ 2147483646 h 27"/>
                <a:gd name="T22" fmla="*/ 2147483646 w 28"/>
                <a:gd name="T23" fmla="*/ 2147483646 h 27"/>
                <a:gd name="T24" fmla="*/ 2147483646 w 28"/>
                <a:gd name="T25" fmla="*/ 2147483646 h 27"/>
                <a:gd name="T26" fmla="*/ 2147483646 w 28"/>
                <a:gd name="T27" fmla="*/ 2147483646 h 27"/>
                <a:gd name="T28" fmla="*/ 2147483646 w 28"/>
                <a:gd name="T29" fmla="*/ 2147483646 h 27"/>
                <a:gd name="T30" fmla="*/ 2147483646 w 28"/>
                <a:gd name="T31" fmla="*/ 2147483646 h 27"/>
                <a:gd name="T32" fmla="*/ 2147483646 w 28"/>
                <a:gd name="T33" fmla="*/ 2147483646 h 27"/>
                <a:gd name="T34" fmla="*/ 2147483646 w 28"/>
                <a:gd name="T35" fmla="*/ 2147483646 h 27"/>
                <a:gd name="T36" fmla="*/ 2147483646 w 28"/>
                <a:gd name="T37" fmla="*/ 2147483646 h 27"/>
                <a:gd name="T38" fmla="*/ 2147483646 w 28"/>
                <a:gd name="T39" fmla="*/ 2147483646 h 27"/>
                <a:gd name="T40" fmla="*/ 2147483646 w 28"/>
                <a:gd name="T41" fmla="*/ 2147483646 h 27"/>
                <a:gd name="T42" fmla="*/ 2147483646 w 28"/>
                <a:gd name="T43" fmla="*/ 2147483646 h 27"/>
                <a:gd name="T44" fmla="*/ 2147483646 w 28"/>
                <a:gd name="T45" fmla="*/ 2147483646 h 27"/>
                <a:gd name="T46" fmla="*/ 2147483646 w 28"/>
                <a:gd name="T47" fmla="*/ 2147483646 h 27"/>
                <a:gd name="T48" fmla="*/ 2147483646 w 28"/>
                <a:gd name="T49" fmla="*/ 2147483646 h 2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8" h="27">
                  <a:moveTo>
                    <a:pt x="2" y="1"/>
                  </a:moveTo>
                  <a:cubicBezTo>
                    <a:pt x="5" y="1"/>
                    <a:pt x="7" y="1"/>
                    <a:pt x="9" y="2"/>
                  </a:cubicBezTo>
                  <a:cubicBezTo>
                    <a:pt x="12" y="3"/>
                    <a:pt x="13" y="2"/>
                    <a:pt x="16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18" y="0"/>
                    <a:pt x="19" y="2"/>
                  </a:cubicBezTo>
                  <a:cubicBezTo>
                    <a:pt x="19" y="2"/>
                    <a:pt x="18" y="1"/>
                    <a:pt x="18" y="1"/>
                  </a:cubicBezTo>
                  <a:cubicBezTo>
                    <a:pt x="18" y="1"/>
                    <a:pt x="18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1" y="3"/>
                    <a:pt x="22" y="1"/>
                    <a:pt x="23" y="2"/>
                  </a:cubicBezTo>
                  <a:cubicBezTo>
                    <a:pt x="24" y="2"/>
                    <a:pt x="25" y="6"/>
                    <a:pt x="25" y="7"/>
                  </a:cubicBezTo>
                  <a:cubicBezTo>
                    <a:pt x="25" y="8"/>
                    <a:pt x="24" y="12"/>
                    <a:pt x="23" y="10"/>
                  </a:cubicBezTo>
                  <a:cubicBezTo>
                    <a:pt x="21" y="9"/>
                    <a:pt x="21" y="7"/>
                    <a:pt x="20" y="5"/>
                  </a:cubicBezTo>
                  <a:cubicBezTo>
                    <a:pt x="18" y="7"/>
                    <a:pt x="22" y="11"/>
                    <a:pt x="23" y="13"/>
                  </a:cubicBezTo>
                  <a:cubicBezTo>
                    <a:pt x="24" y="15"/>
                    <a:pt x="25" y="19"/>
                    <a:pt x="27" y="21"/>
                  </a:cubicBezTo>
                  <a:cubicBezTo>
                    <a:pt x="26" y="21"/>
                    <a:pt x="28" y="22"/>
                    <a:pt x="26" y="23"/>
                  </a:cubicBezTo>
                  <a:cubicBezTo>
                    <a:pt x="26" y="24"/>
                    <a:pt x="25" y="25"/>
                    <a:pt x="24" y="25"/>
                  </a:cubicBezTo>
                  <a:cubicBezTo>
                    <a:pt x="24" y="25"/>
                    <a:pt x="23" y="26"/>
                    <a:pt x="23" y="26"/>
                  </a:cubicBezTo>
                  <a:cubicBezTo>
                    <a:pt x="22" y="26"/>
                    <a:pt x="22" y="26"/>
                    <a:pt x="21" y="26"/>
                  </a:cubicBezTo>
                  <a:cubicBezTo>
                    <a:pt x="20" y="26"/>
                    <a:pt x="19" y="26"/>
                    <a:pt x="17" y="26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6" y="27"/>
                    <a:pt x="10" y="26"/>
                    <a:pt x="8" y="26"/>
                  </a:cubicBezTo>
                  <a:cubicBezTo>
                    <a:pt x="6" y="26"/>
                    <a:pt x="4" y="26"/>
                    <a:pt x="3" y="26"/>
                  </a:cubicBezTo>
                  <a:cubicBezTo>
                    <a:pt x="2" y="26"/>
                    <a:pt x="2" y="23"/>
                    <a:pt x="2" y="22"/>
                  </a:cubicBezTo>
                  <a:cubicBezTo>
                    <a:pt x="2" y="18"/>
                    <a:pt x="2" y="13"/>
                    <a:pt x="2" y="8"/>
                  </a:cubicBezTo>
                  <a:cubicBezTo>
                    <a:pt x="2" y="6"/>
                    <a:pt x="0" y="3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5" name="Freeform 320"/>
            <p:cNvSpPr>
              <a:spLocks noEditPoints="1"/>
            </p:cNvSpPr>
            <p:nvPr/>
          </p:nvSpPr>
          <p:spPr bwMode="auto">
            <a:xfrm>
              <a:off x="2145020" y="2603931"/>
              <a:ext cx="217177" cy="210933"/>
            </a:xfrm>
            <a:custGeom>
              <a:avLst/>
              <a:gdLst>
                <a:gd name="T0" fmla="*/ 2147483646 w 29"/>
                <a:gd name="T1" fmla="*/ 2147483646 h 28"/>
                <a:gd name="T2" fmla="*/ 2147483646 w 29"/>
                <a:gd name="T3" fmla="*/ 2147483646 h 28"/>
                <a:gd name="T4" fmla="*/ 2147483646 w 29"/>
                <a:gd name="T5" fmla="*/ 2147483646 h 28"/>
                <a:gd name="T6" fmla="*/ 2147483646 w 29"/>
                <a:gd name="T7" fmla="*/ 2147483646 h 28"/>
                <a:gd name="T8" fmla="*/ 2147483646 w 29"/>
                <a:gd name="T9" fmla="*/ 2147483646 h 28"/>
                <a:gd name="T10" fmla="*/ 2147483646 w 29"/>
                <a:gd name="T11" fmla="*/ 2147483646 h 28"/>
                <a:gd name="T12" fmla="*/ 2147483646 w 29"/>
                <a:gd name="T13" fmla="*/ 2147483646 h 28"/>
                <a:gd name="T14" fmla="*/ 2147483646 w 29"/>
                <a:gd name="T15" fmla="*/ 2147483646 h 28"/>
                <a:gd name="T16" fmla="*/ 2147483646 w 29"/>
                <a:gd name="T17" fmla="*/ 2147483646 h 28"/>
                <a:gd name="T18" fmla="*/ 2147483646 w 29"/>
                <a:gd name="T19" fmla="*/ 2147483646 h 28"/>
                <a:gd name="T20" fmla="*/ 2147483646 w 29"/>
                <a:gd name="T21" fmla="*/ 2147483646 h 28"/>
                <a:gd name="T22" fmla="*/ 2147483646 w 29"/>
                <a:gd name="T23" fmla="*/ 2147483646 h 28"/>
                <a:gd name="T24" fmla="*/ 2147483646 w 29"/>
                <a:gd name="T25" fmla="*/ 2147483646 h 28"/>
                <a:gd name="T26" fmla="*/ 2147483646 w 29"/>
                <a:gd name="T27" fmla="*/ 2147483646 h 28"/>
                <a:gd name="T28" fmla="*/ 2147483646 w 29"/>
                <a:gd name="T29" fmla="*/ 2147483646 h 28"/>
                <a:gd name="T30" fmla="*/ 2147483646 w 29"/>
                <a:gd name="T31" fmla="*/ 2147483646 h 28"/>
                <a:gd name="T32" fmla="*/ 2147483646 w 29"/>
                <a:gd name="T33" fmla="*/ 2147483646 h 28"/>
                <a:gd name="T34" fmla="*/ 2147483646 w 29"/>
                <a:gd name="T35" fmla="*/ 2147483646 h 28"/>
                <a:gd name="T36" fmla="*/ 2147483646 w 29"/>
                <a:gd name="T37" fmla="*/ 2147483646 h 28"/>
                <a:gd name="T38" fmla="*/ 2147483646 w 29"/>
                <a:gd name="T39" fmla="*/ 2147483646 h 28"/>
                <a:gd name="T40" fmla="*/ 2147483646 w 29"/>
                <a:gd name="T41" fmla="*/ 2147483646 h 28"/>
                <a:gd name="T42" fmla="*/ 2147483646 w 29"/>
                <a:gd name="T43" fmla="*/ 2147483646 h 28"/>
                <a:gd name="T44" fmla="*/ 2147483646 w 29"/>
                <a:gd name="T45" fmla="*/ 2147483646 h 28"/>
                <a:gd name="T46" fmla="*/ 2147483646 w 29"/>
                <a:gd name="T47" fmla="*/ 2147483646 h 28"/>
                <a:gd name="T48" fmla="*/ 2147483646 w 29"/>
                <a:gd name="T49" fmla="*/ 2147483646 h 28"/>
                <a:gd name="T50" fmla="*/ 2147483646 w 29"/>
                <a:gd name="T51" fmla="*/ 2147483646 h 28"/>
                <a:gd name="T52" fmla="*/ 2147483646 w 29"/>
                <a:gd name="T53" fmla="*/ 2147483646 h 28"/>
                <a:gd name="T54" fmla="*/ 2147483646 w 29"/>
                <a:gd name="T55" fmla="*/ 2147483646 h 28"/>
                <a:gd name="T56" fmla="*/ 2147483646 w 29"/>
                <a:gd name="T57" fmla="*/ 2147483646 h 28"/>
                <a:gd name="T58" fmla="*/ 2147483646 w 29"/>
                <a:gd name="T59" fmla="*/ 2147483646 h 28"/>
                <a:gd name="T60" fmla="*/ 2147483646 w 29"/>
                <a:gd name="T61" fmla="*/ 2147483646 h 28"/>
                <a:gd name="T62" fmla="*/ 2147483646 w 29"/>
                <a:gd name="T63" fmla="*/ 2147483646 h 28"/>
                <a:gd name="T64" fmla="*/ 2147483646 w 29"/>
                <a:gd name="T65" fmla="*/ 2147483646 h 28"/>
                <a:gd name="T66" fmla="*/ 2147483646 w 29"/>
                <a:gd name="T67" fmla="*/ 2147483646 h 28"/>
                <a:gd name="T68" fmla="*/ 2147483646 w 29"/>
                <a:gd name="T69" fmla="*/ 2147483646 h 28"/>
                <a:gd name="T70" fmla="*/ 2147483646 w 29"/>
                <a:gd name="T71" fmla="*/ 2147483646 h 28"/>
                <a:gd name="T72" fmla="*/ 2147483646 w 29"/>
                <a:gd name="T73" fmla="*/ 2147483646 h 28"/>
                <a:gd name="T74" fmla="*/ 2147483646 w 29"/>
                <a:gd name="T75" fmla="*/ 2147483646 h 28"/>
                <a:gd name="T76" fmla="*/ 2147483646 w 29"/>
                <a:gd name="T77" fmla="*/ 2147483646 h 28"/>
                <a:gd name="T78" fmla="*/ 2147483646 w 29"/>
                <a:gd name="T79" fmla="*/ 2147483646 h 28"/>
                <a:gd name="T80" fmla="*/ 2147483646 w 29"/>
                <a:gd name="T81" fmla="*/ 2147483646 h 28"/>
                <a:gd name="T82" fmla="*/ 2147483646 w 29"/>
                <a:gd name="T83" fmla="*/ 2147483646 h 28"/>
                <a:gd name="T84" fmla="*/ 2147483646 w 29"/>
                <a:gd name="T85" fmla="*/ 2147483646 h 28"/>
                <a:gd name="T86" fmla="*/ 2147483646 w 29"/>
                <a:gd name="T87" fmla="*/ 2147483646 h 28"/>
                <a:gd name="T88" fmla="*/ 2147483646 w 29"/>
                <a:gd name="T89" fmla="*/ 2147483646 h 28"/>
                <a:gd name="T90" fmla="*/ 2147483646 w 29"/>
                <a:gd name="T91" fmla="*/ 2147483646 h 28"/>
                <a:gd name="T92" fmla="*/ 2147483646 w 29"/>
                <a:gd name="T93" fmla="*/ 2147483646 h 28"/>
                <a:gd name="T94" fmla="*/ 2147483646 w 29"/>
                <a:gd name="T95" fmla="*/ 2147483646 h 28"/>
                <a:gd name="T96" fmla="*/ 2147483646 w 29"/>
                <a:gd name="T97" fmla="*/ 2147483646 h 2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9" h="28">
                  <a:moveTo>
                    <a:pt x="23" y="28"/>
                  </a:moveTo>
                  <a:cubicBezTo>
                    <a:pt x="22" y="28"/>
                    <a:pt x="22" y="28"/>
                    <a:pt x="22" y="27"/>
                  </a:cubicBezTo>
                  <a:cubicBezTo>
                    <a:pt x="22" y="27"/>
                    <a:pt x="21" y="27"/>
                    <a:pt x="21" y="27"/>
                  </a:cubicBezTo>
                  <a:cubicBezTo>
                    <a:pt x="20" y="27"/>
                    <a:pt x="19" y="27"/>
                    <a:pt x="19" y="27"/>
                  </a:cubicBezTo>
                  <a:cubicBezTo>
                    <a:pt x="18" y="27"/>
                    <a:pt x="18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3" y="27"/>
                    <a:pt x="11" y="27"/>
                    <a:pt x="10" y="27"/>
                  </a:cubicBezTo>
                  <a:cubicBezTo>
                    <a:pt x="9" y="27"/>
                    <a:pt x="9" y="27"/>
                    <a:pt x="8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4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19"/>
                    <a:pt x="2" y="14"/>
                    <a:pt x="2" y="9"/>
                  </a:cubicBezTo>
                  <a:cubicBezTo>
                    <a:pt x="2" y="9"/>
                    <a:pt x="2" y="8"/>
                    <a:pt x="1" y="7"/>
                  </a:cubicBezTo>
                  <a:cubicBezTo>
                    <a:pt x="1" y="5"/>
                    <a:pt x="0" y="3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1"/>
                    <a:pt x="7" y="2"/>
                    <a:pt x="10" y="3"/>
                  </a:cubicBezTo>
                  <a:cubicBezTo>
                    <a:pt x="11" y="3"/>
                    <a:pt x="12" y="3"/>
                    <a:pt x="14" y="2"/>
                  </a:cubicBezTo>
                  <a:cubicBezTo>
                    <a:pt x="15" y="2"/>
                    <a:pt x="15" y="2"/>
                    <a:pt x="15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9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2" y="2"/>
                    <a:pt x="23" y="2"/>
                    <a:pt x="24" y="2"/>
                  </a:cubicBezTo>
                  <a:cubicBezTo>
                    <a:pt x="25" y="3"/>
                    <a:pt x="26" y="7"/>
                    <a:pt x="26" y="8"/>
                  </a:cubicBezTo>
                  <a:cubicBezTo>
                    <a:pt x="26" y="8"/>
                    <a:pt x="26" y="9"/>
                    <a:pt x="25" y="9"/>
                  </a:cubicBezTo>
                  <a:cubicBezTo>
                    <a:pt x="25" y="10"/>
                    <a:pt x="25" y="12"/>
                    <a:pt x="24" y="12"/>
                  </a:cubicBezTo>
                  <a:cubicBezTo>
                    <a:pt x="23" y="12"/>
                    <a:pt x="23" y="12"/>
                    <a:pt x="22" y="11"/>
                  </a:cubicBezTo>
                  <a:cubicBezTo>
                    <a:pt x="22" y="11"/>
                    <a:pt x="22" y="11"/>
                    <a:pt x="22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2"/>
                    <a:pt x="23" y="13"/>
                    <a:pt x="23" y="14"/>
                  </a:cubicBezTo>
                  <a:cubicBezTo>
                    <a:pt x="24" y="16"/>
                    <a:pt x="25" y="20"/>
                    <a:pt x="28" y="2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3"/>
                    <a:pt x="27" y="23"/>
                  </a:cubicBezTo>
                  <a:cubicBezTo>
                    <a:pt x="27" y="23"/>
                    <a:pt x="28" y="24"/>
                    <a:pt x="27" y="25"/>
                  </a:cubicBezTo>
                  <a:cubicBezTo>
                    <a:pt x="27" y="25"/>
                    <a:pt x="26" y="25"/>
                    <a:pt x="26" y="25"/>
                  </a:cubicBezTo>
                  <a:cubicBezTo>
                    <a:pt x="26" y="26"/>
                    <a:pt x="25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lose/>
                  <a:moveTo>
                    <a:pt x="21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3" y="26"/>
                    <a:pt x="23" y="27"/>
                    <a:pt x="23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3" y="26"/>
                    <a:pt x="24" y="25"/>
                  </a:cubicBezTo>
                  <a:cubicBezTo>
                    <a:pt x="24" y="25"/>
                    <a:pt x="25" y="25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3"/>
                    <a:pt x="26" y="23"/>
                  </a:cubicBezTo>
                  <a:cubicBezTo>
                    <a:pt x="26" y="23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4" y="20"/>
                    <a:pt x="23" y="17"/>
                    <a:pt x="22" y="14"/>
                  </a:cubicBezTo>
                  <a:cubicBezTo>
                    <a:pt x="22" y="13"/>
                    <a:pt x="21" y="12"/>
                    <a:pt x="21" y="12"/>
                  </a:cubicBezTo>
                  <a:cubicBezTo>
                    <a:pt x="20" y="10"/>
                    <a:pt x="18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8"/>
                    <a:pt x="22" y="9"/>
                    <a:pt x="23" y="11"/>
                  </a:cubicBezTo>
                  <a:cubicBezTo>
                    <a:pt x="23" y="11"/>
                    <a:pt x="24" y="11"/>
                    <a:pt x="24" y="11"/>
                  </a:cubicBezTo>
                  <a:cubicBezTo>
                    <a:pt x="24" y="11"/>
                    <a:pt x="24" y="9"/>
                    <a:pt x="24" y="9"/>
                  </a:cubicBezTo>
                  <a:cubicBezTo>
                    <a:pt x="24" y="8"/>
                    <a:pt x="24" y="8"/>
                    <a:pt x="25" y="8"/>
                  </a:cubicBezTo>
                  <a:cubicBezTo>
                    <a:pt x="25" y="7"/>
                    <a:pt x="23" y="4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2" y="3"/>
                    <a:pt x="22" y="3"/>
                  </a:cubicBezTo>
                  <a:cubicBezTo>
                    <a:pt x="21" y="4"/>
                    <a:pt x="21" y="4"/>
                    <a:pt x="20" y="4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2"/>
                    <a:pt x="16" y="3"/>
                    <a:pt x="15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7" y="3"/>
                    <a:pt x="5" y="3"/>
                    <a:pt x="3" y="2"/>
                  </a:cubicBezTo>
                  <a:cubicBezTo>
                    <a:pt x="2" y="3"/>
                    <a:pt x="2" y="5"/>
                    <a:pt x="3" y="7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3" y="14"/>
                    <a:pt x="3" y="19"/>
                    <a:pt x="3" y="23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5"/>
                    <a:pt x="3" y="26"/>
                    <a:pt x="3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9" y="26"/>
                    <a:pt x="9" y="26"/>
                    <a:pt x="10" y="26"/>
                  </a:cubicBezTo>
                  <a:cubicBezTo>
                    <a:pt x="11" y="26"/>
                    <a:pt x="13" y="26"/>
                    <a:pt x="14" y="26"/>
                  </a:cubicBezTo>
                  <a:cubicBezTo>
                    <a:pt x="15" y="26"/>
                    <a:pt x="17" y="26"/>
                    <a:pt x="17" y="26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9" y="26"/>
                    <a:pt x="19" y="26"/>
                  </a:cubicBezTo>
                  <a:cubicBezTo>
                    <a:pt x="20" y="26"/>
                    <a:pt x="20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6" name="Freeform 321"/>
            <p:cNvSpPr/>
            <p:nvPr/>
          </p:nvSpPr>
          <p:spPr bwMode="auto">
            <a:xfrm>
              <a:off x="1641422" y="2931350"/>
              <a:ext cx="132195" cy="97596"/>
            </a:xfrm>
            <a:custGeom>
              <a:avLst/>
              <a:gdLst>
                <a:gd name="T0" fmla="*/ 0 w 18"/>
                <a:gd name="T1" fmla="*/ 2147483646 h 13"/>
                <a:gd name="T2" fmla="*/ 2147483646 w 18"/>
                <a:gd name="T3" fmla="*/ 2147483646 h 13"/>
                <a:gd name="T4" fmla="*/ 2147483646 w 18"/>
                <a:gd name="T5" fmla="*/ 2147483646 h 13"/>
                <a:gd name="T6" fmla="*/ 2147483646 w 18"/>
                <a:gd name="T7" fmla="*/ 2147483646 h 13"/>
                <a:gd name="T8" fmla="*/ 2147483646 w 18"/>
                <a:gd name="T9" fmla="*/ 2147483646 h 13"/>
                <a:gd name="T10" fmla="*/ 2147483646 w 18"/>
                <a:gd name="T11" fmla="*/ 2147483646 h 13"/>
                <a:gd name="T12" fmla="*/ 2147483646 w 18"/>
                <a:gd name="T13" fmla="*/ 2147483646 h 13"/>
                <a:gd name="T14" fmla="*/ 2147483646 w 18"/>
                <a:gd name="T15" fmla="*/ 2147483646 h 13"/>
                <a:gd name="T16" fmla="*/ 2147483646 w 18"/>
                <a:gd name="T17" fmla="*/ 0 h 13"/>
                <a:gd name="T18" fmla="*/ 2147483646 w 18"/>
                <a:gd name="T19" fmla="*/ 2147483646 h 13"/>
                <a:gd name="T20" fmla="*/ 0 w 18"/>
                <a:gd name="T21" fmla="*/ 2147483646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8" h="13">
                  <a:moveTo>
                    <a:pt x="0" y="11"/>
                  </a:moveTo>
                  <a:cubicBezTo>
                    <a:pt x="1" y="12"/>
                    <a:pt x="2" y="12"/>
                    <a:pt x="3" y="12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6" y="9"/>
                    <a:pt x="6" y="9"/>
                    <a:pt x="10" y="9"/>
                  </a:cubicBezTo>
                  <a:cubicBezTo>
                    <a:pt x="11" y="9"/>
                    <a:pt x="12" y="9"/>
                    <a:pt x="13" y="9"/>
                  </a:cubicBezTo>
                  <a:cubicBezTo>
                    <a:pt x="14" y="9"/>
                    <a:pt x="14" y="9"/>
                    <a:pt x="16" y="8"/>
                  </a:cubicBezTo>
                  <a:cubicBezTo>
                    <a:pt x="17" y="7"/>
                    <a:pt x="17" y="8"/>
                    <a:pt x="18" y="7"/>
                  </a:cubicBezTo>
                  <a:cubicBezTo>
                    <a:pt x="18" y="6"/>
                    <a:pt x="17" y="5"/>
                    <a:pt x="17" y="5"/>
                  </a:cubicBezTo>
                  <a:cubicBezTo>
                    <a:pt x="15" y="5"/>
                    <a:pt x="12" y="2"/>
                    <a:pt x="13" y="0"/>
                  </a:cubicBezTo>
                  <a:cubicBezTo>
                    <a:pt x="9" y="0"/>
                    <a:pt x="8" y="3"/>
                    <a:pt x="4" y="4"/>
                  </a:cubicBezTo>
                  <a:cubicBezTo>
                    <a:pt x="3" y="4"/>
                    <a:pt x="1" y="9"/>
                    <a:pt x="0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7" name="Freeform 322"/>
            <p:cNvSpPr>
              <a:spLocks noEditPoints="1"/>
            </p:cNvSpPr>
            <p:nvPr/>
          </p:nvSpPr>
          <p:spPr bwMode="auto">
            <a:xfrm>
              <a:off x="1641422" y="2925053"/>
              <a:ext cx="141637" cy="110189"/>
            </a:xfrm>
            <a:custGeom>
              <a:avLst/>
              <a:gdLst>
                <a:gd name="T0" fmla="*/ 2147483646 w 19"/>
                <a:gd name="T1" fmla="*/ 2147483646 h 15"/>
                <a:gd name="T2" fmla="*/ 2147483646 w 19"/>
                <a:gd name="T3" fmla="*/ 2147483646 h 15"/>
                <a:gd name="T4" fmla="*/ 2147483646 w 19"/>
                <a:gd name="T5" fmla="*/ 2147483646 h 15"/>
                <a:gd name="T6" fmla="*/ 2147483646 w 19"/>
                <a:gd name="T7" fmla="*/ 2147483646 h 15"/>
                <a:gd name="T8" fmla="*/ 2147483646 w 19"/>
                <a:gd name="T9" fmla="*/ 2147483646 h 15"/>
                <a:gd name="T10" fmla="*/ 2147483646 w 19"/>
                <a:gd name="T11" fmla="*/ 2147483646 h 15"/>
                <a:gd name="T12" fmla="*/ 0 w 19"/>
                <a:gd name="T13" fmla="*/ 2147483646 h 15"/>
                <a:gd name="T14" fmla="*/ 0 w 19"/>
                <a:gd name="T15" fmla="*/ 2147483646 h 15"/>
                <a:gd name="T16" fmla="*/ 0 w 19"/>
                <a:gd name="T17" fmla="*/ 2147483646 h 15"/>
                <a:gd name="T18" fmla="*/ 2147483646 w 19"/>
                <a:gd name="T19" fmla="*/ 2147483646 h 15"/>
                <a:gd name="T20" fmla="*/ 2147483646 w 19"/>
                <a:gd name="T21" fmla="*/ 2147483646 h 15"/>
                <a:gd name="T22" fmla="*/ 2147483646 w 19"/>
                <a:gd name="T23" fmla="*/ 0 h 15"/>
                <a:gd name="T24" fmla="*/ 2147483646 w 19"/>
                <a:gd name="T25" fmla="*/ 0 h 15"/>
                <a:gd name="T26" fmla="*/ 2147483646 w 19"/>
                <a:gd name="T27" fmla="*/ 2147483646 h 15"/>
                <a:gd name="T28" fmla="*/ 2147483646 w 19"/>
                <a:gd name="T29" fmla="*/ 2147483646 h 15"/>
                <a:gd name="T30" fmla="*/ 2147483646 w 19"/>
                <a:gd name="T31" fmla="*/ 2147483646 h 15"/>
                <a:gd name="T32" fmla="*/ 2147483646 w 19"/>
                <a:gd name="T33" fmla="*/ 2147483646 h 15"/>
                <a:gd name="T34" fmla="*/ 2147483646 w 19"/>
                <a:gd name="T35" fmla="*/ 2147483646 h 15"/>
                <a:gd name="T36" fmla="*/ 2147483646 w 19"/>
                <a:gd name="T37" fmla="*/ 2147483646 h 15"/>
                <a:gd name="T38" fmla="*/ 2147483646 w 19"/>
                <a:gd name="T39" fmla="*/ 2147483646 h 15"/>
                <a:gd name="T40" fmla="*/ 2147483646 w 19"/>
                <a:gd name="T41" fmla="*/ 2147483646 h 15"/>
                <a:gd name="T42" fmla="*/ 2147483646 w 19"/>
                <a:gd name="T43" fmla="*/ 2147483646 h 15"/>
                <a:gd name="T44" fmla="*/ 2147483646 w 19"/>
                <a:gd name="T45" fmla="*/ 2147483646 h 15"/>
                <a:gd name="T46" fmla="*/ 2147483646 w 19"/>
                <a:gd name="T47" fmla="*/ 2147483646 h 15"/>
                <a:gd name="T48" fmla="*/ 2147483646 w 19"/>
                <a:gd name="T49" fmla="*/ 2147483646 h 15"/>
                <a:gd name="T50" fmla="*/ 2147483646 w 19"/>
                <a:gd name="T51" fmla="*/ 2147483646 h 15"/>
                <a:gd name="T52" fmla="*/ 2147483646 w 19"/>
                <a:gd name="T53" fmla="*/ 2147483646 h 15"/>
                <a:gd name="T54" fmla="*/ 2147483646 w 19"/>
                <a:gd name="T55" fmla="*/ 2147483646 h 15"/>
                <a:gd name="T56" fmla="*/ 2147483646 w 19"/>
                <a:gd name="T57" fmla="*/ 2147483646 h 15"/>
                <a:gd name="T58" fmla="*/ 2147483646 w 19"/>
                <a:gd name="T59" fmla="*/ 2147483646 h 15"/>
                <a:gd name="T60" fmla="*/ 2147483646 w 19"/>
                <a:gd name="T61" fmla="*/ 2147483646 h 15"/>
                <a:gd name="T62" fmla="*/ 2147483646 w 19"/>
                <a:gd name="T63" fmla="*/ 2147483646 h 15"/>
                <a:gd name="T64" fmla="*/ 2147483646 w 19"/>
                <a:gd name="T65" fmla="*/ 2147483646 h 15"/>
                <a:gd name="T66" fmla="*/ 2147483646 w 19"/>
                <a:gd name="T67" fmla="*/ 2147483646 h 15"/>
                <a:gd name="T68" fmla="*/ 2147483646 w 19"/>
                <a:gd name="T69" fmla="*/ 2147483646 h 15"/>
                <a:gd name="T70" fmla="*/ 2147483646 w 19"/>
                <a:gd name="T71" fmla="*/ 2147483646 h 15"/>
                <a:gd name="T72" fmla="*/ 2147483646 w 19"/>
                <a:gd name="T73" fmla="*/ 2147483646 h 15"/>
                <a:gd name="T74" fmla="*/ 2147483646 w 19"/>
                <a:gd name="T75" fmla="*/ 2147483646 h 15"/>
                <a:gd name="T76" fmla="*/ 2147483646 w 19"/>
                <a:gd name="T77" fmla="*/ 2147483646 h 15"/>
                <a:gd name="T78" fmla="*/ 2147483646 w 19"/>
                <a:gd name="T79" fmla="*/ 2147483646 h 15"/>
                <a:gd name="T80" fmla="*/ 2147483646 w 19"/>
                <a:gd name="T81" fmla="*/ 2147483646 h 15"/>
                <a:gd name="T82" fmla="*/ 2147483646 w 19"/>
                <a:gd name="T83" fmla="*/ 2147483646 h 15"/>
                <a:gd name="T84" fmla="*/ 2147483646 w 19"/>
                <a:gd name="T85" fmla="*/ 2147483646 h 15"/>
                <a:gd name="T86" fmla="*/ 2147483646 w 19"/>
                <a:gd name="T87" fmla="*/ 2147483646 h 15"/>
                <a:gd name="T88" fmla="*/ 2147483646 w 19"/>
                <a:gd name="T89" fmla="*/ 2147483646 h 15"/>
                <a:gd name="T90" fmla="*/ 2147483646 w 19"/>
                <a:gd name="T91" fmla="*/ 2147483646 h 15"/>
                <a:gd name="T92" fmla="*/ 2147483646 w 19"/>
                <a:gd name="T93" fmla="*/ 2147483646 h 15"/>
                <a:gd name="T94" fmla="*/ 2147483646 w 19"/>
                <a:gd name="T95" fmla="*/ 2147483646 h 15"/>
                <a:gd name="T96" fmla="*/ 2147483646 w 19"/>
                <a:gd name="T97" fmla="*/ 2147483646 h 15"/>
                <a:gd name="T98" fmla="*/ 2147483646 w 19"/>
                <a:gd name="T99" fmla="*/ 2147483646 h 15"/>
                <a:gd name="T100" fmla="*/ 2147483646 w 19"/>
                <a:gd name="T101" fmla="*/ 2147483646 h 15"/>
                <a:gd name="T102" fmla="*/ 2147483646 w 19"/>
                <a:gd name="T103" fmla="*/ 2147483646 h 15"/>
                <a:gd name="T104" fmla="*/ 2147483646 w 19"/>
                <a:gd name="T105" fmla="*/ 2147483646 h 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9" h="15">
                  <a:moveTo>
                    <a:pt x="7" y="15"/>
                  </a:move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5" y="14"/>
                  </a:cubicBezTo>
                  <a:cubicBezTo>
                    <a:pt x="5" y="13"/>
                    <a:pt x="4" y="13"/>
                    <a:pt x="3" y="13"/>
                  </a:cubicBezTo>
                  <a:cubicBezTo>
                    <a:pt x="3" y="13"/>
                    <a:pt x="3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2" y="5"/>
                    <a:pt x="4" y="4"/>
                  </a:cubicBezTo>
                  <a:cubicBezTo>
                    <a:pt x="6" y="4"/>
                    <a:pt x="7" y="3"/>
                    <a:pt x="8" y="2"/>
                  </a:cubicBezTo>
                  <a:cubicBezTo>
                    <a:pt x="9" y="1"/>
                    <a:pt x="11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5" y="5"/>
                    <a:pt x="16" y="5"/>
                    <a:pt x="17" y="5"/>
                  </a:cubicBezTo>
                  <a:cubicBezTo>
                    <a:pt x="17" y="5"/>
                    <a:pt x="18" y="6"/>
                    <a:pt x="18" y="6"/>
                  </a:cubicBezTo>
                  <a:cubicBezTo>
                    <a:pt x="18" y="6"/>
                    <a:pt x="19" y="7"/>
                    <a:pt x="19" y="8"/>
                  </a:cubicBezTo>
                  <a:cubicBezTo>
                    <a:pt x="18" y="9"/>
                    <a:pt x="18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5" y="10"/>
                    <a:pt x="15" y="10"/>
                  </a:cubicBezTo>
                  <a:cubicBezTo>
                    <a:pt x="15" y="10"/>
                    <a:pt x="14" y="11"/>
                    <a:pt x="12" y="10"/>
                  </a:cubicBezTo>
                  <a:cubicBezTo>
                    <a:pt x="12" y="10"/>
                    <a:pt x="12" y="10"/>
                    <a:pt x="11" y="10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7" y="12"/>
                    <a:pt x="7" y="13"/>
                  </a:cubicBezTo>
                  <a:lnTo>
                    <a:pt x="7" y="15"/>
                  </a:lnTo>
                  <a:close/>
                  <a:moveTo>
                    <a:pt x="1" y="11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4" y="12"/>
                    <a:pt x="5" y="12"/>
                    <a:pt x="6" y="12"/>
                  </a:cubicBezTo>
                  <a:cubicBezTo>
                    <a:pt x="5" y="11"/>
                    <a:pt x="5" y="10"/>
                    <a:pt x="6" y="10"/>
                  </a:cubicBezTo>
                  <a:cubicBezTo>
                    <a:pt x="6" y="9"/>
                    <a:pt x="7" y="9"/>
                    <a:pt x="8" y="9"/>
                  </a:cubicBezTo>
                  <a:cubicBezTo>
                    <a:pt x="8" y="9"/>
                    <a:pt x="8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1" y="9"/>
                    <a:pt x="12" y="9"/>
                    <a:pt x="13" y="9"/>
                  </a:cubicBezTo>
                  <a:cubicBezTo>
                    <a:pt x="13" y="9"/>
                    <a:pt x="13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8"/>
                  </a:cubicBezTo>
                  <a:cubicBezTo>
                    <a:pt x="16" y="8"/>
                    <a:pt x="16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6"/>
                    <a:pt x="14" y="6"/>
                    <a:pt x="13" y="4"/>
                  </a:cubicBezTo>
                  <a:cubicBezTo>
                    <a:pt x="13" y="3"/>
                    <a:pt x="12" y="2"/>
                    <a:pt x="12" y="1"/>
                  </a:cubicBezTo>
                  <a:cubicBezTo>
                    <a:pt x="11" y="2"/>
                    <a:pt x="10" y="2"/>
                    <a:pt x="8" y="3"/>
                  </a:cubicBezTo>
                  <a:cubicBezTo>
                    <a:pt x="7" y="4"/>
                    <a:pt x="6" y="5"/>
                    <a:pt x="5" y="5"/>
                  </a:cubicBezTo>
                  <a:cubicBezTo>
                    <a:pt x="3" y="6"/>
                    <a:pt x="2" y="9"/>
                    <a:pt x="1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8" name="Freeform 323"/>
            <p:cNvSpPr/>
            <p:nvPr/>
          </p:nvSpPr>
          <p:spPr bwMode="auto">
            <a:xfrm>
              <a:off x="2236297" y="3220989"/>
              <a:ext cx="37770" cy="47224"/>
            </a:xfrm>
            <a:custGeom>
              <a:avLst/>
              <a:gdLst>
                <a:gd name="T0" fmla="*/ 0 w 5"/>
                <a:gd name="T1" fmla="*/ 2147483646 h 6"/>
                <a:gd name="T2" fmla="*/ 0 w 5"/>
                <a:gd name="T3" fmla="*/ 2147483646 h 6"/>
                <a:gd name="T4" fmla="*/ 2147483646 w 5"/>
                <a:gd name="T5" fmla="*/ 2147483646 h 6"/>
                <a:gd name="T6" fmla="*/ 2147483646 w 5"/>
                <a:gd name="T7" fmla="*/ 2147483646 h 6"/>
                <a:gd name="T8" fmla="*/ 0 w 5"/>
                <a:gd name="T9" fmla="*/ 214748364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6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3"/>
                    <a:pt x="2" y="0"/>
                    <a:pt x="4" y="1"/>
                  </a:cubicBezTo>
                  <a:cubicBezTo>
                    <a:pt x="3" y="2"/>
                    <a:pt x="5" y="4"/>
                    <a:pt x="2" y="5"/>
                  </a:cubicBezTo>
                  <a:cubicBezTo>
                    <a:pt x="1" y="6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9" name="Freeform 324"/>
            <p:cNvSpPr>
              <a:spLocks noEditPoints="1"/>
            </p:cNvSpPr>
            <p:nvPr/>
          </p:nvSpPr>
          <p:spPr bwMode="auto">
            <a:xfrm>
              <a:off x="2226855" y="3220989"/>
              <a:ext cx="47212" cy="47224"/>
            </a:xfrm>
            <a:custGeom>
              <a:avLst/>
              <a:gdLst>
                <a:gd name="T0" fmla="*/ 2147483646 w 6"/>
                <a:gd name="T1" fmla="*/ 2147483646 h 6"/>
                <a:gd name="T2" fmla="*/ 2147483646 w 6"/>
                <a:gd name="T3" fmla="*/ 2147483646 h 6"/>
                <a:gd name="T4" fmla="*/ 2147483646 w 6"/>
                <a:gd name="T5" fmla="*/ 2147483646 h 6"/>
                <a:gd name="T6" fmla="*/ 0 w 6"/>
                <a:gd name="T7" fmla="*/ 2147483646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0 h 6"/>
                <a:gd name="T14" fmla="*/ 2147483646 w 6"/>
                <a:gd name="T15" fmla="*/ 2147483646 h 6"/>
                <a:gd name="T16" fmla="*/ 2147483646 w 6"/>
                <a:gd name="T17" fmla="*/ 2147483646 h 6"/>
                <a:gd name="T18" fmla="*/ 2147483646 w 6"/>
                <a:gd name="T19" fmla="*/ 2147483646 h 6"/>
                <a:gd name="T20" fmla="*/ 2147483646 w 6"/>
                <a:gd name="T21" fmla="*/ 0 h 6"/>
                <a:gd name="T22" fmla="*/ 2147483646 w 6"/>
                <a:gd name="T23" fmla="*/ 2147483646 h 6"/>
                <a:gd name="T24" fmla="*/ 2147483646 w 6"/>
                <a:gd name="T25" fmla="*/ 2147483646 h 6"/>
                <a:gd name="T26" fmla="*/ 2147483646 w 6"/>
                <a:gd name="T27" fmla="*/ 2147483646 h 6"/>
                <a:gd name="T28" fmla="*/ 2147483646 w 6"/>
                <a:gd name="T29" fmla="*/ 2147483646 h 6"/>
                <a:gd name="T30" fmla="*/ 2147483646 w 6"/>
                <a:gd name="T31" fmla="*/ 2147483646 h 6"/>
                <a:gd name="T32" fmla="*/ 2147483646 w 6"/>
                <a:gd name="T33" fmla="*/ 2147483646 h 6"/>
                <a:gd name="T34" fmla="*/ 2147483646 w 6"/>
                <a:gd name="T35" fmla="*/ 2147483646 h 6"/>
                <a:gd name="T36" fmla="*/ 2147483646 w 6"/>
                <a:gd name="T37" fmla="*/ 2147483646 h 6"/>
                <a:gd name="T38" fmla="*/ 2147483646 w 6"/>
                <a:gd name="T39" fmla="*/ 2147483646 h 6"/>
                <a:gd name="T40" fmla="*/ 2147483646 w 6"/>
                <a:gd name="T41" fmla="*/ 2147483646 h 6"/>
                <a:gd name="T42" fmla="*/ 2147483646 w 6"/>
                <a:gd name="T43" fmla="*/ 2147483646 h 6"/>
                <a:gd name="T44" fmla="*/ 2147483646 w 6"/>
                <a:gd name="T45" fmla="*/ 2147483646 h 6"/>
                <a:gd name="T46" fmla="*/ 2147483646 w 6"/>
                <a:gd name="T47" fmla="*/ 2147483646 h 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1" y="6"/>
                    <a:pt x="1" y="4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3"/>
                    <a:pt x="6" y="5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lose/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0" name="Freeform 325"/>
            <p:cNvSpPr/>
            <p:nvPr/>
          </p:nvSpPr>
          <p:spPr bwMode="auto">
            <a:xfrm>
              <a:off x="2302395" y="3104504"/>
              <a:ext cx="157375" cy="170006"/>
            </a:xfrm>
            <a:custGeom>
              <a:avLst/>
              <a:gdLst>
                <a:gd name="T0" fmla="*/ 2147483646 w 21"/>
                <a:gd name="T1" fmla="*/ 2147483646 h 23"/>
                <a:gd name="T2" fmla="*/ 2147483646 w 21"/>
                <a:gd name="T3" fmla="*/ 2147483646 h 23"/>
                <a:gd name="T4" fmla="*/ 2147483646 w 21"/>
                <a:gd name="T5" fmla="*/ 2147483646 h 23"/>
                <a:gd name="T6" fmla="*/ 2147483646 w 21"/>
                <a:gd name="T7" fmla="*/ 2147483646 h 23"/>
                <a:gd name="T8" fmla="*/ 2147483646 w 21"/>
                <a:gd name="T9" fmla="*/ 2147483646 h 23"/>
                <a:gd name="T10" fmla="*/ 2147483646 w 21"/>
                <a:gd name="T11" fmla="*/ 2147483646 h 23"/>
                <a:gd name="T12" fmla="*/ 2147483646 w 21"/>
                <a:gd name="T13" fmla="*/ 2147483646 h 23"/>
                <a:gd name="T14" fmla="*/ 2147483646 w 21"/>
                <a:gd name="T15" fmla="*/ 2147483646 h 23"/>
                <a:gd name="T16" fmla="*/ 2147483646 w 21"/>
                <a:gd name="T17" fmla="*/ 2147483646 h 23"/>
                <a:gd name="T18" fmla="*/ 2147483646 w 21"/>
                <a:gd name="T19" fmla="*/ 2147483646 h 23"/>
                <a:gd name="T20" fmla="*/ 2147483646 w 21"/>
                <a:gd name="T21" fmla="*/ 2147483646 h 23"/>
                <a:gd name="T22" fmla="*/ 2147483646 w 21"/>
                <a:gd name="T23" fmla="*/ 2147483646 h 23"/>
                <a:gd name="T24" fmla="*/ 2147483646 w 21"/>
                <a:gd name="T25" fmla="*/ 2147483646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1" h="23">
                  <a:moveTo>
                    <a:pt x="7" y="1"/>
                  </a:moveTo>
                  <a:cubicBezTo>
                    <a:pt x="5" y="1"/>
                    <a:pt x="3" y="0"/>
                    <a:pt x="2" y="2"/>
                  </a:cubicBezTo>
                  <a:cubicBezTo>
                    <a:pt x="4" y="3"/>
                    <a:pt x="5" y="6"/>
                    <a:pt x="4" y="8"/>
                  </a:cubicBezTo>
                  <a:cubicBezTo>
                    <a:pt x="4" y="8"/>
                    <a:pt x="0" y="14"/>
                    <a:pt x="4" y="12"/>
                  </a:cubicBezTo>
                  <a:cubicBezTo>
                    <a:pt x="0" y="13"/>
                    <a:pt x="8" y="17"/>
                    <a:pt x="9" y="17"/>
                  </a:cubicBezTo>
                  <a:cubicBezTo>
                    <a:pt x="11" y="18"/>
                    <a:pt x="13" y="23"/>
                    <a:pt x="15" y="21"/>
                  </a:cubicBezTo>
                  <a:cubicBezTo>
                    <a:pt x="17" y="21"/>
                    <a:pt x="17" y="18"/>
                    <a:pt x="18" y="17"/>
                  </a:cubicBezTo>
                  <a:cubicBezTo>
                    <a:pt x="21" y="15"/>
                    <a:pt x="18" y="16"/>
                    <a:pt x="18" y="13"/>
                  </a:cubicBezTo>
                  <a:cubicBezTo>
                    <a:pt x="18" y="11"/>
                    <a:pt x="18" y="9"/>
                    <a:pt x="18" y="7"/>
                  </a:cubicBezTo>
                  <a:cubicBezTo>
                    <a:pt x="18" y="5"/>
                    <a:pt x="19" y="4"/>
                    <a:pt x="21" y="2"/>
                  </a:cubicBezTo>
                  <a:cubicBezTo>
                    <a:pt x="19" y="3"/>
                    <a:pt x="18" y="2"/>
                    <a:pt x="17" y="2"/>
                  </a:cubicBezTo>
                  <a:cubicBezTo>
                    <a:pt x="16" y="2"/>
                    <a:pt x="15" y="3"/>
                    <a:pt x="14" y="3"/>
                  </a:cubicBezTo>
                  <a:cubicBezTo>
                    <a:pt x="11" y="3"/>
                    <a:pt x="9" y="1"/>
                    <a:pt x="7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1" name="Freeform 326"/>
            <p:cNvSpPr>
              <a:spLocks noEditPoints="1"/>
            </p:cNvSpPr>
            <p:nvPr/>
          </p:nvSpPr>
          <p:spPr bwMode="auto">
            <a:xfrm>
              <a:off x="2308690" y="3104504"/>
              <a:ext cx="157375" cy="163709"/>
            </a:xfrm>
            <a:custGeom>
              <a:avLst/>
              <a:gdLst>
                <a:gd name="T0" fmla="*/ 2147483646 w 21"/>
                <a:gd name="T1" fmla="*/ 2147483646 h 22"/>
                <a:gd name="T2" fmla="*/ 2147483646 w 21"/>
                <a:gd name="T3" fmla="*/ 2147483646 h 22"/>
                <a:gd name="T4" fmla="*/ 2147483646 w 21"/>
                <a:gd name="T5" fmla="*/ 2147483646 h 22"/>
                <a:gd name="T6" fmla="*/ 2147483646 w 21"/>
                <a:gd name="T7" fmla="*/ 2147483646 h 22"/>
                <a:gd name="T8" fmla="*/ 2147483646 w 21"/>
                <a:gd name="T9" fmla="*/ 2147483646 h 22"/>
                <a:gd name="T10" fmla="*/ 2147483646 w 21"/>
                <a:gd name="T11" fmla="*/ 2147483646 h 22"/>
                <a:gd name="T12" fmla="*/ 2147483646 w 21"/>
                <a:gd name="T13" fmla="*/ 2147483646 h 22"/>
                <a:gd name="T14" fmla="*/ 2147483646 w 21"/>
                <a:gd name="T15" fmla="*/ 2147483646 h 22"/>
                <a:gd name="T16" fmla="*/ 2147483646 w 21"/>
                <a:gd name="T17" fmla="*/ 2147483646 h 22"/>
                <a:gd name="T18" fmla="*/ 2147483646 w 21"/>
                <a:gd name="T19" fmla="*/ 2147483646 h 22"/>
                <a:gd name="T20" fmla="*/ 0 w 21"/>
                <a:gd name="T21" fmla="*/ 2147483646 h 22"/>
                <a:gd name="T22" fmla="*/ 2147483646 w 21"/>
                <a:gd name="T23" fmla="*/ 2147483646 h 22"/>
                <a:gd name="T24" fmla="*/ 2147483646 w 21"/>
                <a:gd name="T25" fmla="*/ 0 h 22"/>
                <a:gd name="T26" fmla="*/ 2147483646 w 21"/>
                <a:gd name="T27" fmla="*/ 0 h 22"/>
                <a:gd name="T28" fmla="*/ 2147483646 w 21"/>
                <a:gd name="T29" fmla="*/ 0 h 22"/>
                <a:gd name="T30" fmla="*/ 2147483646 w 21"/>
                <a:gd name="T31" fmla="*/ 0 h 22"/>
                <a:gd name="T32" fmla="*/ 2147483646 w 21"/>
                <a:gd name="T33" fmla="*/ 2147483646 h 22"/>
                <a:gd name="T34" fmla="*/ 2147483646 w 21"/>
                <a:gd name="T35" fmla="*/ 2147483646 h 22"/>
                <a:gd name="T36" fmla="*/ 2147483646 w 21"/>
                <a:gd name="T37" fmla="*/ 2147483646 h 22"/>
                <a:gd name="T38" fmla="*/ 2147483646 w 21"/>
                <a:gd name="T39" fmla="*/ 2147483646 h 22"/>
                <a:gd name="T40" fmla="*/ 2147483646 w 21"/>
                <a:gd name="T41" fmla="*/ 2147483646 h 22"/>
                <a:gd name="T42" fmla="*/ 2147483646 w 21"/>
                <a:gd name="T43" fmla="*/ 2147483646 h 22"/>
                <a:gd name="T44" fmla="*/ 2147483646 w 21"/>
                <a:gd name="T45" fmla="*/ 2147483646 h 22"/>
                <a:gd name="T46" fmla="*/ 2147483646 w 21"/>
                <a:gd name="T47" fmla="*/ 2147483646 h 22"/>
                <a:gd name="T48" fmla="*/ 2147483646 w 21"/>
                <a:gd name="T49" fmla="*/ 2147483646 h 22"/>
                <a:gd name="T50" fmla="*/ 2147483646 w 21"/>
                <a:gd name="T51" fmla="*/ 2147483646 h 22"/>
                <a:gd name="T52" fmla="*/ 2147483646 w 21"/>
                <a:gd name="T53" fmla="*/ 2147483646 h 22"/>
                <a:gd name="T54" fmla="*/ 2147483646 w 21"/>
                <a:gd name="T55" fmla="*/ 2147483646 h 22"/>
                <a:gd name="T56" fmla="*/ 2147483646 w 21"/>
                <a:gd name="T57" fmla="*/ 2147483646 h 22"/>
                <a:gd name="T58" fmla="*/ 2147483646 w 21"/>
                <a:gd name="T59" fmla="*/ 2147483646 h 22"/>
                <a:gd name="T60" fmla="*/ 2147483646 w 21"/>
                <a:gd name="T61" fmla="*/ 2147483646 h 22"/>
                <a:gd name="T62" fmla="*/ 2147483646 w 21"/>
                <a:gd name="T63" fmla="*/ 2147483646 h 22"/>
                <a:gd name="T64" fmla="*/ 2147483646 w 21"/>
                <a:gd name="T65" fmla="*/ 2147483646 h 22"/>
                <a:gd name="T66" fmla="*/ 2147483646 w 21"/>
                <a:gd name="T67" fmla="*/ 2147483646 h 22"/>
                <a:gd name="T68" fmla="*/ 2147483646 w 21"/>
                <a:gd name="T69" fmla="*/ 2147483646 h 22"/>
                <a:gd name="T70" fmla="*/ 2147483646 w 21"/>
                <a:gd name="T71" fmla="*/ 2147483646 h 22"/>
                <a:gd name="T72" fmla="*/ 2147483646 w 21"/>
                <a:gd name="T73" fmla="*/ 2147483646 h 22"/>
                <a:gd name="T74" fmla="*/ 2147483646 w 21"/>
                <a:gd name="T75" fmla="*/ 2147483646 h 22"/>
                <a:gd name="T76" fmla="*/ 2147483646 w 21"/>
                <a:gd name="T77" fmla="*/ 2147483646 h 22"/>
                <a:gd name="T78" fmla="*/ 2147483646 w 21"/>
                <a:gd name="T79" fmla="*/ 2147483646 h 22"/>
                <a:gd name="T80" fmla="*/ 2147483646 w 21"/>
                <a:gd name="T81" fmla="*/ 2147483646 h 22"/>
                <a:gd name="T82" fmla="*/ 2147483646 w 21"/>
                <a:gd name="T83" fmla="*/ 2147483646 h 22"/>
                <a:gd name="T84" fmla="*/ 2147483646 w 21"/>
                <a:gd name="T85" fmla="*/ 2147483646 h 22"/>
                <a:gd name="T86" fmla="*/ 2147483646 w 21"/>
                <a:gd name="T87" fmla="*/ 2147483646 h 22"/>
                <a:gd name="T88" fmla="*/ 2147483646 w 21"/>
                <a:gd name="T89" fmla="*/ 2147483646 h 22"/>
                <a:gd name="T90" fmla="*/ 2147483646 w 21"/>
                <a:gd name="T91" fmla="*/ 2147483646 h 22"/>
                <a:gd name="T92" fmla="*/ 2147483646 w 21"/>
                <a:gd name="T93" fmla="*/ 2147483646 h 22"/>
                <a:gd name="T94" fmla="*/ 2147483646 w 21"/>
                <a:gd name="T95" fmla="*/ 2147483646 h 22"/>
                <a:gd name="T96" fmla="*/ 2147483646 w 21"/>
                <a:gd name="T97" fmla="*/ 2147483646 h 22"/>
                <a:gd name="T98" fmla="*/ 2147483646 w 21"/>
                <a:gd name="T99" fmla="*/ 2147483646 h 22"/>
                <a:gd name="T100" fmla="*/ 2147483646 w 21"/>
                <a:gd name="T101" fmla="*/ 2147483646 h 22"/>
                <a:gd name="T102" fmla="*/ 2147483646 w 21"/>
                <a:gd name="T103" fmla="*/ 2147483646 h 22"/>
                <a:gd name="T104" fmla="*/ 2147483646 w 21"/>
                <a:gd name="T105" fmla="*/ 2147483646 h 22"/>
                <a:gd name="T106" fmla="*/ 2147483646 w 21"/>
                <a:gd name="T107" fmla="*/ 2147483646 h 22"/>
                <a:gd name="T108" fmla="*/ 2147483646 w 21"/>
                <a:gd name="T109" fmla="*/ 2147483646 h 22"/>
                <a:gd name="T110" fmla="*/ 2147483646 w 21"/>
                <a:gd name="T111" fmla="*/ 2147483646 h 22"/>
                <a:gd name="T112" fmla="*/ 2147483646 w 21"/>
                <a:gd name="T113" fmla="*/ 2147483646 h 22"/>
                <a:gd name="T114" fmla="*/ 2147483646 w 21"/>
                <a:gd name="T115" fmla="*/ 2147483646 h 22"/>
                <a:gd name="T116" fmla="*/ 2147483646 w 21"/>
                <a:gd name="T117" fmla="*/ 2147483646 h 22"/>
                <a:gd name="T118" fmla="*/ 2147483646 w 21"/>
                <a:gd name="T119" fmla="*/ 2147483646 h 22"/>
                <a:gd name="T120" fmla="*/ 2147483646 w 21"/>
                <a:gd name="T121" fmla="*/ 2147483646 h 22"/>
                <a:gd name="T122" fmla="*/ 2147483646 w 21"/>
                <a:gd name="T123" fmla="*/ 2147483646 h 22"/>
                <a:gd name="T124" fmla="*/ 2147483646 w 21"/>
                <a:gd name="T125" fmla="*/ 2147483646 h 2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1" h="22">
                  <a:moveTo>
                    <a:pt x="13" y="22"/>
                  </a:moveTo>
                  <a:cubicBezTo>
                    <a:pt x="12" y="22"/>
                    <a:pt x="11" y="21"/>
                    <a:pt x="10" y="20"/>
                  </a:cubicBezTo>
                  <a:cubicBezTo>
                    <a:pt x="9" y="19"/>
                    <a:pt x="8" y="18"/>
                    <a:pt x="8" y="18"/>
                  </a:cubicBezTo>
                  <a:cubicBezTo>
                    <a:pt x="8" y="18"/>
                    <a:pt x="7" y="18"/>
                    <a:pt x="7" y="17"/>
                  </a:cubicBezTo>
                  <a:cubicBezTo>
                    <a:pt x="3" y="16"/>
                    <a:pt x="1" y="14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2"/>
                    <a:pt x="1" y="12"/>
                  </a:cubicBezTo>
                  <a:cubicBezTo>
                    <a:pt x="1" y="12"/>
                    <a:pt x="1" y="10"/>
                    <a:pt x="2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3" y="6"/>
                    <a:pt x="2" y="3"/>
                    <a:pt x="1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10" y="2"/>
                  </a:cubicBezTo>
                  <a:cubicBezTo>
                    <a:pt x="11" y="2"/>
                    <a:pt x="11" y="3"/>
                    <a:pt x="13" y="3"/>
                  </a:cubicBezTo>
                  <a:cubicBezTo>
                    <a:pt x="13" y="3"/>
                    <a:pt x="14" y="3"/>
                    <a:pt x="14" y="2"/>
                  </a:cubicBezTo>
                  <a:cubicBezTo>
                    <a:pt x="15" y="2"/>
                    <a:pt x="15" y="2"/>
                    <a:pt x="16" y="2"/>
                  </a:cubicBezTo>
                  <a:cubicBezTo>
                    <a:pt x="17" y="1"/>
                    <a:pt x="17" y="2"/>
                    <a:pt x="18" y="2"/>
                  </a:cubicBezTo>
                  <a:cubicBezTo>
                    <a:pt x="18" y="2"/>
                    <a:pt x="19" y="2"/>
                    <a:pt x="19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5"/>
                    <a:pt x="18" y="5"/>
                    <a:pt x="18" y="7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5"/>
                    <a:pt x="18" y="15"/>
                  </a:cubicBezTo>
                  <a:cubicBezTo>
                    <a:pt x="19" y="15"/>
                    <a:pt x="19" y="15"/>
                    <a:pt x="19" y="16"/>
                  </a:cubicBezTo>
                  <a:cubicBezTo>
                    <a:pt x="19" y="16"/>
                    <a:pt x="18" y="16"/>
                    <a:pt x="17" y="18"/>
                  </a:cubicBezTo>
                  <a:cubicBezTo>
                    <a:pt x="17" y="18"/>
                    <a:pt x="16" y="19"/>
                    <a:pt x="16" y="20"/>
                  </a:cubicBezTo>
                  <a:cubicBezTo>
                    <a:pt x="16" y="20"/>
                    <a:pt x="15" y="21"/>
                    <a:pt x="15" y="22"/>
                  </a:cubicBezTo>
                  <a:cubicBezTo>
                    <a:pt x="14" y="22"/>
                    <a:pt x="14" y="22"/>
                    <a:pt x="13" y="22"/>
                  </a:cubicBezTo>
                  <a:close/>
                  <a:moveTo>
                    <a:pt x="3" y="13"/>
                  </a:move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3" y="14"/>
                    <a:pt x="7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9" y="17"/>
                    <a:pt x="10" y="18"/>
                    <a:pt x="10" y="19"/>
                  </a:cubicBezTo>
                  <a:cubicBezTo>
                    <a:pt x="11" y="20"/>
                    <a:pt x="12" y="21"/>
                    <a:pt x="13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5" y="20"/>
                    <a:pt x="15" y="19"/>
                  </a:cubicBezTo>
                  <a:cubicBezTo>
                    <a:pt x="15" y="18"/>
                    <a:pt x="16" y="17"/>
                    <a:pt x="16" y="17"/>
                  </a:cubicBezTo>
                  <a:cubicBezTo>
                    <a:pt x="17" y="16"/>
                    <a:pt x="17" y="16"/>
                    <a:pt x="18" y="16"/>
                  </a:cubicBezTo>
                  <a:cubicBezTo>
                    <a:pt x="17" y="15"/>
                    <a:pt x="17" y="15"/>
                    <a:pt x="17" y="13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5"/>
                    <a:pt x="17" y="4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6" y="3"/>
                    <a:pt x="15" y="3"/>
                    <a:pt x="15" y="3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8" y="2"/>
                    <a:pt x="7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4" y="3"/>
                    <a:pt x="4" y="6"/>
                    <a:pt x="4" y="8"/>
                  </a:cubicBezTo>
                  <a:cubicBezTo>
                    <a:pt x="4" y="8"/>
                    <a:pt x="4" y="8"/>
                    <a:pt x="3" y="9"/>
                  </a:cubicBezTo>
                  <a:cubicBezTo>
                    <a:pt x="3" y="10"/>
                    <a:pt x="2" y="11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3" y="12"/>
                    <a:pt x="3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2" name="Freeform 327"/>
            <p:cNvSpPr/>
            <p:nvPr/>
          </p:nvSpPr>
          <p:spPr bwMode="auto">
            <a:xfrm>
              <a:off x="1946728" y="3095059"/>
              <a:ext cx="327339" cy="321122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0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2147483646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0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0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4" h="43">
                  <a:moveTo>
                    <a:pt x="42" y="10"/>
                  </a:moveTo>
                  <a:cubicBezTo>
                    <a:pt x="40" y="12"/>
                    <a:pt x="41" y="13"/>
                    <a:pt x="40" y="15"/>
                  </a:cubicBezTo>
                  <a:cubicBezTo>
                    <a:pt x="40" y="16"/>
                    <a:pt x="39" y="17"/>
                    <a:pt x="39" y="18"/>
                  </a:cubicBezTo>
                  <a:cubicBezTo>
                    <a:pt x="39" y="19"/>
                    <a:pt x="39" y="20"/>
                    <a:pt x="39" y="20"/>
                  </a:cubicBezTo>
                  <a:cubicBezTo>
                    <a:pt x="39" y="23"/>
                    <a:pt x="39" y="25"/>
                    <a:pt x="40" y="27"/>
                  </a:cubicBezTo>
                  <a:cubicBezTo>
                    <a:pt x="40" y="29"/>
                    <a:pt x="42" y="29"/>
                    <a:pt x="42" y="31"/>
                  </a:cubicBezTo>
                  <a:cubicBezTo>
                    <a:pt x="41" y="32"/>
                    <a:pt x="39" y="31"/>
                    <a:pt x="39" y="33"/>
                  </a:cubicBezTo>
                  <a:cubicBezTo>
                    <a:pt x="38" y="34"/>
                    <a:pt x="39" y="35"/>
                    <a:pt x="38" y="37"/>
                  </a:cubicBezTo>
                  <a:cubicBezTo>
                    <a:pt x="38" y="39"/>
                    <a:pt x="37" y="39"/>
                    <a:pt x="39" y="41"/>
                  </a:cubicBezTo>
                  <a:cubicBezTo>
                    <a:pt x="39" y="41"/>
                    <a:pt x="40" y="40"/>
                    <a:pt x="40" y="41"/>
                  </a:cubicBezTo>
                  <a:cubicBezTo>
                    <a:pt x="40" y="42"/>
                    <a:pt x="40" y="43"/>
                    <a:pt x="40" y="43"/>
                  </a:cubicBezTo>
                  <a:cubicBezTo>
                    <a:pt x="38" y="43"/>
                    <a:pt x="36" y="39"/>
                    <a:pt x="34" y="40"/>
                  </a:cubicBezTo>
                  <a:cubicBezTo>
                    <a:pt x="32" y="40"/>
                    <a:pt x="31" y="40"/>
                    <a:pt x="30" y="39"/>
                  </a:cubicBezTo>
                  <a:cubicBezTo>
                    <a:pt x="29" y="38"/>
                    <a:pt x="29" y="39"/>
                    <a:pt x="28" y="39"/>
                  </a:cubicBezTo>
                  <a:cubicBezTo>
                    <a:pt x="28" y="38"/>
                    <a:pt x="28" y="37"/>
                    <a:pt x="27" y="38"/>
                  </a:cubicBezTo>
                  <a:cubicBezTo>
                    <a:pt x="26" y="38"/>
                    <a:pt x="24" y="37"/>
                    <a:pt x="23" y="38"/>
                  </a:cubicBezTo>
                  <a:cubicBezTo>
                    <a:pt x="22" y="40"/>
                    <a:pt x="23" y="37"/>
                    <a:pt x="23" y="36"/>
                  </a:cubicBezTo>
                  <a:cubicBezTo>
                    <a:pt x="22" y="33"/>
                    <a:pt x="23" y="28"/>
                    <a:pt x="19" y="29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19" y="28"/>
                    <a:pt x="17" y="28"/>
                    <a:pt x="17" y="29"/>
                  </a:cubicBezTo>
                  <a:cubicBezTo>
                    <a:pt x="16" y="29"/>
                    <a:pt x="17" y="31"/>
                    <a:pt x="16" y="31"/>
                  </a:cubicBezTo>
                  <a:cubicBezTo>
                    <a:pt x="14" y="31"/>
                    <a:pt x="11" y="32"/>
                    <a:pt x="11" y="29"/>
                  </a:cubicBezTo>
                  <a:cubicBezTo>
                    <a:pt x="10" y="26"/>
                    <a:pt x="9" y="26"/>
                    <a:pt x="6" y="26"/>
                  </a:cubicBezTo>
                  <a:cubicBezTo>
                    <a:pt x="4" y="26"/>
                    <a:pt x="2" y="26"/>
                    <a:pt x="0" y="27"/>
                  </a:cubicBezTo>
                  <a:cubicBezTo>
                    <a:pt x="0" y="24"/>
                    <a:pt x="2" y="24"/>
                    <a:pt x="5" y="22"/>
                  </a:cubicBezTo>
                  <a:cubicBezTo>
                    <a:pt x="5" y="25"/>
                    <a:pt x="9" y="21"/>
                    <a:pt x="9" y="20"/>
                  </a:cubicBezTo>
                  <a:cubicBezTo>
                    <a:pt x="9" y="18"/>
                    <a:pt x="9" y="16"/>
                    <a:pt x="10" y="16"/>
                  </a:cubicBezTo>
                  <a:cubicBezTo>
                    <a:pt x="12" y="14"/>
                    <a:pt x="12" y="14"/>
                    <a:pt x="13" y="12"/>
                  </a:cubicBezTo>
                  <a:cubicBezTo>
                    <a:pt x="13" y="11"/>
                    <a:pt x="13" y="9"/>
                    <a:pt x="13" y="8"/>
                  </a:cubicBezTo>
                  <a:cubicBezTo>
                    <a:pt x="14" y="7"/>
                    <a:pt x="15" y="4"/>
                    <a:pt x="15" y="4"/>
                  </a:cubicBezTo>
                  <a:cubicBezTo>
                    <a:pt x="16" y="3"/>
                    <a:pt x="15" y="1"/>
                    <a:pt x="17" y="0"/>
                  </a:cubicBezTo>
                  <a:cubicBezTo>
                    <a:pt x="18" y="0"/>
                    <a:pt x="19" y="2"/>
                    <a:pt x="20" y="2"/>
                  </a:cubicBezTo>
                  <a:cubicBezTo>
                    <a:pt x="21" y="2"/>
                    <a:pt x="22" y="3"/>
                    <a:pt x="23" y="2"/>
                  </a:cubicBezTo>
                  <a:cubicBezTo>
                    <a:pt x="24" y="2"/>
                    <a:pt x="24" y="1"/>
                    <a:pt x="25" y="1"/>
                  </a:cubicBezTo>
                  <a:cubicBezTo>
                    <a:pt x="26" y="2"/>
                    <a:pt x="27" y="1"/>
                    <a:pt x="28" y="1"/>
                  </a:cubicBezTo>
                  <a:cubicBezTo>
                    <a:pt x="28" y="1"/>
                    <a:pt x="29" y="1"/>
                    <a:pt x="30" y="0"/>
                  </a:cubicBezTo>
                  <a:cubicBezTo>
                    <a:pt x="30" y="0"/>
                    <a:pt x="33" y="1"/>
                    <a:pt x="33" y="1"/>
                  </a:cubicBezTo>
                  <a:cubicBezTo>
                    <a:pt x="34" y="0"/>
                    <a:pt x="35" y="0"/>
                    <a:pt x="36" y="1"/>
                  </a:cubicBezTo>
                  <a:cubicBezTo>
                    <a:pt x="37" y="3"/>
                    <a:pt x="37" y="2"/>
                    <a:pt x="39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3"/>
                    <a:pt x="42" y="3"/>
                    <a:pt x="43" y="4"/>
                  </a:cubicBezTo>
                  <a:cubicBezTo>
                    <a:pt x="44" y="5"/>
                    <a:pt x="42" y="6"/>
                    <a:pt x="44" y="7"/>
                  </a:cubicBezTo>
                  <a:cubicBezTo>
                    <a:pt x="43" y="8"/>
                    <a:pt x="42" y="9"/>
                    <a:pt x="42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3" name="Freeform 328"/>
            <p:cNvSpPr>
              <a:spLocks noEditPoints="1"/>
            </p:cNvSpPr>
            <p:nvPr/>
          </p:nvSpPr>
          <p:spPr bwMode="auto">
            <a:xfrm>
              <a:off x="1937286" y="3095059"/>
              <a:ext cx="343076" cy="327419"/>
            </a:xfrm>
            <a:custGeom>
              <a:avLst/>
              <a:gdLst>
                <a:gd name="T0" fmla="*/ 2147483646 w 46"/>
                <a:gd name="T1" fmla="*/ 2147483646 h 44"/>
                <a:gd name="T2" fmla="*/ 2147483646 w 46"/>
                <a:gd name="T3" fmla="*/ 2147483646 h 44"/>
                <a:gd name="T4" fmla="*/ 2147483646 w 46"/>
                <a:gd name="T5" fmla="*/ 2147483646 h 44"/>
                <a:gd name="T6" fmla="*/ 2147483646 w 46"/>
                <a:gd name="T7" fmla="*/ 2147483646 h 44"/>
                <a:gd name="T8" fmla="*/ 2147483646 w 46"/>
                <a:gd name="T9" fmla="*/ 2147483646 h 44"/>
                <a:gd name="T10" fmla="*/ 2147483646 w 46"/>
                <a:gd name="T11" fmla="*/ 2147483646 h 44"/>
                <a:gd name="T12" fmla="*/ 2147483646 w 46"/>
                <a:gd name="T13" fmla="*/ 2147483646 h 44"/>
                <a:gd name="T14" fmla="*/ 2147483646 w 46"/>
                <a:gd name="T15" fmla="*/ 2147483646 h 44"/>
                <a:gd name="T16" fmla="*/ 2147483646 w 46"/>
                <a:gd name="T17" fmla="*/ 2147483646 h 44"/>
                <a:gd name="T18" fmla="*/ 2147483646 w 46"/>
                <a:gd name="T19" fmla="*/ 2147483646 h 44"/>
                <a:gd name="T20" fmla="*/ 2147483646 w 46"/>
                <a:gd name="T21" fmla="*/ 2147483646 h 44"/>
                <a:gd name="T22" fmla="*/ 2147483646 w 46"/>
                <a:gd name="T23" fmla="*/ 2147483646 h 44"/>
                <a:gd name="T24" fmla="*/ 2147483646 w 46"/>
                <a:gd name="T25" fmla="*/ 2147483646 h 44"/>
                <a:gd name="T26" fmla="*/ 2147483646 w 46"/>
                <a:gd name="T27" fmla="*/ 2147483646 h 44"/>
                <a:gd name="T28" fmla="*/ 2147483646 w 46"/>
                <a:gd name="T29" fmla="*/ 0 h 44"/>
                <a:gd name="T30" fmla="*/ 2147483646 w 46"/>
                <a:gd name="T31" fmla="*/ 2147483646 h 44"/>
                <a:gd name="T32" fmla="*/ 2147483646 w 46"/>
                <a:gd name="T33" fmla="*/ 2147483646 h 44"/>
                <a:gd name="T34" fmla="*/ 2147483646 w 46"/>
                <a:gd name="T35" fmla="*/ 2147483646 h 44"/>
                <a:gd name="T36" fmla="*/ 2147483646 w 46"/>
                <a:gd name="T37" fmla="*/ 2147483646 h 44"/>
                <a:gd name="T38" fmla="*/ 2147483646 w 46"/>
                <a:gd name="T39" fmla="*/ 2147483646 h 44"/>
                <a:gd name="T40" fmla="*/ 2147483646 w 46"/>
                <a:gd name="T41" fmla="*/ 2147483646 h 44"/>
                <a:gd name="T42" fmla="*/ 2147483646 w 46"/>
                <a:gd name="T43" fmla="*/ 2147483646 h 44"/>
                <a:gd name="T44" fmla="*/ 2147483646 w 46"/>
                <a:gd name="T45" fmla="*/ 2147483646 h 44"/>
                <a:gd name="T46" fmla="*/ 2147483646 w 46"/>
                <a:gd name="T47" fmla="*/ 2147483646 h 44"/>
                <a:gd name="T48" fmla="*/ 2147483646 w 46"/>
                <a:gd name="T49" fmla="*/ 2147483646 h 44"/>
                <a:gd name="T50" fmla="*/ 2147483646 w 46"/>
                <a:gd name="T51" fmla="*/ 2147483646 h 44"/>
                <a:gd name="T52" fmla="*/ 2147483646 w 46"/>
                <a:gd name="T53" fmla="*/ 2147483646 h 44"/>
                <a:gd name="T54" fmla="*/ 2147483646 w 46"/>
                <a:gd name="T55" fmla="*/ 2147483646 h 44"/>
                <a:gd name="T56" fmla="*/ 2147483646 w 46"/>
                <a:gd name="T57" fmla="*/ 2147483646 h 44"/>
                <a:gd name="T58" fmla="*/ 2147483646 w 46"/>
                <a:gd name="T59" fmla="*/ 2147483646 h 44"/>
                <a:gd name="T60" fmla="*/ 2147483646 w 46"/>
                <a:gd name="T61" fmla="*/ 2147483646 h 44"/>
                <a:gd name="T62" fmla="*/ 2147483646 w 46"/>
                <a:gd name="T63" fmla="*/ 2147483646 h 44"/>
                <a:gd name="T64" fmla="*/ 2147483646 w 46"/>
                <a:gd name="T65" fmla="*/ 2147483646 h 44"/>
                <a:gd name="T66" fmla="*/ 2147483646 w 46"/>
                <a:gd name="T67" fmla="*/ 2147483646 h 44"/>
                <a:gd name="T68" fmla="*/ 2147483646 w 46"/>
                <a:gd name="T69" fmla="*/ 2147483646 h 44"/>
                <a:gd name="T70" fmla="*/ 2147483646 w 46"/>
                <a:gd name="T71" fmla="*/ 2147483646 h 44"/>
                <a:gd name="T72" fmla="*/ 2147483646 w 46"/>
                <a:gd name="T73" fmla="*/ 2147483646 h 44"/>
                <a:gd name="T74" fmla="*/ 2147483646 w 46"/>
                <a:gd name="T75" fmla="*/ 2147483646 h 44"/>
                <a:gd name="T76" fmla="*/ 2147483646 w 46"/>
                <a:gd name="T77" fmla="*/ 2147483646 h 44"/>
                <a:gd name="T78" fmla="*/ 2147483646 w 46"/>
                <a:gd name="T79" fmla="*/ 2147483646 h 44"/>
                <a:gd name="T80" fmla="*/ 2147483646 w 46"/>
                <a:gd name="T81" fmla="*/ 2147483646 h 44"/>
                <a:gd name="T82" fmla="*/ 2147483646 w 46"/>
                <a:gd name="T83" fmla="*/ 2147483646 h 44"/>
                <a:gd name="T84" fmla="*/ 2147483646 w 46"/>
                <a:gd name="T85" fmla="*/ 2147483646 h 44"/>
                <a:gd name="T86" fmla="*/ 2147483646 w 46"/>
                <a:gd name="T87" fmla="*/ 2147483646 h 44"/>
                <a:gd name="T88" fmla="*/ 2147483646 w 46"/>
                <a:gd name="T89" fmla="*/ 2147483646 h 44"/>
                <a:gd name="T90" fmla="*/ 2147483646 w 46"/>
                <a:gd name="T91" fmla="*/ 2147483646 h 44"/>
                <a:gd name="T92" fmla="*/ 2147483646 w 46"/>
                <a:gd name="T93" fmla="*/ 2147483646 h 44"/>
                <a:gd name="T94" fmla="*/ 2147483646 w 46"/>
                <a:gd name="T95" fmla="*/ 2147483646 h 4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46" h="44">
                  <a:moveTo>
                    <a:pt x="42" y="44"/>
                  </a:moveTo>
                  <a:cubicBezTo>
                    <a:pt x="41" y="44"/>
                    <a:pt x="41" y="44"/>
                    <a:pt x="41" y="44"/>
                  </a:cubicBezTo>
                  <a:cubicBezTo>
                    <a:pt x="40" y="44"/>
                    <a:pt x="39" y="43"/>
                    <a:pt x="38" y="42"/>
                  </a:cubicBezTo>
                  <a:cubicBezTo>
                    <a:pt x="37" y="41"/>
                    <a:pt x="36" y="40"/>
                    <a:pt x="35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2" y="40"/>
                    <a:pt x="31" y="40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0" y="39"/>
                  </a:cubicBezTo>
                  <a:cubicBezTo>
                    <a:pt x="30" y="39"/>
                    <a:pt x="30" y="39"/>
                    <a:pt x="29" y="39"/>
                  </a:cubicBezTo>
                  <a:cubicBezTo>
                    <a:pt x="29" y="39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8"/>
                    <a:pt x="27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8"/>
                    <a:pt x="25" y="39"/>
                  </a:cubicBezTo>
                  <a:cubicBezTo>
                    <a:pt x="25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8"/>
                    <a:pt x="23" y="37"/>
                  </a:cubicBezTo>
                  <a:cubicBezTo>
                    <a:pt x="23" y="37"/>
                    <a:pt x="23" y="36"/>
                    <a:pt x="23" y="36"/>
                  </a:cubicBezTo>
                  <a:cubicBezTo>
                    <a:pt x="23" y="35"/>
                    <a:pt x="23" y="34"/>
                    <a:pt x="23" y="33"/>
                  </a:cubicBezTo>
                  <a:cubicBezTo>
                    <a:pt x="23" y="30"/>
                    <a:pt x="22" y="29"/>
                    <a:pt x="21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9"/>
                    <a:pt x="18" y="29"/>
                    <a:pt x="18" y="29"/>
                  </a:cubicBezTo>
                  <a:cubicBezTo>
                    <a:pt x="18" y="29"/>
                    <a:pt x="18" y="30"/>
                    <a:pt x="18" y="30"/>
                  </a:cubicBezTo>
                  <a:cubicBezTo>
                    <a:pt x="18" y="30"/>
                    <a:pt x="18" y="31"/>
                    <a:pt x="17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2"/>
                    <a:pt x="15" y="32"/>
                    <a:pt x="14" y="32"/>
                  </a:cubicBezTo>
                  <a:cubicBezTo>
                    <a:pt x="13" y="32"/>
                    <a:pt x="11" y="31"/>
                    <a:pt x="11" y="29"/>
                  </a:cubicBezTo>
                  <a:cubicBezTo>
                    <a:pt x="10" y="27"/>
                    <a:pt x="10" y="26"/>
                    <a:pt x="8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5" y="27"/>
                    <a:pt x="3" y="27"/>
                    <a:pt x="1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4"/>
                    <a:pt x="2" y="23"/>
                    <a:pt x="4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7" y="23"/>
                    <a:pt x="9" y="21"/>
                    <a:pt x="9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18"/>
                    <a:pt x="10" y="16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3" y="14"/>
                    <a:pt x="13" y="14"/>
                    <a:pt x="13" y="12"/>
                  </a:cubicBezTo>
                  <a:cubicBezTo>
                    <a:pt x="13" y="12"/>
                    <a:pt x="13" y="11"/>
                    <a:pt x="13" y="11"/>
                  </a:cubicBezTo>
                  <a:cubicBezTo>
                    <a:pt x="13" y="10"/>
                    <a:pt x="13" y="8"/>
                    <a:pt x="14" y="7"/>
                  </a:cubicBezTo>
                  <a:cubicBezTo>
                    <a:pt x="14" y="7"/>
                    <a:pt x="14" y="7"/>
                    <a:pt x="14" y="6"/>
                  </a:cubicBezTo>
                  <a:cubicBezTo>
                    <a:pt x="15" y="4"/>
                    <a:pt x="15" y="4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6" y="0"/>
                    <a:pt x="17" y="0"/>
                  </a:cubicBezTo>
                  <a:cubicBezTo>
                    <a:pt x="19" y="0"/>
                    <a:pt x="19" y="0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cubicBezTo>
                    <a:pt x="23" y="2"/>
                    <a:pt x="24" y="2"/>
                    <a:pt x="24" y="2"/>
                  </a:cubicBezTo>
                  <a:cubicBezTo>
                    <a:pt x="24" y="2"/>
                    <a:pt x="25" y="2"/>
                    <a:pt x="25" y="2"/>
                  </a:cubicBezTo>
                  <a:cubicBezTo>
                    <a:pt x="25" y="1"/>
                    <a:pt x="25" y="1"/>
                    <a:pt x="26" y="1"/>
                  </a:cubicBezTo>
                  <a:cubicBezTo>
                    <a:pt x="27" y="1"/>
                    <a:pt x="27" y="1"/>
                    <a:pt x="28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9" y="0"/>
                    <a:pt x="30" y="0"/>
                    <a:pt x="31" y="0"/>
                  </a:cubicBezTo>
                  <a:cubicBezTo>
                    <a:pt x="31" y="0"/>
                    <a:pt x="33" y="0"/>
                    <a:pt x="34" y="0"/>
                  </a:cubicBezTo>
                  <a:cubicBezTo>
                    <a:pt x="34" y="0"/>
                    <a:pt x="35" y="0"/>
                    <a:pt x="35" y="0"/>
                  </a:cubicBezTo>
                  <a:cubicBezTo>
                    <a:pt x="36" y="0"/>
                    <a:pt x="37" y="0"/>
                    <a:pt x="37" y="1"/>
                  </a:cubicBezTo>
                  <a:cubicBezTo>
                    <a:pt x="38" y="2"/>
                    <a:pt x="38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2"/>
                    <a:pt x="41" y="2"/>
                  </a:cubicBezTo>
                  <a:cubicBezTo>
                    <a:pt x="41" y="1"/>
                    <a:pt x="41" y="1"/>
                    <a:pt x="42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3"/>
                    <a:pt x="44" y="3"/>
                    <a:pt x="44" y="4"/>
                  </a:cubicBezTo>
                  <a:cubicBezTo>
                    <a:pt x="45" y="4"/>
                    <a:pt x="45" y="5"/>
                    <a:pt x="45" y="5"/>
                  </a:cubicBezTo>
                  <a:cubicBezTo>
                    <a:pt x="45" y="6"/>
                    <a:pt x="45" y="6"/>
                    <a:pt x="45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9"/>
                    <a:pt x="44" y="9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3" y="11"/>
                    <a:pt x="43" y="12"/>
                    <a:pt x="42" y="13"/>
                  </a:cubicBezTo>
                  <a:cubicBezTo>
                    <a:pt x="42" y="14"/>
                    <a:pt x="42" y="15"/>
                    <a:pt x="42" y="16"/>
                  </a:cubicBezTo>
                  <a:cubicBezTo>
                    <a:pt x="42" y="16"/>
                    <a:pt x="41" y="16"/>
                    <a:pt x="41" y="17"/>
                  </a:cubicBezTo>
                  <a:cubicBezTo>
                    <a:pt x="41" y="17"/>
                    <a:pt x="40" y="18"/>
                    <a:pt x="40" y="18"/>
                  </a:cubicBezTo>
                  <a:cubicBezTo>
                    <a:pt x="40" y="18"/>
                    <a:pt x="40" y="18"/>
                    <a:pt x="41" y="19"/>
                  </a:cubicBezTo>
                  <a:cubicBezTo>
                    <a:pt x="41" y="19"/>
                    <a:pt x="41" y="20"/>
                    <a:pt x="41" y="20"/>
                  </a:cubicBezTo>
                  <a:cubicBezTo>
                    <a:pt x="41" y="23"/>
                    <a:pt x="41" y="24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8"/>
                    <a:pt x="42" y="28"/>
                    <a:pt x="42" y="29"/>
                  </a:cubicBezTo>
                  <a:cubicBezTo>
                    <a:pt x="43" y="29"/>
                    <a:pt x="44" y="30"/>
                    <a:pt x="44" y="31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2" y="32"/>
                  </a:cubicBezTo>
                  <a:cubicBezTo>
                    <a:pt x="41" y="32"/>
                    <a:pt x="41" y="32"/>
                    <a:pt x="40" y="33"/>
                  </a:cubicBezTo>
                  <a:cubicBezTo>
                    <a:pt x="40" y="34"/>
                    <a:pt x="40" y="34"/>
                    <a:pt x="40" y="35"/>
                  </a:cubicBezTo>
                  <a:cubicBezTo>
                    <a:pt x="40" y="35"/>
                    <a:pt x="40" y="36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39" y="39"/>
                    <a:pt x="39" y="39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40"/>
                    <a:pt x="42" y="40"/>
                    <a:pt x="42" y="41"/>
                  </a:cubicBezTo>
                  <a:lnTo>
                    <a:pt x="42" y="44"/>
                  </a:lnTo>
                  <a:close/>
                  <a:moveTo>
                    <a:pt x="35" y="39"/>
                  </a:moveTo>
                  <a:cubicBezTo>
                    <a:pt x="36" y="39"/>
                    <a:pt x="38" y="40"/>
                    <a:pt x="39" y="41"/>
                  </a:cubicBezTo>
                  <a:cubicBezTo>
                    <a:pt x="39" y="42"/>
                    <a:pt x="40" y="42"/>
                    <a:pt x="41" y="43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0" y="41"/>
                    <a:pt x="39" y="41"/>
                    <a:pt x="39" y="41"/>
                  </a:cubicBezTo>
                  <a:cubicBezTo>
                    <a:pt x="38" y="40"/>
                    <a:pt x="38" y="39"/>
                    <a:pt x="39" y="37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6"/>
                    <a:pt x="39" y="36"/>
                    <a:pt x="39" y="35"/>
                  </a:cubicBezTo>
                  <a:cubicBezTo>
                    <a:pt x="39" y="34"/>
                    <a:pt x="38" y="33"/>
                    <a:pt x="39" y="32"/>
                  </a:cubicBezTo>
                  <a:cubicBezTo>
                    <a:pt x="40" y="31"/>
                    <a:pt x="41" y="31"/>
                    <a:pt x="42" y="31"/>
                  </a:cubicBezTo>
                  <a:cubicBezTo>
                    <a:pt x="42" y="31"/>
                    <a:pt x="42" y="31"/>
                    <a:pt x="43" y="31"/>
                  </a:cubicBezTo>
                  <a:cubicBezTo>
                    <a:pt x="42" y="30"/>
                    <a:pt x="42" y="30"/>
                    <a:pt x="42" y="29"/>
                  </a:cubicBezTo>
                  <a:cubicBezTo>
                    <a:pt x="41" y="29"/>
                    <a:pt x="40" y="28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4"/>
                    <a:pt x="40" y="23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39" y="19"/>
                    <a:pt x="39" y="18"/>
                    <a:pt x="39" y="18"/>
                  </a:cubicBezTo>
                  <a:cubicBezTo>
                    <a:pt x="39" y="17"/>
                    <a:pt x="40" y="17"/>
                    <a:pt x="40" y="16"/>
                  </a:cubicBezTo>
                  <a:cubicBezTo>
                    <a:pt x="40" y="16"/>
                    <a:pt x="41" y="15"/>
                    <a:pt x="41" y="15"/>
                  </a:cubicBezTo>
                  <a:cubicBezTo>
                    <a:pt x="41" y="14"/>
                    <a:pt x="41" y="14"/>
                    <a:pt x="41" y="13"/>
                  </a:cubicBezTo>
                  <a:cubicBezTo>
                    <a:pt x="41" y="12"/>
                    <a:pt x="42" y="11"/>
                    <a:pt x="43" y="9"/>
                  </a:cubicBezTo>
                  <a:cubicBezTo>
                    <a:pt x="43" y="8"/>
                    <a:pt x="43" y="8"/>
                    <a:pt x="44" y="7"/>
                  </a:cubicBezTo>
                  <a:cubicBezTo>
                    <a:pt x="43" y="7"/>
                    <a:pt x="44" y="6"/>
                    <a:pt x="44" y="5"/>
                  </a:cubicBezTo>
                  <a:cubicBezTo>
                    <a:pt x="44" y="5"/>
                    <a:pt x="44" y="5"/>
                    <a:pt x="44" y="4"/>
                  </a:cubicBezTo>
                  <a:cubicBezTo>
                    <a:pt x="43" y="4"/>
                    <a:pt x="42" y="3"/>
                    <a:pt x="42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3"/>
                    <a:pt x="41" y="3"/>
                  </a:cubicBezTo>
                  <a:cubicBezTo>
                    <a:pt x="41" y="3"/>
                    <a:pt x="41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8" y="3"/>
                    <a:pt x="37" y="3"/>
                    <a:pt x="36" y="1"/>
                  </a:cubicBezTo>
                  <a:cubicBezTo>
                    <a:pt x="36" y="1"/>
                    <a:pt x="36" y="1"/>
                    <a:pt x="35" y="1"/>
                  </a:cubicBezTo>
                  <a:cubicBezTo>
                    <a:pt x="35" y="1"/>
                    <a:pt x="35" y="1"/>
                    <a:pt x="34" y="1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3" y="1"/>
                    <a:pt x="31" y="1"/>
                    <a:pt x="31" y="1"/>
                  </a:cubicBezTo>
                  <a:cubicBezTo>
                    <a:pt x="31" y="1"/>
                    <a:pt x="29" y="1"/>
                    <a:pt x="29" y="2"/>
                  </a:cubicBezTo>
                  <a:cubicBezTo>
                    <a:pt x="29" y="2"/>
                    <a:pt x="28" y="2"/>
                    <a:pt x="28" y="2"/>
                  </a:cubicBezTo>
                  <a:cubicBezTo>
                    <a:pt x="28" y="2"/>
                    <a:pt x="27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5" y="3"/>
                    <a:pt x="25" y="3"/>
                  </a:cubicBezTo>
                  <a:cubicBezTo>
                    <a:pt x="24" y="3"/>
                    <a:pt x="23" y="3"/>
                    <a:pt x="22" y="3"/>
                  </a:cubicBezTo>
                  <a:cubicBezTo>
                    <a:pt x="22" y="3"/>
                    <a:pt x="21" y="2"/>
                    <a:pt x="21" y="3"/>
                  </a:cubicBezTo>
                  <a:cubicBezTo>
                    <a:pt x="21" y="3"/>
                    <a:pt x="20" y="3"/>
                    <a:pt x="20" y="3"/>
                  </a:cubicBezTo>
                  <a:cubicBezTo>
                    <a:pt x="20" y="3"/>
                    <a:pt x="19" y="2"/>
                    <a:pt x="19" y="2"/>
                  </a:cubicBezTo>
                  <a:cubicBezTo>
                    <a:pt x="19" y="1"/>
                    <a:pt x="18" y="1"/>
                    <a:pt x="18" y="1"/>
                  </a:cubicBezTo>
                  <a:cubicBezTo>
                    <a:pt x="17" y="1"/>
                    <a:pt x="17" y="2"/>
                    <a:pt x="17" y="3"/>
                  </a:cubicBezTo>
                  <a:cubicBezTo>
                    <a:pt x="17" y="3"/>
                    <a:pt x="17" y="4"/>
                    <a:pt x="16" y="4"/>
                  </a:cubicBezTo>
                  <a:cubicBezTo>
                    <a:pt x="16" y="5"/>
                    <a:pt x="16" y="6"/>
                    <a:pt x="15" y="6"/>
                  </a:cubicBezTo>
                  <a:cubicBezTo>
                    <a:pt x="15" y="7"/>
                    <a:pt x="15" y="8"/>
                    <a:pt x="15" y="8"/>
                  </a:cubicBezTo>
                  <a:cubicBezTo>
                    <a:pt x="15" y="9"/>
                    <a:pt x="14" y="10"/>
                    <a:pt x="14" y="11"/>
                  </a:cubicBezTo>
                  <a:cubicBezTo>
                    <a:pt x="14" y="11"/>
                    <a:pt x="14" y="12"/>
                    <a:pt x="14" y="12"/>
                  </a:cubicBezTo>
                  <a:cubicBezTo>
                    <a:pt x="14" y="14"/>
                    <a:pt x="14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7"/>
                    <a:pt x="11" y="18"/>
                    <a:pt x="11" y="19"/>
                  </a:cubicBezTo>
                  <a:cubicBezTo>
                    <a:pt x="11" y="19"/>
                    <a:pt x="11" y="20"/>
                    <a:pt x="11" y="20"/>
                  </a:cubicBezTo>
                  <a:cubicBezTo>
                    <a:pt x="10" y="21"/>
                    <a:pt x="8" y="24"/>
                    <a:pt x="6" y="24"/>
                  </a:cubicBezTo>
                  <a:cubicBezTo>
                    <a:pt x="6" y="24"/>
                    <a:pt x="6" y="24"/>
                    <a:pt x="5" y="24"/>
                  </a:cubicBezTo>
                  <a:cubicBezTo>
                    <a:pt x="5" y="24"/>
                    <a:pt x="5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4"/>
                    <a:pt x="2" y="24"/>
                    <a:pt x="2" y="26"/>
                  </a:cubicBezTo>
                  <a:cubicBezTo>
                    <a:pt x="4" y="25"/>
                    <a:pt x="5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1" y="25"/>
                    <a:pt x="11" y="26"/>
                    <a:pt x="12" y="29"/>
                  </a:cubicBezTo>
                  <a:cubicBezTo>
                    <a:pt x="12" y="30"/>
                    <a:pt x="13" y="31"/>
                    <a:pt x="14" y="31"/>
                  </a:cubicBezTo>
                  <a:cubicBezTo>
                    <a:pt x="15" y="31"/>
                    <a:pt x="16" y="30"/>
                    <a:pt x="16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9"/>
                    <a:pt x="17" y="29"/>
                    <a:pt x="17" y="28"/>
                  </a:cubicBezTo>
                  <a:cubicBezTo>
                    <a:pt x="18" y="28"/>
                    <a:pt x="19" y="28"/>
                    <a:pt x="20" y="28"/>
                  </a:cubicBezTo>
                  <a:cubicBezTo>
                    <a:pt x="20" y="28"/>
                    <a:pt x="20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4" y="29"/>
                    <a:pt x="24" y="31"/>
                    <a:pt x="24" y="33"/>
                  </a:cubicBezTo>
                  <a:cubicBezTo>
                    <a:pt x="24" y="34"/>
                    <a:pt x="24" y="35"/>
                    <a:pt x="24" y="36"/>
                  </a:cubicBezTo>
                  <a:cubicBezTo>
                    <a:pt x="24" y="36"/>
                    <a:pt x="24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8"/>
                    <a:pt x="31" y="38"/>
                    <a:pt x="32" y="38"/>
                  </a:cubicBezTo>
                  <a:cubicBezTo>
                    <a:pt x="32" y="39"/>
                    <a:pt x="33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4" name="Freeform 329"/>
            <p:cNvSpPr/>
            <p:nvPr/>
          </p:nvSpPr>
          <p:spPr bwMode="auto">
            <a:xfrm>
              <a:off x="2220560" y="3117097"/>
              <a:ext cx="119605" cy="97596"/>
            </a:xfrm>
            <a:custGeom>
              <a:avLst/>
              <a:gdLst>
                <a:gd name="T0" fmla="*/ 2147483646 w 16"/>
                <a:gd name="T1" fmla="*/ 2147483646 h 13"/>
                <a:gd name="T2" fmla="*/ 2147483646 w 16"/>
                <a:gd name="T3" fmla="*/ 2147483646 h 13"/>
                <a:gd name="T4" fmla="*/ 2147483646 w 16"/>
                <a:gd name="T5" fmla="*/ 0 h 13"/>
                <a:gd name="T6" fmla="*/ 2147483646 w 16"/>
                <a:gd name="T7" fmla="*/ 2147483646 h 13"/>
                <a:gd name="T8" fmla="*/ 2147483646 w 16"/>
                <a:gd name="T9" fmla="*/ 2147483646 h 13"/>
                <a:gd name="T10" fmla="*/ 2147483646 w 16"/>
                <a:gd name="T11" fmla="*/ 2147483646 h 13"/>
                <a:gd name="T12" fmla="*/ 2147483646 w 16"/>
                <a:gd name="T13" fmla="*/ 2147483646 h 13"/>
                <a:gd name="T14" fmla="*/ 2147483646 w 16"/>
                <a:gd name="T15" fmla="*/ 2147483646 h 13"/>
                <a:gd name="T16" fmla="*/ 2147483646 w 16"/>
                <a:gd name="T17" fmla="*/ 2147483646 h 13"/>
                <a:gd name="T18" fmla="*/ 2147483646 w 16"/>
                <a:gd name="T19" fmla="*/ 2147483646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6" h="13">
                  <a:moveTo>
                    <a:pt x="13" y="9"/>
                  </a:moveTo>
                  <a:cubicBezTo>
                    <a:pt x="14" y="8"/>
                    <a:pt x="16" y="6"/>
                    <a:pt x="16" y="4"/>
                  </a:cubicBezTo>
                  <a:cubicBezTo>
                    <a:pt x="15" y="3"/>
                    <a:pt x="14" y="0"/>
                    <a:pt x="13" y="0"/>
                  </a:cubicBezTo>
                  <a:cubicBezTo>
                    <a:pt x="13" y="0"/>
                    <a:pt x="12" y="1"/>
                    <a:pt x="11" y="1"/>
                  </a:cubicBezTo>
                  <a:cubicBezTo>
                    <a:pt x="10" y="1"/>
                    <a:pt x="9" y="1"/>
                    <a:pt x="7" y="1"/>
                  </a:cubicBezTo>
                  <a:cubicBezTo>
                    <a:pt x="4" y="1"/>
                    <a:pt x="7" y="3"/>
                    <a:pt x="7" y="5"/>
                  </a:cubicBezTo>
                  <a:cubicBezTo>
                    <a:pt x="7" y="6"/>
                    <a:pt x="0" y="11"/>
                    <a:pt x="4" y="13"/>
                  </a:cubicBezTo>
                  <a:cubicBezTo>
                    <a:pt x="4" y="13"/>
                    <a:pt x="7" y="12"/>
                    <a:pt x="7" y="12"/>
                  </a:cubicBezTo>
                  <a:cubicBezTo>
                    <a:pt x="9" y="12"/>
                    <a:pt x="8" y="11"/>
                    <a:pt x="8" y="10"/>
                  </a:cubicBezTo>
                  <a:cubicBezTo>
                    <a:pt x="9" y="9"/>
                    <a:pt x="13" y="9"/>
                    <a:pt x="13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5" name="Freeform 330"/>
            <p:cNvSpPr>
              <a:spLocks noEditPoints="1"/>
            </p:cNvSpPr>
            <p:nvPr/>
          </p:nvSpPr>
          <p:spPr bwMode="auto">
            <a:xfrm>
              <a:off x="2236297" y="3110800"/>
              <a:ext cx="110162" cy="103892"/>
            </a:xfrm>
            <a:custGeom>
              <a:avLst/>
              <a:gdLst>
                <a:gd name="T0" fmla="*/ 2147483646 w 15"/>
                <a:gd name="T1" fmla="*/ 2147483646 h 14"/>
                <a:gd name="T2" fmla="*/ 2147483646 w 15"/>
                <a:gd name="T3" fmla="*/ 2147483646 h 14"/>
                <a:gd name="T4" fmla="*/ 0 w 15"/>
                <a:gd name="T5" fmla="*/ 2147483646 h 14"/>
                <a:gd name="T6" fmla="*/ 2147483646 w 15"/>
                <a:gd name="T7" fmla="*/ 2147483646 h 14"/>
                <a:gd name="T8" fmla="*/ 2147483646 w 15"/>
                <a:gd name="T9" fmla="*/ 2147483646 h 14"/>
                <a:gd name="T10" fmla="*/ 2147483646 w 15"/>
                <a:gd name="T11" fmla="*/ 2147483646 h 14"/>
                <a:gd name="T12" fmla="*/ 2147483646 w 15"/>
                <a:gd name="T13" fmla="*/ 2147483646 h 14"/>
                <a:gd name="T14" fmla="*/ 2147483646 w 15"/>
                <a:gd name="T15" fmla="*/ 2147483646 h 14"/>
                <a:gd name="T16" fmla="*/ 2147483646 w 15"/>
                <a:gd name="T17" fmla="*/ 2147483646 h 14"/>
                <a:gd name="T18" fmla="*/ 2147483646 w 15"/>
                <a:gd name="T19" fmla="*/ 2147483646 h 14"/>
                <a:gd name="T20" fmla="*/ 2147483646 w 15"/>
                <a:gd name="T21" fmla="*/ 2147483646 h 14"/>
                <a:gd name="T22" fmla="*/ 2147483646 w 15"/>
                <a:gd name="T23" fmla="*/ 0 h 14"/>
                <a:gd name="T24" fmla="*/ 2147483646 w 15"/>
                <a:gd name="T25" fmla="*/ 2147483646 h 14"/>
                <a:gd name="T26" fmla="*/ 2147483646 w 15"/>
                <a:gd name="T27" fmla="*/ 2147483646 h 14"/>
                <a:gd name="T28" fmla="*/ 2147483646 w 15"/>
                <a:gd name="T29" fmla="*/ 2147483646 h 14"/>
                <a:gd name="T30" fmla="*/ 2147483646 w 15"/>
                <a:gd name="T31" fmla="*/ 2147483646 h 14"/>
                <a:gd name="T32" fmla="*/ 2147483646 w 15"/>
                <a:gd name="T33" fmla="*/ 2147483646 h 14"/>
                <a:gd name="T34" fmla="*/ 2147483646 w 15"/>
                <a:gd name="T35" fmla="*/ 2147483646 h 14"/>
                <a:gd name="T36" fmla="*/ 2147483646 w 15"/>
                <a:gd name="T37" fmla="*/ 2147483646 h 14"/>
                <a:gd name="T38" fmla="*/ 2147483646 w 15"/>
                <a:gd name="T39" fmla="*/ 2147483646 h 14"/>
                <a:gd name="T40" fmla="*/ 2147483646 w 15"/>
                <a:gd name="T41" fmla="*/ 2147483646 h 14"/>
                <a:gd name="T42" fmla="*/ 2147483646 w 15"/>
                <a:gd name="T43" fmla="*/ 2147483646 h 14"/>
                <a:gd name="T44" fmla="*/ 2147483646 w 15"/>
                <a:gd name="T45" fmla="*/ 2147483646 h 14"/>
                <a:gd name="T46" fmla="*/ 2147483646 w 15"/>
                <a:gd name="T47" fmla="*/ 2147483646 h 14"/>
                <a:gd name="T48" fmla="*/ 2147483646 w 15"/>
                <a:gd name="T49" fmla="*/ 2147483646 h 14"/>
                <a:gd name="T50" fmla="*/ 2147483646 w 15"/>
                <a:gd name="T51" fmla="*/ 2147483646 h 14"/>
                <a:gd name="T52" fmla="*/ 2147483646 w 15"/>
                <a:gd name="T53" fmla="*/ 2147483646 h 14"/>
                <a:gd name="T54" fmla="*/ 2147483646 w 15"/>
                <a:gd name="T55" fmla="*/ 2147483646 h 14"/>
                <a:gd name="T56" fmla="*/ 2147483646 w 15"/>
                <a:gd name="T57" fmla="*/ 2147483646 h 14"/>
                <a:gd name="T58" fmla="*/ 2147483646 w 15"/>
                <a:gd name="T59" fmla="*/ 2147483646 h 14"/>
                <a:gd name="T60" fmla="*/ 2147483646 w 15"/>
                <a:gd name="T61" fmla="*/ 2147483646 h 14"/>
                <a:gd name="T62" fmla="*/ 2147483646 w 15"/>
                <a:gd name="T63" fmla="*/ 2147483646 h 14"/>
                <a:gd name="T64" fmla="*/ 2147483646 w 15"/>
                <a:gd name="T65" fmla="*/ 2147483646 h 14"/>
                <a:gd name="T66" fmla="*/ 2147483646 w 15"/>
                <a:gd name="T67" fmla="*/ 2147483646 h 14"/>
                <a:gd name="T68" fmla="*/ 2147483646 w 15"/>
                <a:gd name="T69" fmla="*/ 2147483646 h 14"/>
                <a:gd name="T70" fmla="*/ 2147483646 w 15"/>
                <a:gd name="T71" fmla="*/ 2147483646 h 14"/>
                <a:gd name="T72" fmla="*/ 2147483646 w 15"/>
                <a:gd name="T73" fmla="*/ 2147483646 h 14"/>
                <a:gd name="T74" fmla="*/ 2147483646 w 15"/>
                <a:gd name="T75" fmla="*/ 2147483646 h 14"/>
                <a:gd name="T76" fmla="*/ 2147483646 w 15"/>
                <a:gd name="T77" fmla="*/ 2147483646 h 14"/>
                <a:gd name="T78" fmla="*/ 2147483646 w 15"/>
                <a:gd name="T79" fmla="*/ 2147483646 h 14"/>
                <a:gd name="T80" fmla="*/ 2147483646 w 15"/>
                <a:gd name="T81" fmla="*/ 2147483646 h 14"/>
                <a:gd name="T82" fmla="*/ 2147483646 w 15"/>
                <a:gd name="T83" fmla="*/ 2147483646 h 14"/>
                <a:gd name="T84" fmla="*/ 2147483646 w 15"/>
                <a:gd name="T85" fmla="*/ 2147483646 h 14"/>
                <a:gd name="T86" fmla="*/ 2147483646 w 15"/>
                <a:gd name="T87" fmla="*/ 2147483646 h 1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" h="14">
                  <a:moveTo>
                    <a:pt x="3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1" y="14"/>
                    <a:pt x="1" y="13"/>
                    <a:pt x="0" y="13"/>
                  </a:cubicBezTo>
                  <a:cubicBezTo>
                    <a:pt x="0" y="11"/>
                    <a:pt x="2" y="9"/>
                    <a:pt x="3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4" y="2"/>
                    <a:pt x="5" y="2"/>
                    <a:pt x="5" y="1"/>
                  </a:cubicBezTo>
                  <a:cubicBezTo>
                    <a:pt x="6" y="1"/>
                    <a:pt x="8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10" y="1"/>
                    <a:pt x="10" y="1"/>
                  </a:cubicBezTo>
                  <a:cubicBezTo>
                    <a:pt x="11" y="1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4" y="4"/>
                    <a:pt x="14" y="5"/>
                  </a:cubicBezTo>
                  <a:cubicBezTo>
                    <a:pt x="15" y="7"/>
                    <a:pt x="13" y="8"/>
                    <a:pt x="12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0" y="10"/>
                  </a:cubicBezTo>
                  <a:cubicBezTo>
                    <a:pt x="9" y="10"/>
                    <a:pt x="7" y="11"/>
                    <a:pt x="7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7" y="13"/>
                    <a:pt x="7" y="13"/>
                    <a:pt x="5" y="13"/>
                  </a:cubicBezTo>
                  <a:cubicBezTo>
                    <a:pt x="5" y="13"/>
                    <a:pt x="3" y="14"/>
                    <a:pt x="3" y="14"/>
                  </a:cubicBezTo>
                  <a:close/>
                  <a:moveTo>
                    <a:pt x="11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3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4" y="3"/>
                    <a:pt x="5" y="4"/>
                    <a:pt x="5" y="4"/>
                  </a:cubicBezTo>
                  <a:cubicBezTo>
                    <a:pt x="5" y="5"/>
                    <a:pt x="6" y="5"/>
                    <a:pt x="6" y="6"/>
                  </a:cubicBezTo>
                  <a:cubicBezTo>
                    <a:pt x="6" y="6"/>
                    <a:pt x="5" y="7"/>
                    <a:pt x="4" y="8"/>
                  </a:cubicBezTo>
                  <a:cubicBezTo>
                    <a:pt x="3" y="9"/>
                    <a:pt x="1" y="11"/>
                    <a:pt x="2" y="12"/>
                  </a:cubicBezTo>
                  <a:cubicBezTo>
                    <a:pt x="2" y="12"/>
                    <a:pt x="2" y="13"/>
                    <a:pt x="2" y="13"/>
                  </a:cubicBezTo>
                  <a:cubicBezTo>
                    <a:pt x="3" y="12"/>
                    <a:pt x="5" y="12"/>
                    <a:pt x="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1"/>
                    <a:pt x="6" y="11"/>
                  </a:cubicBezTo>
                  <a:cubicBezTo>
                    <a:pt x="6" y="9"/>
                    <a:pt x="10" y="9"/>
                    <a:pt x="10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2" y="9"/>
                  </a:cubicBezTo>
                  <a:cubicBezTo>
                    <a:pt x="12" y="8"/>
                    <a:pt x="13" y="6"/>
                    <a:pt x="13" y="5"/>
                  </a:cubicBezTo>
                  <a:cubicBezTo>
                    <a:pt x="13" y="4"/>
                    <a:pt x="12" y="2"/>
                    <a:pt x="1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6" name="Freeform 331"/>
            <p:cNvSpPr/>
            <p:nvPr/>
          </p:nvSpPr>
          <p:spPr bwMode="auto">
            <a:xfrm>
              <a:off x="2296100" y="3350067"/>
              <a:ext cx="59802" cy="132227"/>
            </a:xfrm>
            <a:custGeom>
              <a:avLst/>
              <a:gdLst>
                <a:gd name="T0" fmla="*/ 2147483646 w 8"/>
                <a:gd name="T1" fmla="*/ 2147483646 h 18"/>
                <a:gd name="T2" fmla="*/ 2147483646 w 8"/>
                <a:gd name="T3" fmla="*/ 2147483646 h 18"/>
                <a:gd name="T4" fmla="*/ 2147483646 w 8"/>
                <a:gd name="T5" fmla="*/ 2147483646 h 18"/>
                <a:gd name="T6" fmla="*/ 2147483646 w 8"/>
                <a:gd name="T7" fmla="*/ 2147483646 h 18"/>
                <a:gd name="T8" fmla="*/ 2147483646 w 8"/>
                <a:gd name="T9" fmla="*/ 2147483646 h 18"/>
                <a:gd name="T10" fmla="*/ 2147483646 w 8"/>
                <a:gd name="T11" fmla="*/ 2147483646 h 18"/>
                <a:gd name="T12" fmla="*/ 2147483646 w 8"/>
                <a:gd name="T13" fmla="*/ 2147483646 h 18"/>
                <a:gd name="T14" fmla="*/ 2147483646 w 8"/>
                <a:gd name="T15" fmla="*/ 2147483646 h 18"/>
                <a:gd name="T16" fmla="*/ 2147483646 w 8"/>
                <a:gd name="T17" fmla="*/ 2147483646 h 18"/>
                <a:gd name="T18" fmla="*/ 2147483646 w 8"/>
                <a:gd name="T19" fmla="*/ 2147483646 h 18"/>
                <a:gd name="T20" fmla="*/ 2147483646 w 8"/>
                <a:gd name="T21" fmla="*/ 2147483646 h 18"/>
                <a:gd name="T22" fmla="*/ 2147483646 w 8"/>
                <a:gd name="T23" fmla="*/ 0 h 18"/>
                <a:gd name="T24" fmla="*/ 2147483646 w 8"/>
                <a:gd name="T25" fmla="*/ 2147483646 h 18"/>
                <a:gd name="T26" fmla="*/ 2147483646 w 8"/>
                <a:gd name="T27" fmla="*/ 2147483646 h 18"/>
                <a:gd name="T28" fmla="*/ 2147483646 w 8"/>
                <a:gd name="T29" fmla="*/ 2147483646 h 18"/>
                <a:gd name="T30" fmla="*/ 2147483646 w 8"/>
                <a:gd name="T31" fmla="*/ 2147483646 h 18"/>
                <a:gd name="T32" fmla="*/ 2147483646 w 8"/>
                <a:gd name="T33" fmla="*/ 2147483646 h 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" h="18">
                  <a:moveTo>
                    <a:pt x="1" y="11"/>
                  </a:moveTo>
                  <a:cubicBezTo>
                    <a:pt x="2" y="14"/>
                    <a:pt x="4" y="11"/>
                    <a:pt x="5" y="14"/>
                  </a:cubicBezTo>
                  <a:cubicBezTo>
                    <a:pt x="5" y="15"/>
                    <a:pt x="4" y="15"/>
                    <a:pt x="4" y="16"/>
                  </a:cubicBezTo>
                  <a:cubicBezTo>
                    <a:pt x="5" y="17"/>
                    <a:pt x="6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6"/>
                    <a:pt x="7" y="16"/>
                    <a:pt x="8" y="15"/>
                  </a:cubicBezTo>
                  <a:cubicBezTo>
                    <a:pt x="8" y="13"/>
                    <a:pt x="7" y="12"/>
                    <a:pt x="5" y="10"/>
                  </a:cubicBezTo>
                  <a:cubicBezTo>
                    <a:pt x="6" y="11"/>
                    <a:pt x="6" y="11"/>
                    <a:pt x="6" y="12"/>
                  </a:cubicBezTo>
                  <a:cubicBezTo>
                    <a:pt x="6" y="12"/>
                    <a:pt x="5" y="12"/>
                    <a:pt x="5" y="11"/>
                  </a:cubicBezTo>
                  <a:cubicBezTo>
                    <a:pt x="4" y="9"/>
                    <a:pt x="3" y="8"/>
                    <a:pt x="4" y="6"/>
                  </a:cubicBezTo>
                  <a:cubicBezTo>
                    <a:pt x="5" y="4"/>
                    <a:pt x="3" y="2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  <a:cubicBezTo>
                    <a:pt x="1" y="1"/>
                    <a:pt x="2" y="2"/>
                    <a:pt x="2" y="3"/>
                  </a:cubicBezTo>
                  <a:cubicBezTo>
                    <a:pt x="2" y="4"/>
                    <a:pt x="2" y="5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8"/>
                    <a:pt x="1" y="7"/>
                    <a:pt x="1" y="8"/>
                  </a:cubicBezTo>
                  <a:cubicBezTo>
                    <a:pt x="1" y="9"/>
                    <a:pt x="0" y="10"/>
                    <a:pt x="1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7" name="Freeform 332"/>
            <p:cNvSpPr>
              <a:spLocks noEditPoints="1"/>
            </p:cNvSpPr>
            <p:nvPr/>
          </p:nvSpPr>
          <p:spPr bwMode="auto">
            <a:xfrm>
              <a:off x="2286657" y="3334326"/>
              <a:ext cx="69245" cy="154265"/>
            </a:xfrm>
            <a:custGeom>
              <a:avLst/>
              <a:gdLst>
                <a:gd name="T0" fmla="*/ 2147483646 w 9"/>
                <a:gd name="T1" fmla="*/ 2147483646 h 21"/>
                <a:gd name="T2" fmla="*/ 2147483646 w 9"/>
                <a:gd name="T3" fmla="*/ 2147483646 h 21"/>
                <a:gd name="T4" fmla="*/ 2147483646 w 9"/>
                <a:gd name="T5" fmla="*/ 2147483646 h 21"/>
                <a:gd name="T6" fmla="*/ 2147483646 w 9"/>
                <a:gd name="T7" fmla="*/ 2147483646 h 21"/>
                <a:gd name="T8" fmla="*/ 2147483646 w 9"/>
                <a:gd name="T9" fmla="*/ 2147483646 h 21"/>
                <a:gd name="T10" fmla="*/ 2147483646 w 9"/>
                <a:gd name="T11" fmla="*/ 2147483646 h 21"/>
                <a:gd name="T12" fmla="*/ 2147483646 w 9"/>
                <a:gd name="T13" fmla="*/ 2147483646 h 21"/>
                <a:gd name="T14" fmla="*/ 2147483646 w 9"/>
                <a:gd name="T15" fmla="*/ 2147483646 h 21"/>
                <a:gd name="T16" fmla="*/ 2147483646 w 9"/>
                <a:gd name="T17" fmla="*/ 2147483646 h 21"/>
                <a:gd name="T18" fmla="*/ 0 w 9"/>
                <a:gd name="T19" fmla="*/ 0 h 21"/>
                <a:gd name="T20" fmla="*/ 2147483646 w 9"/>
                <a:gd name="T21" fmla="*/ 2147483646 h 21"/>
                <a:gd name="T22" fmla="*/ 2147483646 w 9"/>
                <a:gd name="T23" fmla="*/ 2147483646 h 21"/>
                <a:gd name="T24" fmla="*/ 2147483646 w 9"/>
                <a:gd name="T25" fmla="*/ 2147483646 h 21"/>
                <a:gd name="T26" fmla="*/ 2147483646 w 9"/>
                <a:gd name="T27" fmla="*/ 2147483646 h 21"/>
                <a:gd name="T28" fmla="*/ 2147483646 w 9"/>
                <a:gd name="T29" fmla="*/ 2147483646 h 21"/>
                <a:gd name="T30" fmla="*/ 2147483646 w 9"/>
                <a:gd name="T31" fmla="*/ 2147483646 h 21"/>
                <a:gd name="T32" fmla="*/ 2147483646 w 9"/>
                <a:gd name="T33" fmla="*/ 2147483646 h 21"/>
                <a:gd name="T34" fmla="*/ 2147483646 w 9"/>
                <a:gd name="T35" fmla="*/ 2147483646 h 21"/>
                <a:gd name="T36" fmla="*/ 2147483646 w 9"/>
                <a:gd name="T37" fmla="*/ 2147483646 h 21"/>
                <a:gd name="T38" fmla="*/ 2147483646 w 9"/>
                <a:gd name="T39" fmla="*/ 2147483646 h 21"/>
                <a:gd name="T40" fmla="*/ 2147483646 w 9"/>
                <a:gd name="T41" fmla="*/ 2147483646 h 21"/>
                <a:gd name="T42" fmla="*/ 2147483646 w 9"/>
                <a:gd name="T43" fmla="*/ 2147483646 h 21"/>
                <a:gd name="T44" fmla="*/ 2147483646 w 9"/>
                <a:gd name="T45" fmla="*/ 2147483646 h 21"/>
                <a:gd name="T46" fmla="*/ 2147483646 w 9"/>
                <a:gd name="T47" fmla="*/ 2147483646 h 21"/>
                <a:gd name="T48" fmla="*/ 2147483646 w 9"/>
                <a:gd name="T49" fmla="*/ 2147483646 h 21"/>
                <a:gd name="T50" fmla="*/ 2147483646 w 9"/>
                <a:gd name="T51" fmla="*/ 2147483646 h 21"/>
                <a:gd name="T52" fmla="*/ 2147483646 w 9"/>
                <a:gd name="T53" fmla="*/ 2147483646 h 21"/>
                <a:gd name="T54" fmla="*/ 2147483646 w 9"/>
                <a:gd name="T55" fmla="*/ 2147483646 h 21"/>
                <a:gd name="T56" fmla="*/ 2147483646 w 9"/>
                <a:gd name="T57" fmla="*/ 2147483646 h 21"/>
                <a:gd name="T58" fmla="*/ 2147483646 w 9"/>
                <a:gd name="T59" fmla="*/ 2147483646 h 21"/>
                <a:gd name="T60" fmla="*/ 2147483646 w 9"/>
                <a:gd name="T61" fmla="*/ 2147483646 h 21"/>
                <a:gd name="T62" fmla="*/ 2147483646 w 9"/>
                <a:gd name="T63" fmla="*/ 2147483646 h 2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9" h="21">
                  <a:moveTo>
                    <a:pt x="8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19"/>
                    <a:pt x="5" y="19"/>
                  </a:cubicBezTo>
                  <a:cubicBezTo>
                    <a:pt x="4" y="18"/>
                    <a:pt x="5" y="17"/>
                    <a:pt x="5" y="17"/>
                  </a:cubicBezTo>
                  <a:cubicBezTo>
                    <a:pt x="5" y="17"/>
                    <a:pt x="5" y="16"/>
                    <a:pt x="5" y="16"/>
                  </a:cubicBezTo>
                  <a:cubicBezTo>
                    <a:pt x="5" y="15"/>
                    <a:pt x="5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2" y="15"/>
                    <a:pt x="2" y="13"/>
                  </a:cubicBezTo>
                  <a:cubicBezTo>
                    <a:pt x="1" y="13"/>
                    <a:pt x="1" y="11"/>
                    <a:pt x="1" y="10"/>
                  </a:cubicBezTo>
                  <a:cubicBezTo>
                    <a:pt x="1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5"/>
                    <a:pt x="2" y="4"/>
                    <a:pt x="2" y="3"/>
                  </a:cubicBezTo>
                  <a:cubicBezTo>
                    <a:pt x="2" y="3"/>
                    <a:pt x="2" y="3"/>
                    <a:pt x="1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6"/>
                    <a:pt x="6" y="7"/>
                    <a:pt x="5" y="8"/>
                  </a:cubicBezTo>
                  <a:cubicBezTo>
                    <a:pt x="5" y="9"/>
                    <a:pt x="5" y="10"/>
                    <a:pt x="6" y="11"/>
                  </a:cubicBezTo>
                  <a:cubicBezTo>
                    <a:pt x="6" y="11"/>
                    <a:pt x="6" y="12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4"/>
                    <a:pt x="9" y="15"/>
                    <a:pt x="9" y="17"/>
                  </a:cubicBezTo>
                  <a:cubicBezTo>
                    <a:pt x="9" y="18"/>
                    <a:pt x="9" y="18"/>
                    <a:pt x="8" y="19"/>
                  </a:cubicBezTo>
                  <a:cubicBezTo>
                    <a:pt x="8" y="19"/>
                    <a:pt x="8" y="19"/>
                    <a:pt x="8" y="20"/>
                  </a:cubicBezTo>
                  <a:lnTo>
                    <a:pt x="8" y="21"/>
                  </a:lnTo>
                  <a:close/>
                  <a:moveTo>
                    <a:pt x="5" y="14"/>
                  </a:moveTo>
                  <a:cubicBezTo>
                    <a:pt x="6" y="14"/>
                    <a:pt x="6" y="15"/>
                    <a:pt x="6" y="16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9"/>
                    <a:pt x="6" y="19"/>
                  </a:cubicBezTo>
                  <a:cubicBezTo>
                    <a:pt x="6" y="19"/>
                    <a:pt x="7" y="19"/>
                    <a:pt x="7" y="1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6" y="14"/>
                    <a:pt x="6" y="14"/>
                  </a:cubicBezTo>
                  <a:cubicBezTo>
                    <a:pt x="6" y="14"/>
                    <a:pt x="6" y="14"/>
                    <a:pt x="5" y="14"/>
                  </a:cubicBezTo>
                  <a:close/>
                  <a:moveTo>
                    <a:pt x="4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3"/>
                    <a:pt x="5" y="12"/>
                    <a:pt x="4" y="12"/>
                  </a:cubicBezTo>
                  <a:cubicBezTo>
                    <a:pt x="4" y="10"/>
                    <a:pt x="3" y="9"/>
                    <a:pt x="4" y="8"/>
                  </a:cubicBezTo>
                  <a:cubicBezTo>
                    <a:pt x="5" y="7"/>
                    <a:pt x="4" y="6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3" y="9"/>
                    <a:pt x="4" y="9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1"/>
                    <a:pt x="2" y="11"/>
                  </a:cubicBezTo>
                  <a:cubicBezTo>
                    <a:pt x="2" y="12"/>
                    <a:pt x="2" y="12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4" y="14"/>
                    <a:pt x="4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8" name="Freeform 333"/>
            <p:cNvSpPr/>
            <p:nvPr/>
          </p:nvSpPr>
          <p:spPr bwMode="auto">
            <a:xfrm>
              <a:off x="2252035" y="3372105"/>
              <a:ext cx="185702" cy="295936"/>
            </a:xfrm>
            <a:custGeom>
              <a:avLst/>
              <a:gdLst>
                <a:gd name="T0" fmla="*/ 2147483646 w 25"/>
                <a:gd name="T1" fmla="*/ 0 h 40"/>
                <a:gd name="T2" fmla="*/ 2147483646 w 25"/>
                <a:gd name="T3" fmla="*/ 2147483646 h 40"/>
                <a:gd name="T4" fmla="*/ 2147483646 w 25"/>
                <a:gd name="T5" fmla="*/ 2147483646 h 40"/>
                <a:gd name="T6" fmla="*/ 2147483646 w 25"/>
                <a:gd name="T7" fmla="*/ 2147483646 h 40"/>
                <a:gd name="T8" fmla="*/ 2147483646 w 25"/>
                <a:gd name="T9" fmla="*/ 2147483646 h 40"/>
                <a:gd name="T10" fmla="*/ 2147483646 w 25"/>
                <a:gd name="T11" fmla="*/ 2147483646 h 40"/>
                <a:gd name="T12" fmla="*/ 2147483646 w 25"/>
                <a:gd name="T13" fmla="*/ 2147483646 h 40"/>
                <a:gd name="T14" fmla="*/ 2147483646 w 25"/>
                <a:gd name="T15" fmla="*/ 2147483646 h 40"/>
                <a:gd name="T16" fmla="*/ 2147483646 w 25"/>
                <a:gd name="T17" fmla="*/ 2147483646 h 40"/>
                <a:gd name="T18" fmla="*/ 2147483646 w 25"/>
                <a:gd name="T19" fmla="*/ 2147483646 h 40"/>
                <a:gd name="T20" fmla="*/ 2147483646 w 25"/>
                <a:gd name="T21" fmla="*/ 2147483646 h 40"/>
                <a:gd name="T22" fmla="*/ 2147483646 w 25"/>
                <a:gd name="T23" fmla="*/ 2147483646 h 40"/>
                <a:gd name="T24" fmla="*/ 2147483646 w 25"/>
                <a:gd name="T25" fmla="*/ 2147483646 h 40"/>
                <a:gd name="T26" fmla="*/ 2147483646 w 25"/>
                <a:gd name="T27" fmla="*/ 2147483646 h 40"/>
                <a:gd name="T28" fmla="*/ 2147483646 w 25"/>
                <a:gd name="T29" fmla="*/ 2147483646 h 40"/>
                <a:gd name="T30" fmla="*/ 2147483646 w 25"/>
                <a:gd name="T31" fmla="*/ 2147483646 h 40"/>
                <a:gd name="T32" fmla="*/ 2147483646 w 25"/>
                <a:gd name="T33" fmla="*/ 2147483646 h 40"/>
                <a:gd name="T34" fmla="*/ 2147483646 w 25"/>
                <a:gd name="T35" fmla="*/ 2147483646 h 40"/>
                <a:gd name="T36" fmla="*/ 2147483646 w 25"/>
                <a:gd name="T37" fmla="*/ 2147483646 h 40"/>
                <a:gd name="T38" fmla="*/ 0 w 25"/>
                <a:gd name="T39" fmla="*/ 2147483646 h 40"/>
                <a:gd name="T40" fmla="*/ 2147483646 w 25"/>
                <a:gd name="T41" fmla="*/ 2147483646 h 40"/>
                <a:gd name="T42" fmla="*/ 2147483646 w 25"/>
                <a:gd name="T43" fmla="*/ 2147483646 h 40"/>
                <a:gd name="T44" fmla="*/ 2147483646 w 25"/>
                <a:gd name="T45" fmla="*/ 2147483646 h 40"/>
                <a:gd name="T46" fmla="*/ 2147483646 w 25"/>
                <a:gd name="T47" fmla="*/ 2147483646 h 40"/>
                <a:gd name="T48" fmla="*/ 2147483646 w 25"/>
                <a:gd name="T49" fmla="*/ 2147483646 h 40"/>
                <a:gd name="T50" fmla="*/ 2147483646 w 25"/>
                <a:gd name="T51" fmla="*/ 2147483646 h 40"/>
                <a:gd name="T52" fmla="*/ 2147483646 w 25"/>
                <a:gd name="T53" fmla="*/ 2147483646 h 40"/>
                <a:gd name="T54" fmla="*/ 2147483646 w 25"/>
                <a:gd name="T55" fmla="*/ 2147483646 h 40"/>
                <a:gd name="T56" fmla="*/ 2147483646 w 25"/>
                <a:gd name="T57" fmla="*/ 2147483646 h 40"/>
                <a:gd name="T58" fmla="*/ 2147483646 w 25"/>
                <a:gd name="T59" fmla="*/ 0 h 4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5" h="40">
                  <a:moveTo>
                    <a:pt x="24" y="0"/>
                  </a:moveTo>
                  <a:cubicBezTo>
                    <a:pt x="25" y="1"/>
                    <a:pt x="24" y="4"/>
                    <a:pt x="24" y="5"/>
                  </a:cubicBezTo>
                  <a:cubicBezTo>
                    <a:pt x="24" y="7"/>
                    <a:pt x="25" y="10"/>
                    <a:pt x="24" y="11"/>
                  </a:cubicBezTo>
                  <a:cubicBezTo>
                    <a:pt x="23" y="15"/>
                    <a:pt x="18" y="16"/>
                    <a:pt x="15" y="18"/>
                  </a:cubicBezTo>
                  <a:cubicBezTo>
                    <a:pt x="15" y="19"/>
                    <a:pt x="15" y="19"/>
                    <a:pt x="14" y="20"/>
                  </a:cubicBezTo>
                  <a:cubicBezTo>
                    <a:pt x="14" y="20"/>
                    <a:pt x="14" y="19"/>
                    <a:pt x="14" y="19"/>
                  </a:cubicBezTo>
                  <a:cubicBezTo>
                    <a:pt x="13" y="21"/>
                    <a:pt x="11" y="21"/>
                    <a:pt x="11" y="24"/>
                  </a:cubicBezTo>
                  <a:cubicBezTo>
                    <a:pt x="11" y="24"/>
                    <a:pt x="12" y="28"/>
                    <a:pt x="13" y="28"/>
                  </a:cubicBezTo>
                  <a:cubicBezTo>
                    <a:pt x="12" y="30"/>
                    <a:pt x="12" y="31"/>
                    <a:pt x="12" y="33"/>
                  </a:cubicBezTo>
                  <a:cubicBezTo>
                    <a:pt x="12" y="33"/>
                    <a:pt x="12" y="32"/>
                    <a:pt x="12" y="32"/>
                  </a:cubicBezTo>
                  <a:cubicBezTo>
                    <a:pt x="12" y="34"/>
                    <a:pt x="4" y="37"/>
                    <a:pt x="6" y="38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7" y="40"/>
                    <a:pt x="5" y="40"/>
                    <a:pt x="5" y="39"/>
                  </a:cubicBezTo>
                  <a:cubicBezTo>
                    <a:pt x="4" y="37"/>
                    <a:pt x="4" y="35"/>
                    <a:pt x="4" y="33"/>
                  </a:cubicBezTo>
                  <a:cubicBezTo>
                    <a:pt x="4" y="32"/>
                    <a:pt x="3" y="30"/>
                    <a:pt x="4" y="28"/>
                  </a:cubicBezTo>
                  <a:cubicBezTo>
                    <a:pt x="4" y="27"/>
                    <a:pt x="5" y="25"/>
                    <a:pt x="6" y="24"/>
                  </a:cubicBezTo>
                  <a:cubicBezTo>
                    <a:pt x="7" y="22"/>
                    <a:pt x="6" y="21"/>
                    <a:pt x="6" y="20"/>
                  </a:cubicBezTo>
                  <a:cubicBezTo>
                    <a:pt x="7" y="18"/>
                    <a:pt x="7" y="17"/>
                    <a:pt x="6" y="15"/>
                  </a:cubicBezTo>
                  <a:cubicBezTo>
                    <a:pt x="6" y="14"/>
                    <a:pt x="4" y="13"/>
                    <a:pt x="3" y="13"/>
                  </a:cubicBezTo>
                  <a:cubicBezTo>
                    <a:pt x="1" y="13"/>
                    <a:pt x="1" y="13"/>
                    <a:pt x="0" y="11"/>
                  </a:cubicBezTo>
                  <a:cubicBezTo>
                    <a:pt x="2" y="10"/>
                    <a:pt x="3" y="9"/>
                    <a:pt x="5" y="9"/>
                  </a:cubicBezTo>
                  <a:cubicBezTo>
                    <a:pt x="6" y="9"/>
                    <a:pt x="6" y="8"/>
                    <a:pt x="7" y="8"/>
                  </a:cubicBezTo>
                  <a:cubicBezTo>
                    <a:pt x="8" y="8"/>
                    <a:pt x="8" y="9"/>
                    <a:pt x="9" y="9"/>
                  </a:cubicBezTo>
                  <a:cubicBezTo>
                    <a:pt x="11" y="9"/>
                    <a:pt x="11" y="10"/>
                    <a:pt x="10" y="12"/>
                  </a:cubicBezTo>
                  <a:cubicBezTo>
                    <a:pt x="9" y="14"/>
                    <a:pt x="12" y="14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3"/>
                    <a:pt x="15" y="12"/>
                    <a:pt x="14" y="10"/>
                  </a:cubicBezTo>
                  <a:cubicBezTo>
                    <a:pt x="12" y="7"/>
                    <a:pt x="10" y="6"/>
                    <a:pt x="11" y="3"/>
                  </a:cubicBezTo>
                  <a:cubicBezTo>
                    <a:pt x="12" y="2"/>
                    <a:pt x="18" y="2"/>
                    <a:pt x="19" y="2"/>
                  </a:cubicBezTo>
                  <a:cubicBezTo>
                    <a:pt x="21" y="1"/>
                    <a:pt x="23" y="2"/>
                    <a:pt x="24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9" name="Freeform 334"/>
            <p:cNvSpPr>
              <a:spLocks noEditPoints="1"/>
            </p:cNvSpPr>
            <p:nvPr/>
          </p:nvSpPr>
          <p:spPr bwMode="auto">
            <a:xfrm>
              <a:off x="2242592" y="3356364"/>
              <a:ext cx="195144" cy="311677"/>
            </a:xfrm>
            <a:custGeom>
              <a:avLst/>
              <a:gdLst>
                <a:gd name="T0" fmla="*/ 2147483646 w 26"/>
                <a:gd name="T1" fmla="*/ 2147483646 h 42"/>
                <a:gd name="T2" fmla="*/ 2147483646 w 26"/>
                <a:gd name="T3" fmla="*/ 2147483646 h 42"/>
                <a:gd name="T4" fmla="*/ 2147483646 w 26"/>
                <a:gd name="T5" fmla="*/ 2147483646 h 42"/>
                <a:gd name="T6" fmla="*/ 2147483646 w 26"/>
                <a:gd name="T7" fmla="*/ 2147483646 h 42"/>
                <a:gd name="T8" fmla="*/ 2147483646 w 26"/>
                <a:gd name="T9" fmla="*/ 2147483646 h 42"/>
                <a:gd name="T10" fmla="*/ 2147483646 w 26"/>
                <a:gd name="T11" fmla="*/ 2147483646 h 42"/>
                <a:gd name="T12" fmla="*/ 2147483646 w 26"/>
                <a:gd name="T13" fmla="*/ 2147483646 h 42"/>
                <a:gd name="T14" fmla="*/ 2147483646 w 26"/>
                <a:gd name="T15" fmla="*/ 2147483646 h 42"/>
                <a:gd name="T16" fmla="*/ 2147483646 w 26"/>
                <a:gd name="T17" fmla="*/ 2147483646 h 42"/>
                <a:gd name="T18" fmla="*/ 2147483646 w 26"/>
                <a:gd name="T19" fmla="*/ 2147483646 h 42"/>
                <a:gd name="T20" fmla="*/ 2147483646 w 26"/>
                <a:gd name="T21" fmla="*/ 2147483646 h 42"/>
                <a:gd name="T22" fmla="*/ 2147483646 w 26"/>
                <a:gd name="T23" fmla="*/ 2147483646 h 42"/>
                <a:gd name="T24" fmla="*/ 2147483646 w 26"/>
                <a:gd name="T25" fmla="*/ 2147483646 h 42"/>
                <a:gd name="T26" fmla="*/ 2147483646 w 26"/>
                <a:gd name="T27" fmla="*/ 2147483646 h 42"/>
                <a:gd name="T28" fmla="*/ 2147483646 w 26"/>
                <a:gd name="T29" fmla="*/ 2147483646 h 42"/>
                <a:gd name="T30" fmla="*/ 2147483646 w 26"/>
                <a:gd name="T31" fmla="*/ 2147483646 h 42"/>
                <a:gd name="T32" fmla="*/ 2147483646 w 26"/>
                <a:gd name="T33" fmla="*/ 2147483646 h 42"/>
                <a:gd name="T34" fmla="*/ 2147483646 w 26"/>
                <a:gd name="T35" fmla="*/ 2147483646 h 42"/>
                <a:gd name="T36" fmla="*/ 2147483646 w 26"/>
                <a:gd name="T37" fmla="*/ 2147483646 h 42"/>
                <a:gd name="T38" fmla="*/ 2147483646 w 26"/>
                <a:gd name="T39" fmla="*/ 2147483646 h 42"/>
                <a:gd name="T40" fmla="*/ 2147483646 w 26"/>
                <a:gd name="T41" fmla="*/ 2147483646 h 42"/>
                <a:gd name="T42" fmla="*/ 2147483646 w 26"/>
                <a:gd name="T43" fmla="*/ 2147483646 h 42"/>
                <a:gd name="T44" fmla="*/ 2147483646 w 26"/>
                <a:gd name="T45" fmla="*/ 2147483646 h 42"/>
                <a:gd name="T46" fmla="*/ 2147483646 w 26"/>
                <a:gd name="T47" fmla="*/ 2147483646 h 42"/>
                <a:gd name="T48" fmla="*/ 2147483646 w 26"/>
                <a:gd name="T49" fmla="*/ 2147483646 h 42"/>
                <a:gd name="T50" fmla="*/ 2147483646 w 26"/>
                <a:gd name="T51" fmla="*/ 2147483646 h 42"/>
                <a:gd name="T52" fmla="*/ 2147483646 w 26"/>
                <a:gd name="T53" fmla="*/ 2147483646 h 42"/>
                <a:gd name="T54" fmla="*/ 2147483646 w 26"/>
                <a:gd name="T55" fmla="*/ 2147483646 h 42"/>
                <a:gd name="T56" fmla="*/ 2147483646 w 26"/>
                <a:gd name="T57" fmla="*/ 2147483646 h 42"/>
                <a:gd name="T58" fmla="*/ 2147483646 w 26"/>
                <a:gd name="T59" fmla="*/ 2147483646 h 42"/>
                <a:gd name="T60" fmla="*/ 2147483646 w 26"/>
                <a:gd name="T61" fmla="*/ 2147483646 h 42"/>
                <a:gd name="T62" fmla="*/ 2147483646 w 26"/>
                <a:gd name="T63" fmla="*/ 2147483646 h 42"/>
                <a:gd name="T64" fmla="*/ 2147483646 w 26"/>
                <a:gd name="T65" fmla="*/ 2147483646 h 42"/>
                <a:gd name="T66" fmla="*/ 2147483646 w 26"/>
                <a:gd name="T67" fmla="*/ 2147483646 h 42"/>
                <a:gd name="T68" fmla="*/ 2147483646 w 26"/>
                <a:gd name="T69" fmla="*/ 2147483646 h 42"/>
                <a:gd name="T70" fmla="*/ 2147483646 w 26"/>
                <a:gd name="T71" fmla="*/ 2147483646 h 42"/>
                <a:gd name="T72" fmla="*/ 2147483646 w 26"/>
                <a:gd name="T73" fmla="*/ 2147483646 h 42"/>
                <a:gd name="T74" fmla="*/ 2147483646 w 26"/>
                <a:gd name="T75" fmla="*/ 2147483646 h 42"/>
                <a:gd name="T76" fmla="*/ 2147483646 w 26"/>
                <a:gd name="T77" fmla="*/ 2147483646 h 42"/>
                <a:gd name="T78" fmla="*/ 2147483646 w 26"/>
                <a:gd name="T79" fmla="*/ 2147483646 h 42"/>
                <a:gd name="T80" fmla="*/ 2147483646 w 26"/>
                <a:gd name="T81" fmla="*/ 2147483646 h 42"/>
                <a:gd name="T82" fmla="*/ 2147483646 w 26"/>
                <a:gd name="T83" fmla="*/ 2147483646 h 42"/>
                <a:gd name="T84" fmla="*/ 2147483646 w 26"/>
                <a:gd name="T85" fmla="*/ 2147483646 h 42"/>
                <a:gd name="T86" fmla="*/ 2147483646 w 26"/>
                <a:gd name="T87" fmla="*/ 2147483646 h 42"/>
                <a:gd name="T88" fmla="*/ 2147483646 w 26"/>
                <a:gd name="T89" fmla="*/ 2147483646 h 42"/>
                <a:gd name="T90" fmla="*/ 2147483646 w 26"/>
                <a:gd name="T91" fmla="*/ 2147483646 h 42"/>
                <a:gd name="T92" fmla="*/ 2147483646 w 26"/>
                <a:gd name="T93" fmla="*/ 2147483646 h 42"/>
                <a:gd name="T94" fmla="*/ 2147483646 w 26"/>
                <a:gd name="T95" fmla="*/ 2147483646 h 42"/>
                <a:gd name="T96" fmla="*/ 2147483646 w 26"/>
                <a:gd name="T97" fmla="*/ 2147483646 h 42"/>
                <a:gd name="T98" fmla="*/ 2147483646 w 26"/>
                <a:gd name="T99" fmla="*/ 2147483646 h 42"/>
                <a:gd name="T100" fmla="*/ 2147483646 w 26"/>
                <a:gd name="T101" fmla="*/ 2147483646 h 42"/>
                <a:gd name="T102" fmla="*/ 2147483646 w 26"/>
                <a:gd name="T103" fmla="*/ 2147483646 h 42"/>
                <a:gd name="T104" fmla="*/ 2147483646 w 26"/>
                <a:gd name="T105" fmla="*/ 2147483646 h 42"/>
                <a:gd name="T106" fmla="*/ 2147483646 w 26"/>
                <a:gd name="T107" fmla="*/ 2147483646 h 42"/>
                <a:gd name="T108" fmla="*/ 2147483646 w 26"/>
                <a:gd name="T109" fmla="*/ 2147483646 h 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6" h="42">
                  <a:moveTo>
                    <a:pt x="6" y="42"/>
                  </a:moveTo>
                  <a:cubicBezTo>
                    <a:pt x="6" y="42"/>
                    <a:pt x="5" y="42"/>
                    <a:pt x="5" y="41"/>
                  </a:cubicBezTo>
                  <a:cubicBezTo>
                    <a:pt x="5" y="39"/>
                    <a:pt x="5" y="37"/>
                    <a:pt x="5" y="35"/>
                  </a:cubicBezTo>
                  <a:cubicBezTo>
                    <a:pt x="5" y="35"/>
                    <a:pt x="5" y="34"/>
                    <a:pt x="4" y="33"/>
                  </a:cubicBezTo>
                  <a:cubicBezTo>
                    <a:pt x="4" y="32"/>
                    <a:pt x="4" y="31"/>
                    <a:pt x="4" y="30"/>
                  </a:cubicBezTo>
                  <a:cubicBezTo>
                    <a:pt x="4" y="29"/>
                    <a:pt x="5" y="28"/>
                    <a:pt x="5" y="27"/>
                  </a:cubicBezTo>
                  <a:cubicBezTo>
                    <a:pt x="6" y="27"/>
                    <a:pt x="6" y="26"/>
                    <a:pt x="6" y="26"/>
                  </a:cubicBezTo>
                  <a:cubicBezTo>
                    <a:pt x="7" y="25"/>
                    <a:pt x="7" y="24"/>
                    <a:pt x="7" y="24"/>
                  </a:cubicBezTo>
                  <a:cubicBezTo>
                    <a:pt x="6" y="23"/>
                    <a:pt x="6" y="22"/>
                    <a:pt x="7" y="21"/>
                  </a:cubicBezTo>
                  <a:cubicBezTo>
                    <a:pt x="7" y="20"/>
                    <a:pt x="7" y="19"/>
                    <a:pt x="7" y="17"/>
                  </a:cubicBezTo>
                  <a:cubicBezTo>
                    <a:pt x="6" y="16"/>
                    <a:pt x="5" y="15"/>
                    <a:pt x="4" y="15"/>
                  </a:cubicBezTo>
                  <a:cubicBezTo>
                    <a:pt x="1" y="15"/>
                    <a:pt x="1" y="15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10" y="11"/>
                    <a:pt x="10" y="11"/>
                  </a:cubicBezTo>
                  <a:cubicBezTo>
                    <a:pt x="11" y="10"/>
                    <a:pt x="12" y="11"/>
                    <a:pt x="12" y="11"/>
                  </a:cubicBezTo>
                  <a:cubicBezTo>
                    <a:pt x="12" y="12"/>
                    <a:pt x="12" y="13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6"/>
                    <a:pt x="13" y="16"/>
                    <a:pt x="13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4" y="13"/>
                    <a:pt x="15" y="13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2" y="10"/>
                    <a:pt x="11" y="8"/>
                    <a:pt x="12" y="4"/>
                  </a:cubicBezTo>
                  <a:cubicBezTo>
                    <a:pt x="12" y="4"/>
                    <a:pt x="13" y="4"/>
                    <a:pt x="16" y="3"/>
                  </a:cubicBezTo>
                  <a:cubicBezTo>
                    <a:pt x="17" y="3"/>
                    <a:pt x="19" y="3"/>
                    <a:pt x="20" y="3"/>
                  </a:cubicBezTo>
                  <a:cubicBezTo>
                    <a:pt x="20" y="3"/>
                    <a:pt x="21" y="3"/>
                    <a:pt x="22" y="3"/>
                  </a:cubicBezTo>
                  <a:cubicBezTo>
                    <a:pt x="23" y="3"/>
                    <a:pt x="24" y="2"/>
                    <a:pt x="25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2"/>
                    <a:pt x="26" y="4"/>
                    <a:pt x="26" y="5"/>
                  </a:cubicBezTo>
                  <a:cubicBezTo>
                    <a:pt x="26" y="6"/>
                    <a:pt x="25" y="7"/>
                    <a:pt x="26" y="7"/>
                  </a:cubicBezTo>
                  <a:cubicBezTo>
                    <a:pt x="26" y="8"/>
                    <a:pt x="26" y="9"/>
                    <a:pt x="26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5" y="16"/>
                    <a:pt x="22" y="17"/>
                    <a:pt x="20" y="19"/>
                  </a:cubicBezTo>
                  <a:cubicBezTo>
                    <a:pt x="19" y="19"/>
                    <a:pt x="18" y="20"/>
                    <a:pt x="17" y="20"/>
                  </a:cubicBezTo>
                  <a:cubicBezTo>
                    <a:pt x="17" y="21"/>
                    <a:pt x="16" y="22"/>
                    <a:pt x="16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4" y="23"/>
                    <a:pt x="14" y="24"/>
                  </a:cubicBezTo>
                  <a:cubicBezTo>
                    <a:pt x="13" y="24"/>
                    <a:pt x="12" y="25"/>
                    <a:pt x="12" y="26"/>
                  </a:cubicBezTo>
                  <a:cubicBezTo>
                    <a:pt x="12" y="26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5"/>
                    <a:pt x="14" y="35"/>
                    <a:pt x="13" y="35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1" y="37"/>
                    <a:pt x="10" y="38"/>
                  </a:cubicBezTo>
                  <a:cubicBezTo>
                    <a:pt x="9" y="38"/>
                    <a:pt x="9" y="39"/>
                    <a:pt x="8" y="39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2"/>
                    <a:pt x="7" y="42"/>
                    <a:pt x="6" y="42"/>
                  </a:cubicBezTo>
                  <a:close/>
                  <a:moveTo>
                    <a:pt x="2" y="13"/>
                  </a:moveTo>
                  <a:cubicBezTo>
                    <a:pt x="2" y="14"/>
                    <a:pt x="2" y="14"/>
                    <a:pt x="4" y="14"/>
                  </a:cubicBezTo>
                  <a:cubicBezTo>
                    <a:pt x="6" y="14"/>
                    <a:pt x="8" y="15"/>
                    <a:pt x="8" y="17"/>
                  </a:cubicBezTo>
                  <a:cubicBezTo>
                    <a:pt x="9" y="19"/>
                    <a:pt x="8" y="20"/>
                    <a:pt x="8" y="22"/>
                  </a:cubicBezTo>
                  <a:cubicBezTo>
                    <a:pt x="8" y="22"/>
                    <a:pt x="8" y="23"/>
                    <a:pt x="8" y="23"/>
                  </a:cubicBezTo>
                  <a:cubicBezTo>
                    <a:pt x="8" y="24"/>
                    <a:pt x="8" y="25"/>
                    <a:pt x="8" y="26"/>
                  </a:cubicBezTo>
                  <a:cubicBezTo>
                    <a:pt x="7" y="27"/>
                    <a:pt x="7" y="27"/>
                    <a:pt x="6" y="28"/>
                  </a:cubicBezTo>
                  <a:cubicBezTo>
                    <a:pt x="6" y="29"/>
                    <a:pt x="5" y="30"/>
                    <a:pt x="5" y="30"/>
                  </a:cubicBezTo>
                  <a:cubicBezTo>
                    <a:pt x="5" y="31"/>
                    <a:pt x="5" y="32"/>
                    <a:pt x="6" y="33"/>
                  </a:cubicBezTo>
                  <a:cubicBezTo>
                    <a:pt x="6" y="34"/>
                    <a:pt x="6" y="34"/>
                    <a:pt x="6" y="35"/>
                  </a:cubicBezTo>
                  <a:cubicBezTo>
                    <a:pt x="6" y="37"/>
                    <a:pt x="6" y="39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39"/>
                    <a:pt x="7" y="39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9" y="37"/>
                    <a:pt x="10" y="37"/>
                  </a:cubicBezTo>
                  <a:cubicBezTo>
                    <a:pt x="10" y="36"/>
                    <a:pt x="12" y="35"/>
                    <a:pt x="12" y="35"/>
                  </a:cubicBezTo>
                  <a:cubicBezTo>
                    <a:pt x="12" y="34"/>
                    <a:pt x="13" y="32"/>
                    <a:pt x="13" y="31"/>
                  </a:cubicBezTo>
                  <a:cubicBezTo>
                    <a:pt x="13" y="31"/>
                    <a:pt x="13" y="30"/>
                    <a:pt x="13" y="30"/>
                  </a:cubicBezTo>
                  <a:cubicBezTo>
                    <a:pt x="12" y="29"/>
                    <a:pt x="11" y="26"/>
                    <a:pt x="11" y="26"/>
                  </a:cubicBezTo>
                  <a:cubicBezTo>
                    <a:pt x="11" y="24"/>
                    <a:pt x="12" y="23"/>
                    <a:pt x="13" y="23"/>
                  </a:cubicBezTo>
                  <a:cubicBezTo>
                    <a:pt x="14" y="22"/>
                    <a:pt x="14" y="22"/>
                    <a:pt x="14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19"/>
                    <a:pt x="18" y="18"/>
                    <a:pt x="19" y="18"/>
                  </a:cubicBezTo>
                  <a:cubicBezTo>
                    <a:pt x="22" y="16"/>
                    <a:pt x="24" y="15"/>
                    <a:pt x="25" y="13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9"/>
                    <a:pt x="24" y="8"/>
                    <a:pt x="24" y="7"/>
                  </a:cubicBezTo>
                  <a:cubicBezTo>
                    <a:pt x="24" y="7"/>
                    <a:pt x="25" y="6"/>
                    <a:pt x="25" y="5"/>
                  </a:cubicBezTo>
                  <a:cubicBezTo>
                    <a:pt x="25" y="4"/>
                    <a:pt x="25" y="4"/>
                    <a:pt x="25" y="3"/>
                  </a:cubicBezTo>
                  <a:cubicBezTo>
                    <a:pt x="24" y="4"/>
                    <a:pt x="23" y="4"/>
                    <a:pt x="22" y="4"/>
                  </a:cubicBezTo>
                  <a:cubicBezTo>
                    <a:pt x="21" y="4"/>
                    <a:pt x="21" y="4"/>
                    <a:pt x="20" y="4"/>
                  </a:cubicBezTo>
                  <a:cubicBezTo>
                    <a:pt x="19" y="5"/>
                    <a:pt x="18" y="5"/>
                    <a:pt x="16" y="5"/>
                  </a:cubicBezTo>
                  <a:cubicBezTo>
                    <a:pt x="15" y="5"/>
                    <a:pt x="13" y="5"/>
                    <a:pt x="13" y="5"/>
                  </a:cubicBezTo>
                  <a:cubicBezTo>
                    <a:pt x="12" y="8"/>
                    <a:pt x="13" y="9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3"/>
                    <a:pt x="15" y="14"/>
                    <a:pt x="15" y="15"/>
                  </a:cubicBezTo>
                  <a:cubicBezTo>
                    <a:pt x="14" y="16"/>
                    <a:pt x="14" y="17"/>
                    <a:pt x="14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6"/>
                  </a:cubicBezTo>
                  <a:cubicBezTo>
                    <a:pt x="11" y="16"/>
                    <a:pt x="10" y="15"/>
                    <a:pt x="11" y="14"/>
                  </a:cubicBezTo>
                  <a:cubicBezTo>
                    <a:pt x="11" y="13"/>
                    <a:pt x="11" y="12"/>
                    <a:pt x="11" y="12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2"/>
                    <a:pt x="9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lnTo>
                    <a:pt x="2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0" name="Freeform 335"/>
            <p:cNvSpPr/>
            <p:nvPr/>
          </p:nvSpPr>
          <p:spPr bwMode="auto">
            <a:xfrm>
              <a:off x="2242592" y="3198952"/>
              <a:ext cx="201439" cy="185747"/>
            </a:xfrm>
            <a:custGeom>
              <a:avLst/>
              <a:gdLst>
                <a:gd name="T0" fmla="*/ 2147483646 w 27"/>
                <a:gd name="T1" fmla="*/ 2147483646 h 25"/>
                <a:gd name="T2" fmla="*/ 2147483646 w 27"/>
                <a:gd name="T3" fmla="*/ 2147483646 h 25"/>
                <a:gd name="T4" fmla="*/ 2147483646 w 27"/>
                <a:gd name="T5" fmla="*/ 2147483646 h 25"/>
                <a:gd name="T6" fmla="*/ 2147483646 w 27"/>
                <a:gd name="T7" fmla="*/ 2147483646 h 25"/>
                <a:gd name="T8" fmla="*/ 2147483646 w 27"/>
                <a:gd name="T9" fmla="*/ 2147483646 h 25"/>
                <a:gd name="T10" fmla="*/ 2147483646 w 27"/>
                <a:gd name="T11" fmla="*/ 2147483646 h 25"/>
                <a:gd name="T12" fmla="*/ 2147483646 w 27"/>
                <a:gd name="T13" fmla="*/ 2147483646 h 25"/>
                <a:gd name="T14" fmla="*/ 2147483646 w 27"/>
                <a:gd name="T15" fmla="*/ 2147483646 h 25"/>
                <a:gd name="T16" fmla="*/ 2147483646 w 27"/>
                <a:gd name="T17" fmla="*/ 2147483646 h 25"/>
                <a:gd name="T18" fmla="*/ 2147483646 w 27"/>
                <a:gd name="T19" fmla="*/ 2147483646 h 25"/>
                <a:gd name="T20" fmla="*/ 2147483646 w 27"/>
                <a:gd name="T21" fmla="*/ 2147483646 h 25"/>
                <a:gd name="T22" fmla="*/ 2147483646 w 27"/>
                <a:gd name="T23" fmla="*/ 2147483646 h 25"/>
                <a:gd name="T24" fmla="*/ 2147483646 w 27"/>
                <a:gd name="T25" fmla="*/ 2147483646 h 25"/>
                <a:gd name="T26" fmla="*/ 2147483646 w 27"/>
                <a:gd name="T27" fmla="*/ 2147483646 h 25"/>
                <a:gd name="T28" fmla="*/ 2147483646 w 27"/>
                <a:gd name="T29" fmla="*/ 2147483646 h 25"/>
                <a:gd name="T30" fmla="*/ 2147483646 w 27"/>
                <a:gd name="T31" fmla="*/ 2147483646 h 25"/>
                <a:gd name="T32" fmla="*/ 2147483646 w 27"/>
                <a:gd name="T33" fmla="*/ 2147483646 h 25"/>
                <a:gd name="T34" fmla="*/ 2147483646 w 27"/>
                <a:gd name="T35" fmla="*/ 2147483646 h 25"/>
                <a:gd name="T36" fmla="*/ 0 w 27"/>
                <a:gd name="T37" fmla="*/ 2147483646 h 25"/>
                <a:gd name="T38" fmla="*/ 2147483646 w 27"/>
                <a:gd name="T39" fmla="*/ 2147483646 h 25"/>
                <a:gd name="T40" fmla="*/ 2147483646 w 27"/>
                <a:gd name="T41" fmla="*/ 2147483646 h 25"/>
                <a:gd name="T42" fmla="*/ 2147483646 w 27"/>
                <a:gd name="T43" fmla="*/ 2147483646 h 25"/>
                <a:gd name="T44" fmla="*/ 2147483646 w 27"/>
                <a:gd name="T45" fmla="*/ 2147483646 h 25"/>
                <a:gd name="T46" fmla="*/ 2147483646 w 27"/>
                <a:gd name="T47" fmla="*/ 2147483646 h 25"/>
                <a:gd name="T48" fmla="*/ 2147483646 w 27"/>
                <a:gd name="T49" fmla="*/ 2147483646 h 25"/>
                <a:gd name="T50" fmla="*/ 2147483646 w 27"/>
                <a:gd name="T51" fmla="*/ 2147483646 h 2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7" h="25">
                  <a:moveTo>
                    <a:pt x="12" y="25"/>
                  </a:moveTo>
                  <a:cubicBezTo>
                    <a:pt x="16" y="25"/>
                    <a:pt x="20" y="25"/>
                    <a:pt x="24" y="24"/>
                  </a:cubicBezTo>
                  <a:cubicBezTo>
                    <a:pt x="27" y="23"/>
                    <a:pt x="24" y="22"/>
                    <a:pt x="24" y="21"/>
                  </a:cubicBezTo>
                  <a:cubicBezTo>
                    <a:pt x="23" y="20"/>
                    <a:pt x="23" y="19"/>
                    <a:pt x="23" y="18"/>
                  </a:cubicBezTo>
                  <a:cubicBezTo>
                    <a:pt x="22" y="17"/>
                    <a:pt x="24" y="16"/>
                    <a:pt x="23" y="15"/>
                  </a:cubicBezTo>
                  <a:cubicBezTo>
                    <a:pt x="23" y="14"/>
                    <a:pt x="21" y="14"/>
                    <a:pt x="22" y="13"/>
                  </a:cubicBezTo>
                  <a:cubicBezTo>
                    <a:pt x="22" y="12"/>
                    <a:pt x="23" y="10"/>
                    <a:pt x="23" y="9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20" y="6"/>
                    <a:pt x="19" y="5"/>
                  </a:cubicBezTo>
                  <a:cubicBezTo>
                    <a:pt x="17" y="4"/>
                    <a:pt x="15" y="3"/>
                    <a:pt x="13" y="2"/>
                  </a:cubicBezTo>
                  <a:cubicBezTo>
                    <a:pt x="10" y="0"/>
                    <a:pt x="11" y="1"/>
                    <a:pt x="9" y="3"/>
                  </a:cubicBezTo>
                  <a:cubicBezTo>
                    <a:pt x="9" y="3"/>
                    <a:pt x="9" y="3"/>
                    <a:pt x="10" y="4"/>
                  </a:cubicBezTo>
                  <a:cubicBezTo>
                    <a:pt x="9" y="4"/>
                    <a:pt x="8" y="4"/>
                    <a:pt x="8" y="5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3" y="3"/>
                    <a:pt x="3" y="6"/>
                    <a:pt x="2" y="8"/>
                  </a:cubicBezTo>
                  <a:cubicBezTo>
                    <a:pt x="1" y="8"/>
                    <a:pt x="0" y="8"/>
                    <a:pt x="0" y="9"/>
                  </a:cubicBezTo>
                  <a:cubicBezTo>
                    <a:pt x="0" y="9"/>
                    <a:pt x="1" y="11"/>
                    <a:pt x="1" y="11"/>
                  </a:cubicBezTo>
                  <a:cubicBezTo>
                    <a:pt x="1" y="12"/>
                    <a:pt x="1" y="13"/>
                    <a:pt x="1" y="13"/>
                  </a:cubicBezTo>
                  <a:cubicBezTo>
                    <a:pt x="1" y="14"/>
                    <a:pt x="2" y="14"/>
                    <a:pt x="2" y="14"/>
                  </a:cubicBezTo>
                  <a:cubicBezTo>
                    <a:pt x="3" y="16"/>
                    <a:pt x="3" y="17"/>
                    <a:pt x="4" y="18"/>
                  </a:cubicBezTo>
                  <a:cubicBezTo>
                    <a:pt x="4" y="19"/>
                    <a:pt x="7" y="20"/>
                    <a:pt x="8" y="20"/>
                  </a:cubicBezTo>
                  <a:cubicBezTo>
                    <a:pt x="9" y="21"/>
                    <a:pt x="10" y="21"/>
                    <a:pt x="11" y="21"/>
                  </a:cubicBezTo>
                  <a:cubicBezTo>
                    <a:pt x="12" y="22"/>
                    <a:pt x="12" y="24"/>
                    <a:pt x="12" y="2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1" name="Freeform 336"/>
            <p:cNvSpPr>
              <a:spLocks noEditPoints="1"/>
            </p:cNvSpPr>
            <p:nvPr/>
          </p:nvSpPr>
          <p:spPr bwMode="auto">
            <a:xfrm>
              <a:off x="2242592" y="3198952"/>
              <a:ext cx="195144" cy="195192"/>
            </a:xfrm>
            <a:custGeom>
              <a:avLst/>
              <a:gdLst>
                <a:gd name="T0" fmla="*/ 2147483646 w 26"/>
                <a:gd name="T1" fmla="*/ 2147483646 h 26"/>
                <a:gd name="T2" fmla="*/ 2147483646 w 26"/>
                <a:gd name="T3" fmla="*/ 2147483646 h 26"/>
                <a:gd name="T4" fmla="*/ 2147483646 w 26"/>
                <a:gd name="T5" fmla="*/ 2147483646 h 26"/>
                <a:gd name="T6" fmla="*/ 2147483646 w 26"/>
                <a:gd name="T7" fmla="*/ 2147483646 h 26"/>
                <a:gd name="T8" fmla="*/ 2147483646 w 26"/>
                <a:gd name="T9" fmla="*/ 2147483646 h 26"/>
                <a:gd name="T10" fmla="*/ 0 w 26"/>
                <a:gd name="T11" fmla="*/ 2147483646 h 26"/>
                <a:gd name="T12" fmla="*/ 0 w 26"/>
                <a:gd name="T13" fmla="*/ 2147483646 h 26"/>
                <a:gd name="T14" fmla="*/ 0 w 26"/>
                <a:gd name="T15" fmla="*/ 2147483646 h 26"/>
                <a:gd name="T16" fmla="*/ 2147483646 w 26"/>
                <a:gd name="T17" fmla="*/ 2147483646 h 26"/>
                <a:gd name="T18" fmla="*/ 2147483646 w 26"/>
                <a:gd name="T19" fmla="*/ 0 h 26"/>
                <a:gd name="T20" fmla="*/ 2147483646 w 26"/>
                <a:gd name="T21" fmla="*/ 2147483646 h 26"/>
                <a:gd name="T22" fmla="*/ 2147483646 w 26"/>
                <a:gd name="T23" fmla="*/ 2147483646 h 26"/>
                <a:gd name="T24" fmla="*/ 2147483646 w 26"/>
                <a:gd name="T25" fmla="*/ 2147483646 h 26"/>
                <a:gd name="T26" fmla="*/ 2147483646 w 26"/>
                <a:gd name="T27" fmla="*/ 2147483646 h 26"/>
                <a:gd name="T28" fmla="*/ 2147483646 w 26"/>
                <a:gd name="T29" fmla="*/ 2147483646 h 26"/>
                <a:gd name="T30" fmla="*/ 2147483646 w 26"/>
                <a:gd name="T31" fmla="*/ 2147483646 h 26"/>
                <a:gd name="T32" fmla="*/ 2147483646 w 26"/>
                <a:gd name="T33" fmla="*/ 2147483646 h 26"/>
                <a:gd name="T34" fmla="*/ 2147483646 w 26"/>
                <a:gd name="T35" fmla="*/ 2147483646 h 26"/>
                <a:gd name="T36" fmla="*/ 2147483646 w 26"/>
                <a:gd name="T37" fmla="*/ 2147483646 h 26"/>
                <a:gd name="T38" fmla="*/ 2147483646 w 26"/>
                <a:gd name="T39" fmla="*/ 2147483646 h 26"/>
                <a:gd name="T40" fmla="*/ 2147483646 w 26"/>
                <a:gd name="T41" fmla="*/ 2147483646 h 26"/>
                <a:gd name="T42" fmla="*/ 2147483646 w 26"/>
                <a:gd name="T43" fmla="*/ 2147483646 h 26"/>
                <a:gd name="T44" fmla="*/ 2147483646 w 26"/>
                <a:gd name="T45" fmla="*/ 2147483646 h 26"/>
                <a:gd name="T46" fmla="*/ 2147483646 w 26"/>
                <a:gd name="T47" fmla="*/ 2147483646 h 26"/>
                <a:gd name="T48" fmla="*/ 2147483646 w 26"/>
                <a:gd name="T49" fmla="*/ 2147483646 h 26"/>
                <a:gd name="T50" fmla="*/ 2147483646 w 26"/>
                <a:gd name="T51" fmla="*/ 2147483646 h 26"/>
                <a:gd name="T52" fmla="*/ 2147483646 w 26"/>
                <a:gd name="T53" fmla="*/ 2147483646 h 26"/>
                <a:gd name="T54" fmla="*/ 2147483646 w 26"/>
                <a:gd name="T55" fmla="*/ 2147483646 h 26"/>
                <a:gd name="T56" fmla="*/ 2147483646 w 26"/>
                <a:gd name="T57" fmla="*/ 2147483646 h 26"/>
                <a:gd name="T58" fmla="*/ 2147483646 w 26"/>
                <a:gd name="T59" fmla="*/ 2147483646 h 26"/>
                <a:gd name="T60" fmla="*/ 2147483646 w 26"/>
                <a:gd name="T61" fmla="*/ 2147483646 h 26"/>
                <a:gd name="T62" fmla="*/ 2147483646 w 26"/>
                <a:gd name="T63" fmla="*/ 2147483646 h 26"/>
                <a:gd name="T64" fmla="*/ 2147483646 w 26"/>
                <a:gd name="T65" fmla="*/ 2147483646 h 26"/>
                <a:gd name="T66" fmla="*/ 2147483646 w 26"/>
                <a:gd name="T67" fmla="*/ 2147483646 h 26"/>
                <a:gd name="T68" fmla="*/ 2147483646 w 26"/>
                <a:gd name="T69" fmla="*/ 2147483646 h 26"/>
                <a:gd name="T70" fmla="*/ 2147483646 w 26"/>
                <a:gd name="T71" fmla="*/ 2147483646 h 26"/>
                <a:gd name="T72" fmla="*/ 2147483646 w 26"/>
                <a:gd name="T73" fmla="*/ 2147483646 h 26"/>
                <a:gd name="T74" fmla="*/ 2147483646 w 26"/>
                <a:gd name="T75" fmla="*/ 2147483646 h 26"/>
                <a:gd name="T76" fmla="*/ 2147483646 w 26"/>
                <a:gd name="T77" fmla="*/ 2147483646 h 26"/>
                <a:gd name="T78" fmla="*/ 2147483646 w 26"/>
                <a:gd name="T79" fmla="*/ 2147483646 h 26"/>
                <a:gd name="T80" fmla="*/ 2147483646 w 26"/>
                <a:gd name="T81" fmla="*/ 2147483646 h 26"/>
                <a:gd name="T82" fmla="*/ 2147483646 w 26"/>
                <a:gd name="T83" fmla="*/ 2147483646 h 26"/>
                <a:gd name="T84" fmla="*/ 2147483646 w 26"/>
                <a:gd name="T85" fmla="*/ 2147483646 h 26"/>
                <a:gd name="T86" fmla="*/ 2147483646 w 26"/>
                <a:gd name="T87" fmla="*/ 2147483646 h 26"/>
                <a:gd name="T88" fmla="*/ 2147483646 w 26"/>
                <a:gd name="T89" fmla="*/ 2147483646 h 26"/>
                <a:gd name="T90" fmla="*/ 2147483646 w 26"/>
                <a:gd name="T91" fmla="*/ 2147483646 h 26"/>
                <a:gd name="T92" fmla="*/ 2147483646 w 26"/>
                <a:gd name="T93" fmla="*/ 2147483646 h 26"/>
                <a:gd name="T94" fmla="*/ 2147483646 w 26"/>
                <a:gd name="T95" fmla="*/ 2147483646 h 26"/>
                <a:gd name="T96" fmla="*/ 2147483646 w 26"/>
                <a:gd name="T97" fmla="*/ 2147483646 h 26"/>
                <a:gd name="T98" fmla="*/ 2147483646 w 26"/>
                <a:gd name="T99" fmla="*/ 2147483646 h 26"/>
                <a:gd name="T100" fmla="*/ 2147483646 w 26"/>
                <a:gd name="T101" fmla="*/ 2147483646 h 26"/>
                <a:gd name="T102" fmla="*/ 2147483646 w 26"/>
                <a:gd name="T103" fmla="*/ 2147483646 h 2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6" h="26">
                  <a:moveTo>
                    <a:pt x="12" y="26"/>
                  </a:moveTo>
                  <a:cubicBezTo>
                    <a:pt x="12" y="26"/>
                    <a:pt x="12" y="26"/>
                    <a:pt x="12" y="26"/>
                  </a:cubicBezTo>
                  <a:cubicBezTo>
                    <a:pt x="11" y="25"/>
                    <a:pt x="11" y="24"/>
                    <a:pt x="11" y="23"/>
                  </a:cubicBezTo>
                  <a:cubicBezTo>
                    <a:pt x="11" y="23"/>
                    <a:pt x="11" y="22"/>
                    <a:pt x="11" y="22"/>
                  </a:cubicBezTo>
                  <a:cubicBezTo>
                    <a:pt x="10" y="21"/>
                    <a:pt x="9" y="21"/>
                    <a:pt x="9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4" y="20"/>
                    <a:pt x="3" y="19"/>
                  </a:cubicBezTo>
                  <a:cubicBezTo>
                    <a:pt x="2" y="18"/>
                    <a:pt x="2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2" y="15"/>
                    <a:pt x="1" y="14"/>
                    <a:pt x="1" y="14"/>
                  </a:cubicBezTo>
                  <a:cubicBezTo>
                    <a:pt x="1" y="14"/>
                    <a:pt x="0" y="14"/>
                    <a:pt x="0" y="13"/>
                  </a:cubicBezTo>
                  <a:cubicBezTo>
                    <a:pt x="0" y="13"/>
                    <a:pt x="0" y="13"/>
                    <a:pt x="0" y="12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6"/>
                    <a:pt x="3" y="3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0" y="0"/>
                    <a:pt x="11" y="0"/>
                  </a:cubicBezTo>
                  <a:cubicBezTo>
                    <a:pt x="11" y="0"/>
                    <a:pt x="12" y="1"/>
                    <a:pt x="13" y="1"/>
                  </a:cubicBezTo>
                  <a:cubicBezTo>
                    <a:pt x="14" y="2"/>
                    <a:pt x="14" y="2"/>
                    <a:pt x="15" y="2"/>
                  </a:cubicBezTo>
                  <a:cubicBezTo>
                    <a:pt x="17" y="3"/>
                    <a:pt x="18" y="4"/>
                    <a:pt x="19" y="5"/>
                  </a:cubicBezTo>
                  <a:cubicBezTo>
                    <a:pt x="20" y="5"/>
                    <a:pt x="20" y="6"/>
                    <a:pt x="20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1" y="7"/>
                    <a:pt x="21" y="7"/>
                  </a:cubicBezTo>
                  <a:cubicBezTo>
                    <a:pt x="22" y="8"/>
                    <a:pt x="23" y="8"/>
                    <a:pt x="23" y="9"/>
                  </a:cubicBezTo>
                  <a:cubicBezTo>
                    <a:pt x="23" y="10"/>
                    <a:pt x="23" y="11"/>
                    <a:pt x="23" y="12"/>
                  </a:cubicBezTo>
                  <a:cubicBezTo>
                    <a:pt x="22" y="12"/>
                    <a:pt x="22" y="13"/>
                    <a:pt x="22" y="13"/>
                  </a:cubicBezTo>
                  <a:cubicBezTo>
                    <a:pt x="22" y="13"/>
                    <a:pt x="23" y="13"/>
                    <a:pt x="23" y="14"/>
                  </a:cubicBezTo>
                  <a:cubicBezTo>
                    <a:pt x="23" y="14"/>
                    <a:pt x="24" y="14"/>
                    <a:pt x="24" y="15"/>
                  </a:cubicBezTo>
                  <a:cubicBezTo>
                    <a:pt x="24" y="15"/>
                    <a:pt x="24" y="16"/>
                    <a:pt x="24" y="17"/>
                  </a:cubicBezTo>
                  <a:cubicBezTo>
                    <a:pt x="23" y="17"/>
                    <a:pt x="23" y="18"/>
                    <a:pt x="23" y="18"/>
                  </a:cubicBezTo>
                  <a:cubicBezTo>
                    <a:pt x="23" y="19"/>
                    <a:pt x="24" y="20"/>
                    <a:pt x="24" y="21"/>
                  </a:cubicBezTo>
                  <a:cubicBezTo>
                    <a:pt x="24" y="21"/>
                    <a:pt x="25" y="21"/>
                    <a:pt x="25" y="22"/>
                  </a:cubicBezTo>
                  <a:cubicBezTo>
                    <a:pt x="25" y="22"/>
                    <a:pt x="26" y="23"/>
                    <a:pt x="26" y="23"/>
                  </a:cubicBezTo>
                  <a:cubicBezTo>
                    <a:pt x="26" y="24"/>
                    <a:pt x="25" y="24"/>
                    <a:pt x="24" y="24"/>
                  </a:cubicBezTo>
                  <a:cubicBezTo>
                    <a:pt x="21" y="26"/>
                    <a:pt x="19" y="26"/>
                    <a:pt x="16" y="26"/>
                  </a:cubicBezTo>
                  <a:cubicBezTo>
                    <a:pt x="15" y="26"/>
                    <a:pt x="14" y="26"/>
                    <a:pt x="13" y="26"/>
                  </a:cubicBezTo>
                  <a:lnTo>
                    <a:pt x="12" y="26"/>
                  </a:lnTo>
                  <a:close/>
                  <a:moveTo>
                    <a:pt x="1" y="13"/>
                  </a:moveTo>
                  <a:cubicBezTo>
                    <a:pt x="1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5"/>
                    <a:pt x="3" y="15"/>
                    <a:pt x="3" y="16"/>
                  </a:cubicBezTo>
                  <a:cubicBezTo>
                    <a:pt x="3" y="17"/>
                    <a:pt x="4" y="17"/>
                    <a:pt x="4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9" y="20"/>
                  </a:cubicBezTo>
                  <a:cubicBezTo>
                    <a:pt x="10" y="20"/>
                    <a:pt x="11" y="20"/>
                    <a:pt x="11" y="21"/>
                  </a:cubicBezTo>
                  <a:cubicBezTo>
                    <a:pt x="12" y="21"/>
                    <a:pt x="12" y="22"/>
                    <a:pt x="12" y="23"/>
                  </a:cubicBezTo>
                  <a:cubicBezTo>
                    <a:pt x="12" y="24"/>
                    <a:pt x="13" y="24"/>
                    <a:pt x="13" y="25"/>
                  </a:cubicBezTo>
                  <a:cubicBezTo>
                    <a:pt x="14" y="25"/>
                    <a:pt x="15" y="24"/>
                    <a:pt x="16" y="24"/>
                  </a:cubicBezTo>
                  <a:cubicBezTo>
                    <a:pt x="19" y="24"/>
                    <a:pt x="21" y="24"/>
                    <a:pt x="24" y="23"/>
                  </a:cubicBezTo>
                  <a:cubicBezTo>
                    <a:pt x="24" y="23"/>
                    <a:pt x="25" y="23"/>
                    <a:pt x="25" y="23"/>
                  </a:cubicBezTo>
                  <a:cubicBezTo>
                    <a:pt x="25" y="23"/>
                    <a:pt x="24" y="23"/>
                    <a:pt x="24" y="22"/>
                  </a:cubicBezTo>
                  <a:cubicBezTo>
                    <a:pt x="24" y="22"/>
                    <a:pt x="23" y="22"/>
                    <a:pt x="23" y="21"/>
                  </a:cubicBezTo>
                  <a:cubicBezTo>
                    <a:pt x="23" y="20"/>
                    <a:pt x="22" y="19"/>
                    <a:pt x="22" y="18"/>
                  </a:cubicBezTo>
                  <a:cubicBezTo>
                    <a:pt x="22" y="17"/>
                    <a:pt x="22" y="17"/>
                    <a:pt x="22" y="16"/>
                  </a:cubicBezTo>
                  <a:cubicBezTo>
                    <a:pt x="23" y="16"/>
                    <a:pt x="23" y="15"/>
                    <a:pt x="23" y="15"/>
                  </a:cubicBezTo>
                  <a:cubicBezTo>
                    <a:pt x="23" y="15"/>
                    <a:pt x="22" y="15"/>
                    <a:pt x="22" y="14"/>
                  </a:cubicBezTo>
                  <a:cubicBezTo>
                    <a:pt x="22" y="14"/>
                    <a:pt x="21" y="13"/>
                    <a:pt x="21" y="13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1"/>
                    <a:pt x="22" y="10"/>
                    <a:pt x="22" y="9"/>
                  </a:cubicBezTo>
                  <a:cubicBezTo>
                    <a:pt x="22" y="9"/>
                    <a:pt x="21" y="9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7"/>
                    <a:pt x="19" y="7"/>
                  </a:cubicBezTo>
                  <a:cubicBezTo>
                    <a:pt x="19" y="6"/>
                    <a:pt x="19" y="6"/>
                    <a:pt x="18" y="6"/>
                  </a:cubicBezTo>
                  <a:cubicBezTo>
                    <a:pt x="17" y="5"/>
                    <a:pt x="16" y="4"/>
                    <a:pt x="14" y="3"/>
                  </a:cubicBezTo>
                  <a:cubicBezTo>
                    <a:pt x="14" y="3"/>
                    <a:pt x="13" y="3"/>
                    <a:pt x="12" y="2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1" y="2"/>
                    <a:pt x="11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5"/>
                    <a:pt x="8" y="5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5" y="3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4"/>
                    <a:pt x="3" y="6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2" name="Freeform 337"/>
            <p:cNvSpPr/>
            <p:nvPr/>
          </p:nvSpPr>
          <p:spPr bwMode="auto">
            <a:xfrm>
              <a:off x="2406262" y="3290252"/>
              <a:ext cx="9442" cy="6298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3" name="Freeform 338"/>
            <p:cNvSpPr/>
            <p:nvPr/>
          </p:nvSpPr>
          <p:spPr bwMode="auto">
            <a:xfrm>
              <a:off x="2406262" y="3268213"/>
              <a:ext cx="15737" cy="34631"/>
            </a:xfrm>
            <a:custGeom>
              <a:avLst/>
              <a:gdLst>
                <a:gd name="T0" fmla="*/ 2147483646 w 2"/>
                <a:gd name="T1" fmla="*/ 2147483646 h 5"/>
                <a:gd name="T2" fmla="*/ 2147483646 w 2"/>
                <a:gd name="T3" fmla="*/ 2147483646 h 5"/>
                <a:gd name="T4" fmla="*/ 0 w 2"/>
                <a:gd name="T5" fmla="*/ 2147483646 h 5"/>
                <a:gd name="T6" fmla="*/ 0 w 2"/>
                <a:gd name="T7" fmla="*/ 2147483646 h 5"/>
                <a:gd name="T8" fmla="*/ 0 w 2"/>
                <a:gd name="T9" fmla="*/ 0 h 5"/>
                <a:gd name="T10" fmla="*/ 2147483646 w 2"/>
                <a:gd name="T11" fmla="*/ 2147483646 h 5"/>
                <a:gd name="T12" fmla="*/ 2147483646 w 2"/>
                <a:gd name="T13" fmla="*/ 2147483646 h 5"/>
                <a:gd name="T14" fmla="*/ 2147483646 w 2"/>
                <a:gd name="T15" fmla="*/ 2147483646 h 5"/>
                <a:gd name="T16" fmla="*/ 2147483646 w 2"/>
                <a:gd name="T17" fmla="*/ 214748364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4" name="Freeform 339"/>
            <p:cNvSpPr/>
            <p:nvPr/>
          </p:nvSpPr>
          <p:spPr bwMode="auto">
            <a:xfrm>
              <a:off x="2421999" y="3274509"/>
              <a:ext cx="0" cy="6298"/>
            </a:xfrm>
            <a:custGeom>
              <a:avLst/>
              <a:gdLst>
                <a:gd name="T0" fmla="*/ 0 h 1"/>
                <a:gd name="T1" fmla="*/ 2147483646 h 1"/>
                <a:gd name="T2" fmla="*/ 0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5" name="Freeform 340"/>
            <p:cNvSpPr/>
            <p:nvPr/>
          </p:nvSpPr>
          <p:spPr bwMode="auto">
            <a:xfrm>
              <a:off x="2415704" y="3268213"/>
              <a:ext cx="12590" cy="34631"/>
            </a:xfrm>
            <a:custGeom>
              <a:avLst/>
              <a:gdLst>
                <a:gd name="T0" fmla="*/ 2147483646 w 2"/>
                <a:gd name="T1" fmla="*/ 2147483646 h 5"/>
                <a:gd name="T2" fmla="*/ 0 w 2"/>
                <a:gd name="T3" fmla="*/ 2147483646 h 5"/>
                <a:gd name="T4" fmla="*/ 0 w 2"/>
                <a:gd name="T5" fmla="*/ 2147483646 h 5"/>
                <a:gd name="T6" fmla="*/ 2147483646 w 2"/>
                <a:gd name="T7" fmla="*/ 0 h 5"/>
                <a:gd name="T8" fmla="*/ 2147483646 w 2"/>
                <a:gd name="T9" fmla="*/ 0 h 5"/>
                <a:gd name="T10" fmla="*/ 2147483646 w 2"/>
                <a:gd name="T11" fmla="*/ 2147483646 h 5"/>
                <a:gd name="T12" fmla="*/ 2147483646 w 2"/>
                <a:gd name="T13" fmla="*/ 2147483646 h 5"/>
                <a:gd name="T14" fmla="*/ 2147483646 w 2"/>
                <a:gd name="T15" fmla="*/ 2147483646 h 5"/>
                <a:gd name="T16" fmla="*/ 2147483646 w 2"/>
                <a:gd name="T17" fmla="*/ 2147483646 h 5"/>
                <a:gd name="T18" fmla="*/ 2147483646 w 2"/>
                <a:gd name="T19" fmla="*/ 2147483646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lnTo>
                    <a:pt x="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6" name="Freeform 341"/>
            <p:cNvSpPr/>
            <p:nvPr/>
          </p:nvSpPr>
          <p:spPr bwMode="auto">
            <a:xfrm>
              <a:off x="2110398" y="3324881"/>
              <a:ext cx="198292" cy="179451"/>
            </a:xfrm>
            <a:custGeom>
              <a:avLst/>
              <a:gdLst>
                <a:gd name="T0" fmla="*/ 2147483646 w 27"/>
                <a:gd name="T1" fmla="*/ 2147483646 h 24"/>
                <a:gd name="T2" fmla="*/ 2147483646 w 27"/>
                <a:gd name="T3" fmla="*/ 2147483646 h 24"/>
                <a:gd name="T4" fmla="*/ 2147483646 w 27"/>
                <a:gd name="T5" fmla="*/ 2147483646 h 24"/>
                <a:gd name="T6" fmla="*/ 0 w 27"/>
                <a:gd name="T7" fmla="*/ 2147483646 h 24"/>
                <a:gd name="T8" fmla="*/ 2147483646 w 27"/>
                <a:gd name="T9" fmla="*/ 2147483646 h 24"/>
                <a:gd name="T10" fmla="*/ 2147483646 w 27"/>
                <a:gd name="T11" fmla="*/ 2147483646 h 24"/>
                <a:gd name="T12" fmla="*/ 2147483646 w 27"/>
                <a:gd name="T13" fmla="*/ 2147483646 h 24"/>
                <a:gd name="T14" fmla="*/ 2147483646 w 27"/>
                <a:gd name="T15" fmla="*/ 2147483646 h 24"/>
                <a:gd name="T16" fmla="*/ 2147483646 w 27"/>
                <a:gd name="T17" fmla="*/ 2147483646 h 24"/>
                <a:gd name="T18" fmla="*/ 2147483646 w 27"/>
                <a:gd name="T19" fmla="*/ 2147483646 h 24"/>
                <a:gd name="T20" fmla="*/ 2147483646 w 27"/>
                <a:gd name="T21" fmla="*/ 2147483646 h 24"/>
                <a:gd name="T22" fmla="*/ 2147483646 w 27"/>
                <a:gd name="T23" fmla="*/ 2147483646 h 24"/>
                <a:gd name="T24" fmla="*/ 2147483646 w 27"/>
                <a:gd name="T25" fmla="*/ 2147483646 h 24"/>
                <a:gd name="T26" fmla="*/ 2147483646 w 27"/>
                <a:gd name="T27" fmla="*/ 2147483646 h 24"/>
                <a:gd name="T28" fmla="*/ 2147483646 w 27"/>
                <a:gd name="T29" fmla="*/ 2147483646 h 24"/>
                <a:gd name="T30" fmla="*/ 2147483646 w 27"/>
                <a:gd name="T31" fmla="*/ 0 h 24"/>
                <a:gd name="T32" fmla="*/ 2147483646 w 27"/>
                <a:gd name="T33" fmla="*/ 2147483646 h 24"/>
                <a:gd name="T34" fmla="*/ 2147483646 w 27"/>
                <a:gd name="T35" fmla="*/ 2147483646 h 24"/>
                <a:gd name="T36" fmla="*/ 2147483646 w 27"/>
                <a:gd name="T37" fmla="*/ 2147483646 h 24"/>
                <a:gd name="T38" fmla="*/ 2147483646 w 27"/>
                <a:gd name="T39" fmla="*/ 2147483646 h 24"/>
                <a:gd name="T40" fmla="*/ 2147483646 w 27"/>
                <a:gd name="T41" fmla="*/ 2147483646 h 24"/>
                <a:gd name="T42" fmla="*/ 2147483646 w 27"/>
                <a:gd name="T43" fmla="*/ 2147483646 h 24"/>
                <a:gd name="T44" fmla="*/ 2147483646 w 27"/>
                <a:gd name="T45" fmla="*/ 2147483646 h 24"/>
                <a:gd name="T46" fmla="*/ 2147483646 w 27"/>
                <a:gd name="T47" fmla="*/ 2147483646 h 24"/>
                <a:gd name="T48" fmla="*/ 2147483646 w 27"/>
                <a:gd name="T49" fmla="*/ 2147483646 h 2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7" h="24">
                  <a:moveTo>
                    <a:pt x="5" y="7"/>
                  </a:moveTo>
                  <a:cubicBezTo>
                    <a:pt x="5" y="8"/>
                    <a:pt x="4" y="11"/>
                    <a:pt x="5" y="12"/>
                  </a:cubicBezTo>
                  <a:cubicBezTo>
                    <a:pt x="4" y="12"/>
                    <a:pt x="2" y="12"/>
                    <a:pt x="1" y="12"/>
                  </a:cubicBezTo>
                  <a:cubicBezTo>
                    <a:pt x="0" y="12"/>
                    <a:pt x="0" y="15"/>
                    <a:pt x="0" y="16"/>
                  </a:cubicBezTo>
                  <a:cubicBezTo>
                    <a:pt x="0" y="19"/>
                    <a:pt x="1" y="23"/>
                    <a:pt x="5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11" y="23"/>
                    <a:pt x="11" y="24"/>
                    <a:pt x="13" y="22"/>
                  </a:cubicBezTo>
                  <a:cubicBezTo>
                    <a:pt x="14" y="21"/>
                    <a:pt x="15" y="21"/>
                    <a:pt x="16" y="19"/>
                  </a:cubicBezTo>
                  <a:cubicBezTo>
                    <a:pt x="16" y="18"/>
                    <a:pt x="19" y="18"/>
                    <a:pt x="20" y="18"/>
                  </a:cubicBezTo>
                  <a:cubicBezTo>
                    <a:pt x="19" y="18"/>
                    <a:pt x="19" y="17"/>
                    <a:pt x="19" y="17"/>
                  </a:cubicBezTo>
                  <a:cubicBezTo>
                    <a:pt x="21" y="16"/>
                    <a:pt x="24" y="15"/>
                    <a:pt x="26" y="14"/>
                  </a:cubicBezTo>
                  <a:cubicBezTo>
                    <a:pt x="24" y="13"/>
                    <a:pt x="27" y="11"/>
                    <a:pt x="27" y="10"/>
                  </a:cubicBezTo>
                  <a:cubicBezTo>
                    <a:pt x="27" y="10"/>
                    <a:pt x="26" y="9"/>
                    <a:pt x="27" y="8"/>
                  </a:cubicBezTo>
                  <a:cubicBezTo>
                    <a:pt x="27" y="8"/>
                    <a:pt x="27" y="6"/>
                    <a:pt x="27" y="6"/>
                  </a:cubicBezTo>
                  <a:cubicBezTo>
                    <a:pt x="27" y="4"/>
                    <a:pt x="25" y="3"/>
                    <a:pt x="24" y="2"/>
                  </a:cubicBezTo>
                  <a:cubicBezTo>
                    <a:pt x="22" y="2"/>
                    <a:pt x="20" y="2"/>
                    <a:pt x="20" y="0"/>
                  </a:cubicBezTo>
                  <a:cubicBezTo>
                    <a:pt x="19" y="1"/>
                    <a:pt x="17" y="0"/>
                    <a:pt x="17" y="2"/>
                  </a:cubicBezTo>
                  <a:cubicBezTo>
                    <a:pt x="16" y="3"/>
                    <a:pt x="17" y="4"/>
                    <a:pt x="16" y="6"/>
                  </a:cubicBezTo>
                  <a:cubicBezTo>
                    <a:pt x="16" y="8"/>
                    <a:pt x="15" y="8"/>
                    <a:pt x="17" y="10"/>
                  </a:cubicBezTo>
                  <a:cubicBezTo>
                    <a:pt x="17" y="10"/>
                    <a:pt x="18" y="9"/>
                    <a:pt x="18" y="10"/>
                  </a:cubicBezTo>
                  <a:cubicBezTo>
                    <a:pt x="18" y="11"/>
                    <a:pt x="18" y="12"/>
                    <a:pt x="18" y="12"/>
                  </a:cubicBezTo>
                  <a:cubicBezTo>
                    <a:pt x="16" y="12"/>
                    <a:pt x="14" y="8"/>
                    <a:pt x="12" y="9"/>
                  </a:cubicBezTo>
                  <a:cubicBezTo>
                    <a:pt x="10" y="9"/>
                    <a:pt x="9" y="9"/>
                    <a:pt x="8" y="8"/>
                  </a:cubicBezTo>
                  <a:cubicBezTo>
                    <a:pt x="7" y="7"/>
                    <a:pt x="7" y="8"/>
                    <a:pt x="6" y="8"/>
                  </a:cubicBezTo>
                  <a:cubicBezTo>
                    <a:pt x="6" y="7"/>
                    <a:pt x="6" y="7"/>
                    <a:pt x="5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7" name="Freeform 342"/>
            <p:cNvSpPr>
              <a:spLocks noEditPoints="1"/>
            </p:cNvSpPr>
            <p:nvPr/>
          </p:nvSpPr>
          <p:spPr bwMode="auto">
            <a:xfrm>
              <a:off x="2110398" y="3324881"/>
              <a:ext cx="207734" cy="179451"/>
            </a:xfrm>
            <a:custGeom>
              <a:avLst/>
              <a:gdLst>
                <a:gd name="T0" fmla="*/ 2147483646 w 28"/>
                <a:gd name="T1" fmla="*/ 2147483646 h 24"/>
                <a:gd name="T2" fmla="*/ 2147483646 w 28"/>
                <a:gd name="T3" fmla="*/ 2147483646 h 24"/>
                <a:gd name="T4" fmla="*/ 2147483646 w 28"/>
                <a:gd name="T5" fmla="*/ 2147483646 h 24"/>
                <a:gd name="T6" fmla="*/ 0 w 28"/>
                <a:gd name="T7" fmla="*/ 2147483646 h 24"/>
                <a:gd name="T8" fmla="*/ 0 w 28"/>
                <a:gd name="T9" fmla="*/ 2147483646 h 24"/>
                <a:gd name="T10" fmla="*/ 2147483646 w 28"/>
                <a:gd name="T11" fmla="*/ 2147483646 h 24"/>
                <a:gd name="T12" fmla="*/ 2147483646 w 28"/>
                <a:gd name="T13" fmla="*/ 2147483646 h 24"/>
                <a:gd name="T14" fmla="*/ 2147483646 w 28"/>
                <a:gd name="T15" fmla="*/ 2147483646 h 24"/>
                <a:gd name="T16" fmla="*/ 2147483646 w 28"/>
                <a:gd name="T17" fmla="*/ 2147483646 h 24"/>
                <a:gd name="T18" fmla="*/ 2147483646 w 28"/>
                <a:gd name="T19" fmla="*/ 2147483646 h 24"/>
                <a:gd name="T20" fmla="*/ 2147483646 w 28"/>
                <a:gd name="T21" fmla="*/ 2147483646 h 24"/>
                <a:gd name="T22" fmla="*/ 2147483646 w 28"/>
                <a:gd name="T23" fmla="*/ 2147483646 h 24"/>
                <a:gd name="T24" fmla="*/ 2147483646 w 28"/>
                <a:gd name="T25" fmla="*/ 2147483646 h 24"/>
                <a:gd name="T26" fmla="*/ 2147483646 w 28"/>
                <a:gd name="T27" fmla="*/ 2147483646 h 24"/>
                <a:gd name="T28" fmla="*/ 2147483646 w 28"/>
                <a:gd name="T29" fmla="*/ 2147483646 h 24"/>
                <a:gd name="T30" fmla="*/ 2147483646 w 28"/>
                <a:gd name="T31" fmla="*/ 0 h 24"/>
                <a:gd name="T32" fmla="*/ 2147483646 w 28"/>
                <a:gd name="T33" fmla="*/ 0 h 24"/>
                <a:gd name="T34" fmla="*/ 2147483646 w 28"/>
                <a:gd name="T35" fmla="*/ 2147483646 h 24"/>
                <a:gd name="T36" fmla="*/ 2147483646 w 28"/>
                <a:gd name="T37" fmla="*/ 2147483646 h 24"/>
                <a:gd name="T38" fmla="*/ 2147483646 w 28"/>
                <a:gd name="T39" fmla="*/ 2147483646 h 24"/>
                <a:gd name="T40" fmla="*/ 2147483646 w 28"/>
                <a:gd name="T41" fmla="*/ 2147483646 h 24"/>
                <a:gd name="T42" fmla="*/ 2147483646 w 28"/>
                <a:gd name="T43" fmla="*/ 2147483646 h 24"/>
                <a:gd name="T44" fmla="*/ 2147483646 w 28"/>
                <a:gd name="T45" fmla="*/ 2147483646 h 24"/>
                <a:gd name="T46" fmla="*/ 2147483646 w 28"/>
                <a:gd name="T47" fmla="*/ 2147483646 h 24"/>
                <a:gd name="T48" fmla="*/ 2147483646 w 28"/>
                <a:gd name="T49" fmla="*/ 2147483646 h 24"/>
                <a:gd name="T50" fmla="*/ 2147483646 w 28"/>
                <a:gd name="T51" fmla="*/ 2147483646 h 24"/>
                <a:gd name="T52" fmla="*/ 2147483646 w 28"/>
                <a:gd name="T53" fmla="*/ 2147483646 h 24"/>
                <a:gd name="T54" fmla="*/ 2147483646 w 28"/>
                <a:gd name="T55" fmla="*/ 2147483646 h 24"/>
                <a:gd name="T56" fmla="*/ 2147483646 w 28"/>
                <a:gd name="T57" fmla="*/ 2147483646 h 24"/>
                <a:gd name="T58" fmla="*/ 2147483646 w 28"/>
                <a:gd name="T59" fmla="*/ 2147483646 h 24"/>
                <a:gd name="T60" fmla="*/ 2147483646 w 28"/>
                <a:gd name="T61" fmla="*/ 2147483646 h 24"/>
                <a:gd name="T62" fmla="*/ 2147483646 w 28"/>
                <a:gd name="T63" fmla="*/ 2147483646 h 24"/>
                <a:gd name="T64" fmla="*/ 2147483646 w 28"/>
                <a:gd name="T65" fmla="*/ 2147483646 h 24"/>
                <a:gd name="T66" fmla="*/ 2147483646 w 28"/>
                <a:gd name="T67" fmla="*/ 2147483646 h 24"/>
                <a:gd name="T68" fmla="*/ 2147483646 w 28"/>
                <a:gd name="T69" fmla="*/ 2147483646 h 24"/>
                <a:gd name="T70" fmla="*/ 2147483646 w 28"/>
                <a:gd name="T71" fmla="*/ 2147483646 h 24"/>
                <a:gd name="T72" fmla="*/ 2147483646 w 28"/>
                <a:gd name="T73" fmla="*/ 2147483646 h 24"/>
                <a:gd name="T74" fmla="*/ 2147483646 w 28"/>
                <a:gd name="T75" fmla="*/ 2147483646 h 24"/>
                <a:gd name="T76" fmla="*/ 2147483646 w 28"/>
                <a:gd name="T77" fmla="*/ 2147483646 h 24"/>
                <a:gd name="T78" fmla="*/ 2147483646 w 28"/>
                <a:gd name="T79" fmla="*/ 2147483646 h 24"/>
                <a:gd name="T80" fmla="*/ 2147483646 w 28"/>
                <a:gd name="T81" fmla="*/ 2147483646 h 24"/>
                <a:gd name="T82" fmla="*/ 2147483646 w 28"/>
                <a:gd name="T83" fmla="*/ 2147483646 h 24"/>
                <a:gd name="T84" fmla="*/ 2147483646 w 28"/>
                <a:gd name="T85" fmla="*/ 2147483646 h 24"/>
                <a:gd name="T86" fmla="*/ 2147483646 w 28"/>
                <a:gd name="T87" fmla="*/ 2147483646 h 24"/>
                <a:gd name="T88" fmla="*/ 2147483646 w 28"/>
                <a:gd name="T89" fmla="*/ 2147483646 h 24"/>
                <a:gd name="T90" fmla="*/ 2147483646 w 28"/>
                <a:gd name="T91" fmla="*/ 2147483646 h 24"/>
                <a:gd name="T92" fmla="*/ 2147483646 w 28"/>
                <a:gd name="T93" fmla="*/ 2147483646 h 24"/>
                <a:gd name="T94" fmla="*/ 2147483646 w 28"/>
                <a:gd name="T95" fmla="*/ 2147483646 h 24"/>
                <a:gd name="T96" fmla="*/ 2147483646 w 28"/>
                <a:gd name="T97" fmla="*/ 2147483646 h 24"/>
                <a:gd name="T98" fmla="*/ 2147483646 w 28"/>
                <a:gd name="T99" fmla="*/ 2147483646 h 24"/>
                <a:gd name="T100" fmla="*/ 2147483646 w 28"/>
                <a:gd name="T101" fmla="*/ 2147483646 h 24"/>
                <a:gd name="T102" fmla="*/ 2147483646 w 28"/>
                <a:gd name="T103" fmla="*/ 2147483646 h 24"/>
                <a:gd name="T104" fmla="*/ 2147483646 w 28"/>
                <a:gd name="T105" fmla="*/ 2147483646 h 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8" h="24">
                  <a:moveTo>
                    <a:pt x="11" y="24"/>
                  </a:moveTo>
                  <a:cubicBezTo>
                    <a:pt x="10" y="24"/>
                    <a:pt x="10" y="24"/>
                    <a:pt x="9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7" y="23"/>
                    <a:pt x="7" y="23"/>
                  </a:cubicBezTo>
                  <a:cubicBezTo>
                    <a:pt x="6" y="23"/>
                    <a:pt x="6" y="23"/>
                    <a:pt x="5" y="23"/>
                  </a:cubicBezTo>
                  <a:cubicBezTo>
                    <a:pt x="5" y="23"/>
                    <a:pt x="4" y="23"/>
                    <a:pt x="4" y="23"/>
                  </a:cubicBezTo>
                  <a:cubicBezTo>
                    <a:pt x="0" y="23"/>
                    <a:pt x="0" y="18"/>
                    <a:pt x="0" y="16"/>
                  </a:cubicBezTo>
                  <a:cubicBezTo>
                    <a:pt x="0" y="16"/>
                    <a:pt x="0" y="16"/>
                    <a:pt x="0" y="15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9"/>
                    <a:pt x="4" y="8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7"/>
                    <a:pt x="6" y="7"/>
                  </a:cubicBezTo>
                  <a:cubicBezTo>
                    <a:pt x="6" y="7"/>
                    <a:pt x="6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9" y="7"/>
                  </a:cubicBezTo>
                  <a:cubicBezTo>
                    <a:pt x="9" y="8"/>
                    <a:pt x="10" y="8"/>
                    <a:pt x="12" y="8"/>
                  </a:cubicBezTo>
                  <a:cubicBezTo>
                    <a:pt x="13" y="8"/>
                    <a:pt x="14" y="9"/>
                    <a:pt x="16" y="10"/>
                  </a:cubicBezTo>
                  <a:cubicBezTo>
                    <a:pt x="16" y="11"/>
                    <a:pt x="17" y="11"/>
                    <a:pt x="18" y="12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6" y="10"/>
                    <a:pt x="16" y="10"/>
                  </a:cubicBezTo>
                  <a:cubicBezTo>
                    <a:pt x="15" y="9"/>
                    <a:pt x="15" y="8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4"/>
                  </a:cubicBezTo>
                  <a:cubicBezTo>
                    <a:pt x="16" y="3"/>
                    <a:pt x="15" y="2"/>
                    <a:pt x="16" y="1"/>
                  </a:cubicBezTo>
                  <a:cubicBezTo>
                    <a:pt x="17" y="0"/>
                    <a:pt x="18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1"/>
                    <a:pt x="21" y="1"/>
                    <a:pt x="22" y="1"/>
                  </a:cubicBezTo>
                  <a:cubicBezTo>
                    <a:pt x="23" y="1"/>
                    <a:pt x="24" y="1"/>
                    <a:pt x="24" y="2"/>
                  </a:cubicBezTo>
                  <a:cubicBezTo>
                    <a:pt x="25" y="2"/>
                    <a:pt x="28" y="3"/>
                    <a:pt x="28" y="6"/>
                  </a:cubicBezTo>
                  <a:cubicBezTo>
                    <a:pt x="28" y="6"/>
                    <a:pt x="28" y="6"/>
                    <a:pt x="28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10"/>
                    <a:pt x="28" y="10"/>
                    <a:pt x="28" y="10"/>
                  </a:cubicBezTo>
                  <a:cubicBezTo>
                    <a:pt x="27" y="11"/>
                    <a:pt x="27" y="11"/>
                    <a:pt x="27" y="12"/>
                  </a:cubicBezTo>
                  <a:cubicBezTo>
                    <a:pt x="26" y="12"/>
                    <a:pt x="26" y="13"/>
                    <a:pt x="26" y="13"/>
                  </a:cubicBezTo>
                  <a:cubicBezTo>
                    <a:pt x="26" y="13"/>
                    <a:pt x="26" y="13"/>
                    <a:pt x="27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8" y="18"/>
                    <a:pt x="16" y="19"/>
                    <a:pt x="16" y="19"/>
                  </a:cubicBezTo>
                  <a:cubicBezTo>
                    <a:pt x="16" y="21"/>
                    <a:pt x="15" y="21"/>
                    <a:pt x="15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2" y="23"/>
                    <a:pt x="12" y="24"/>
                    <a:pt x="11" y="24"/>
                  </a:cubicBezTo>
                  <a:close/>
                  <a:moveTo>
                    <a:pt x="6" y="22"/>
                  </a:moveTo>
                  <a:cubicBezTo>
                    <a:pt x="6" y="22"/>
                    <a:pt x="7" y="22"/>
                    <a:pt x="7" y="22"/>
                  </a:cubicBezTo>
                  <a:cubicBezTo>
                    <a:pt x="8" y="22"/>
                    <a:pt x="8" y="22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1" y="23"/>
                  </a:cubicBezTo>
                  <a:cubicBezTo>
                    <a:pt x="11" y="23"/>
                    <a:pt x="12" y="23"/>
                    <a:pt x="13" y="21"/>
                  </a:cubicBezTo>
                  <a:cubicBezTo>
                    <a:pt x="13" y="21"/>
                    <a:pt x="14" y="21"/>
                    <a:pt x="14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6" y="18"/>
                    <a:pt x="17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6" y="11"/>
                  </a:cubicBezTo>
                  <a:cubicBezTo>
                    <a:pt x="26" y="11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8"/>
                  </a:cubicBezTo>
                  <a:cubicBezTo>
                    <a:pt x="26" y="8"/>
                    <a:pt x="26" y="7"/>
                    <a:pt x="27" y="7"/>
                  </a:cubicBezTo>
                  <a:cubicBezTo>
                    <a:pt x="27" y="7"/>
                    <a:pt x="27" y="6"/>
                    <a:pt x="27" y="6"/>
                  </a:cubicBezTo>
                  <a:cubicBezTo>
                    <a:pt x="27" y="4"/>
                    <a:pt x="25" y="4"/>
                    <a:pt x="24" y="3"/>
                  </a:cubicBezTo>
                  <a:cubicBezTo>
                    <a:pt x="23" y="3"/>
                    <a:pt x="23" y="3"/>
                    <a:pt x="22" y="2"/>
                  </a:cubicBezTo>
                  <a:cubicBezTo>
                    <a:pt x="21" y="2"/>
                    <a:pt x="20" y="2"/>
                    <a:pt x="20" y="1"/>
                  </a:cubicBezTo>
                  <a:cubicBezTo>
                    <a:pt x="20" y="1"/>
                    <a:pt x="20" y="1"/>
                    <a:pt x="19" y="1"/>
                  </a:cubicBezTo>
                  <a:cubicBezTo>
                    <a:pt x="18" y="1"/>
                    <a:pt x="18" y="1"/>
                    <a:pt x="17" y="2"/>
                  </a:cubicBezTo>
                  <a:cubicBezTo>
                    <a:pt x="17" y="3"/>
                    <a:pt x="17" y="3"/>
                    <a:pt x="17" y="4"/>
                  </a:cubicBezTo>
                  <a:cubicBezTo>
                    <a:pt x="17" y="4"/>
                    <a:pt x="17" y="5"/>
                    <a:pt x="17" y="6"/>
                  </a:cubicBezTo>
                  <a:cubicBezTo>
                    <a:pt x="17" y="6"/>
                    <a:pt x="17" y="7"/>
                    <a:pt x="17" y="7"/>
                  </a:cubicBezTo>
                  <a:cubicBezTo>
                    <a:pt x="16" y="8"/>
                    <a:pt x="16" y="8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9" y="9"/>
                    <a:pt x="19" y="1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3"/>
                    <a:pt x="16" y="12"/>
                    <a:pt x="15" y="11"/>
                  </a:cubicBezTo>
                  <a:cubicBezTo>
                    <a:pt x="14" y="10"/>
                    <a:pt x="13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9"/>
                    <a:pt x="8" y="9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7" y="8"/>
                  </a:cubicBezTo>
                  <a:cubicBezTo>
                    <a:pt x="7" y="8"/>
                    <a:pt x="7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9"/>
                    <a:pt x="5" y="11"/>
                    <a:pt x="6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4"/>
                    <a:pt x="1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9"/>
                    <a:pt x="1" y="22"/>
                    <a:pt x="4" y="22"/>
                  </a:cubicBezTo>
                  <a:cubicBezTo>
                    <a:pt x="4" y="22"/>
                    <a:pt x="5" y="22"/>
                    <a:pt x="5" y="22"/>
                  </a:cubicBezTo>
                  <a:cubicBezTo>
                    <a:pt x="5" y="22"/>
                    <a:pt x="5" y="22"/>
                    <a:pt x="6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8" name="Freeform 343"/>
            <p:cNvSpPr/>
            <p:nvPr/>
          </p:nvSpPr>
          <p:spPr bwMode="auto">
            <a:xfrm>
              <a:off x="1893221" y="2219844"/>
              <a:ext cx="135342" cy="66113"/>
            </a:xfrm>
            <a:custGeom>
              <a:avLst/>
              <a:gdLst>
                <a:gd name="T0" fmla="*/ 2147483646 w 18"/>
                <a:gd name="T1" fmla="*/ 2147483646 h 9"/>
                <a:gd name="T2" fmla="*/ 2147483646 w 18"/>
                <a:gd name="T3" fmla="*/ 2147483646 h 9"/>
                <a:gd name="T4" fmla="*/ 2147483646 w 18"/>
                <a:gd name="T5" fmla="*/ 2147483646 h 9"/>
                <a:gd name="T6" fmla="*/ 2147483646 w 18"/>
                <a:gd name="T7" fmla="*/ 2147483646 h 9"/>
                <a:gd name="T8" fmla="*/ 2147483646 w 18"/>
                <a:gd name="T9" fmla="*/ 2147483646 h 9"/>
                <a:gd name="T10" fmla="*/ 2147483646 w 18"/>
                <a:gd name="T11" fmla="*/ 2147483646 h 9"/>
                <a:gd name="T12" fmla="*/ 2147483646 w 18"/>
                <a:gd name="T13" fmla="*/ 2147483646 h 9"/>
                <a:gd name="T14" fmla="*/ 2147483646 w 18"/>
                <a:gd name="T15" fmla="*/ 2147483646 h 9"/>
                <a:gd name="T16" fmla="*/ 2147483646 w 18"/>
                <a:gd name="T17" fmla="*/ 2147483646 h 9"/>
                <a:gd name="T18" fmla="*/ 2147483646 w 18"/>
                <a:gd name="T19" fmla="*/ 2147483646 h 9"/>
                <a:gd name="T20" fmla="*/ 2147483646 w 18"/>
                <a:gd name="T21" fmla="*/ 2147483646 h 9"/>
                <a:gd name="T22" fmla="*/ 2147483646 w 18"/>
                <a:gd name="T23" fmla="*/ 2147483646 h 9"/>
                <a:gd name="T24" fmla="*/ 2147483646 w 18"/>
                <a:gd name="T25" fmla="*/ 0 h 9"/>
                <a:gd name="T26" fmla="*/ 2147483646 w 18"/>
                <a:gd name="T27" fmla="*/ 2147483646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" h="9">
                  <a:moveTo>
                    <a:pt x="10" y="1"/>
                  </a:moveTo>
                  <a:cubicBezTo>
                    <a:pt x="10" y="2"/>
                    <a:pt x="9" y="2"/>
                    <a:pt x="8" y="3"/>
                  </a:cubicBezTo>
                  <a:cubicBezTo>
                    <a:pt x="8" y="4"/>
                    <a:pt x="9" y="5"/>
                    <a:pt x="8" y="5"/>
                  </a:cubicBezTo>
                  <a:cubicBezTo>
                    <a:pt x="8" y="5"/>
                    <a:pt x="6" y="5"/>
                    <a:pt x="6" y="5"/>
                  </a:cubicBezTo>
                  <a:cubicBezTo>
                    <a:pt x="4" y="6"/>
                    <a:pt x="4" y="5"/>
                    <a:pt x="3" y="5"/>
                  </a:cubicBezTo>
                  <a:cubicBezTo>
                    <a:pt x="3" y="5"/>
                    <a:pt x="0" y="6"/>
                    <a:pt x="1" y="5"/>
                  </a:cubicBezTo>
                  <a:cubicBezTo>
                    <a:pt x="1" y="6"/>
                    <a:pt x="0" y="7"/>
                    <a:pt x="1" y="7"/>
                  </a:cubicBezTo>
                  <a:cubicBezTo>
                    <a:pt x="3" y="8"/>
                    <a:pt x="6" y="6"/>
                    <a:pt x="7" y="8"/>
                  </a:cubicBezTo>
                  <a:cubicBezTo>
                    <a:pt x="8" y="9"/>
                    <a:pt x="11" y="9"/>
                    <a:pt x="12" y="9"/>
                  </a:cubicBezTo>
                  <a:cubicBezTo>
                    <a:pt x="15" y="8"/>
                    <a:pt x="16" y="8"/>
                    <a:pt x="17" y="5"/>
                  </a:cubicBezTo>
                  <a:cubicBezTo>
                    <a:pt x="17" y="4"/>
                    <a:pt x="18" y="5"/>
                    <a:pt x="18" y="4"/>
                  </a:cubicBezTo>
                  <a:cubicBezTo>
                    <a:pt x="18" y="3"/>
                    <a:pt x="17" y="1"/>
                    <a:pt x="17" y="1"/>
                  </a:cubicBezTo>
                  <a:cubicBezTo>
                    <a:pt x="16" y="1"/>
                    <a:pt x="14" y="0"/>
                    <a:pt x="13" y="0"/>
                  </a:cubicBezTo>
                  <a:cubicBezTo>
                    <a:pt x="12" y="0"/>
                    <a:pt x="13" y="2"/>
                    <a:pt x="1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9" name="Freeform 344"/>
            <p:cNvSpPr>
              <a:spLocks noEditPoints="1"/>
            </p:cNvSpPr>
            <p:nvPr/>
          </p:nvSpPr>
          <p:spPr bwMode="auto">
            <a:xfrm>
              <a:off x="1893221" y="2219844"/>
              <a:ext cx="141637" cy="72410"/>
            </a:xfrm>
            <a:custGeom>
              <a:avLst/>
              <a:gdLst>
                <a:gd name="T0" fmla="*/ 2147483646 w 19"/>
                <a:gd name="T1" fmla="*/ 2147483646 h 10"/>
                <a:gd name="T2" fmla="*/ 2147483646 w 19"/>
                <a:gd name="T3" fmla="*/ 2147483646 h 10"/>
                <a:gd name="T4" fmla="*/ 0 w 19"/>
                <a:gd name="T5" fmla="*/ 2147483646 h 10"/>
                <a:gd name="T6" fmla="*/ 2147483646 w 19"/>
                <a:gd name="T7" fmla="*/ 2147483646 h 10"/>
                <a:gd name="T8" fmla="*/ 2147483646 w 19"/>
                <a:gd name="T9" fmla="*/ 2147483646 h 10"/>
                <a:gd name="T10" fmla="*/ 2147483646 w 19"/>
                <a:gd name="T11" fmla="*/ 2147483646 h 10"/>
                <a:gd name="T12" fmla="*/ 2147483646 w 19"/>
                <a:gd name="T13" fmla="*/ 2147483646 h 10"/>
                <a:gd name="T14" fmla="*/ 2147483646 w 19"/>
                <a:gd name="T15" fmla="*/ 2147483646 h 10"/>
                <a:gd name="T16" fmla="*/ 2147483646 w 19"/>
                <a:gd name="T17" fmla="*/ 2147483646 h 10"/>
                <a:gd name="T18" fmla="*/ 2147483646 w 19"/>
                <a:gd name="T19" fmla="*/ 2147483646 h 10"/>
                <a:gd name="T20" fmla="*/ 2147483646 w 19"/>
                <a:gd name="T21" fmla="*/ 2147483646 h 10"/>
                <a:gd name="T22" fmla="*/ 2147483646 w 19"/>
                <a:gd name="T23" fmla="*/ 2147483646 h 10"/>
                <a:gd name="T24" fmla="*/ 2147483646 w 19"/>
                <a:gd name="T25" fmla="*/ 2147483646 h 10"/>
                <a:gd name="T26" fmla="*/ 2147483646 w 19"/>
                <a:gd name="T27" fmla="*/ 0 h 10"/>
                <a:gd name="T28" fmla="*/ 2147483646 w 19"/>
                <a:gd name="T29" fmla="*/ 2147483646 h 10"/>
                <a:gd name="T30" fmla="*/ 2147483646 w 19"/>
                <a:gd name="T31" fmla="*/ 0 h 10"/>
                <a:gd name="T32" fmla="*/ 2147483646 w 19"/>
                <a:gd name="T33" fmla="*/ 0 h 10"/>
                <a:gd name="T34" fmla="*/ 2147483646 w 19"/>
                <a:gd name="T35" fmla="*/ 2147483646 h 10"/>
                <a:gd name="T36" fmla="*/ 2147483646 w 19"/>
                <a:gd name="T37" fmla="*/ 2147483646 h 10"/>
                <a:gd name="T38" fmla="*/ 2147483646 w 19"/>
                <a:gd name="T39" fmla="*/ 2147483646 h 10"/>
                <a:gd name="T40" fmla="*/ 2147483646 w 19"/>
                <a:gd name="T41" fmla="*/ 2147483646 h 10"/>
                <a:gd name="T42" fmla="*/ 2147483646 w 19"/>
                <a:gd name="T43" fmla="*/ 2147483646 h 10"/>
                <a:gd name="T44" fmla="*/ 2147483646 w 19"/>
                <a:gd name="T45" fmla="*/ 2147483646 h 10"/>
                <a:gd name="T46" fmla="*/ 2147483646 w 19"/>
                <a:gd name="T47" fmla="*/ 2147483646 h 10"/>
                <a:gd name="T48" fmla="*/ 2147483646 w 19"/>
                <a:gd name="T49" fmla="*/ 2147483646 h 10"/>
                <a:gd name="T50" fmla="*/ 2147483646 w 19"/>
                <a:gd name="T51" fmla="*/ 2147483646 h 10"/>
                <a:gd name="T52" fmla="*/ 2147483646 w 19"/>
                <a:gd name="T53" fmla="*/ 2147483646 h 10"/>
                <a:gd name="T54" fmla="*/ 2147483646 w 19"/>
                <a:gd name="T55" fmla="*/ 2147483646 h 10"/>
                <a:gd name="T56" fmla="*/ 2147483646 w 19"/>
                <a:gd name="T57" fmla="*/ 2147483646 h 10"/>
                <a:gd name="T58" fmla="*/ 2147483646 w 19"/>
                <a:gd name="T59" fmla="*/ 2147483646 h 10"/>
                <a:gd name="T60" fmla="*/ 2147483646 w 19"/>
                <a:gd name="T61" fmla="*/ 2147483646 h 10"/>
                <a:gd name="T62" fmla="*/ 2147483646 w 19"/>
                <a:gd name="T63" fmla="*/ 2147483646 h 10"/>
                <a:gd name="T64" fmla="*/ 2147483646 w 19"/>
                <a:gd name="T65" fmla="*/ 2147483646 h 10"/>
                <a:gd name="T66" fmla="*/ 2147483646 w 19"/>
                <a:gd name="T67" fmla="*/ 2147483646 h 10"/>
                <a:gd name="T68" fmla="*/ 2147483646 w 19"/>
                <a:gd name="T69" fmla="*/ 2147483646 h 10"/>
                <a:gd name="T70" fmla="*/ 2147483646 w 19"/>
                <a:gd name="T71" fmla="*/ 2147483646 h 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9" h="10">
                  <a:moveTo>
                    <a:pt x="11" y="10"/>
                  </a:moveTo>
                  <a:cubicBezTo>
                    <a:pt x="10" y="10"/>
                    <a:pt x="7" y="9"/>
                    <a:pt x="7" y="8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8"/>
                    <a:pt x="4" y="8"/>
                    <a:pt x="4" y="8"/>
                  </a:cubicBezTo>
                  <a:cubicBezTo>
                    <a:pt x="3" y="8"/>
                    <a:pt x="2" y="8"/>
                    <a:pt x="1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6"/>
                    <a:pt x="0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5"/>
                    <a:pt x="8" y="4"/>
                    <a:pt x="8" y="4"/>
                  </a:cubicBezTo>
                  <a:cubicBezTo>
                    <a:pt x="8" y="4"/>
                    <a:pt x="7" y="3"/>
                    <a:pt x="8" y="3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18" y="1"/>
                    <a:pt x="19" y="3"/>
                    <a:pt x="19" y="4"/>
                  </a:cubicBezTo>
                  <a:cubicBezTo>
                    <a:pt x="18" y="5"/>
                    <a:pt x="18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8"/>
                    <a:pt x="16" y="8"/>
                    <a:pt x="14" y="9"/>
                  </a:cubicBezTo>
                  <a:cubicBezTo>
                    <a:pt x="13" y="9"/>
                    <a:pt x="13" y="9"/>
                    <a:pt x="12" y="10"/>
                  </a:cubicBezTo>
                  <a:cubicBezTo>
                    <a:pt x="12" y="10"/>
                    <a:pt x="12" y="10"/>
                    <a:pt x="11" y="10"/>
                  </a:cubicBezTo>
                  <a:close/>
                  <a:moveTo>
                    <a:pt x="5" y="6"/>
                  </a:moveTo>
                  <a:cubicBezTo>
                    <a:pt x="6" y="6"/>
                    <a:pt x="7" y="7"/>
                    <a:pt x="8" y="8"/>
                  </a:cubicBezTo>
                  <a:cubicBezTo>
                    <a:pt x="8" y="8"/>
                    <a:pt x="10" y="9"/>
                    <a:pt x="11" y="9"/>
                  </a:cubicBezTo>
                  <a:cubicBezTo>
                    <a:pt x="12" y="9"/>
                    <a:pt x="12" y="8"/>
                    <a:pt x="12" y="8"/>
                  </a:cubicBezTo>
                  <a:cubicBezTo>
                    <a:pt x="12" y="8"/>
                    <a:pt x="13" y="8"/>
                    <a:pt x="13" y="8"/>
                  </a:cubicBezTo>
                  <a:cubicBezTo>
                    <a:pt x="15" y="7"/>
                    <a:pt x="16" y="7"/>
                    <a:pt x="16" y="5"/>
                  </a:cubicBezTo>
                  <a:cubicBezTo>
                    <a:pt x="16" y="4"/>
                    <a:pt x="17" y="4"/>
                    <a:pt x="17" y="4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3"/>
                    <a:pt x="17" y="2"/>
                    <a:pt x="17" y="2"/>
                  </a:cubicBezTo>
                  <a:cubicBezTo>
                    <a:pt x="16" y="2"/>
                    <a:pt x="16" y="1"/>
                    <a:pt x="16" y="1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2"/>
                    <a:pt x="12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6"/>
                    <a:pt x="4" y="6"/>
                  </a:cubicBezTo>
                  <a:cubicBezTo>
                    <a:pt x="4" y="6"/>
                    <a:pt x="3" y="6"/>
                    <a:pt x="3" y="6"/>
                  </a:cubicBezTo>
                  <a:cubicBezTo>
                    <a:pt x="3" y="6"/>
                    <a:pt x="2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4" y="7"/>
                    <a:pt x="5" y="6"/>
                    <a:pt x="5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0" name="Freeform 345"/>
            <p:cNvSpPr/>
            <p:nvPr/>
          </p:nvSpPr>
          <p:spPr bwMode="auto">
            <a:xfrm>
              <a:off x="1783059" y="2160027"/>
              <a:ext cx="66097" cy="44076"/>
            </a:xfrm>
            <a:custGeom>
              <a:avLst/>
              <a:gdLst>
                <a:gd name="T0" fmla="*/ 2147483646 w 9"/>
                <a:gd name="T1" fmla="*/ 0 h 6"/>
                <a:gd name="T2" fmla="*/ 0 w 9"/>
                <a:gd name="T3" fmla="*/ 2147483646 h 6"/>
                <a:gd name="T4" fmla="*/ 2147483646 w 9"/>
                <a:gd name="T5" fmla="*/ 2147483646 h 6"/>
                <a:gd name="T6" fmla="*/ 2147483646 w 9"/>
                <a:gd name="T7" fmla="*/ 2147483646 h 6"/>
                <a:gd name="T8" fmla="*/ 2147483646 w 9"/>
                <a:gd name="T9" fmla="*/ 2147483646 h 6"/>
                <a:gd name="T10" fmla="*/ 2147483646 w 9"/>
                <a:gd name="T11" fmla="*/ 2147483646 h 6"/>
                <a:gd name="T12" fmla="*/ 2147483646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4" y="0"/>
                    <a:pt x="0" y="0"/>
                    <a:pt x="0" y="2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4" y="4"/>
                    <a:pt x="3" y="5"/>
                    <a:pt x="5" y="4"/>
                  </a:cubicBezTo>
                  <a:cubicBezTo>
                    <a:pt x="5" y="6"/>
                    <a:pt x="6" y="6"/>
                    <a:pt x="7" y="6"/>
                  </a:cubicBezTo>
                  <a:cubicBezTo>
                    <a:pt x="6" y="5"/>
                    <a:pt x="9" y="4"/>
                    <a:pt x="8" y="3"/>
                  </a:cubicBezTo>
                  <a:cubicBezTo>
                    <a:pt x="7" y="2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1" name="Freeform 346"/>
            <p:cNvSpPr>
              <a:spLocks noEditPoints="1"/>
            </p:cNvSpPr>
            <p:nvPr/>
          </p:nvSpPr>
          <p:spPr bwMode="auto">
            <a:xfrm>
              <a:off x="1773616" y="2150582"/>
              <a:ext cx="75540" cy="59817"/>
            </a:xfrm>
            <a:custGeom>
              <a:avLst/>
              <a:gdLst>
                <a:gd name="T0" fmla="*/ 2147483646 w 10"/>
                <a:gd name="T1" fmla="*/ 2147483646 h 8"/>
                <a:gd name="T2" fmla="*/ 2147483646 w 10"/>
                <a:gd name="T3" fmla="*/ 2147483646 h 8"/>
                <a:gd name="T4" fmla="*/ 2147483646 w 10"/>
                <a:gd name="T5" fmla="*/ 2147483646 h 8"/>
                <a:gd name="T6" fmla="*/ 2147483646 w 10"/>
                <a:gd name="T7" fmla="*/ 2147483646 h 8"/>
                <a:gd name="T8" fmla="*/ 2147483646 w 10"/>
                <a:gd name="T9" fmla="*/ 2147483646 h 8"/>
                <a:gd name="T10" fmla="*/ 2147483646 w 10"/>
                <a:gd name="T11" fmla="*/ 2147483646 h 8"/>
                <a:gd name="T12" fmla="*/ 2147483646 w 10"/>
                <a:gd name="T13" fmla="*/ 2147483646 h 8"/>
                <a:gd name="T14" fmla="*/ 0 w 10"/>
                <a:gd name="T15" fmla="*/ 2147483646 h 8"/>
                <a:gd name="T16" fmla="*/ 2147483646 w 10"/>
                <a:gd name="T17" fmla="*/ 2147483646 h 8"/>
                <a:gd name="T18" fmla="*/ 2147483646 w 10"/>
                <a:gd name="T19" fmla="*/ 0 h 8"/>
                <a:gd name="T20" fmla="*/ 2147483646 w 10"/>
                <a:gd name="T21" fmla="*/ 0 h 8"/>
                <a:gd name="T22" fmla="*/ 2147483646 w 10"/>
                <a:gd name="T23" fmla="*/ 0 h 8"/>
                <a:gd name="T24" fmla="*/ 2147483646 w 10"/>
                <a:gd name="T25" fmla="*/ 0 h 8"/>
                <a:gd name="T26" fmla="*/ 2147483646 w 10"/>
                <a:gd name="T27" fmla="*/ 2147483646 h 8"/>
                <a:gd name="T28" fmla="*/ 2147483646 w 10"/>
                <a:gd name="T29" fmla="*/ 2147483646 h 8"/>
                <a:gd name="T30" fmla="*/ 2147483646 w 10"/>
                <a:gd name="T31" fmla="*/ 2147483646 h 8"/>
                <a:gd name="T32" fmla="*/ 2147483646 w 10"/>
                <a:gd name="T33" fmla="*/ 2147483646 h 8"/>
                <a:gd name="T34" fmla="*/ 2147483646 w 10"/>
                <a:gd name="T35" fmla="*/ 2147483646 h 8"/>
                <a:gd name="T36" fmla="*/ 2147483646 w 10"/>
                <a:gd name="T37" fmla="*/ 2147483646 h 8"/>
                <a:gd name="T38" fmla="*/ 2147483646 w 10"/>
                <a:gd name="T39" fmla="*/ 2147483646 h 8"/>
                <a:gd name="T40" fmla="*/ 2147483646 w 10"/>
                <a:gd name="T41" fmla="*/ 2147483646 h 8"/>
                <a:gd name="T42" fmla="*/ 2147483646 w 10"/>
                <a:gd name="T43" fmla="*/ 2147483646 h 8"/>
                <a:gd name="T44" fmla="*/ 2147483646 w 10"/>
                <a:gd name="T45" fmla="*/ 2147483646 h 8"/>
                <a:gd name="T46" fmla="*/ 2147483646 w 10"/>
                <a:gd name="T47" fmla="*/ 2147483646 h 8"/>
                <a:gd name="T48" fmla="*/ 2147483646 w 10"/>
                <a:gd name="T49" fmla="*/ 2147483646 h 8"/>
                <a:gd name="T50" fmla="*/ 2147483646 w 10"/>
                <a:gd name="T51" fmla="*/ 2147483646 h 8"/>
                <a:gd name="T52" fmla="*/ 2147483646 w 10"/>
                <a:gd name="T53" fmla="*/ 2147483646 h 8"/>
                <a:gd name="T54" fmla="*/ 2147483646 w 10"/>
                <a:gd name="T55" fmla="*/ 2147483646 h 8"/>
                <a:gd name="T56" fmla="*/ 2147483646 w 10"/>
                <a:gd name="T57" fmla="*/ 2147483646 h 8"/>
                <a:gd name="T58" fmla="*/ 2147483646 w 10"/>
                <a:gd name="T59" fmla="*/ 2147483646 h 8"/>
                <a:gd name="T60" fmla="*/ 2147483646 w 10"/>
                <a:gd name="T61" fmla="*/ 2147483646 h 8"/>
                <a:gd name="T62" fmla="*/ 2147483646 w 10"/>
                <a:gd name="T63" fmla="*/ 2147483646 h 8"/>
                <a:gd name="T64" fmla="*/ 2147483646 w 10"/>
                <a:gd name="T65" fmla="*/ 2147483646 h 8"/>
                <a:gd name="T66" fmla="*/ 2147483646 w 10"/>
                <a:gd name="T67" fmla="*/ 2147483646 h 8"/>
                <a:gd name="T68" fmla="*/ 2147483646 w 10"/>
                <a:gd name="T69" fmla="*/ 2147483646 h 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0" h="8">
                  <a:moveTo>
                    <a:pt x="9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6" y="7"/>
                    <a:pt x="6" y="7"/>
                  </a:cubicBezTo>
                  <a:cubicBezTo>
                    <a:pt x="6" y="7"/>
                    <a:pt x="5" y="7"/>
                    <a:pt x="5" y="6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4"/>
                    <a:pt x="1" y="3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1"/>
                    <a:pt x="8" y="2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5"/>
                    <a:pt x="9" y="5"/>
                    <a:pt x="9" y="6"/>
                  </a:cubicBezTo>
                  <a:cubicBezTo>
                    <a:pt x="8" y="6"/>
                    <a:pt x="8" y="6"/>
                    <a:pt x="8" y="7"/>
                  </a:cubicBezTo>
                  <a:lnTo>
                    <a:pt x="9" y="8"/>
                  </a:lnTo>
                  <a:close/>
                  <a:moveTo>
                    <a:pt x="7" y="4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5"/>
                    <a:pt x="8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7" y="2"/>
                    <a:pt x="6" y="1"/>
                  </a:cubicBezTo>
                  <a:cubicBezTo>
                    <a:pt x="6" y="1"/>
                    <a:pt x="5" y="1"/>
                    <a:pt x="5" y="2"/>
                  </a:cubicBezTo>
                  <a:cubicBezTo>
                    <a:pt x="4" y="2"/>
                    <a:pt x="2" y="2"/>
                    <a:pt x="2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3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lnTo>
                    <a:pt x="7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2" name="Freeform 347"/>
            <p:cNvSpPr/>
            <p:nvPr/>
          </p:nvSpPr>
          <p:spPr bwMode="auto">
            <a:xfrm>
              <a:off x="2286657" y="2531521"/>
              <a:ext cx="47212" cy="37780"/>
            </a:xfrm>
            <a:custGeom>
              <a:avLst/>
              <a:gdLst>
                <a:gd name="T0" fmla="*/ 2147483646 w 6"/>
                <a:gd name="T1" fmla="*/ 2147483646 h 5"/>
                <a:gd name="T2" fmla="*/ 2147483646 w 6"/>
                <a:gd name="T3" fmla="*/ 0 h 5"/>
                <a:gd name="T4" fmla="*/ 0 w 6"/>
                <a:gd name="T5" fmla="*/ 2147483646 h 5"/>
                <a:gd name="T6" fmla="*/ 2147483646 w 6"/>
                <a:gd name="T7" fmla="*/ 2147483646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5">
                  <a:moveTo>
                    <a:pt x="4" y="1"/>
                  </a:moveTo>
                  <a:cubicBezTo>
                    <a:pt x="5" y="1"/>
                    <a:pt x="5" y="0"/>
                    <a:pt x="6" y="0"/>
                  </a:cubicBezTo>
                  <a:cubicBezTo>
                    <a:pt x="5" y="2"/>
                    <a:pt x="2" y="5"/>
                    <a:pt x="0" y="2"/>
                  </a:cubicBezTo>
                  <a:cubicBezTo>
                    <a:pt x="2" y="1"/>
                    <a:pt x="3" y="1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3" name="Freeform 348"/>
            <p:cNvSpPr>
              <a:spLocks noEditPoints="1"/>
            </p:cNvSpPr>
            <p:nvPr/>
          </p:nvSpPr>
          <p:spPr bwMode="auto">
            <a:xfrm>
              <a:off x="2286657" y="2522076"/>
              <a:ext cx="53507" cy="37780"/>
            </a:xfrm>
            <a:custGeom>
              <a:avLst/>
              <a:gdLst>
                <a:gd name="T0" fmla="*/ 2147483646 w 7"/>
                <a:gd name="T1" fmla="*/ 2147483646 h 5"/>
                <a:gd name="T2" fmla="*/ 0 w 7"/>
                <a:gd name="T3" fmla="*/ 2147483646 h 5"/>
                <a:gd name="T4" fmla="*/ 0 w 7"/>
                <a:gd name="T5" fmla="*/ 2147483646 h 5"/>
                <a:gd name="T6" fmla="*/ 0 w 7"/>
                <a:gd name="T7" fmla="*/ 2147483646 h 5"/>
                <a:gd name="T8" fmla="*/ 2147483646 w 7"/>
                <a:gd name="T9" fmla="*/ 2147483646 h 5"/>
                <a:gd name="T10" fmla="*/ 2147483646 w 7"/>
                <a:gd name="T11" fmla="*/ 2147483646 h 5"/>
                <a:gd name="T12" fmla="*/ 2147483646 w 7"/>
                <a:gd name="T13" fmla="*/ 2147483646 h 5"/>
                <a:gd name="T14" fmla="*/ 2147483646 w 7"/>
                <a:gd name="T15" fmla="*/ 2147483646 h 5"/>
                <a:gd name="T16" fmla="*/ 2147483646 w 7"/>
                <a:gd name="T17" fmla="*/ 0 h 5"/>
                <a:gd name="T18" fmla="*/ 2147483646 w 7"/>
                <a:gd name="T19" fmla="*/ 2147483646 h 5"/>
                <a:gd name="T20" fmla="*/ 2147483646 w 7"/>
                <a:gd name="T21" fmla="*/ 2147483646 h 5"/>
                <a:gd name="T22" fmla="*/ 2147483646 w 7"/>
                <a:gd name="T23" fmla="*/ 2147483646 h 5"/>
                <a:gd name="T24" fmla="*/ 2147483646 w 7"/>
                <a:gd name="T25" fmla="*/ 2147483646 h 5"/>
                <a:gd name="T26" fmla="*/ 2147483646 w 7"/>
                <a:gd name="T27" fmla="*/ 2147483646 h 5"/>
                <a:gd name="T28" fmla="*/ 2147483646 w 7"/>
                <a:gd name="T29" fmla="*/ 2147483646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" h="5">
                  <a:moveTo>
                    <a:pt x="2" y="5"/>
                  </a:moveTo>
                  <a:cubicBezTo>
                    <a:pt x="1" y="5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4" y="5"/>
                    <a:pt x="2" y="5"/>
                  </a:cubicBezTo>
                  <a:close/>
                  <a:moveTo>
                    <a:pt x="1" y="3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3"/>
                    <a:pt x="4" y="3"/>
                  </a:cubicBezTo>
                  <a:cubicBezTo>
                    <a:pt x="3" y="3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4" name="Freeform 349"/>
            <p:cNvSpPr/>
            <p:nvPr/>
          </p:nvSpPr>
          <p:spPr bwMode="auto">
            <a:xfrm>
              <a:off x="1937286" y="2166324"/>
              <a:ext cx="179407" cy="88151"/>
            </a:xfrm>
            <a:custGeom>
              <a:avLst/>
              <a:gdLst>
                <a:gd name="T0" fmla="*/ 0 w 24"/>
                <a:gd name="T1" fmla="*/ 2147483646 h 12"/>
                <a:gd name="T2" fmla="*/ 2147483646 w 24"/>
                <a:gd name="T3" fmla="*/ 2147483646 h 12"/>
                <a:gd name="T4" fmla="*/ 2147483646 w 24"/>
                <a:gd name="T5" fmla="*/ 2147483646 h 12"/>
                <a:gd name="T6" fmla="*/ 2147483646 w 24"/>
                <a:gd name="T7" fmla="*/ 2147483646 h 12"/>
                <a:gd name="T8" fmla="*/ 2147483646 w 24"/>
                <a:gd name="T9" fmla="*/ 2147483646 h 12"/>
                <a:gd name="T10" fmla="*/ 2147483646 w 24"/>
                <a:gd name="T11" fmla="*/ 2147483646 h 12"/>
                <a:gd name="T12" fmla="*/ 2147483646 w 24"/>
                <a:gd name="T13" fmla="*/ 2147483646 h 12"/>
                <a:gd name="T14" fmla="*/ 2147483646 w 24"/>
                <a:gd name="T15" fmla="*/ 2147483646 h 12"/>
                <a:gd name="T16" fmla="*/ 2147483646 w 24"/>
                <a:gd name="T17" fmla="*/ 2147483646 h 12"/>
                <a:gd name="T18" fmla="*/ 2147483646 w 24"/>
                <a:gd name="T19" fmla="*/ 2147483646 h 12"/>
                <a:gd name="T20" fmla="*/ 2147483646 w 24"/>
                <a:gd name="T21" fmla="*/ 2147483646 h 12"/>
                <a:gd name="T22" fmla="*/ 2147483646 w 24"/>
                <a:gd name="T23" fmla="*/ 2147483646 h 12"/>
                <a:gd name="T24" fmla="*/ 2147483646 w 24"/>
                <a:gd name="T25" fmla="*/ 2147483646 h 12"/>
                <a:gd name="T26" fmla="*/ 2147483646 w 24"/>
                <a:gd name="T27" fmla="*/ 2147483646 h 12"/>
                <a:gd name="T28" fmla="*/ 2147483646 w 24"/>
                <a:gd name="T29" fmla="*/ 0 h 12"/>
                <a:gd name="T30" fmla="*/ 0 w 24"/>
                <a:gd name="T31" fmla="*/ 2147483646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4" h="12">
                  <a:moveTo>
                    <a:pt x="0" y="3"/>
                  </a:moveTo>
                  <a:cubicBezTo>
                    <a:pt x="1" y="5"/>
                    <a:pt x="2" y="6"/>
                    <a:pt x="4" y="8"/>
                  </a:cubicBezTo>
                  <a:cubicBezTo>
                    <a:pt x="6" y="10"/>
                    <a:pt x="7" y="7"/>
                    <a:pt x="9" y="8"/>
                  </a:cubicBezTo>
                  <a:cubicBezTo>
                    <a:pt x="9" y="8"/>
                    <a:pt x="11" y="8"/>
                    <a:pt x="11" y="8"/>
                  </a:cubicBezTo>
                  <a:cubicBezTo>
                    <a:pt x="12" y="10"/>
                    <a:pt x="12" y="10"/>
                    <a:pt x="13" y="11"/>
                  </a:cubicBezTo>
                  <a:cubicBezTo>
                    <a:pt x="14" y="12"/>
                    <a:pt x="15" y="12"/>
                    <a:pt x="15" y="11"/>
                  </a:cubicBezTo>
                  <a:cubicBezTo>
                    <a:pt x="16" y="10"/>
                    <a:pt x="17" y="11"/>
                    <a:pt x="18" y="10"/>
                  </a:cubicBezTo>
                  <a:cubicBezTo>
                    <a:pt x="19" y="10"/>
                    <a:pt x="20" y="9"/>
                    <a:pt x="21" y="9"/>
                  </a:cubicBezTo>
                  <a:cubicBezTo>
                    <a:pt x="21" y="9"/>
                    <a:pt x="24" y="10"/>
                    <a:pt x="24" y="9"/>
                  </a:cubicBezTo>
                  <a:cubicBezTo>
                    <a:pt x="24" y="7"/>
                    <a:pt x="24" y="5"/>
                    <a:pt x="21" y="6"/>
                  </a:cubicBezTo>
                  <a:cubicBezTo>
                    <a:pt x="20" y="6"/>
                    <a:pt x="19" y="7"/>
                    <a:pt x="18" y="6"/>
                  </a:cubicBezTo>
                  <a:cubicBezTo>
                    <a:pt x="17" y="5"/>
                    <a:pt x="17" y="6"/>
                    <a:pt x="16" y="5"/>
                  </a:cubicBezTo>
                  <a:cubicBezTo>
                    <a:pt x="14" y="4"/>
                    <a:pt x="12" y="1"/>
                    <a:pt x="11" y="3"/>
                  </a:cubicBezTo>
                  <a:cubicBezTo>
                    <a:pt x="10" y="2"/>
                    <a:pt x="9" y="1"/>
                    <a:pt x="8" y="1"/>
                  </a:cubicBezTo>
                  <a:cubicBezTo>
                    <a:pt x="7" y="0"/>
                    <a:pt x="6" y="1"/>
                    <a:pt x="5" y="0"/>
                  </a:cubicBezTo>
                  <a:cubicBezTo>
                    <a:pt x="5" y="1"/>
                    <a:pt x="1" y="4"/>
                    <a:pt x="0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5" name="Freeform 350"/>
            <p:cNvSpPr>
              <a:spLocks noEditPoints="1"/>
            </p:cNvSpPr>
            <p:nvPr/>
          </p:nvSpPr>
          <p:spPr bwMode="auto">
            <a:xfrm>
              <a:off x="1930991" y="2144286"/>
              <a:ext cx="191997" cy="110189"/>
            </a:xfrm>
            <a:custGeom>
              <a:avLst/>
              <a:gdLst>
                <a:gd name="T0" fmla="*/ 2147483646 w 26"/>
                <a:gd name="T1" fmla="*/ 2147483646 h 15"/>
                <a:gd name="T2" fmla="*/ 2147483646 w 26"/>
                <a:gd name="T3" fmla="*/ 2147483646 h 15"/>
                <a:gd name="T4" fmla="*/ 2147483646 w 26"/>
                <a:gd name="T5" fmla="*/ 2147483646 h 15"/>
                <a:gd name="T6" fmla="*/ 2147483646 w 26"/>
                <a:gd name="T7" fmla="*/ 2147483646 h 15"/>
                <a:gd name="T8" fmla="*/ 2147483646 w 26"/>
                <a:gd name="T9" fmla="*/ 2147483646 h 15"/>
                <a:gd name="T10" fmla="*/ 2147483646 w 26"/>
                <a:gd name="T11" fmla="*/ 2147483646 h 15"/>
                <a:gd name="T12" fmla="*/ 2147483646 w 26"/>
                <a:gd name="T13" fmla="*/ 2147483646 h 15"/>
                <a:gd name="T14" fmla="*/ 2147483646 w 26"/>
                <a:gd name="T15" fmla="*/ 0 h 15"/>
                <a:gd name="T16" fmla="*/ 2147483646 w 26"/>
                <a:gd name="T17" fmla="*/ 2147483646 h 15"/>
                <a:gd name="T18" fmla="*/ 2147483646 w 26"/>
                <a:gd name="T19" fmla="*/ 2147483646 h 15"/>
                <a:gd name="T20" fmla="*/ 2147483646 w 26"/>
                <a:gd name="T21" fmla="*/ 2147483646 h 15"/>
                <a:gd name="T22" fmla="*/ 2147483646 w 26"/>
                <a:gd name="T23" fmla="*/ 2147483646 h 15"/>
                <a:gd name="T24" fmla="*/ 2147483646 w 26"/>
                <a:gd name="T25" fmla="*/ 2147483646 h 15"/>
                <a:gd name="T26" fmla="*/ 2147483646 w 26"/>
                <a:gd name="T27" fmla="*/ 2147483646 h 15"/>
                <a:gd name="T28" fmla="*/ 2147483646 w 26"/>
                <a:gd name="T29" fmla="*/ 2147483646 h 15"/>
                <a:gd name="T30" fmla="*/ 2147483646 w 26"/>
                <a:gd name="T31" fmla="*/ 2147483646 h 15"/>
                <a:gd name="T32" fmla="*/ 2147483646 w 26"/>
                <a:gd name="T33" fmla="*/ 2147483646 h 15"/>
                <a:gd name="T34" fmla="*/ 2147483646 w 26"/>
                <a:gd name="T35" fmla="*/ 2147483646 h 15"/>
                <a:gd name="T36" fmla="*/ 2147483646 w 26"/>
                <a:gd name="T37" fmla="*/ 2147483646 h 15"/>
                <a:gd name="T38" fmla="*/ 2147483646 w 26"/>
                <a:gd name="T39" fmla="*/ 2147483646 h 15"/>
                <a:gd name="T40" fmla="*/ 2147483646 w 26"/>
                <a:gd name="T41" fmla="*/ 2147483646 h 15"/>
                <a:gd name="T42" fmla="*/ 2147483646 w 26"/>
                <a:gd name="T43" fmla="*/ 2147483646 h 15"/>
                <a:gd name="T44" fmla="*/ 2147483646 w 26"/>
                <a:gd name="T45" fmla="*/ 2147483646 h 15"/>
                <a:gd name="T46" fmla="*/ 2147483646 w 26"/>
                <a:gd name="T47" fmla="*/ 2147483646 h 15"/>
                <a:gd name="T48" fmla="*/ 2147483646 w 26"/>
                <a:gd name="T49" fmla="*/ 2147483646 h 15"/>
                <a:gd name="T50" fmla="*/ 2147483646 w 26"/>
                <a:gd name="T51" fmla="*/ 2147483646 h 15"/>
                <a:gd name="T52" fmla="*/ 2147483646 w 26"/>
                <a:gd name="T53" fmla="*/ 2147483646 h 15"/>
                <a:gd name="T54" fmla="*/ 2147483646 w 26"/>
                <a:gd name="T55" fmla="*/ 2147483646 h 15"/>
                <a:gd name="T56" fmla="*/ 2147483646 w 26"/>
                <a:gd name="T57" fmla="*/ 2147483646 h 15"/>
                <a:gd name="T58" fmla="*/ 2147483646 w 26"/>
                <a:gd name="T59" fmla="*/ 2147483646 h 15"/>
                <a:gd name="T60" fmla="*/ 2147483646 w 26"/>
                <a:gd name="T61" fmla="*/ 2147483646 h 15"/>
                <a:gd name="T62" fmla="*/ 2147483646 w 26"/>
                <a:gd name="T63" fmla="*/ 2147483646 h 15"/>
                <a:gd name="T64" fmla="*/ 2147483646 w 26"/>
                <a:gd name="T65" fmla="*/ 2147483646 h 15"/>
                <a:gd name="T66" fmla="*/ 2147483646 w 26"/>
                <a:gd name="T67" fmla="*/ 2147483646 h 15"/>
                <a:gd name="T68" fmla="*/ 2147483646 w 26"/>
                <a:gd name="T69" fmla="*/ 2147483646 h 15"/>
                <a:gd name="T70" fmla="*/ 2147483646 w 26"/>
                <a:gd name="T71" fmla="*/ 2147483646 h 15"/>
                <a:gd name="T72" fmla="*/ 2147483646 w 26"/>
                <a:gd name="T73" fmla="*/ 2147483646 h 1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6" h="15">
                  <a:moveTo>
                    <a:pt x="15" y="15"/>
                  </a:moveTo>
                  <a:cubicBezTo>
                    <a:pt x="15" y="15"/>
                    <a:pt x="14" y="15"/>
                    <a:pt x="13" y="15"/>
                  </a:cubicBezTo>
                  <a:cubicBezTo>
                    <a:pt x="12" y="14"/>
                    <a:pt x="12" y="13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1"/>
                    <a:pt x="11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1"/>
                    <a:pt x="8" y="11"/>
                    <a:pt x="8" y="12"/>
                  </a:cubicBezTo>
                  <a:cubicBezTo>
                    <a:pt x="7" y="12"/>
                    <a:pt x="7" y="12"/>
                    <a:pt x="6" y="12"/>
                  </a:cubicBezTo>
                  <a:cubicBezTo>
                    <a:pt x="6" y="12"/>
                    <a:pt x="5" y="12"/>
                    <a:pt x="4" y="11"/>
                  </a:cubicBezTo>
                  <a:cubicBezTo>
                    <a:pt x="2" y="9"/>
                    <a:pt x="2" y="8"/>
                    <a:pt x="1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4" y="4"/>
                    <a:pt x="5" y="4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3"/>
                    <a:pt x="10" y="3"/>
                  </a:cubicBezTo>
                  <a:cubicBezTo>
                    <a:pt x="11" y="4"/>
                    <a:pt x="11" y="4"/>
                    <a:pt x="12" y="5"/>
                  </a:cubicBezTo>
                  <a:cubicBezTo>
                    <a:pt x="12" y="5"/>
                    <a:pt x="13" y="5"/>
                    <a:pt x="13" y="5"/>
                  </a:cubicBezTo>
                  <a:cubicBezTo>
                    <a:pt x="14" y="5"/>
                    <a:pt x="15" y="6"/>
                    <a:pt x="16" y="7"/>
                  </a:cubicBezTo>
                  <a:cubicBezTo>
                    <a:pt x="16" y="7"/>
                    <a:pt x="17" y="8"/>
                    <a:pt x="17" y="8"/>
                  </a:cubicBezTo>
                  <a:cubicBezTo>
                    <a:pt x="17" y="8"/>
                    <a:pt x="17" y="8"/>
                    <a:pt x="18" y="8"/>
                  </a:cubicBezTo>
                  <a:cubicBezTo>
                    <a:pt x="18" y="8"/>
                    <a:pt x="19" y="8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1" y="9"/>
                    <a:pt x="21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4" y="8"/>
                    <a:pt x="25" y="9"/>
                  </a:cubicBezTo>
                  <a:cubicBezTo>
                    <a:pt x="26" y="10"/>
                    <a:pt x="26" y="11"/>
                    <a:pt x="25" y="12"/>
                  </a:cubicBezTo>
                  <a:cubicBezTo>
                    <a:pt x="25" y="13"/>
                    <a:pt x="25" y="13"/>
                    <a:pt x="24" y="13"/>
                  </a:cubicBezTo>
                  <a:cubicBezTo>
                    <a:pt x="23" y="13"/>
                    <a:pt x="23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3"/>
                    <a:pt x="20" y="14"/>
                    <a:pt x="20" y="14"/>
                  </a:cubicBezTo>
                  <a:cubicBezTo>
                    <a:pt x="19" y="14"/>
                    <a:pt x="19" y="14"/>
                    <a:pt x="18" y="14"/>
                  </a:cubicBezTo>
                  <a:cubicBezTo>
                    <a:pt x="18" y="14"/>
                    <a:pt x="17" y="14"/>
                    <a:pt x="17" y="14"/>
                  </a:cubicBezTo>
                  <a:cubicBezTo>
                    <a:pt x="17" y="15"/>
                    <a:pt x="16" y="15"/>
                    <a:pt x="15" y="15"/>
                  </a:cubicBezTo>
                  <a:close/>
                  <a:moveTo>
                    <a:pt x="9" y="10"/>
                  </a:moveTo>
                  <a:cubicBezTo>
                    <a:pt x="9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10"/>
                    <a:pt x="13" y="11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3"/>
                    <a:pt x="13" y="13"/>
                    <a:pt x="14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3"/>
                    <a:pt x="17" y="13"/>
                    <a:pt x="18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2"/>
                    <a:pt x="20" y="12"/>
                  </a:cubicBezTo>
                  <a:cubicBezTo>
                    <a:pt x="20" y="12"/>
                    <a:pt x="21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1"/>
                    <a:pt x="24" y="10"/>
                    <a:pt x="24" y="10"/>
                  </a:cubicBezTo>
                  <a:cubicBezTo>
                    <a:pt x="24" y="9"/>
                    <a:pt x="23" y="9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1" y="10"/>
                    <a:pt x="19" y="10"/>
                    <a:pt x="19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6" y="9"/>
                  </a:cubicBezTo>
                  <a:cubicBezTo>
                    <a:pt x="16" y="8"/>
                    <a:pt x="15" y="8"/>
                    <a:pt x="15" y="7"/>
                  </a:cubicBezTo>
                  <a:cubicBezTo>
                    <a:pt x="14" y="7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5"/>
                    <a:pt x="9" y="4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3" y="6"/>
                    <a:pt x="2" y="6"/>
                  </a:cubicBezTo>
                  <a:cubicBezTo>
                    <a:pt x="3" y="8"/>
                    <a:pt x="4" y="9"/>
                    <a:pt x="5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0"/>
                  </a:cubicBezTo>
                  <a:cubicBezTo>
                    <a:pt x="8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6" name="Freeform 351"/>
            <p:cNvSpPr/>
            <p:nvPr/>
          </p:nvSpPr>
          <p:spPr bwMode="auto">
            <a:xfrm>
              <a:off x="2012825" y="2232437"/>
              <a:ext cx="110162" cy="75558"/>
            </a:xfrm>
            <a:custGeom>
              <a:avLst/>
              <a:gdLst>
                <a:gd name="T0" fmla="*/ 0 w 15"/>
                <a:gd name="T1" fmla="*/ 2147483646 h 10"/>
                <a:gd name="T2" fmla="*/ 2147483646 w 15"/>
                <a:gd name="T3" fmla="*/ 2147483646 h 10"/>
                <a:gd name="T4" fmla="*/ 2147483646 w 15"/>
                <a:gd name="T5" fmla="*/ 2147483646 h 10"/>
                <a:gd name="T6" fmla="*/ 2147483646 w 15"/>
                <a:gd name="T7" fmla="*/ 2147483646 h 10"/>
                <a:gd name="T8" fmla="*/ 2147483646 w 15"/>
                <a:gd name="T9" fmla="*/ 0 h 10"/>
                <a:gd name="T10" fmla="*/ 2147483646 w 15"/>
                <a:gd name="T11" fmla="*/ 2147483646 h 10"/>
                <a:gd name="T12" fmla="*/ 2147483646 w 15"/>
                <a:gd name="T13" fmla="*/ 2147483646 h 10"/>
                <a:gd name="T14" fmla="*/ 2147483646 w 15"/>
                <a:gd name="T15" fmla="*/ 2147483646 h 10"/>
                <a:gd name="T16" fmla="*/ 2147483646 w 15"/>
                <a:gd name="T17" fmla="*/ 2147483646 h 10"/>
                <a:gd name="T18" fmla="*/ 2147483646 w 15"/>
                <a:gd name="T19" fmla="*/ 2147483646 h 10"/>
                <a:gd name="T20" fmla="*/ 0 w 15"/>
                <a:gd name="T21" fmla="*/ 2147483646 h 10"/>
                <a:gd name="T22" fmla="*/ 0 w 15"/>
                <a:gd name="T23" fmla="*/ 2147483646 h 1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" h="10">
                  <a:moveTo>
                    <a:pt x="0" y="6"/>
                  </a:moveTo>
                  <a:cubicBezTo>
                    <a:pt x="1" y="7"/>
                    <a:pt x="3" y="9"/>
                    <a:pt x="4" y="9"/>
                  </a:cubicBezTo>
                  <a:cubicBezTo>
                    <a:pt x="5" y="10"/>
                    <a:pt x="7" y="8"/>
                    <a:pt x="8" y="8"/>
                  </a:cubicBezTo>
                  <a:cubicBezTo>
                    <a:pt x="13" y="8"/>
                    <a:pt x="12" y="4"/>
                    <a:pt x="15" y="2"/>
                  </a:cubicBezTo>
                  <a:cubicBezTo>
                    <a:pt x="14" y="1"/>
                    <a:pt x="14" y="0"/>
                    <a:pt x="12" y="0"/>
                  </a:cubicBezTo>
                  <a:cubicBezTo>
                    <a:pt x="10" y="0"/>
                    <a:pt x="10" y="0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2"/>
                    <a:pt x="5" y="3"/>
                    <a:pt x="5" y="3"/>
                  </a:cubicBezTo>
                  <a:cubicBezTo>
                    <a:pt x="4" y="3"/>
                    <a:pt x="3" y="2"/>
                    <a:pt x="2" y="2"/>
                  </a:cubicBezTo>
                  <a:cubicBezTo>
                    <a:pt x="2" y="3"/>
                    <a:pt x="1" y="2"/>
                    <a:pt x="1" y="3"/>
                  </a:cubicBezTo>
                  <a:cubicBezTo>
                    <a:pt x="1" y="4"/>
                    <a:pt x="1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7" name="Freeform 352"/>
            <p:cNvSpPr>
              <a:spLocks noEditPoints="1"/>
            </p:cNvSpPr>
            <p:nvPr/>
          </p:nvSpPr>
          <p:spPr bwMode="auto">
            <a:xfrm>
              <a:off x="2006530" y="2226140"/>
              <a:ext cx="125900" cy="81855"/>
            </a:xfrm>
            <a:custGeom>
              <a:avLst/>
              <a:gdLst>
                <a:gd name="T0" fmla="*/ 2147483646 w 17"/>
                <a:gd name="T1" fmla="*/ 2147483646 h 11"/>
                <a:gd name="T2" fmla="*/ 2147483646 w 17"/>
                <a:gd name="T3" fmla="*/ 2147483646 h 11"/>
                <a:gd name="T4" fmla="*/ 2147483646 w 17"/>
                <a:gd name="T5" fmla="*/ 2147483646 h 11"/>
                <a:gd name="T6" fmla="*/ 2147483646 w 17"/>
                <a:gd name="T7" fmla="*/ 2147483646 h 11"/>
                <a:gd name="T8" fmla="*/ 2147483646 w 17"/>
                <a:gd name="T9" fmla="*/ 2147483646 h 11"/>
                <a:gd name="T10" fmla="*/ 0 w 17"/>
                <a:gd name="T11" fmla="*/ 2147483646 h 11"/>
                <a:gd name="T12" fmla="*/ 0 w 17"/>
                <a:gd name="T13" fmla="*/ 2147483646 h 11"/>
                <a:gd name="T14" fmla="*/ 0 w 17"/>
                <a:gd name="T15" fmla="*/ 2147483646 h 11"/>
                <a:gd name="T16" fmla="*/ 2147483646 w 17"/>
                <a:gd name="T17" fmla="*/ 2147483646 h 11"/>
                <a:gd name="T18" fmla="*/ 2147483646 w 17"/>
                <a:gd name="T19" fmla="*/ 2147483646 h 11"/>
                <a:gd name="T20" fmla="*/ 2147483646 w 17"/>
                <a:gd name="T21" fmla="*/ 2147483646 h 11"/>
                <a:gd name="T22" fmla="*/ 2147483646 w 17"/>
                <a:gd name="T23" fmla="*/ 2147483646 h 11"/>
                <a:gd name="T24" fmla="*/ 2147483646 w 17"/>
                <a:gd name="T25" fmla="*/ 2147483646 h 11"/>
                <a:gd name="T26" fmla="*/ 2147483646 w 17"/>
                <a:gd name="T27" fmla="*/ 2147483646 h 11"/>
                <a:gd name="T28" fmla="*/ 2147483646 w 17"/>
                <a:gd name="T29" fmla="*/ 2147483646 h 11"/>
                <a:gd name="T30" fmla="*/ 2147483646 w 17"/>
                <a:gd name="T31" fmla="*/ 2147483646 h 11"/>
                <a:gd name="T32" fmla="*/ 2147483646 w 17"/>
                <a:gd name="T33" fmla="*/ 2147483646 h 11"/>
                <a:gd name="T34" fmla="*/ 2147483646 w 17"/>
                <a:gd name="T35" fmla="*/ 2147483646 h 11"/>
                <a:gd name="T36" fmla="*/ 2147483646 w 17"/>
                <a:gd name="T37" fmla="*/ 2147483646 h 11"/>
                <a:gd name="T38" fmla="*/ 2147483646 w 17"/>
                <a:gd name="T39" fmla="*/ 2147483646 h 11"/>
                <a:gd name="T40" fmla="*/ 2147483646 w 17"/>
                <a:gd name="T41" fmla="*/ 2147483646 h 11"/>
                <a:gd name="T42" fmla="*/ 2147483646 w 17"/>
                <a:gd name="T43" fmla="*/ 2147483646 h 11"/>
                <a:gd name="T44" fmla="*/ 2147483646 w 17"/>
                <a:gd name="T45" fmla="*/ 2147483646 h 11"/>
                <a:gd name="T46" fmla="*/ 2147483646 w 17"/>
                <a:gd name="T47" fmla="*/ 2147483646 h 11"/>
                <a:gd name="T48" fmla="*/ 2147483646 w 17"/>
                <a:gd name="T49" fmla="*/ 2147483646 h 11"/>
                <a:gd name="T50" fmla="*/ 2147483646 w 17"/>
                <a:gd name="T51" fmla="*/ 2147483646 h 11"/>
                <a:gd name="T52" fmla="*/ 2147483646 w 17"/>
                <a:gd name="T53" fmla="*/ 2147483646 h 11"/>
                <a:gd name="T54" fmla="*/ 2147483646 w 17"/>
                <a:gd name="T55" fmla="*/ 2147483646 h 11"/>
                <a:gd name="T56" fmla="*/ 2147483646 w 17"/>
                <a:gd name="T57" fmla="*/ 2147483646 h 11"/>
                <a:gd name="T58" fmla="*/ 2147483646 w 17"/>
                <a:gd name="T59" fmla="*/ 2147483646 h 11"/>
                <a:gd name="T60" fmla="*/ 2147483646 w 17"/>
                <a:gd name="T61" fmla="*/ 2147483646 h 11"/>
                <a:gd name="T62" fmla="*/ 2147483646 w 17"/>
                <a:gd name="T63" fmla="*/ 2147483646 h 11"/>
                <a:gd name="T64" fmla="*/ 2147483646 w 17"/>
                <a:gd name="T65" fmla="*/ 2147483646 h 11"/>
                <a:gd name="T66" fmla="*/ 2147483646 w 17"/>
                <a:gd name="T67" fmla="*/ 2147483646 h 11"/>
                <a:gd name="T68" fmla="*/ 2147483646 w 17"/>
                <a:gd name="T69" fmla="*/ 2147483646 h 11"/>
                <a:gd name="T70" fmla="*/ 2147483646 w 17"/>
                <a:gd name="T71" fmla="*/ 2147483646 h 11"/>
                <a:gd name="T72" fmla="*/ 2147483646 w 17"/>
                <a:gd name="T73" fmla="*/ 2147483646 h 11"/>
                <a:gd name="T74" fmla="*/ 2147483646 w 17"/>
                <a:gd name="T75" fmla="*/ 2147483646 h 11"/>
                <a:gd name="T76" fmla="*/ 2147483646 w 17"/>
                <a:gd name="T77" fmla="*/ 2147483646 h 11"/>
                <a:gd name="T78" fmla="*/ 2147483646 w 17"/>
                <a:gd name="T79" fmla="*/ 2147483646 h 11"/>
                <a:gd name="T80" fmla="*/ 2147483646 w 17"/>
                <a:gd name="T81" fmla="*/ 2147483646 h 11"/>
                <a:gd name="T82" fmla="*/ 2147483646 w 17"/>
                <a:gd name="T83" fmla="*/ 2147483646 h 11"/>
                <a:gd name="T84" fmla="*/ 2147483646 w 17"/>
                <a:gd name="T85" fmla="*/ 2147483646 h 11"/>
                <a:gd name="T86" fmla="*/ 2147483646 w 17"/>
                <a:gd name="T87" fmla="*/ 2147483646 h 11"/>
                <a:gd name="T88" fmla="*/ 2147483646 w 17"/>
                <a:gd name="T89" fmla="*/ 2147483646 h 11"/>
                <a:gd name="T90" fmla="*/ 2147483646 w 17"/>
                <a:gd name="T91" fmla="*/ 2147483646 h 11"/>
                <a:gd name="T92" fmla="*/ 2147483646 w 17"/>
                <a:gd name="T93" fmla="*/ 2147483646 h 11"/>
                <a:gd name="T94" fmla="*/ 2147483646 w 17"/>
                <a:gd name="T95" fmla="*/ 2147483646 h 11"/>
                <a:gd name="T96" fmla="*/ 2147483646 w 17"/>
                <a:gd name="T97" fmla="*/ 2147483646 h 11"/>
                <a:gd name="T98" fmla="*/ 2147483646 w 17"/>
                <a:gd name="T99" fmla="*/ 2147483646 h 1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7" h="11">
                  <a:moveTo>
                    <a:pt x="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3" y="10"/>
                    <a:pt x="2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5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0"/>
                    <a:pt x="13" y="1"/>
                  </a:cubicBezTo>
                  <a:cubicBezTo>
                    <a:pt x="15" y="1"/>
                    <a:pt x="16" y="1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5" y="5"/>
                    <a:pt x="14" y="6"/>
                  </a:cubicBezTo>
                  <a:cubicBezTo>
                    <a:pt x="13" y="8"/>
                    <a:pt x="12" y="10"/>
                    <a:pt x="9" y="10"/>
                  </a:cubicBezTo>
                  <a:cubicBezTo>
                    <a:pt x="9" y="10"/>
                    <a:pt x="8" y="10"/>
                    <a:pt x="7" y="10"/>
                  </a:cubicBezTo>
                  <a:cubicBezTo>
                    <a:pt x="7" y="11"/>
                    <a:pt x="6" y="11"/>
                    <a:pt x="5" y="11"/>
                  </a:cubicBezTo>
                  <a:close/>
                  <a:moveTo>
                    <a:pt x="2" y="7"/>
                  </a:moveTo>
                  <a:cubicBezTo>
                    <a:pt x="2" y="7"/>
                    <a:pt x="2" y="7"/>
                    <a:pt x="3" y="8"/>
                  </a:cubicBezTo>
                  <a:cubicBezTo>
                    <a:pt x="3" y="8"/>
                    <a:pt x="4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9"/>
                    <a:pt x="7" y="9"/>
                  </a:cubicBezTo>
                  <a:cubicBezTo>
                    <a:pt x="8" y="9"/>
                    <a:pt x="8" y="8"/>
                    <a:pt x="9" y="8"/>
                  </a:cubicBezTo>
                  <a:cubicBezTo>
                    <a:pt x="11" y="9"/>
                    <a:pt x="12" y="7"/>
                    <a:pt x="13" y="6"/>
                  </a:cubicBezTo>
                  <a:cubicBezTo>
                    <a:pt x="14" y="5"/>
                    <a:pt x="14" y="4"/>
                    <a:pt x="15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2" y="2"/>
                    <a:pt x="12" y="2"/>
                    <a:pt x="11" y="2"/>
                  </a:cubicBezTo>
                  <a:cubicBezTo>
                    <a:pt x="11" y="2"/>
                    <a:pt x="10" y="2"/>
                    <a:pt x="10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3"/>
                    <a:pt x="7" y="4"/>
                  </a:cubicBezTo>
                  <a:cubicBezTo>
                    <a:pt x="7" y="4"/>
                    <a:pt x="6" y="4"/>
                    <a:pt x="6" y="4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8" name="Freeform 353"/>
            <p:cNvSpPr/>
            <p:nvPr/>
          </p:nvSpPr>
          <p:spPr bwMode="auto">
            <a:xfrm>
              <a:off x="1871188" y="1964835"/>
              <a:ext cx="44065" cy="97596"/>
            </a:xfrm>
            <a:custGeom>
              <a:avLst/>
              <a:gdLst>
                <a:gd name="T0" fmla="*/ 2147483646 w 6"/>
                <a:gd name="T1" fmla="*/ 2147483646 h 13"/>
                <a:gd name="T2" fmla="*/ 2147483646 w 6"/>
                <a:gd name="T3" fmla="*/ 2147483646 h 13"/>
                <a:gd name="T4" fmla="*/ 0 w 6"/>
                <a:gd name="T5" fmla="*/ 2147483646 h 13"/>
                <a:gd name="T6" fmla="*/ 0 w 6"/>
                <a:gd name="T7" fmla="*/ 2147483646 h 13"/>
                <a:gd name="T8" fmla="*/ 2147483646 w 6"/>
                <a:gd name="T9" fmla="*/ 0 h 13"/>
                <a:gd name="T10" fmla="*/ 2147483646 w 6"/>
                <a:gd name="T11" fmla="*/ 2147483646 h 13"/>
                <a:gd name="T12" fmla="*/ 2147483646 w 6"/>
                <a:gd name="T13" fmla="*/ 2147483646 h 13"/>
                <a:gd name="T14" fmla="*/ 2147483646 w 6"/>
                <a:gd name="T15" fmla="*/ 2147483646 h 13"/>
                <a:gd name="T16" fmla="*/ 2147483646 w 6"/>
                <a:gd name="T17" fmla="*/ 2147483646 h 13"/>
                <a:gd name="T18" fmla="*/ 2147483646 w 6"/>
                <a:gd name="T19" fmla="*/ 2147483646 h 13"/>
                <a:gd name="T20" fmla="*/ 2147483646 w 6"/>
                <a:gd name="T21" fmla="*/ 2147483646 h 13"/>
                <a:gd name="T22" fmla="*/ 2147483646 w 6"/>
                <a:gd name="T23" fmla="*/ 2147483646 h 13"/>
                <a:gd name="T24" fmla="*/ 2147483646 w 6"/>
                <a:gd name="T25" fmla="*/ 2147483646 h 1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" h="13">
                  <a:moveTo>
                    <a:pt x="3" y="12"/>
                  </a:moveTo>
                  <a:cubicBezTo>
                    <a:pt x="1" y="13"/>
                    <a:pt x="2" y="12"/>
                    <a:pt x="1" y="10"/>
                  </a:cubicBezTo>
                  <a:cubicBezTo>
                    <a:pt x="1" y="10"/>
                    <a:pt x="0" y="10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3"/>
                    <a:pt x="3" y="2"/>
                    <a:pt x="5" y="0"/>
                  </a:cubicBezTo>
                  <a:cubicBezTo>
                    <a:pt x="6" y="2"/>
                    <a:pt x="5" y="3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5" y="8"/>
                    <a:pt x="4" y="8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0"/>
                    <a:pt x="3" y="12"/>
                    <a:pt x="3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9" name="Freeform 354"/>
            <p:cNvSpPr>
              <a:spLocks noEditPoints="1"/>
            </p:cNvSpPr>
            <p:nvPr/>
          </p:nvSpPr>
          <p:spPr bwMode="auto">
            <a:xfrm>
              <a:off x="1864893" y="1958539"/>
              <a:ext cx="59802" cy="103892"/>
            </a:xfrm>
            <a:custGeom>
              <a:avLst/>
              <a:gdLst>
                <a:gd name="T0" fmla="*/ 2147483646 w 8"/>
                <a:gd name="T1" fmla="*/ 2147483646 h 14"/>
                <a:gd name="T2" fmla="*/ 2147483646 w 8"/>
                <a:gd name="T3" fmla="*/ 2147483646 h 14"/>
                <a:gd name="T4" fmla="*/ 2147483646 w 8"/>
                <a:gd name="T5" fmla="*/ 2147483646 h 14"/>
                <a:gd name="T6" fmla="*/ 2147483646 w 8"/>
                <a:gd name="T7" fmla="*/ 2147483646 h 14"/>
                <a:gd name="T8" fmla="*/ 2147483646 w 8"/>
                <a:gd name="T9" fmla="*/ 2147483646 h 14"/>
                <a:gd name="T10" fmla="*/ 0 w 8"/>
                <a:gd name="T11" fmla="*/ 2147483646 h 14"/>
                <a:gd name="T12" fmla="*/ 2147483646 w 8"/>
                <a:gd name="T13" fmla="*/ 2147483646 h 14"/>
                <a:gd name="T14" fmla="*/ 2147483646 w 8"/>
                <a:gd name="T15" fmla="*/ 2147483646 h 14"/>
                <a:gd name="T16" fmla="*/ 2147483646 w 8"/>
                <a:gd name="T17" fmla="*/ 0 h 14"/>
                <a:gd name="T18" fmla="*/ 2147483646 w 8"/>
                <a:gd name="T19" fmla="*/ 2147483646 h 14"/>
                <a:gd name="T20" fmla="*/ 2147483646 w 8"/>
                <a:gd name="T21" fmla="*/ 2147483646 h 14"/>
                <a:gd name="T22" fmla="*/ 2147483646 w 8"/>
                <a:gd name="T23" fmla="*/ 2147483646 h 14"/>
                <a:gd name="T24" fmla="*/ 2147483646 w 8"/>
                <a:gd name="T25" fmla="*/ 2147483646 h 14"/>
                <a:gd name="T26" fmla="*/ 2147483646 w 8"/>
                <a:gd name="T27" fmla="*/ 2147483646 h 14"/>
                <a:gd name="T28" fmla="*/ 2147483646 w 8"/>
                <a:gd name="T29" fmla="*/ 2147483646 h 14"/>
                <a:gd name="T30" fmla="*/ 2147483646 w 8"/>
                <a:gd name="T31" fmla="*/ 2147483646 h 14"/>
                <a:gd name="T32" fmla="*/ 2147483646 w 8"/>
                <a:gd name="T33" fmla="*/ 2147483646 h 14"/>
                <a:gd name="T34" fmla="*/ 2147483646 w 8"/>
                <a:gd name="T35" fmla="*/ 2147483646 h 14"/>
                <a:gd name="T36" fmla="*/ 2147483646 w 8"/>
                <a:gd name="T37" fmla="*/ 2147483646 h 14"/>
                <a:gd name="T38" fmla="*/ 2147483646 w 8"/>
                <a:gd name="T39" fmla="*/ 2147483646 h 14"/>
                <a:gd name="T40" fmla="*/ 2147483646 w 8"/>
                <a:gd name="T41" fmla="*/ 2147483646 h 14"/>
                <a:gd name="T42" fmla="*/ 2147483646 w 8"/>
                <a:gd name="T43" fmla="*/ 2147483646 h 14"/>
                <a:gd name="T44" fmla="*/ 2147483646 w 8"/>
                <a:gd name="T45" fmla="*/ 2147483646 h 14"/>
                <a:gd name="T46" fmla="*/ 2147483646 w 8"/>
                <a:gd name="T47" fmla="*/ 2147483646 h 14"/>
                <a:gd name="T48" fmla="*/ 2147483646 w 8"/>
                <a:gd name="T49" fmla="*/ 2147483646 h 14"/>
                <a:gd name="T50" fmla="*/ 2147483646 w 8"/>
                <a:gd name="T51" fmla="*/ 2147483646 h 14"/>
                <a:gd name="T52" fmla="*/ 2147483646 w 8"/>
                <a:gd name="T53" fmla="*/ 2147483646 h 14"/>
                <a:gd name="T54" fmla="*/ 2147483646 w 8"/>
                <a:gd name="T55" fmla="*/ 2147483646 h 14"/>
                <a:gd name="T56" fmla="*/ 2147483646 w 8"/>
                <a:gd name="T57" fmla="*/ 2147483646 h 14"/>
                <a:gd name="T58" fmla="*/ 2147483646 w 8"/>
                <a:gd name="T59" fmla="*/ 2147483646 h 14"/>
                <a:gd name="T60" fmla="*/ 2147483646 w 8"/>
                <a:gd name="T61" fmla="*/ 2147483646 h 14"/>
                <a:gd name="T62" fmla="*/ 2147483646 w 8"/>
                <a:gd name="T63" fmla="*/ 2147483646 h 14"/>
                <a:gd name="T64" fmla="*/ 2147483646 w 8"/>
                <a:gd name="T65" fmla="*/ 2147483646 h 14"/>
                <a:gd name="T66" fmla="*/ 2147483646 w 8"/>
                <a:gd name="T67" fmla="*/ 2147483646 h 14"/>
                <a:gd name="T68" fmla="*/ 2147483646 w 8"/>
                <a:gd name="T69" fmla="*/ 2147483646 h 14"/>
                <a:gd name="T70" fmla="*/ 2147483646 w 8"/>
                <a:gd name="T71" fmla="*/ 2147483646 h 14"/>
                <a:gd name="T72" fmla="*/ 2147483646 w 8"/>
                <a:gd name="T73" fmla="*/ 2147483646 h 14"/>
                <a:gd name="T74" fmla="*/ 2147483646 w 8"/>
                <a:gd name="T75" fmla="*/ 2147483646 h 14"/>
                <a:gd name="T76" fmla="*/ 2147483646 w 8"/>
                <a:gd name="T77" fmla="*/ 2147483646 h 14"/>
                <a:gd name="T78" fmla="*/ 2147483646 w 8"/>
                <a:gd name="T79" fmla="*/ 2147483646 h 14"/>
                <a:gd name="T80" fmla="*/ 2147483646 w 8"/>
                <a:gd name="T81" fmla="*/ 2147483646 h 14"/>
                <a:gd name="T82" fmla="*/ 2147483646 w 8"/>
                <a:gd name="T83" fmla="*/ 2147483646 h 14"/>
                <a:gd name="T84" fmla="*/ 2147483646 w 8"/>
                <a:gd name="T85" fmla="*/ 2147483646 h 14"/>
                <a:gd name="T86" fmla="*/ 2147483646 w 8"/>
                <a:gd name="T87" fmla="*/ 2147483646 h 14"/>
                <a:gd name="T88" fmla="*/ 2147483646 w 8"/>
                <a:gd name="T89" fmla="*/ 2147483646 h 14"/>
                <a:gd name="T90" fmla="*/ 2147483646 w 8"/>
                <a:gd name="T91" fmla="*/ 2147483646 h 14"/>
                <a:gd name="T92" fmla="*/ 2147483646 w 8"/>
                <a:gd name="T93" fmla="*/ 2147483646 h 14"/>
                <a:gd name="T94" fmla="*/ 2147483646 w 8"/>
                <a:gd name="T95" fmla="*/ 2147483646 h 1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8" h="14">
                  <a:moveTo>
                    <a:pt x="4" y="14"/>
                  </a:moveTo>
                  <a:cubicBezTo>
                    <a:pt x="2" y="14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3" y="3"/>
                    <a:pt x="5" y="2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3"/>
                    <a:pt x="7" y="4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8"/>
                    <a:pt x="8" y="8"/>
                  </a:cubicBezTo>
                  <a:cubicBezTo>
                    <a:pt x="7" y="8"/>
                    <a:pt x="7" y="9"/>
                    <a:pt x="7" y="9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5" y="12"/>
                    <a:pt x="5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lose/>
                  <a:moveTo>
                    <a:pt x="3" y="13"/>
                  </a:moveTo>
                  <a:cubicBezTo>
                    <a:pt x="3" y="13"/>
                    <a:pt x="4" y="13"/>
                    <a:pt x="4" y="13"/>
                  </a:cubicBezTo>
                  <a:cubicBezTo>
                    <a:pt x="4" y="11"/>
                    <a:pt x="4" y="10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3"/>
                    <a:pt x="5" y="3"/>
                  </a:cubicBezTo>
                  <a:cubicBezTo>
                    <a:pt x="3" y="4"/>
                    <a:pt x="2" y="5"/>
                    <a:pt x="2" y="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2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0" name="Freeform 355"/>
            <p:cNvSpPr/>
            <p:nvPr/>
          </p:nvSpPr>
          <p:spPr bwMode="auto">
            <a:xfrm>
              <a:off x="1924696" y="2018356"/>
              <a:ext cx="28327" cy="37780"/>
            </a:xfrm>
            <a:custGeom>
              <a:avLst/>
              <a:gdLst>
                <a:gd name="T0" fmla="*/ 2147483646 w 4"/>
                <a:gd name="T1" fmla="*/ 2147483646 h 5"/>
                <a:gd name="T2" fmla="*/ 0 w 4"/>
                <a:gd name="T3" fmla="*/ 2147483646 h 5"/>
                <a:gd name="T4" fmla="*/ 2147483646 w 4"/>
                <a:gd name="T5" fmla="*/ 2147483646 h 5"/>
                <a:gd name="T6" fmla="*/ 2147483646 w 4"/>
                <a:gd name="T7" fmla="*/ 2147483646 h 5"/>
                <a:gd name="T8" fmla="*/ 2147483646 w 4"/>
                <a:gd name="T9" fmla="*/ 2147483646 h 5"/>
                <a:gd name="T10" fmla="*/ 2147483646 w 4"/>
                <a:gd name="T11" fmla="*/ 0 h 5"/>
                <a:gd name="T12" fmla="*/ 2147483646 w 4"/>
                <a:gd name="T13" fmla="*/ 2147483646 h 5"/>
                <a:gd name="T14" fmla="*/ 2147483646 w 4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5">
                  <a:moveTo>
                    <a:pt x="1" y="1"/>
                  </a:moveTo>
                  <a:cubicBezTo>
                    <a:pt x="1" y="1"/>
                    <a:pt x="1" y="2"/>
                    <a:pt x="0" y="2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4"/>
                    <a:pt x="2" y="4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2"/>
                    <a:pt x="4" y="2"/>
                    <a:pt x="3" y="0"/>
                  </a:cubicBezTo>
                  <a:cubicBezTo>
                    <a:pt x="2" y="0"/>
                    <a:pt x="2" y="1"/>
                    <a:pt x="2" y="2"/>
                  </a:cubicBezTo>
                  <a:cubicBezTo>
                    <a:pt x="2" y="1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1" name="Freeform 356"/>
            <p:cNvSpPr>
              <a:spLocks noEditPoints="1"/>
            </p:cNvSpPr>
            <p:nvPr/>
          </p:nvSpPr>
          <p:spPr bwMode="auto">
            <a:xfrm>
              <a:off x="1915253" y="2012059"/>
              <a:ext cx="44065" cy="50372"/>
            </a:xfrm>
            <a:custGeom>
              <a:avLst/>
              <a:gdLst>
                <a:gd name="T0" fmla="*/ 2147483646 w 6"/>
                <a:gd name="T1" fmla="*/ 2147483646 h 7"/>
                <a:gd name="T2" fmla="*/ 2147483646 w 6"/>
                <a:gd name="T3" fmla="*/ 2147483646 h 7"/>
                <a:gd name="T4" fmla="*/ 2147483646 w 6"/>
                <a:gd name="T5" fmla="*/ 2147483646 h 7"/>
                <a:gd name="T6" fmla="*/ 2147483646 w 6"/>
                <a:gd name="T7" fmla="*/ 2147483646 h 7"/>
                <a:gd name="T8" fmla="*/ 2147483646 w 6"/>
                <a:gd name="T9" fmla="*/ 2147483646 h 7"/>
                <a:gd name="T10" fmla="*/ 0 w 6"/>
                <a:gd name="T11" fmla="*/ 2147483646 h 7"/>
                <a:gd name="T12" fmla="*/ 0 w 6"/>
                <a:gd name="T13" fmla="*/ 2147483646 h 7"/>
                <a:gd name="T14" fmla="*/ 2147483646 w 6"/>
                <a:gd name="T15" fmla="*/ 2147483646 h 7"/>
                <a:gd name="T16" fmla="*/ 2147483646 w 6"/>
                <a:gd name="T17" fmla="*/ 2147483646 h 7"/>
                <a:gd name="T18" fmla="*/ 2147483646 w 6"/>
                <a:gd name="T19" fmla="*/ 2147483646 h 7"/>
                <a:gd name="T20" fmla="*/ 2147483646 w 6"/>
                <a:gd name="T21" fmla="*/ 2147483646 h 7"/>
                <a:gd name="T22" fmla="*/ 2147483646 w 6"/>
                <a:gd name="T23" fmla="*/ 2147483646 h 7"/>
                <a:gd name="T24" fmla="*/ 2147483646 w 6"/>
                <a:gd name="T25" fmla="*/ 2147483646 h 7"/>
                <a:gd name="T26" fmla="*/ 2147483646 w 6"/>
                <a:gd name="T27" fmla="*/ 2147483646 h 7"/>
                <a:gd name="T28" fmla="*/ 2147483646 w 6"/>
                <a:gd name="T29" fmla="*/ 2147483646 h 7"/>
                <a:gd name="T30" fmla="*/ 2147483646 w 6"/>
                <a:gd name="T31" fmla="*/ 0 h 7"/>
                <a:gd name="T32" fmla="*/ 2147483646 w 6"/>
                <a:gd name="T33" fmla="*/ 2147483646 h 7"/>
                <a:gd name="T34" fmla="*/ 2147483646 w 6"/>
                <a:gd name="T35" fmla="*/ 2147483646 h 7"/>
                <a:gd name="T36" fmla="*/ 2147483646 w 6"/>
                <a:gd name="T37" fmla="*/ 2147483646 h 7"/>
                <a:gd name="T38" fmla="*/ 2147483646 w 6"/>
                <a:gd name="T39" fmla="*/ 2147483646 h 7"/>
                <a:gd name="T40" fmla="*/ 2147483646 w 6"/>
                <a:gd name="T41" fmla="*/ 2147483646 h 7"/>
                <a:gd name="T42" fmla="*/ 2147483646 w 6"/>
                <a:gd name="T43" fmla="*/ 2147483646 h 7"/>
                <a:gd name="T44" fmla="*/ 2147483646 w 6"/>
                <a:gd name="T45" fmla="*/ 2147483646 h 7"/>
                <a:gd name="T46" fmla="*/ 2147483646 w 6"/>
                <a:gd name="T47" fmla="*/ 2147483646 h 7"/>
                <a:gd name="T48" fmla="*/ 2147483646 w 6"/>
                <a:gd name="T49" fmla="*/ 2147483646 h 7"/>
                <a:gd name="T50" fmla="*/ 2147483646 w 6"/>
                <a:gd name="T51" fmla="*/ 2147483646 h 7"/>
                <a:gd name="T52" fmla="*/ 2147483646 w 6"/>
                <a:gd name="T53" fmla="*/ 2147483646 h 7"/>
                <a:gd name="T54" fmla="*/ 2147483646 w 6"/>
                <a:gd name="T55" fmla="*/ 2147483646 h 7"/>
                <a:gd name="T56" fmla="*/ 2147483646 w 6"/>
                <a:gd name="T57" fmla="*/ 2147483646 h 7"/>
                <a:gd name="T58" fmla="*/ 2147483646 w 6"/>
                <a:gd name="T59" fmla="*/ 2147483646 h 7"/>
                <a:gd name="T60" fmla="*/ 2147483646 w 6"/>
                <a:gd name="T61" fmla="*/ 2147483646 h 7"/>
                <a:gd name="T62" fmla="*/ 2147483646 w 6"/>
                <a:gd name="T63" fmla="*/ 2147483646 h 7"/>
                <a:gd name="T64" fmla="*/ 2147483646 w 6"/>
                <a:gd name="T65" fmla="*/ 2147483646 h 7"/>
                <a:gd name="T66" fmla="*/ 2147483646 w 6"/>
                <a:gd name="T67" fmla="*/ 2147483646 h 7"/>
                <a:gd name="T68" fmla="*/ 2147483646 w 6"/>
                <a:gd name="T69" fmla="*/ 2147483646 h 7"/>
                <a:gd name="T70" fmla="*/ 2147483646 w 6"/>
                <a:gd name="T71" fmla="*/ 2147483646 h 7"/>
                <a:gd name="T72" fmla="*/ 2147483646 w 6"/>
                <a:gd name="T73" fmla="*/ 2147483646 h 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" h="7">
                  <a:moveTo>
                    <a:pt x="4" y="7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1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2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lnTo>
                    <a:pt x="4" y="7"/>
                  </a:lnTo>
                  <a:close/>
                  <a:moveTo>
                    <a:pt x="2" y="3"/>
                  </a:move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3" y="4"/>
                    <a:pt x="4" y="3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2" name="Freeform 357"/>
            <p:cNvSpPr/>
            <p:nvPr/>
          </p:nvSpPr>
          <p:spPr bwMode="auto">
            <a:xfrm>
              <a:off x="1833418" y="2056135"/>
              <a:ext cx="157375" cy="207785"/>
            </a:xfrm>
            <a:custGeom>
              <a:avLst/>
              <a:gdLst>
                <a:gd name="T0" fmla="*/ 2147483646 w 21"/>
                <a:gd name="T1" fmla="*/ 2147483646 h 28"/>
                <a:gd name="T2" fmla="*/ 2147483646 w 21"/>
                <a:gd name="T3" fmla="*/ 2147483646 h 28"/>
                <a:gd name="T4" fmla="*/ 2147483646 w 21"/>
                <a:gd name="T5" fmla="*/ 2147483646 h 28"/>
                <a:gd name="T6" fmla="*/ 2147483646 w 21"/>
                <a:gd name="T7" fmla="*/ 2147483646 h 28"/>
                <a:gd name="T8" fmla="*/ 2147483646 w 21"/>
                <a:gd name="T9" fmla="*/ 2147483646 h 28"/>
                <a:gd name="T10" fmla="*/ 2147483646 w 21"/>
                <a:gd name="T11" fmla="*/ 2147483646 h 28"/>
                <a:gd name="T12" fmla="*/ 2147483646 w 21"/>
                <a:gd name="T13" fmla="*/ 2147483646 h 28"/>
                <a:gd name="T14" fmla="*/ 2147483646 w 21"/>
                <a:gd name="T15" fmla="*/ 0 h 28"/>
                <a:gd name="T16" fmla="*/ 2147483646 w 21"/>
                <a:gd name="T17" fmla="*/ 2147483646 h 28"/>
                <a:gd name="T18" fmla="*/ 2147483646 w 21"/>
                <a:gd name="T19" fmla="*/ 2147483646 h 28"/>
                <a:gd name="T20" fmla="*/ 2147483646 w 21"/>
                <a:gd name="T21" fmla="*/ 2147483646 h 28"/>
                <a:gd name="T22" fmla="*/ 2147483646 w 21"/>
                <a:gd name="T23" fmla="*/ 2147483646 h 28"/>
                <a:gd name="T24" fmla="*/ 2147483646 w 21"/>
                <a:gd name="T25" fmla="*/ 2147483646 h 28"/>
                <a:gd name="T26" fmla="*/ 2147483646 w 21"/>
                <a:gd name="T27" fmla="*/ 2147483646 h 28"/>
                <a:gd name="T28" fmla="*/ 0 w 21"/>
                <a:gd name="T29" fmla="*/ 2147483646 h 28"/>
                <a:gd name="T30" fmla="*/ 0 w 21"/>
                <a:gd name="T31" fmla="*/ 2147483646 h 28"/>
                <a:gd name="T32" fmla="*/ 2147483646 w 21"/>
                <a:gd name="T33" fmla="*/ 2147483646 h 28"/>
                <a:gd name="T34" fmla="*/ 2147483646 w 21"/>
                <a:gd name="T35" fmla="*/ 2147483646 h 28"/>
                <a:gd name="T36" fmla="*/ 2147483646 w 21"/>
                <a:gd name="T37" fmla="*/ 2147483646 h 28"/>
                <a:gd name="T38" fmla="*/ 2147483646 w 21"/>
                <a:gd name="T39" fmla="*/ 2147483646 h 28"/>
                <a:gd name="T40" fmla="*/ 2147483646 w 21"/>
                <a:gd name="T41" fmla="*/ 2147483646 h 28"/>
                <a:gd name="T42" fmla="*/ 2147483646 w 21"/>
                <a:gd name="T43" fmla="*/ 2147483646 h 28"/>
                <a:gd name="T44" fmla="*/ 2147483646 w 21"/>
                <a:gd name="T45" fmla="*/ 2147483646 h 28"/>
                <a:gd name="T46" fmla="*/ 2147483646 w 21"/>
                <a:gd name="T47" fmla="*/ 2147483646 h 28"/>
                <a:gd name="T48" fmla="*/ 2147483646 w 21"/>
                <a:gd name="T49" fmla="*/ 2147483646 h 28"/>
                <a:gd name="T50" fmla="*/ 2147483646 w 21"/>
                <a:gd name="T51" fmla="*/ 2147483646 h 28"/>
                <a:gd name="T52" fmla="*/ 2147483646 w 21"/>
                <a:gd name="T53" fmla="*/ 2147483646 h 28"/>
                <a:gd name="T54" fmla="*/ 2147483646 w 21"/>
                <a:gd name="T55" fmla="*/ 2147483646 h 2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" h="28">
                  <a:moveTo>
                    <a:pt x="20" y="16"/>
                  </a:moveTo>
                  <a:cubicBezTo>
                    <a:pt x="21" y="14"/>
                    <a:pt x="20" y="13"/>
                    <a:pt x="20" y="12"/>
                  </a:cubicBezTo>
                  <a:cubicBezTo>
                    <a:pt x="20" y="11"/>
                    <a:pt x="19" y="8"/>
                    <a:pt x="19" y="8"/>
                  </a:cubicBezTo>
                  <a:cubicBezTo>
                    <a:pt x="20" y="6"/>
                    <a:pt x="18" y="1"/>
                    <a:pt x="15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3" y="4"/>
                    <a:pt x="11" y="4"/>
                  </a:cubicBezTo>
                  <a:cubicBezTo>
                    <a:pt x="11" y="4"/>
                    <a:pt x="11" y="3"/>
                    <a:pt x="12" y="2"/>
                  </a:cubicBezTo>
                  <a:cubicBezTo>
                    <a:pt x="9" y="2"/>
                    <a:pt x="10" y="0"/>
                    <a:pt x="6" y="0"/>
                  </a:cubicBezTo>
                  <a:cubicBezTo>
                    <a:pt x="8" y="2"/>
                    <a:pt x="6" y="2"/>
                    <a:pt x="7" y="4"/>
                  </a:cubicBezTo>
                  <a:cubicBezTo>
                    <a:pt x="6" y="4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5" y="6"/>
                  </a:cubicBezTo>
                  <a:cubicBezTo>
                    <a:pt x="5" y="4"/>
                    <a:pt x="1" y="6"/>
                    <a:pt x="4" y="7"/>
                  </a:cubicBezTo>
                  <a:cubicBezTo>
                    <a:pt x="2" y="6"/>
                    <a:pt x="3" y="8"/>
                    <a:pt x="2" y="9"/>
                  </a:cubicBezTo>
                  <a:cubicBezTo>
                    <a:pt x="3" y="10"/>
                    <a:pt x="2" y="12"/>
                    <a:pt x="0" y="12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6"/>
                    <a:pt x="0" y="18"/>
                    <a:pt x="1" y="19"/>
                  </a:cubicBezTo>
                  <a:cubicBezTo>
                    <a:pt x="2" y="21"/>
                    <a:pt x="2" y="22"/>
                    <a:pt x="5" y="22"/>
                  </a:cubicBezTo>
                  <a:cubicBezTo>
                    <a:pt x="4" y="24"/>
                    <a:pt x="4" y="25"/>
                    <a:pt x="4" y="27"/>
                  </a:cubicBezTo>
                  <a:cubicBezTo>
                    <a:pt x="5" y="27"/>
                    <a:pt x="8" y="28"/>
                    <a:pt x="9" y="27"/>
                  </a:cubicBezTo>
                  <a:cubicBezTo>
                    <a:pt x="10" y="27"/>
                    <a:pt x="11" y="28"/>
                    <a:pt x="12" y="28"/>
                  </a:cubicBezTo>
                  <a:cubicBezTo>
                    <a:pt x="13" y="28"/>
                    <a:pt x="14" y="27"/>
                    <a:pt x="15" y="27"/>
                  </a:cubicBezTo>
                  <a:cubicBezTo>
                    <a:pt x="15" y="27"/>
                    <a:pt x="16" y="27"/>
                    <a:pt x="16" y="27"/>
                  </a:cubicBezTo>
                  <a:cubicBezTo>
                    <a:pt x="17" y="27"/>
                    <a:pt x="16" y="26"/>
                    <a:pt x="16" y="25"/>
                  </a:cubicBezTo>
                  <a:cubicBezTo>
                    <a:pt x="17" y="24"/>
                    <a:pt x="18" y="24"/>
                    <a:pt x="18" y="23"/>
                  </a:cubicBezTo>
                  <a:cubicBezTo>
                    <a:pt x="16" y="21"/>
                    <a:pt x="15" y="20"/>
                    <a:pt x="14" y="18"/>
                  </a:cubicBezTo>
                  <a:cubicBezTo>
                    <a:pt x="15" y="19"/>
                    <a:pt x="19" y="16"/>
                    <a:pt x="19" y="15"/>
                  </a:cubicBezTo>
                  <a:cubicBezTo>
                    <a:pt x="20" y="15"/>
                    <a:pt x="20" y="15"/>
                    <a:pt x="20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3" name="Freeform 358"/>
            <p:cNvSpPr>
              <a:spLocks noEditPoints="1"/>
            </p:cNvSpPr>
            <p:nvPr/>
          </p:nvSpPr>
          <p:spPr bwMode="auto">
            <a:xfrm>
              <a:off x="1833418" y="2046691"/>
              <a:ext cx="163669" cy="217230"/>
            </a:xfrm>
            <a:custGeom>
              <a:avLst/>
              <a:gdLst>
                <a:gd name="T0" fmla="*/ 2147483646 w 22"/>
                <a:gd name="T1" fmla="*/ 2147483646 h 29"/>
                <a:gd name="T2" fmla="*/ 2147483646 w 22"/>
                <a:gd name="T3" fmla="*/ 2147483646 h 29"/>
                <a:gd name="T4" fmla="*/ 2147483646 w 22"/>
                <a:gd name="T5" fmla="*/ 2147483646 h 29"/>
                <a:gd name="T6" fmla="*/ 0 w 22"/>
                <a:gd name="T7" fmla="*/ 2147483646 h 29"/>
                <a:gd name="T8" fmla="*/ 2147483646 w 22"/>
                <a:gd name="T9" fmla="*/ 2147483646 h 29"/>
                <a:gd name="T10" fmla="*/ 2147483646 w 22"/>
                <a:gd name="T11" fmla="*/ 2147483646 h 29"/>
                <a:gd name="T12" fmla="*/ 2147483646 w 22"/>
                <a:gd name="T13" fmla="*/ 2147483646 h 29"/>
                <a:gd name="T14" fmla="*/ 2147483646 w 22"/>
                <a:gd name="T15" fmla="*/ 2147483646 h 29"/>
                <a:gd name="T16" fmla="*/ 2147483646 w 22"/>
                <a:gd name="T17" fmla="*/ 2147483646 h 29"/>
                <a:gd name="T18" fmla="*/ 2147483646 w 22"/>
                <a:gd name="T19" fmla="*/ 0 h 29"/>
                <a:gd name="T20" fmla="*/ 2147483646 w 22"/>
                <a:gd name="T21" fmla="*/ 2147483646 h 29"/>
                <a:gd name="T22" fmla="*/ 2147483646 w 22"/>
                <a:gd name="T23" fmla="*/ 2147483646 h 29"/>
                <a:gd name="T24" fmla="*/ 2147483646 w 22"/>
                <a:gd name="T25" fmla="*/ 0 h 29"/>
                <a:gd name="T26" fmla="*/ 2147483646 w 22"/>
                <a:gd name="T27" fmla="*/ 2147483646 h 29"/>
                <a:gd name="T28" fmla="*/ 2147483646 w 22"/>
                <a:gd name="T29" fmla="*/ 2147483646 h 29"/>
                <a:gd name="T30" fmla="*/ 2147483646 w 22"/>
                <a:gd name="T31" fmla="*/ 2147483646 h 29"/>
                <a:gd name="T32" fmla="*/ 2147483646 w 22"/>
                <a:gd name="T33" fmla="*/ 2147483646 h 29"/>
                <a:gd name="T34" fmla="*/ 2147483646 w 22"/>
                <a:gd name="T35" fmla="*/ 2147483646 h 29"/>
                <a:gd name="T36" fmla="*/ 2147483646 w 22"/>
                <a:gd name="T37" fmla="*/ 2147483646 h 29"/>
                <a:gd name="T38" fmla="*/ 2147483646 w 22"/>
                <a:gd name="T39" fmla="*/ 2147483646 h 29"/>
                <a:gd name="T40" fmla="*/ 2147483646 w 22"/>
                <a:gd name="T41" fmla="*/ 2147483646 h 29"/>
                <a:gd name="T42" fmla="*/ 2147483646 w 22"/>
                <a:gd name="T43" fmla="*/ 2147483646 h 29"/>
                <a:gd name="T44" fmla="*/ 2147483646 w 22"/>
                <a:gd name="T45" fmla="*/ 2147483646 h 29"/>
                <a:gd name="T46" fmla="*/ 2147483646 w 22"/>
                <a:gd name="T47" fmla="*/ 2147483646 h 29"/>
                <a:gd name="T48" fmla="*/ 2147483646 w 22"/>
                <a:gd name="T49" fmla="*/ 2147483646 h 29"/>
                <a:gd name="T50" fmla="*/ 2147483646 w 22"/>
                <a:gd name="T51" fmla="*/ 2147483646 h 29"/>
                <a:gd name="T52" fmla="*/ 2147483646 w 22"/>
                <a:gd name="T53" fmla="*/ 2147483646 h 29"/>
                <a:gd name="T54" fmla="*/ 2147483646 w 22"/>
                <a:gd name="T55" fmla="*/ 2147483646 h 29"/>
                <a:gd name="T56" fmla="*/ 2147483646 w 22"/>
                <a:gd name="T57" fmla="*/ 2147483646 h 29"/>
                <a:gd name="T58" fmla="*/ 2147483646 w 22"/>
                <a:gd name="T59" fmla="*/ 2147483646 h 29"/>
                <a:gd name="T60" fmla="*/ 2147483646 w 22"/>
                <a:gd name="T61" fmla="*/ 2147483646 h 29"/>
                <a:gd name="T62" fmla="*/ 2147483646 w 22"/>
                <a:gd name="T63" fmla="*/ 2147483646 h 29"/>
                <a:gd name="T64" fmla="*/ 2147483646 w 22"/>
                <a:gd name="T65" fmla="*/ 2147483646 h 29"/>
                <a:gd name="T66" fmla="*/ 2147483646 w 22"/>
                <a:gd name="T67" fmla="*/ 2147483646 h 29"/>
                <a:gd name="T68" fmla="*/ 2147483646 w 22"/>
                <a:gd name="T69" fmla="*/ 2147483646 h 29"/>
                <a:gd name="T70" fmla="*/ 2147483646 w 22"/>
                <a:gd name="T71" fmla="*/ 2147483646 h 29"/>
                <a:gd name="T72" fmla="*/ 2147483646 w 22"/>
                <a:gd name="T73" fmla="*/ 2147483646 h 29"/>
                <a:gd name="T74" fmla="*/ 2147483646 w 22"/>
                <a:gd name="T75" fmla="*/ 2147483646 h 29"/>
                <a:gd name="T76" fmla="*/ 2147483646 w 22"/>
                <a:gd name="T77" fmla="*/ 2147483646 h 29"/>
                <a:gd name="T78" fmla="*/ 2147483646 w 22"/>
                <a:gd name="T79" fmla="*/ 2147483646 h 29"/>
                <a:gd name="T80" fmla="*/ 2147483646 w 22"/>
                <a:gd name="T81" fmla="*/ 2147483646 h 29"/>
                <a:gd name="T82" fmla="*/ 2147483646 w 22"/>
                <a:gd name="T83" fmla="*/ 2147483646 h 29"/>
                <a:gd name="T84" fmla="*/ 2147483646 w 22"/>
                <a:gd name="T85" fmla="*/ 2147483646 h 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2" h="29">
                  <a:moveTo>
                    <a:pt x="12" y="29"/>
                  </a:moveTo>
                  <a:cubicBezTo>
                    <a:pt x="11" y="29"/>
                    <a:pt x="11" y="29"/>
                    <a:pt x="10" y="29"/>
                  </a:cubicBezTo>
                  <a:cubicBezTo>
                    <a:pt x="10" y="29"/>
                    <a:pt x="9" y="29"/>
                    <a:pt x="9" y="29"/>
                  </a:cubicBezTo>
                  <a:cubicBezTo>
                    <a:pt x="8" y="29"/>
                    <a:pt x="7" y="29"/>
                    <a:pt x="6" y="29"/>
                  </a:cubicBezTo>
                  <a:cubicBezTo>
                    <a:pt x="5" y="29"/>
                    <a:pt x="4" y="29"/>
                    <a:pt x="4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7"/>
                    <a:pt x="4" y="25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0" y="17"/>
                    <a:pt x="0" y="1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2" y="12"/>
                    <a:pt x="2" y="12"/>
                  </a:cubicBezTo>
                  <a:cubicBezTo>
                    <a:pt x="2" y="11"/>
                    <a:pt x="2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2" y="8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6"/>
                    <a:pt x="3" y="5"/>
                    <a:pt x="4" y="5"/>
                  </a:cubicBezTo>
                  <a:cubicBezTo>
                    <a:pt x="5" y="5"/>
                    <a:pt x="5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2"/>
                    <a:pt x="7" y="2"/>
                    <a:pt x="6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1"/>
                    <a:pt x="9" y="1"/>
                    <a:pt x="10" y="2"/>
                  </a:cubicBezTo>
                  <a:cubicBezTo>
                    <a:pt x="10" y="2"/>
                    <a:pt x="10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4" y="4"/>
                    <a:pt x="14" y="3"/>
                  </a:cubicBezTo>
                  <a:cubicBezTo>
                    <a:pt x="15" y="3"/>
                    <a:pt x="15" y="3"/>
                    <a:pt x="15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3"/>
                    <a:pt x="18" y="3"/>
                    <a:pt x="18" y="4"/>
                  </a:cubicBezTo>
                  <a:cubicBezTo>
                    <a:pt x="19" y="5"/>
                    <a:pt x="20" y="8"/>
                    <a:pt x="20" y="9"/>
                  </a:cubicBezTo>
                  <a:cubicBezTo>
                    <a:pt x="20" y="9"/>
                    <a:pt x="20" y="10"/>
                    <a:pt x="20" y="11"/>
                  </a:cubicBezTo>
                  <a:cubicBezTo>
                    <a:pt x="20" y="12"/>
                    <a:pt x="21" y="12"/>
                    <a:pt x="21" y="13"/>
                  </a:cubicBezTo>
                  <a:cubicBezTo>
                    <a:pt x="21" y="13"/>
                    <a:pt x="21" y="14"/>
                    <a:pt x="21" y="14"/>
                  </a:cubicBezTo>
                  <a:cubicBezTo>
                    <a:pt x="21" y="15"/>
                    <a:pt x="22" y="16"/>
                    <a:pt x="21" y="17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8" y="18"/>
                    <a:pt x="16" y="19"/>
                    <a:pt x="15" y="19"/>
                  </a:cubicBezTo>
                  <a:cubicBezTo>
                    <a:pt x="16" y="21"/>
                    <a:pt x="17" y="22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8" y="25"/>
                    <a:pt x="18" y="25"/>
                  </a:cubicBezTo>
                  <a:cubicBezTo>
                    <a:pt x="18" y="25"/>
                    <a:pt x="17" y="26"/>
                    <a:pt x="17" y="26"/>
                  </a:cubicBezTo>
                  <a:cubicBezTo>
                    <a:pt x="17" y="26"/>
                    <a:pt x="17" y="27"/>
                    <a:pt x="17" y="27"/>
                  </a:cubicBezTo>
                  <a:cubicBezTo>
                    <a:pt x="17" y="27"/>
                    <a:pt x="17" y="28"/>
                    <a:pt x="17" y="29"/>
                  </a:cubicBezTo>
                  <a:cubicBezTo>
                    <a:pt x="16" y="29"/>
                    <a:pt x="16" y="29"/>
                    <a:pt x="15" y="29"/>
                  </a:cubicBezTo>
                  <a:cubicBezTo>
                    <a:pt x="15" y="29"/>
                    <a:pt x="15" y="28"/>
                    <a:pt x="15" y="28"/>
                  </a:cubicBezTo>
                  <a:cubicBezTo>
                    <a:pt x="15" y="29"/>
                    <a:pt x="14" y="29"/>
                    <a:pt x="14" y="29"/>
                  </a:cubicBezTo>
                  <a:cubicBezTo>
                    <a:pt x="14" y="29"/>
                    <a:pt x="13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lose/>
                  <a:moveTo>
                    <a:pt x="9" y="28"/>
                  </a:moveTo>
                  <a:cubicBezTo>
                    <a:pt x="10" y="28"/>
                    <a:pt x="10" y="28"/>
                    <a:pt x="11" y="28"/>
                  </a:cubicBezTo>
                  <a:cubicBezTo>
                    <a:pt x="11" y="28"/>
                    <a:pt x="12" y="28"/>
                    <a:pt x="12" y="28"/>
                  </a:cubicBezTo>
                  <a:cubicBezTo>
                    <a:pt x="13" y="28"/>
                    <a:pt x="13" y="28"/>
                    <a:pt x="14" y="28"/>
                  </a:cubicBezTo>
                  <a:cubicBezTo>
                    <a:pt x="14" y="28"/>
                    <a:pt x="14" y="27"/>
                    <a:pt x="14" y="27"/>
                  </a:cubicBezTo>
                  <a:cubicBezTo>
                    <a:pt x="15" y="27"/>
                    <a:pt x="15" y="27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7"/>
                    <a:pt x="16" y="27"/>
                  </a:cubicBezTo>
                  <a:cubicBezTo>
                    <a:pt x="16" y="27"/>
                    <a:pt x="16" y="26"/>
                    <a:pt x="16" y="26"/>
                  </a:cubicBezTo>
                  <a:cubicBezTo>
                    <a:pt x="16" y="25"/>
                    <a:pt x="17" y="25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6" y="18"/>
                    <a:pt x="17" y="17"/>
                    <a:pt x="18" y="17"/>
                  </a:cubicBezTo>
                  <a:cubicBezTo>
                    <a:pt x="18" y="16"/>
                    <a:pt x="19" y="16"/>
                    <a:pt x="19" y="16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5"/>
                    <a:pt x="20" y="14"/>
                  </a:cubicBezTo>
                  <a:cubicBezTo>
                    <a:pt x="20" y="14"/>
                    <a:pt x="20" y="14"/>
                    <a:pt x="19" y="13"/>
                  </a:cubicBezTo>
                  <a:cubicBezTo>
                    <a:pt x="19" y="13"/>
                    <a:pt x="19" y="12"/>
                    <a:pt x="19" y="11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8"/>
                    <a:pt x="18" y="6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9" y="3"/>
                    <a:pt x="9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3"/>
                    <a:pt x="7" y="3"/>
                  </a:cubicBezTo>
                  <a:cubicBezTo>
                    <a:pt x="7" y="4"/>
                    <a:pt x="7" y="4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7"/>
                    <a:pt x="7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3" y="9"/>
                    <a:pt x="3" y="10"/>
                    <a:pt x="3" y="10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3" y="13"/>
                    <a:pt x="2" y="13"/>
                    <a:pt x="1" y="13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2" y="22"/>
                    <a:pt x="2" y="22"/>
                    <a:pt x="5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4" y="26"/>
                    <a:pt x="4" y="27"/>
                  </a:cubicBezTo>
                  <a:cubicBezTo>
                    <a:pt x="5" y="28"/>
                    <a:pt x="5" y="28"/>
                    <a:pt x="6" y="28"/>
                  </a:cubicBezTo>
                  <a:cubicBezTo>
                    <a:pt x="7" y="28"/>
                    <a:pt x="8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4" name="Freeform 359"/>
            <p:cNvSpPr/>
            <p:nvPr/>
          </p:nvSpPr>
          <p:spPr bwMode="auto">
            <a:xfrm>
              <a:off x="1975056" y="2046691"/>
              <a:ext cx="169964" cy="173154"/>
            </a:xfrm>
            <a:custGeom>
              <a:avLst/>
              <a:gdLst>
                <a:gd name="T0" fmla="*/ 2147483646 w 23"/>
                <a:gd name="T1" fmla="*/ 2147483646 h 23"/>
                <a:gd name="T2" fmla="*/ 2147483646 w 23"/>
                <a:gd name="T3" fmla="*/ 2147483646 h 23"/>
                <a:gd name="T4" fmla="*/ 2147483646 w 23"/>
                <a:gd name="T5" fmla="*/ 2147483646 h 23"/>
                <a:gd name="T6" fmla="*/ 2147483646 w 23"/>
                <a:gd name="T7" fmla="*/ 2147483646 h 23"/>
                <a:gd name="T8" fmla="*/ 2147483646 w 23"/>
                <a:gd name="T9" fmla="*/ 2147483646 h 23"/>
                <a:gd name="T10" fmla="*/ 2147483646 w 23"/>
                <a:gd name="T11" fmla="*/ 2147483646 h 23"/>
                <a:gd name="T12" fmla="*/ 2147483646 w 23"/>
                <a:gd name="T13" fmla="*/ 2147483646 h 23"/>
                <a:gd name="T14" fmla="*/ 2147483646 w 23"/>
                <a:gd name="T15" fmla="*/ 2147483646 h 23"/>
                <a:gd name="T16" fmla="*/ 2147483646 w 23"/>
                <a:gd name="T17" fmla="*/ 2147483646 h 23"/>
                <a:gd name="T18" fmla="*/ 2147483646 w 23"/>
                <a:gd name="T19" fmla="*/ 2147483646 h 23"/>
                <a:gd name="T20" fmla="*/ 2147483646 w 23"/>
                <a:gd name="T21" fmla="*/ 2147483646 h 23"/>
                <a:gd name="T22" fmla="*/ 2147483646 w 23"/>
                <a:gd name="T23" fmla="*/ 2147483646 h 23"/>
                <a:gd name="T24" fmla="*/ 2147483646 w 23"/>
                <a:gd name="T25" fmla="*/ 2147483646 h 23"/>
                <a:gd name="T26" fmla="*/ 0 w 23"/>
                <a:gd name="T27" fmla="*/ 2147483646 h 23"/>
                <a:gd name="T28" fmla="*/ 0 w 23"/>
                <a:gd name="T29" fmla="*/ 2147483646 h 23"/>
                <a:gd name="T30" fmla="*/ 2147483646 w 23"/>
                <a:gd name="T31" fmla="*/ 2147483646 h 23"/>
                <a:gd name="T32" fmla="*/ 2147483646 w 23"/>
                <a:gd name="T33" fmla="*/ 2147483646 h 23"/>
                <a:gd name="T34" fmla="*/ 0 w 23"/>
                <a:gd name="T35" fmla="*/ 2147483646 h 23"/>
                <a:gd name="T36" fmla="*/ 2147483646 w 23"/>
                <a:gd name="T37" fmla="*/ 2147483646 h 23"/>
                <a:gd name="T38" fmla="*/ 2147483646 w 23"/>
                <a:gd name="T39" fmla="*/ 2147483646 h 23"/>
                <a:gd name="T40" fmla="*/ 2147483646 w 23"/>
                <a:gd name="T41" fmla="*/ 2147483646 h 23"/>
                <a:gd name="T42" fmla="*/ 2147483646 w 23"/>
                <a:gd name="T43" fmla="*/ 2147483646 h 23"/>
                <a:gd name="T44" fmla="*/ 2147483646 w 23"/>
                <a:gd name="T45" fmla="*/ 2147483646 h 2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3" h="23">
                  <a:moveTo>
                    <a:pt x="22" y="5"/>
                  </a:moveTo>
                  <a:cubicBezTo>
                    <a:pt x="22" y="6"/>
                    <a:pt x="23" y="8"/>
                    <a:pt x="23" y="10"/>
                  </a:cubicBezTo>
                  <a:cubicBezTo>
                    <a:pt x="22" y="10"/>
                    <a:pt x="21" y="11"/>
                    <a:pt x="21" y="11"/>
                  </a:cubicBezTo>
                  <a:cubicBezTo>
                    <a:pt x="21" y="12"/>
                    <a:pt x="22" y="13"/>
                    <a:pt x="22" y="13"/>
                  </a:cubicBezTo>
                  <a:cubicBezTo>
                    <a:pt x="22" y="15"/>
                    <a:pt x="23" y="16"/>
                    <a:pt x="23" y="17"/>
                  </a:cubicBezTo>
                  <a:cubicBezTo>
                    <a:pt x="23" y="18"/>
                    <a:pt x="20" y="21"/>
                    <a:pt x="20" y="22"/>
                  </a:cubicBezTo>
                  <a:cubicBezTo>
                    <a:pt x="19" y="22"/>
                    <a:pt x="20" y="23"/>
                    <a:pt x="19" y="23"/>
                  </a:cubicBezTo>
                  <a:cubicBezTo>
                    <a:pt x="19" y="23"/>
                    <a:pt x="18" y="22"/>
                    <a:pt x="17" y="22"/>
                  </a:cubicBezTo>
                  <a:cubicBezTo>
                    <a:pt x="16" y="21"/>
                    <a:pt x="14" y="23"/>
                    <a:pt x="13" y="22"/>
                  </a:cubicBezTo>
                  <a:cubicBezTo>
                    <a:pt x="12" y="21"/>
                    <a:pt x="10" y="21"/>
                    <a:pt x="9" y="20"/>
                  </a:cubicBezTo>
                  <a:cubicBezTo>
                    <a:pt x="8" y="20"/>
                    <a:pt x="7" y="17"/>
                    <a:pt x="6" y="19"/>
                  </a:cubicBezTo>
                  <a:cubicBezTo>
                    <a:pt x="5" y="18"/>
                    <a:pt x="3" y="15"/>
                    <a:pt x="1" y="17"/>
                  </a:cubicBezTo>
                  <a:cubicBezTo>
                    <a:pt x="2" y="15"/>
                    <a:pt x="1" y="12"/>
                    <a:pt x="1" y="11"/>
                  </a:cubicBezTo>
                  <a:cubicBezTo>
                    <a:pt x="1" y="10"/>
                    <a:pt x="0" y="9"/>
                    <a:pt x="0" y="9"/>
                  </a:cubicBezTo>
                  <a:cubicBezTo>
                    <a:pt x="0" y="8"/>
                    <a:pt x="1" y="7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4"/>
                    <a:pt x="10" y="0"/>
                    <a:pt x="11" y="2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4"/>
                    <a:pt x="11" y="4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8" y="4"/>
                    <a:pt x="21" y="2"/>
                    <a:pt x="22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5" name="Freeform 360"/>
            <p:cNvSpPr>
              <a:spLocks noEditPoints="1"/>
            </p:cNvSpPr>
            <p:nvPr/>
          </p:nvSpPr>
          <p:spPr bwMode="auto">
            <a:xfrm>
              <a:off x="1968761" y="2056135"/>
              <a:ext cx="185702" cy="163709"/>
            </a:xfrm>
            <a:custGeom>
              <a:avLst/>
              <a:gdLst>
                <a:gd name="T0" fmla="*/ 2147483646 w 25"/>
                <a:gd name="T1" fmla="*/ 2147483646 h 22"/>
                <a:gd name="T2" fmla="*/ 2147483646 w 25"/>
                <a:gd name="T3" fmla="*/ 2147483646 h 22"/>
                <a:gd name="T4" fmla="*/ 2147483646 w 25"/>
                <a:gd name="T5" fmla="*/ 2147483646 h 22"/>
                <a:gd name="T6" fmla="*/ 2147483646 w 25"/>
                <a:gd name="T7" fmla="*/ 2147483646 h 22"/>
                <a:gd name="T8" fmla="*/ 2147483646 w 25"/>
                <a:gd name="T9" fmla="*/ 2147483646 h 22"/>
                <a:gd name="T10" fmla="*/ 2147483646 w 25"/>
                <a:gd name="T11" fmla="*/ 2147483646 h 22"/>
                <a:gd name="T12" fmla="*/ 2147483646 w 25"/>
                <a:gd name="T13" fmla="*/ 2147483646 h 22"/>
                <a:gd name="T14" fmla="*/ 2147483646 w 25"/>
                <a:gd name="T15" fmla="*/ 2147483646 h 22"/>
                <a:gd name="T16" fmla="*/ 2147483646 w 25"/>
                <a:gd name="T17" fmla="*/ 2147483646 h 22"/>
                <a:gd name="T18" fmla="*/ 2147483646 w 25"/>
                <a:gd name="T19" fmla="*/ 2147483646 h 22"/>
                <a:gd name="T20" fmla="*/ 2147483646 w 25"/>
                <a:gd name="T21" fmla="*/ 2147483646 h 22"/>
                <a:gd name="T22" fmla="*/ 0 w 25"/>
                <a:gd name="T23" fmla="*/ 2147483646 h 22"/>
                <a:gd name="T24" fmla="*/ 2147483646 w 25"/>
                <a:gd name="T25" fmla="*/ 2147483646 h 22"/>
                <a:gd name="T26" fmla="*/ 2147483646 w 25"/>
                <a:gd name="T27" fmla="*/ 0 h 22"/>
                <a:gd name="T28" fmla="*/ 2147483646 w 25"/>
                <a:gd name="T29" fmla="*/ 2147483646 h 22"/>
                <a:gd name="T30" fmla="*/ 2147483646 w 25"/>
                <a:gd name="T31" fmla="*/ 2147483646 h 22"/>
                <a:gd name="T32" fmla="*/ 2147483646 w 25"/>
                <a:gd name="T33" fmla="*/ 2147483646 h 22"/>
                <a:gd name="T34" fmla="*/ 2147483646 w 25"/>
                <a:gd name="T35" fmla="*/ 2147483646 h 22"/>
                <a:gd name="T36" fmla="*/ 2147483646 w 25"/>
                <a:gd name="T37" fmla="*/ 2147483646 h 22"/>
                <a:gd name="T38" fmla="*/ 2147483646 w 25"/>
                <a:gd name="T39" fmla="*/ 2147483646 h 22"/>
                <a:gd name="T40" fmla="*/ 2147483646 w 25"/>
                <a:gd name="T41" fmla="*/ 2147483646 h 22"/>
                <a:gd name="T42" fmla="*/ 2147483646 w 25"/>
                <a:gd name="T43" fmla="*/ 2147483646 h 22"/>
                <a:gd name="T44" fmla="*/ 2147483646 w 25"/>
                <a:gd name="T45" fmla="*/ 2147483646 h 22"/>
                <a:gd name="T46" fmla="*/ 2147483646 w 25"/>
                <a:gd name="T47" fmla="*/ 2147483646 h 22"/>
                <a:gd name="T48" fmla="*/ 2147483646 w 25"/>
                <a:gd name="T49" fmla="*/ 2147483646 h 22"/>
                <a:gd name="T50" fmla="*/ 2147483646 w 25"/>
                <a:gd name="T51" fmla="*/ 2147483646 h 22"/>
                <a:gd name="T52" fmla="*/ 2147483646 w 25"/>
                <a:gd name="T53" fmla="*/ 2147483646 h 22"/>
                <a:gd name="T54" fmla="*/ 2147483646 w 25"/>
                <a:gd name="T55" fmla="*/ 2147483646 h 22"/>
                <a:gd name="T56" fmla="*/ 2147483646 w 25"/>
                <a:gd name="T57" fmla="*/ 2147483646 h 22"/>
                <a:gd name="T58" fmla="*/ 2147483646 w 25"/>
                <a:gd name="T59" fmla="*/ 2147483646 h 22"/>
                <a:gd name="T60" fmla="*/ 2147483646 w 25"/>
                <a:gd name="T61" fmla="*/ 2147483646 h 22"/>
                <a:gd name="T62" fmla="*/ 2147483646 w 25"/>
                <a:gd name="T63" fmla="*/ 2147483646 h 22"/>
                <a:gd name="T64" fmla="*/ 2147483646 w 25"/>
                <a:gd name="T65" fmla="*/ 2147483646 h 22"/>
                <a:gd name="T66" fmla="*/ 2147483646 w 25"/>
                <a:gd name="T67" fmla="*/ 2147483646 h 22"/>
                <a:gd name="T68" fmla="*/ 2147483646 w 25"/>
                <a:gd name="T69" fmla="*/ 2147483646 h 22"/>
                <a:gd name="T70" fmla="*/ 2147483646 w 25"/>
                <a:gd name="T71" fmla="*/ 2147483646 h 22"/>
                <a:gd name="T72" fmla="*/ 2147483646 w 25"/>
                <a:gd name="T73" fmla="*/ 2147483646 h 22"/>
                <a:gd name="T74" fmla="*/ 2147483646 w 25"/>
                <a:gd name="T75" fmla="*/ 2147483646 h 22"/>
                <a:gd name="T76" fmla="*/ 2147483646 w 25"/>
                <a:gd name="T77" fmla="*/ 2147483646 h 22"/>
                <a:gd name="T78" fmla="*/ 2147483646 w 25"/>
                <a:gd name="T79" fmla="*/ 2147483646 h 22"/>
                <a:gd name="T80" fmla="*/ 2147483646 w 25"/>
                <a:gd name="T81" fmla="*/ 2147483646 h 22"/>
                <a:gd name="T82" fmla="*/ 2147483646 w 25"/>
                <a:gd name="T83" fmla="*/ 2147483646 h 22"/>
                <a:gd name="T84" fmla="*/ 2147483646 w 25"/>
                <a:gd name="T85" fmla="*/ 2147483646 h 22"/>
                <a:gd name="T86" fmla="*/ 2147483646 w 25"/>
                <a:gd name="T87" fmla="*/ 2147483646 h 22"/>
                <a:gd name="T88" fmla="*/ 2147483646 w 25"/>
                <a:gd name="T89" fmla="*/ 2147483646 h 22"/>
                <a:gd name="T90" fmla="*/ 2147483646 w 25"/>
                <a:gd name="T91" fmla="*/ 2147483646 h 22"/>
                <a:gd name="T92" fmla="*/ 2147483646 w 25"/>
                <a:gd name="T93" fmla="*/ 2147483646 h 22"/>
                <a:gd name="T94" fmla="*/ 2147483646 w 25"/>
                <a:gd name="T95" fmla="*/ 2147483646 h 2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5" h="22">
                  <a:moveTo>
                    <a:pt x="20" y="22"/>
                  </a:moveTo>
                  <a:cubicBezTo>
                    <a:pt x="20" y="22"/>
                    <a:pt x="19" y="22"/>
                    <a:pt x="18" y="22"/>
                  </a:cubicBezTo>
                  <a:cubicBezTo>
                    <a:pt x="18" y="22"/>
                    <a:pt x="18" y="21"/>
                    <a:pt x="18" y="21"/>
                  </a:cubicBezTo>
                  <a:cubicBezTo>
                    <a:pt x="18" y="21"/>
                    <a:pt x="17" y="21"/>
                    <a:pt x="16" y="21"/>
                  </a:cubicBezTo>
                  <a:cubicBezTo>
                    <a:pt x="15" y="22"/>
                    <a:pt x="14" y="22"/>
                    <a:pt x="13" y="21"/>
                  </a:cubicBezTo>
                  <a:cubicBezTo>
                    <a:pt x="13" y="21"/>
                    <a:pt x="13" y="21"/>
                    <a:pt x="12" y="21"/>
                  </a:cubicBezTo>
                  <a:cubicBezTo>
                    <a:pt x="12" y="21"/>
                    <a:pt x="11" y="20"/>
                    <a:pt x="10" y="20"/>
                  </a:cubicBezTo>
                  <a:cubicBezTo>
                    <a:pt x="10" y="20"/>
                    <a:pt x="9" y="19"/>
                    <a:pt x="9" y="19"/>
                  </a:cubicBezTo>
                  <a:cubicBezTo>
                    <a:pt x="9" y="19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6" y="18"/>
                    <a:pt x="6" y="18"/>
                  </a:cubicBezTo>
                  <a:cubicBezTo>
                    <a:pt x="5" y="17"/>
                    <a:pt x="4" y="15"/>
                    <a:pt x="3" y="16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3"/>
                    <a:pt x="2" y="12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7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8" y="0"/>
                    <a:pt x="10" y="0"/>
                  </a:cubicBezTo>
                  <a:cubicBezTo>
                    <a:pt x="12" y="0"/>
                    <a:pt x="12" y="1"/>
                    <a:pt x="12" y="1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1"/>
                    <a:pt x="15" y="1"/>
                    <a:pt x="16" y="2"/>
                  </a:cubicBezTo>
                  <a:cubicBezTo>
                    <a:pt x="16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"/>
                    <a:pt x="18" y="2"/>
                    <a:pt x="19" y="2"/>
                  </a:cubicBezTo>
                  <a:cubicBezTo>
                    <a:pt x="19" y="2"/>
                    <a:pt x="20" y="2"/>
                    <a:pt x="20" y="2"/>
                  </a:cubicBezTo>
                  <a:cubicBezTo>
                    <a:pt x="21" y="2"/>
                    <a:pt x="23" y="2"/>
                    <a:pt x="24" y="4"/>
                  </a:cubicBezTo>
                  <a:cubicBezTo>
                    <a:pt x="24" y="4"/>
                    <a:pt x="24" y="5"/>
                    <a:pt x="24" y="5"/>
                  </a:cubicBezTo>
                  <a:cubicBezTo>
                    <a:pt x="24" y="6"/>
                    <a:pt x="24" y="8"/>
                    <a:pt x="24" y="9"/>
                  </a:cubicBezTo>
                  <a:cubicBezTo>
                    <a:pt x="24" y="9"/>
                    <a:pt x="24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1"/>
                    <a:pt x="23" y="11"/>
                  </a:cubicBezTo>
                  <a:cubicBezTo>
                    <a:pt x="23" y="11"/>
                    <a:pt x="23" y="12"/>
                    <a:pt x="23" y="13"/>
                  </a:cubicBezTo>
                  <a:cubicBezTo>
                    <a:pt x="23" y="13"/>
                    <a:pt x="24" y="14"/>
                    <a:pt x="24" y="14"/>
                  </a:cubicBezTo>
                  <a:cubicBezTo>
                    <a:pt x="24" y="15"/>
                    <a:pt x="25" y="16"/>
                    <a:pt x="25" y="17"/>
                  </a:cubicBezTo>
                  <a:cubicBezTo>
                    <a:pt x="24" y="17"/>
                    <a:pt x="21" y="21"/>
                    <a:pt x="21" y="21"/>
                  </a:cubicBezTo>
                  <a:cubicBezTo>
                    <a:pt x="21" y="21"/>
                    <a:pt x="22" y="22"/>
                    <a:pt x="21" y="22"/>
                  </a:cubicBezTo>
                  <a:cubicBezTo>
                    <a:pt x="21" y="22"/>
                    <a:pt x="21" y="22"/>
                    <a:pt x="20" y="22"/>
                  </a:cubicBezTo>
                  <a:close/>
                  <a:moveTo>
                    <a:pt x="17" y="20"/>
                  </a:moveTo>
                  <a:cubicBezTo>
                    <a:pt x="18" y="20"/>
                    <a:pt x="18" y="20"/>
                    <a:pt x="19" y="20"/>
                  </a:cubicBezTo>
                  <a:cubicBezTo>
                    <a:pt x="19" y="20"/>
                    <a:pt x="19" y="20"/>
                    <a:pt x="19" y="21"/>
                  </a:cubicBezTo>
                  <a:cubicBezTo>
                    <a:pt x="19" y="21"/>
                    <a:pt x="20" y="21"/>
                    <a:pt x="20" y="21"/>
                  </a:cubicBezTo>
                  <a:cubicBezTo>
                    <a:pt x="20" y="21"/>
                    <a:pt x="20" y="21"/>
                    <a:pt x="21" y="20"/>
                  </a:cubicBezTo>
                  <a:cubicBezTo>
                    <a:pt x="21" y="20"/>
                    <a:pt x="23" y="17"/>
                    <a:pt x="23" y="16"/>
                  </a:cubicBezTo>
                  <a:cubicBezTo>
                    <a:pt x="24" y="16"/>
                    <a:pt x="23" y="15"/>
                    <a:pt x="23" y="15"/>
                  </a:cubicBezTo>
                  <a:cubicBezTo>
                    <a:pt x="22" y="14"/>
                    <a:pt x="22" y="13"/>
                    <a:pt x="22" y="12"/>
                  </a:cubicBezTo>
                  <a:cubicBezTo>
                    <a:pt x="22" y="12"/>
                    <a:pt x="22" y="12"/>
                    <a:pt x="22" y="11"/>
                  </a:cubicBezTo>
                  <a:cubicBezTo>
                    <a:pt x="22" y="11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2" y="5"/>
                    <a:pt x="22" y="4"/>
                  </a:cubicBezTo>
                  <a:cubicBezTo>
                    <a:pt x="22" y="3"/>
                    <a:pt x="22" y="3"/>
                    <a:pt x="20" y="3"/>
                  </a:cubicBezTo>
                  <a:cubicBezTo>
                    <a:pt x="20" y="3"/>
                    <a:pt x="19" y="3"/>
                    <a:pt x="19" y="3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4" y="2"/>
                    <a:pt x="14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3"/>
                    <a:pt x="11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1"/>
                    <a:pt x="5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3" y="11"/>
                    <a:pt x="3" y="11"/>
                  </a:cubicBezTo>
                  <a:cubicBezTo>
                    <a:pt x="3" y="12"/>
                    <a:pt x="3" y="14"/>
                    <a:pt x="3" y="15"/>
                  </a:cubicBezTo>
                  <a:cubicBezTo>
                    <a:pt x="5" y="15"/>
                    <a:pt x="6" y="16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8" y="17"/>
                    <a:pt x="8" y="17"/>
                  </a:cubicBezTo>
                  <a:cubicBezTo>
                    <a:pt x="9" y="17"/>
                    <a:pt x="10" y="17"/>
                    <a:pt x="10" y="18"/>
                  </a:cubicBezTo>
                  <a:cubicBezTo>
                    <a:pt x="10" y="18"/>
                    <a:pt x="11" y="19"/>
                    <a:pt x="11" y="19"/>
                  </a:cubicBezTo>
                  <a:cubicBezTo>
                    <a:pt x="11" y="19"/>
                    <a:pt x="12" y="19"/>
                    <a:pt x="13" y="20"/>
                  </a:cubicBezTo>
                  <a:cubicBezTo>
                    <a:pt x="13" y="20"/>
                    <a:pt x="14" y="20"/>
                    <a:pt x="14" y="20"/>
                  </a:cubicBezTo>
                  <a:cubicBezTo>
                    <a:pt x="14" y="21"/>
                    <a:pt x="15" y="21"/>
                    <a:pt x="15" y="21"/>
                  </a:cubicBezTo>
                  <a:cubicBezTo>
                    <a:pt x="15" y="21"/>
                    <a:pt x="16" y="21"/>
                    <a:pt x="16" y="20"/>
                  </a:cubicBezTo>
                  <a:cubicBezTo>
                    <a:pt x="16" y="20"/>
                    <a:pt x="17" y="20"/>
                    <a:pt x="17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6" name="Freeform 361"/>
            <p:cNvSpPr/>
            <p:nvPr/>
          </p:nvSpPr>
          <p:spPr bwMode="auto">
            <a:xfrm>
              <a:off x="2078923" y="2396146"/>
              <a:ext cx="113310" cy="91299"/>
            </a:xfrm>
            <a:custGeom>
              <a:avLst/>
              <a:gdLst>
                <a:gd name="T0" fmla="*/ 2147483646 w 15"/>
                <a:gd name="T1" fmla="*/ 2147483646 h 12"/>
                <a:gd name="T2" fmla="*/ 2147483646 w 15"/>
                <a:gd name="T3" fmla="*/ 2147483646 h 12"/>
                <a:gd name="T4" fmla="*/ 2147483646 w 15"/>
                <a:gd name="T5" fmla="*/ 2147483646 h 12"/>
                <a:gd name="T6" fmla="*/ 2147483646 w 15"/>
                <a:gd name="T7" fmla="*/ 2147483646 h 12"/>
                <a:gd name="T8" fmla="*/ 2147483646 w 15"/>
                <a:gd name="T9" fmla="*/ 2147483646 h 12"/>
                <a:gd name="T10" fmla="*/ 2147483646 w 15"/>
                <a:gd name="T11" fmla="*/ 2147483646 h 12"/>
                <a:gd name="T12" fmla="*/ 2147483646 w 15"/>
                <a:gd name="T13" fmla="*/ 2147483646 h 12"/>
                <a:gd name="T14" fmla="*/ 2147483646 w 15"/>
                <a:gd name="T15" fmla="*/ 2147483646 h 12"/>
                <a:gd name="T16" fmla="*/ 2147483646 w 15"/>
                <a:gd name="T17" fmla="*/ 2147483646 h 12"/>
                <a:gd name="T18" fmla="*/ 2147483646 w 15"/>
                <a:gd name="T19" fmla="*/ 2147483646 h 12"/>
                <a:gd name="T20" fmla="*/ 2147483646 w 15"/>
                <a:gd name="T21" fmla="*/ 2147483646 h 12"/>
                <a:gd name="T22" fmla="*/ 2147483646 w 15"/>
                <a:gd name="T23" fmla="*/ 2147483646 h 12"/>
                <a:gd name="T24" fmla="*/ 2147483646 w 15"/>
                <a:gd name="T25" fmla="*/ 2147483646 h 12"/>
                <a:gd name="T26" fmla="*/ 2147483646 w 15"/>
                <a:gd name="T27" fmla="*/ 2147483646 h 12"/>
                <a:gd name="T28" fmla="*/ 2147483646 w 15"/>
                <a:gd name="T29" fmla="*/ 2147483646 h 12"/>
                <a:gd name="T30" fmla="*/ 2147483646 w 15"/>
                <a:gd name="T31" fmla="*/ 2147483646 h 12"/>
                <a:gd name="T32" fmla="*/ 2147483646 w 15"/>
                <a:gd name="T33" fmla="*/ 2147483646 h 12"/>
                <a:gd name="T34" fmla="*/ 2147483646 w 15"/>
                <a:gd name="T35" fmla="*/ 0 h 12"/>
                <a:gd name="T36" fmla="*/ 2147483646 w 15"/>
                <a:gd name="T37" fmla="*/ 2147483646 h 12"/>
                <a:gd name="T38" fmla="*/ 2147483646 w 15"/>
                <a:gd name="T39" fmla="*/ 2147483646 h 12"/>
                <a:gd name="T40" fmla="*/ 2147483646 w 15"/>
                <a:gd name="T41" fmla="*/ 2147483646 h 12"/>
                <a:gd name="T42" fmla="*/ 2147483646 w 15"/>
                <a:gd name="T43" fmla="*/ 2147483646 h 12"/>
                <a:gd name="T44" fmla="*/ 2147483646 w 15"/>
                <a:gd name="T45" fmla="*/ 2147483646 h 1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5" h="12">
                  <a:moveTo>
                    <a:pt x="1" y="8"/>
                  </a:moveTo>
                  <a:cubicBezTo>
                    <a:pt x="2" y="8"/>
                    <a:pt x="2" y="8"/>
                    <a:pt x="2" y="9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2" y="12"/>
                    <a:pt x="5" y="9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9" y="12"/>
                    <a:pt x="9" y="12"/>
                  </a:cubicBezTo>
                  <a:cubicBezTo>
                    <a:pt x="10" y="10"/>
                    <a:pt x="7" y="10"/>
                    <a:pt x="6" y="9"/>
                  </a:cubicBezTo>
                  <a:cubicBezTo>
                    <a:pt x="7" y="8"/>
                    <a:pt x="7" y="9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5" y="4"/>
                    <a:pt x="7" y="4"/>
                  </a:cubicBezTo>
                  <a:cubicBezTo>
                    <a:pt x="6" y="5"/>
                    <a:pt x="7" y="5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9" y="5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5"/>
                    <a:pt x="9" y="5"/>
                    <a:pt x="10" y="5"/>
                  </a:cubicBezTo>
                  <a:cubicBezTo>
                    <a:pt x="9" y="5"/>
                    <a:pt x="9" y="4"/>
                    <a:pt x="8" y="4"/>
                  </a:cubicBezTo>
                  <a:cubicBezTo>
                    <a:pt x="10" y="2"/>
                    <a:pt x="11" y="2"/>
                    <a:pt x="13" y="3"/>
                  </a:cubicBezTo>
                  <a:cubicBezTo>
                    <a:pt x="14" y="3"/>
                    <a:pt x="15" y="1"/>
                    <a:pt x="14" y="0"/>
                  </a:cubicBezTo>
                  <a:cubicBezTo>
                    <a:pt x="14" y="2"/>
                    <a:pt x="12" y="2"/>
                    <a:pt x="11" y="1"/>
                  </a:cubicBezTo>
                  <a:cubicBezTo>
                    <a:pt x="10" y="0"/>
                    <a:pt x="8" y="1"/>
                    <a:pt x="6" y="1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2" y="3"/>
                    <a:pt x="3" y="3"/>
                    <a:pt x="2" y="4"/>
                  </a:cubicBezTo>
                  <a:cubicBezTo>
                    <a:pt x="1" y="6"/>
                    <a:pt x="0" y="6"/>
                    <a:pt x="1" y="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7" name="Freeform 362"/>
            <p:cNvSpPr>
              <a:spLocks noEditPoints="1"/>
            </p:cNvSpPr>
            <p:nvPr/>
          </p:nvSpPr>
          <p:spPr bwMode="auto">
            <a:xfrm>
              <a:off x="2072628" y="2389850"/>
              <a:ext cx="119605" cy="110189"/>
            </a:xfrm>
            <a:custGeom>
              <a:avLst/>
              <a:gdLst>
                <a:gd name="T0" fmla="*/ 2147483646 w 16"/>
                <a:gd name="T1" fmla="*/ 2147483646 h 15"/>
                <a:gd name="T2" fmla="*/ 2147483646 w 16"/>
                <a:gd name="T3" fmla="*/ 2147483646 h 15"/>
                <a:gd name="T4" fmla="*/ 2147483646 w 16"/>
                <a:gd name="T5" fmla="*/ 2147483646 h 15"/>
                <a:gd name="T6" fmla="*/ 2147483646 w 16"/>
                <a:gd name="T7" fmla="*/ 2147483646 h 15"/>
                <a:gd name="T8" fmla="*/ 2147483646 w 16"/>
                <a:gd name="T9" fmla="*/ 2147483646 h 15"/>
                <a:gd name="T10" fmla="*/ 2147483646 w 16"/>
                <a:gd name="T11" fmla="*/ 2147483646 h 15"/>
                <a:gd name="T12" fmla="*/ 2147483646 w 16"/>
                <a:gd name="T13" fmla="*/ 2147483646 h 15"/>
                <a:gd name="T14" fmla="*/ 2147483646 w 16"/>
                <a:gd name="T15" fmla="*/ 2147483646 h 15"/>
                <a:gd name="T16" fmla="*/ 2147483646 w 16"/>
                <a:gd name="T17" fmla="*/ 2147483646 h 15"/>
                <a:gd name="T18" fmla="*/ 2147483646 w 16"/>
                <a:gd name="T19" fmla="*/ 0 h 15"/>
                <a:gd name="T20" fmla="*/ 2147483646 w 16"/>
                <a:gd name="T21" fmla="*/ 2147483646 h 15"/>
                <a:gd name="T22" fmla="*/ 2147483646 w 16"/>
                <a:gd name="T23" fmla="*/ 2147483646 h 15"/>
                <a:gd name="T24" fmla="*/ 2147483646 w 16"/>
                <a:gd name="T25" fmla="*/ 2147483646 h 15"/>
                <a:gd name="T26" fmla="*/ 2147483646 w 16"/>
                <a:gd name="T27" fmla="*/ 2147483646 h 15"/>
                <a:gd name="T28" fmla="*/ 2147483646 w 16"/>
                <a:gd name="T29" fmla="*/ 2147483646 h 15"/>
                <a:gd name="T30" fmla="*/ 2147483646 w 16"/>
                <a:gd name="T31" fmla="*/ 2147483646 h 15"/>
                <a:gd name="T32" fmla="*/ 2147483646 w 16"/>
                <a:gd name="T33" fmla="*/ 2147483646 h 15"/>
                <a:gd name="T34" fmla="*/ 2147483646 w 16"/>
                <a:gd name="T35" fmla="*/ 2147483646 h 15"/>
                <a:gd name="T36" fmla="*/ 2147483646 w 16"/>
                <a:gd name="T37" fmla="*/ 2147483646 h 15"/>
                <a:gd name="T38" fmla="*/ 2147483646 w 16"/>
                <a:gd name="T39" fmla="*/ 2147483646 h 15"/>
                <a:gd name="T40" fmla="*/ 2147483646 w 16"/>
                <a:gd name="T41" fmla="*/ 2147483646 h 15"/>
                <a:gd name="T42" fmla="*/ 2147483646 w 16"/>
                <a:gd name="T43" fmla="*/ 2147483646 h 15"/>
                <a:gd name="T44" fmla="*/ 2147483646 w 16"/>
                <a:gd name="T45" fmla="*/ 2147483646 h 15"/>
                <a:gd name="T46" fmla="*/ 2147483646 w 16"/>
                <a:gd name="T47" fmla="*/ 2147483646 h 15"/>
                <a:gd name="T48" fmla="*/ 2147483646 w 16"/>
                <a:gd name="T49" fmla="*/ 2147483646 h 15"/>
                <a:gd name="T50" fmla="*/ 2147483646 w 16"/>
                <a:gd name="T51" fmla="*/ 2147483646 h 15"/>
                <a:gd name="T52" fmla="*/ 2147483646 w 16"/>
                <a:gd name="T53" fmla="*/ 2147483646 h 15"/>
                <a:gd name="T54" fmla="*/ 2147483646 w 16"/>
                <a:gd name="T55" fmla="*/ 2147483646 h 15"/>
                <a:gd name="T56" fmla="*/ 2147483646 w 16"/>
                <a:gd name="T57" fmla="*/ 2147483646 h 15"/>
                <a:gd name="T58" fmla="*/ 2147483646 w 16"/>
                <a:gd name="T59" fmla="*/ 2147483646 h 15"/>
                <a:gd name="T60" fmla="*/ 2147483646 w 16"/>
                <a:gd name="T61" fmla="*/ 2147483646 h 15"/>
                <a:gd name="T62" fmla="*/ 2147483646 w 16"/>
                <a:gd name="T63" fmla="*/ 2147483646 h 15"/>
                <a:gd name="T64" fmla="*/ 2147483646 w 16"/>
                <a:gd name="T65" fmla="*/ 2147483646 h 15"/>
                <a:gd name="T66" fmla="*/ 2147483646 w 16"/>
                <a:gd name="T67" fmla="*/ 2147483646 h 15"/>
                <a:gd name="T68" fmla="*/ 2147483646 w 16"/>
                <a:gd name="T69" fmla="*/ 2147483646 h 15"/>
                <a:gd name="T70" fmla="*/ 2147483646 w 16"/>
                <a:gd name="T71" fmla="*/ 2147483646 h 15"/>
                <a:gd name="T72" fmla="*/ 2147483646 w 16"/>
                <a:gd name="T73" fmla="*/ 2147483646 h 15"/>
                <a:gd name="T74" fmla="*/ 2147483646 w 16"/>
                <a:gd name="T75" fmla="*/ 2147483646 h 1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" h="15">
                  <a:moveTo>
                    <a:pt x="10" y="15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9" y="13"/>
                    <a:pt x="8" y="13"/>
                    <a:pt x="8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6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2" y="12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8"/>
                    <a:pt x="1" y="6"/>
                    <a:pt x="2" y="5"/>
                  </a:cubicBezTo>
                  <a:cubicBezTo>
                    <a:pt x="2" y="5"/>
                    <a:pt x="3" y="5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9" y="1"/>
                    <a:pt x="11" y="1"/>
                    <a:pt x="12" y="2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16" y="2"/>
                    <a:pt x="16" y="3"/>
                  </a:cubicBezTo>
                  <a:cubicBezTo>
                    <a:pt x="16" y="4"/>
                    <a:pt x="15" y="5"/>
                    <a:pt x="14" y="5"/>
                  </a:cubicBezTo>
                  <a:cubicBezTo>
                    <a:pt x="12" y="4"/>
                    <a:pt x="11" y="4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6"/>
                    <a:pt x="8" y="6"/>
                  </a:cubicBezTo>
                  <a:cubicBezTo>
                    <a:pt x="8" y="7"/>
                    <a:pt x="8" y="8"/>
                    <a:pt x="9" y="8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1"/>
                    <a:pt x="11" y="12"/>
                    <a:pt x="11" y="14"/>
                  </a:cubicBezTo>
                  <a:lnTo>
                    <a:pt x="10" y="15"/>
                  </a:lnTo>
                  <a:close/>
                  <a:moveTo>
                    <a:pt x="6" y="11"/>
                  </a:moveTo>
                  <a:cubicBezTo>
                    <a:pt x="7" y="11"/>
                    <a:pt x="7" y="11"/>
                    <a:pt x="8" y="11"/>
                  </a:cubicBezTo>
                  <a:cubicBezTo>
                    <a:pt x="8" y="11"/>
                    <a:pt x="7" y="11"/>
                    <a:pt x="7" y="11"/>
                  </a:cubicBezTo>
                  <a:cubicBezTo>
                    <a:pt x="7" y="11"/>
                    <a:pt x="7" y="10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7"/>
                    <a:pt x="6" y="6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1" y="3"/>
                    <a:pt x="12" y="3"/>
                  </a:cubicBezTo>
                  <a:cubicBezTo>
                    <a:pt x="13" y="3"/>
                    <a:pt x="13" y="3"/>
                    <a:pt x="14" y="3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2"/>
                    <a:pt x="9" y="3"/>
                    <a:pt x="8" y="3"/>
                  </a:cubicBezTo>
                  <a:cubicBezTo>
                    <a:pt x="7" y="3"/>
                    <a:pt x="6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3" y="6"/>
                    <a:pt x="3" y="6"/>
                  </a:cubicBezTo>
                  <a:cubicBezTo>
                    <a:pt x="2" y="7"/>
                    <a:pt x="2" y="8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8" name="Freeform 363"/>
            <p:cNvSpPr/>
            <p:nvPr/>
          </p:nvSpPr>
          <p:spPr bwMode="auto">
            <a:xfrm>
              <a:off x="2088365" y="2471704"/>
              <a:ext cx="50360" cy="44076"/>
            </a:xfrm>
            <a:custGeom>
              <a:avLst/>
              <a:gdLst>
                <a:gd name="T0" fmla="*/ 2147483646 w 7"/>
                <a:gd name="T1" fmla="*/ 2147483646 h 6"/>
                <a:gd name="T2" fmla="*/ 2147483646 w 7"/>
                <a:gd name="T3" fmla="*/ 2147483646 h 6"/>
                <a:gd name="T4" fmla="*/ 2147483646 w 7"/>
                <a:gd name="T5" fmla="*/ 2147483646 h 6"/>
                <a:gd name="T6" fmla="*/ 2147483646 w 7"/>
                <a:gd name="T7" fmla="*/ 2147483646 h 6"/>
                <a:gd name="T8" fmla="*/ 2147483646 w 7"/>
                <a:gd name="T9" fmla="*/ 2147483646 h 6"/>
                <a:gd name="T10" fmla="*/ 2147483646 w 7"/>
                <a:gd name="T11" fmla="*/ 2147483646 h 6"/>
                <a:gd name="T12" fmla="*/ 2147483646 w 7"/>
                <a:gd name="T13" fmla="*/ 2147483646 h 6"/>
                <a:gd name="T14" fmla="*/ 2147483646 w 7"/>
                <a:gd name="T15" fmla="*/ 2147483646 h 6"/>
                <a:gd name="T16" fmla="*/ 2147483646 w 7"/>
                <a:gd name="T17" fmla="*/ 2147483646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6">
                  <a:moveTo>
                    <a:pt x="3" y="1"/>
                  </a:moveTo>
                  <a:cubicBezTo>
                    <a:pt x="0" y="0"/>
                    <a:pt x="3" y="4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5" y="5"/>
                    <a:pt x="5" y="5"/>
                  </a:cubicBezTo>
                  <a:cubicBezTo>
                    <a:pt x="5" y="5"/>
                    <a:pt x="6" y="6"/>
                    <a:pt x="6" y="6"/>
                  </a:cubicBezTo>
                  <a:cubicBezTo>
                    <a:pt x="6" y="5"/>
                    <a:pt x="5" y="4"/>
                    <a:pt x="5" y="3"/>
                  </a:cubicBezTo>
                  <a:cubicBezTo>
                    <a:pt x="6" y="3"/>
                    <a:pt x="7" y="4"/>
                    <a:pt x="7" y="3"/>
                  </a:cubicBezTo>
                  <a:cubicBezTo>
                    <a:pt x="6" y="1"/>
                    <a:pt x="5" y="1"/>
                    <a:pt x="3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9" name="Freeform 364"/>
            <p:cNvSpPr>
              <a:spLocks noEditPoints="1"/>
            </p:cNvSpPr>
            <p:nvPr/>
          </p:nvSpPr>
          <p:spPr bwMode="auto">
            <a:xfrm>
              <a:off x="2094660" y="2471704"/>
              <a:ext cx="50360" cy="81855"/>
            </a:xfrm>
            <a:custGeom>
              <a:avLst/>
              <a:gdLst>
                <a:gd name="T0" fmla="*/ 2147483646 w 7"/>
                <a:gd name="T1" fmla="*/ 2147483646 h 11"/>
                <a:gd name="T2" fmla="*/ 2147483646 w 7"/>
                <a:gd name="T3" fmla="*/ 2147483646 h 11"/>
                <a:gd name="T4" fmla="*/ 2147483646 w 7"/>
                <a:gd name="T5" fmla="*/ 2147483646 h 11"/>
                <a:gd name="T6" fmla="*/ 2147483646 w 7"/>
                <a:gd name="T7" fmla="*/ 2147483646 h 11"/>
                <a:gd name="T8" fmla="*/ 2147483646 w 7"/>
                <a:gd name="T9" fmla="*/ 2147483646 h 11"/>
                <a:gd name="T10" fmla="*/ 2147483646 w 7"/>
                <a:gd name="T11" fmla="*/ 2147483646 h 11"/>
                <a:gd name="T12" fmla="*/ 2147483646 w 7"/>
                <a:gd name="T13" fmla="*/ 2147483646 h 11"/>
                <a:gd name="T14" fmla="*/ 2147483646 w 7"/>
                <a:gd name="T15" fmla="*/ 2147483646 h 11"/>
                <a:gd name="T16" fmla="*/ 2147483646 w 7"/>
                <a:gd name="T17" fmla="*/ 2147483646 h 11"/>
                <a:gd name="T18" fmla="*/ 2147483646 w 7"/>
                <a:gd name="T19" fmla="*/ 2147483646 h 11"/>
                <a:gd name="T20" fmla="*/ 2147483646 w 7"/>
                <a:gd name="T21" fmla="*/ 2147483646 h 11"/>
                <a:gd name="T22" fmla="*/ 2147483646 w 7"/>
                <a:gd name="T23" fmla="*/ 2147483646 h 11"/>
                <a:gd name="T24" fmla="*/ 0 w 7"/>
                <a:gd name="T25" fmla="*/ 2147483646 h 11"/>
                <a:gd name="T26" fmla="*/ 2147483646 w 7"/>
                <a:gd name="T27" fmla="*/ 0 h 11"/>
                <a:gd name="T28" fmla="*/ 2147483646 w 7"/>
                <a:gd name="T29" fmla="*/ 0 h 11"/>
                <a:gd name="T30" fmla="*/ 2147483646 w 7"/>
                <a:gd name="T31" fmla="*/ 2147483646 h 11"/>
                <a:gd name="T32" fmla="*/ 2147483646 w 7"/>
                <a:gd name="T33" fmla="*/ 2147483646 h 11"/>
                <a:gd name="T34" fmla="*/ 2147483646 w 7"/>
                <a:gd name="T35" fmla="*/ 2147483646 h 11"/>
                <a:gd name="T36" fmla="*/ 2147483646 w 7"/>
                <a:gd name="T37" fmla="*/ 2147483646 h 11"/>
                <a:gd name="T38" fmla="*/ 2147483646 w 7"/>
                <a:gd name="T39" fmla="*/ 2147483646 h 11"/>
                <a:gd name="T40" fmla="*/ 2147483646 w 7"/>
                <a:gd name="T41" fmla="*/ 2147483646 h 11"/>
                <a:gd name="T42" fmla="*/ 2147483646 w 7"/>
                <a:gd name="T43" fmla="*/ 2147483646 h 11"/>
                <a:gd name="T44" fmla="*/ 2147483646 w 7"/>
                <a:gd name="T45" fmla="*/ 2147483646 h 11"/>
                <a:gd name="T46" fmla="*/ 2147483646 w 7"/>
                <a:gd name="T47" fmla="*/ 2147483646 h 11"/>
                <a:gd name="T48" fmla="*/ 2147483646 w 7"/>
                <a:gd name="T49" fmla="*/ 2147483646 h 11"/>
                <a:gd name="T50" fmla="*/ 2147483646 w 7"/>
                <a:gd name="T51" fmla="*/ 2147483646 h 11"/>
                <a:gd name="T52" fmla="*/ 2147483646 w 7"/>
                <a:gd name="T53" fmla="*/ 2147483646 h 11"/>
                <a:gd name="T54" fmla="*/ 2147483646 w 7"/>
                <a:gd name="T55" fmla="*/ 2147483646 h 11"/>
                <a:gd name="T56" fmla="*/ 2147483646 w 7"/>
                <a:gd name="T57" fmla="*/ 2147483646 h 11"/>
                <a:gd name="T58" fmla="*/ 2147483646 w 7"/>
                <a:gd name="T59" fmla="*/ 2147483646 h 11"/>
                <a:gd name="T60" fmla="*/ 2147483646 w 7"/>
                <a:gd name="T61" fmla="*/ 2147483646 h 11"/>
                <a:gd name="T62" fmla="*/ 2147483646 w 7"/>
                <a:gd name="T63" fmla="*/ 2147483646 h 11"/>
                <a:gd name="T64" fmla="*/ 2147483646 w 7"/>
                <a:gd name="T65" fmla="*/ 2147483646 h 11"/>
                <a:gd name="T66" fmla="*/ 2147483646 w 7"/>
                <a:gd name="T67" fmla="*/ 2147483646 h 11"/>
                <a:gd name="T68" fmla="*/ 2147483646 w 7"/>
                <a:gd name="T69" fmla="*/ 2147483646 h 11"/>
                <a:gd name="T70" fmla="*/ 2147483646 w 7"/>
                <a:gd name="T71" fmla="*/ 2147483646 h 11"/>
                <a:gd name="T72" fmla="*/ 2147483646 w 7"/>
                <a:gd name="T73" fmla="*/ 2147483646 h 11"/>
                <a:gd name="T74" fmla="*/ 2147483646 w 7"/>
                <a:gd name="T75" fmla="*/ 2147483646 h 11"/>
                <a:gd name="T76" fmla="*/ 2147483646 w 7"/>
                <a:gd name="T77" fmla="*/ 2147483646 h 1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7" h="11">
                  <a:moveTo>
                    <a:pt x="7" y="11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1"/>
                    <a:pt x="5" y="1"/>
                    <a:pt x="6" y="2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5"/>
                    <a:pt x="5" y="5"/>
                    <a:pt x="6" y="6"/>
                  </a:cubicBezTo>
                  <a:lnTo>
                    <a:pt x="7" y="11"/>
                  </a:lnTo>
                  <a:close/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3" y="3"/>
                  </a:lnTo>
                  <a:close/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5" y="2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0" name="Freeform 365"/>
            <p:cNvSpPr/>
            <p:nvPr/>
          </p:nvSpPr>
          <p:spPr bwMode="auto">
            <a:xfrm>
              <a:off x="2154463" y="2418184"/>
              <a:ext cx="6295" cy="9445"/>
            </a:xfrm>
            <a:custGeom>
              <a:avLst/>
              <a:gdLst>
                <a:gd name="T0" fmla="*/ 2147483646 w 1"/>
                <a:gd name="T1" fmla="*/ 2147483646 h 1"/>
                <a:gd name="T2" fmla="*/ 2147483646 w 1"/>
                <a:gd name="T3" fmla="*/ 0 h 1"/>
                <a:gd name="T4" fmla="*/ 0 w 1"/>
                <a:gd name="T5" fmla="*/ 0 h 1"/>
                <a:gd name="T6" fmla="*/ 2147483646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1" name="Freeform 366"/>
            <p:cNvSpPr/>
            <p:nvPr/>
          </p:nvSpPr>
          <p:spPr bwMode="auto">
            <a:xfrm>
              <a:off x="2145020" y="2411887"/>
              <a:ext cx="25180" cy="22039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2147483646 w 3"/>
                <a:gd name="T5" fmla="*/ 2147483646 h 3"/>
                <a:gd name="T6" fmla="*/ 0 w 3"/>
                <a:gd name="T7" fmla="*/ 2147483646 h 3"/>
                <a:gd name="T8" fmla="*/ 2147483646 w 3"/>
                <a:gd name="T9" fmla="*/ 2147483646 h 3"/>
                <a:gd name="T10" fmla="*/ 2147483646 w 3"/>
                <a:gd name="T11" fmla="*/ 2147483646 h 3"/>
                <a:gd name="T12" fmla="*/ 2147483646 w 3"/>
                <a:gd name="T13" fmla="*/ 0 h 3"/>
                <a:gd name="T14" fmla="*/ 2147483646 w 3"/>
                <a:gd name="T15" fmla="*/ 2147483646 h 3"/>
                <a:gd name="T16" fmla="*/ 2147483646 w 3"/>
                <a:gd name="T17" fmla="*/ 2147483646 h 3"/>
                <a:gd name="T18" fmla="*/ 2147483646 w 3"/>
                <a:gd name="T19" fmla="*/ 2147483646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2" name="Freeform 367"/>
            <p:cNvSpPr/>
            <p:nvPr/>
          </p:nvSpPr>
          <p:spPr bwMode="auto">
            <a:xfrm>
              <a:off x="2132430" y="2455963"/>
              <a:ext cx="28327" cy="31483"/>
            </a:xfrm>
            <a:custGeom>
              <a:avLst/>
              <a:gdLst>
                <a:gd name="T0" fmla="*/ 2147483646 w 4"/>
                <a:gd name="T1" fmla="*/ 2147483646 h 4"/>
                <a:gd name="T2" fmla="*/ 0 w 4"/>
                <a:gd name="T3" fmla="*/ 2147483646 h 4"/>
                <a:gd name="T4" fmla="*/ 2147483646 w 4"/>
                <a:gd name="T5" fmla="*/ 2147483646 h 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1" y="0"/>
                    <a:pt x="0" y="1"/>
                  </a:cubicBezTo>
                  <a:cubicBezTo>
                    <a:pt x="1" y="2"/>
                    <a:pt x="3" y="4"/>
                    <a:pt x="4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3" name="Freeform 368"/>
            <p:cNvSpPr/>
            <p:nvPr/>
          </p:nvSpPr>
          <p:spPr bwMode="auto">
            <a:xfrm>
              <a:off x="2122988" y="2455963"/>
              <a:ext cx="37770" cy="31483"/>
            </a:xfrm>
            <a:custGeom>
              <a:avLst/>
              <a:gdLst>
                <a:gd name="T0" fmla="*/ 2147483646 w 5"/>
                <a:gd name="T1" fmla="*/ 2147483646 h 4"/>
                <a:gd name="T2" fmla="*/ 2147483646 w 5"/>
                <a:gd name="T3" fmla="*/ 2147483646 h 4"/>
                <a:gd name="T4" fmla="*/ 2147483646 w 5"/>
                <a:gd name="T5" fmla="*/ 2147483646 h 4"/>
                <a:gd name="T6" fmla="*/ 2147483646 w 5"/>
                <a:gd name="T7" fmla="*/ 2147483646 h 4"/>
                <a:gd name="T8" fmla="*/ 0 w 5"/>
                <a:gd name="T9" fmla="*/ 2147483646 h 4"/>
                <a:gd name="T10" fmla="*/ 2147483646 w 5"/>
                <a:gd name="T11" fmla="*/ 2147483646 h 4"/>
                <a:gd name="T12" fmla="*/ 2147483646 w 5"/>
                <a:gd name="T13" fmla="*/ 0 h 4"/>
                <a:gd name="T14" fmla="*/ 2147483646 w 5"/>
                <a:gd name="T15" fmla="*/ 2147483646 h 4"/>
                <a:gd name="T16" fmla="*/ 2147483646 w 5"/>
                <a:gd name="T17" fmla="*/ 2147483646 h 4"/>
                <a:gd name="T18" fmla="*/ 2147483646 w 5"/>
                <a:gd name="T19" fmla="*/ 2147483646 h 4"/>
                <a:gd name="T20" fmla="*/ 2147483646 w 5"/>
                <a:gd name="T21" fmla="*/ 2147483646 h 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" h="4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3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4" name="Freeform 369"/>
            <p:cNvSpPr/>
            <p:nvPr/>
          </p:nvSpPr>
          <p:spPr bwMode="auto">
            <a:xfrm>
              <a:off x="1849156" y="2270216"/>
              <a:ext cx="207734" cy="223526"/>
            </a:xfrm>
            <a:custGeom>
              <a:avLst/>
              <a:gdLst>
                <a:gd name="T0" fmla="*/ 2147483646 w 28"/>
                <a:gd name="T1" fmla="*/ 2147483646 h 30"/>
                <a:gd name="T2" fmla="*/ 2147483646 w 28"/>
                <a:gd name="T3" fmla="*/ 2147483646 h 30"/>
                <a:gd name="T4" fmla="*/ 2147483646 w 28"/>
                <a:gd name="T5" fmla="*/ 2147483646 h 30"/>
                <a:gd name="T6" fmla="*/ 2147483646 w 28"/>
                <a:gd name="T7" fmla="*/ 2147483646 h 30"/>
                <a:gd name="T8" fmla="*/ 2147483646 w 28"/>
                <a:gd name="T9" fmla="*/ 0 h 30"/>
                <a:gd name="T10" fmla="*/ 2147483646 w 28"/>
                <a:gd name="T11" fmla="*/ 2147483646 h 30"/>
                <a:gd name="T12" fmla="*/ 2147483646 w 28"/>
                <a:gd name="T13" fmla="*/ 2147483646 h 30"/>
                <a:gd name="T14" fmla="*/ 2147483646 w 28"/>
                <a:gd name="T15" fmla="*/ 2147483646 h 30"/>
                <a:gd name="T16" fmla="*/ 2147483646 w 28"/>
                <a:gd name="T17" fmla="*/ 2147483646 h 30"/>
                <a:gd name="T18" fmla="*/ 0 w 28"/>
                <a:gd name="T19" fmla="*/ 2147483646 h 30"/>
                <a:gd name="T20" fmla="*/ 2147483646 w 28"/>
                <a:gd name="T21" fmla="*/ 2147483646 h 30"/>
                <a:gd name="T22" fmla="*/ 2147483646 w 28"/>
                <a:gd name="T23" fmla="*/ 2147483646 h 30"/>
                <a:gd name="T24" fmla="*/ 2147483646 w 28"/>
                <a:gd name="T25" fmla="*/ 2147483646 h 30"/>
                <a:gd name="T26" fmla="*/ 2147483646 w 28"/>
                <a:gd name="T27" fmla="*/ 2147483646 h 30"/>
                <a:gd name="T28" fmla="*/ 2147483646 w 28"/>
                <a:gd name="T29" fmla="*/ 2147483646 h 30"/>
                <a:gd name="T30" fmla="*/ 2147483646 w 28"/>
                <a:gd name="T31" fmla="*/ 2147483646 h 30"/>
                <a:gd name="T32" fmla="*/ 2147483646 w 28"/>
                <a:gd name="T33" fmla="*/ 2147483646 h 30"/>
                <a:gd name="T34" fmla="*/ 2147483646 w 28"/>
                <a:gd name="T35" fmla="*/ 2147483646 h 30"/>
                <a:gd name="T36" fmla="*/ 2147483646 w 28"/>
                <a:gd name="T37" fmla="*/ 2147483646 h 30"/>
                <a:gd name="T38" fmla="*/ 2147483646 w 28"/>
                <a:gd name="T39" fmla="*/ 2147483646 h 30"/>
                <a:gd name="T40" fmla="*/ 2147483646 w 28"/>
                <a:gd name="T41" fmla="*/ 2147483646 h 30"/>
                <a:gd name="T42" fmla="*/ 2147483646 w 28"/>
                <a:gd name="T43" fmla="*/ 2147483646 h 30"/>
                <a:gd name="T44" fmla="*/ 2147483646 w 28"/>
                <a:gd name="T45" fmla="*/ 2147483646 h 30"/>
                <a:gd name="T46" fmla="*/ 2147483646 w 28"/>
                <a:gd name="T47" fmla="*/ 2147483646 h 30"/>
                <a:gd name="T48" fmla="*/ 2147483646 w 28"/>
                <a:gd name="T49" fmla="*/ 2147483646 h 30"/>
                <a:gd name="T50" fmla="*/ 2147483646 w 28"/>
                <a:gd name="T51" fmla="*/ 2147483646 h 30"/>
                <a:gd name="T52" fmla="*/ 2147483646 w 28"/>
                <a:gd name="T53" fmla="*/ 2147483646 h 30"/>
                <a:gd name="T54" fmla="*/ 2147483646 w 28"/>
                <a:gd name="T55" fmla="*/ 2147483646 h 30"/>
                <a:gd name="T56" fmla="*/ 2147483646 w 28"/>
                <a:gd name="T57" fmla="*/ 2147483646 h 3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8" h="30">
                  <a:moveTo>
                    <a:pt x="16" y="5"/>
                  </a:moveTo>
                  <a:cubicBezTo>
                    <a:pt x="16" y="5"/>
                    <a:pt x="16" y="5"/>
                    <a:pt x="17" y="5"/>
                  </a:cubicBezTo>
                  <a:cubicBezTo>
                    <a:pt x="16" y="4"/>
                    <a:pt x="16" y="3"/>
                    <a:pt x="15" y="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2"/>
                    <a:pt x="13" y="0"/>
                    <a:pt x="12" y="0"/>
                  </a:cubicBezTo>
                  <a:cubicBezTo>
                    <a:pt x="9" y="0"/>
                    <a:pt x="8" y="0"/>
                    <a:pt x="8" y="3"/>
                  </a:cubicBezTo>
                  <a:cubicBezTo>
                    <a:pt x="6" y="2"/>
                    <a:pt x="6" y="2"/>
                    <a:pt x="5" y="4"/>
                  </a:cubicBezTo>
                  <a:cubicBezTo>
                    <a:pt x="5" y="3"/>
                    <a:pt x="4" y="3"/>
                    <a:pt x="4" y="2"/>
                  </a:cubicBezTo>
                  <a:cubicBezTo>
                    <a:pt x="2" y="4"/>
                    <a:pt x="0" y="3"/>
                    <a:pt x="1" y="6"/>
                  </a:cubicBezTo>
                  <a:cubicBezTo>
                    <a:pt x="1" y="6"/>
                    <a:pt x="0" y="7"/>
                    <a:pt x="0" y="8"/>
                  </a:cubicBezTo>
                  <a:cubicBezTo>
                    <a:pt x="1" y="10"/>
                    <a:pt x="2" y="9"/>
                    <a:pt x="2" y="11"/>
                  </a:cubicBezTo>
                  <a:cubicBezTo>
                    <a:pt x="3" y="11"/>
                    <a:pt x="4" y="10"/>
                    <a:pt x="5" y="9"/>
                  </a:cubicBezTo>
                  <a:cubicBezTo>
                    <a:pt x="5" y="9"/>
                    <a:pt x="7" y="10"/>
                    <a:pt x="8" y="10"/>
                  </a:cubicBezTo>
                  <a:cubicBezTo>
                    <a:pt x="9" y="11"/>
                    <a:pt x="8" y="15"/>
                    <a:pt x="11" y="15"/>
                  </a:cubicBezTo>
                  <a:cubicBezTo>
                    <a:pt x="12" y="15"/>
                    <a:pt x="13" y="17"/>
                    <a:pt x="14" y="18"/>
                  </a:cubicBezTo>
                  <a:cubicBezTo>
                    <a:pt x="15" y="19"/>
                    <a:pt x="15" y="18"/>
                    <a:pt x="16" y="19"/>
                  </a:cubicBezTo>
                  <a:cubicBezTo>
                    <a:pt x="17" y="20"/>
                    <a:pt x="19" y="23"/>
                    <a:pt x="21" y="22"/>
                  </a:cubicBezTo>
                  <a:cubicBezTo>
                    <a:pt x="21" y="23"/>
                    <a:pt x="21" y="24"/>
                    <a:pt x="22" y="25"/>
                  </a:cubicBezTo>
                  <a:cubicBezTo>
                    <a:pt x="22" y="27"/>
                    <a:pt x="21" y="26"/>
                    <a:pt x="21" y="27"/>
                  </a:cubicBezTo>
                  <a:cubicBezTo>
                    <a:pt x="20" y="30"/>
                    <a:pt x="23" y="28"/>
                    <a:pt x="23" y="26"/>
                  </a:cubicBezTo>
                  <a:cubicBezTo>
                    <a:pt x="23" y="25"/>
                    <a:pt x="24" y="26"/>
                    <a:pt x="24" y="24"/>
                  </a:cubicBezTo>
                  <a:cubicBezTo>
                    <a:pt x="24" y="24"/>
                    <a:pt x="23" y="24"/>
                    <a:pt x="23" y="23"/>
                  </a:cubicBezTo>
                  <a:cubicBezTo>
                    <a:pt x="24" y="20"/>
                    <a:pt x="26" y="21"/>
                    <a:pt x="27" y="23"/>
                  </a:cubicBezTo>
                  <a:cubicBezTo>
                    <a:pt x="28" y="20"/>
                    <a:pt x="23" y="19"/>
                    <a:pt x="21" y="18"/>
                  </a:cubicBezTo>
                  <a:cubicBezTo>
                    <a:pt x="20" y="17"/>
                    <a:pt x="23" y="16"/>
                    <a:pt x="21" y="17"/>
                  </a:cubicBezTo>
                  <a:cubicBezTo>
                    <a:pt x="19" y="17"/>
                    <a:pt x="18" y="16"/>
                    <a:pt x="17" y="15"/>
                  </a:cubicBezTo>
                  <a:cubicBezTo>
                    <a:pt x="17" y="14"/>
                    <a:pt x="17" y="12"/>
                    <a:pt x="16" y="11"/>
                  </a:cubicBezTo>
                  <a:cubicBezTo>
                    <a:pt x="15" y="10"/>
                    <a:pt x="13" y="10"/>
                    <a:pt x="13" y="8"/>
                  </a:cubicBezTo>
                  <a:cubicBezTo>
                    <a:pt x="12" y="7"/>
                    <a:pt x="15" y="3"/>
                    <a:pt x="16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5" name="Freeform 370"/>
            <p:cNvSpPr>
              <a:spLocks noEditPoints="1"/>
            </p:cNvSpPr>
            <p:nvPr/>
          </p:nvSpPr>
          <p:spPr bwMode="auto">
            <a:xfrm>
              <a:off x="1849156" y="2263919"/>
              <a:ext cx="207734" cy="223526"/>
            </a:xfrm>
            <a:custGeom>
              <a:avLst/>
              <a:gdLst>
                <a:gd name="T0" fmla="*/ 2147483646 w 28"/>
                <a:gd name="T1" fmla="*/ 2147483646 h 30"/>
                <a:gd name="T2" fmla="*/ 2147483646 w 28"/>
                <a:gd name="T3" fmla="*/ 2147483646 h 30"/>
                <a:gd name="T4" fmla="*/ 2147483646 w 28"/>
                <a:gd name="T5" fmla="*/ 2147483646 h 30"/>
                <a:gd name="T6" fmla="*/ 2147483646 w 28"/>
                <a:gd name="T7" fmla="*/ 2147483646 h 30"/>
                <a:gd name="T8" fmla="*/ 2147483646 w 28"/>
                <a:gd name="T9" fmla="*/ 2147483646 h 30"/>
                <a:gd name="T10" fmla="*/ 2147483646 w 28"/>
                <a:gd name="T11" fmla="*/ 2147483646 h 30"/>
                <a:gd name="T12" fmla="*/ 2147483646 w 28"/>
                <a:gd name="T13" fmla="*/ 2147483646 h 30"/>
                <a:gd name="T14" fmla="*/ 0 w 28"/>
                <a:gd name="T15" fmla="*/ 2147483646 h 30"/>
                <a:gd name="T16" fmla="*/ 2147483646 w 28"/>
                <a:gd name="T17" fmla="*/ 2147483646 h 30"/>
                <a:gd name="T18" fmla="*/ 2147483646 w 28"/>
                <a:gd name="T19" fmla="*/ 2147483646 h 30"/>
                <a:gd name="T20" fmla="*/ 2147483646 w 28"/>
                <a:gd name="T21" fmla="*/ 0 h 30"/>
                <a:gd name="T22" fmla="*/ 2147483646 w 28"/>
                <a:gd name="T23" fmla="*/ 2147483646 h 30"/>
                <a:gd name="T24" fmla="*/ 2147483646 w 28"/>
                <a:gd name="T25" fmla="*/ 2147483646 h 30"/>
                <a:gd name="T26" fmla="*/ 2147483646 w 28"/>
                <a:gd name="T27" fmla="*/ 2147483646 h 30"/>
                <a:gd name="T28" fmla="*/ 2147483646 w 28"/>
                <a:gd name="T29" fmla="*/ 2147483646 h 30"/>
                <a:gd name="T30" fmla="*/ 2147483646 w 28"/>
                <a:gd name="T31" fmla="*/ 2147483646 h 30"/>
                <a:gd name="T32" fmla="*/ 2147483646 w 28"/>
                <a:gd name="T33" fmla="*/ 2147483646 h 30"/>
                <a:gd name="T34" fmla="*/ 2147483646 w 28"/>
                <a:gd name="T35" fmla="*/ 2147483646 h 30"/>
                <a:gd name="T36" fmla="*/ 2147483646 w 28"/>
                <a:gd name="T37" fmla="*/ 2147483646 h 30"/>
                <a:gd name="T38" fmla="*/ 2147483646 w 28"/>
                <a:gd name="T39" fmla="*/ 2147483646 h 30"/>
                <a:gd name="T40" fmla="*/ 2147483646 w 28"/>
                <a:gd name="T41" fmla="*/ 2147483646 h 30"/>
                <a:gd name="T42" fmla="*/ 2147483646 w 28"/>
                <a:gd name="T43" fmla="*/ 2147483646 h 30"/>
                <a:gd name="T44" fmla="*/ 2147483646 w 28"/>
                <a:gd name="T45" fmla="*/ 2147483646 h 30"/>
                <a:gd name="T46" fmla="*/ 2147483646 w 28"/>
                <a:gd name="T47" fmla="*/ 2147483646 h 30"/>
                <a:gd name="T48" fmla="*/ 2147483646 w 28"/>
                <a:gd name="T49" fmla="*/ 2147483646 h 30"/>
                <a:gd name="T50" fmla="*/ 2147483646 w 28"/>
                <a:gd name="T51" fmla="*/ 2147483646 h 30"/>
                <a:gd name="T52" fmla="*/ 2147483646 w 28"/>
                <a:gd name="T53" fmla="*/ 2147483646 h 30"/>
                <a:gd name="T54" fmla="*/ 2147483646 w 28"/>
                <a:gd name="T55" fmla="*/ 2147483646 h 30"/>
                <a:gd name="T56" fmla="*/ 2147483646 w 28"/>
                <a:gd name="T57" fmla="*/ 2147483646 h 30"/>
                <a:gd name="T58" fmla="*/ 2147483646 w 28"/>
                <a:gd name="T59" fmla="*/ 2147483646 h 30"/>
                <a:gd name="T60" fmla="*/ 2147483646 w 28"/>
                <a:gd name="T61" fmla="*/ 2147483646 h 30"/>
                <a:gd name="T62" fmla="*/ 2147483646 w 28"/>
                <a:gd name="T63" fmla="*/ 2147483646 h 30"/>
                <a:gd name="T64" fmla="*/ 2147483646 w 28"/>
                <a:gd name="T65" fmla="*/ 2147483646 h 30"/>
                <a:gd name="T66" fmla="*/ 2147483646 w 28"/>
                <a:gd name="T67" fmla="*/ 2147483646 h 30"/>
                <a:gd name="T68" fmla="*/ 2147483646 w 28"/>
                <a:gd name="T69" fmla="*/ 2147483646 h 30"/>
                <a:gd name="T70" fmla="*/ 2147483646 w 28"/>
                <a:gd name="T71" fmla="*/ 2147483646 h 30"/>
                <a:gd name="T72" fmla="*/ 2147483646 w 28"/>
                <a:gd name="T73" fmla="*/ 2147483646 h 30"/>
                <a:gd name="T74" fmla="*/ 2147483646 w 28"/>
                <a:gd name="T75" fmla="*/ 2147483646 h 30"/>
                <a:gd name="T76" fmla="*/ 2147483646 w 28"/>
                <a:gd name="T77" fmla="*/ 2147483646 h 30"/>
                <a:gd name="T78" fmla="*/ 2147483646 w 28"/>
                <a:gd name="T79" fmla="*/ 2147483646 h 30"/>
                <a:gd name="T80" fmla="*/ 2147483646 w 28"/>
                <a:gd name="T81" fmla="*/ 2147483646 h 30"/>
                <a:gd name="T82" fmla="*/ 2147483646 w 28"/>
                <a:gd name="T83" fmla="*/ 2147483646 h 3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8" h="30">
                  <a:moveTo>
                    <a:pt x="21" y="30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6"/>
                  </a:cubicBezTo>
                  <a:cubicBezTo>
                    <a:pt x="21" y="26"/>
                    <a:pt x="21" y="25"/>
                    <a:pt x="20" y="24"/>
                  </a:cubicBezTo>
                  <a:cubicBezTo>
                    <a:pt x="19" y="24"/>
                    <a:pt x="18" y="23"/>
                    <a:pt x="17" y="22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4" y="20"/>
                    <a:pt x="14" y="20"/>
                    <a:pt x="13" y="19"/>
                  </a:cubicBezTo>
                  <a:cubicBezTo>
                    <a:pt x="13" y="19"/>
                    <a:pt x="13" y="19"/>
                    <a:pt x="13" y="18"/>
                  </a:cubicBezTo>
                  <a:cubicBezTo>
                    <a:pt x="12" y="18"/>
                    <a:pt x="11" y="17"/>
                    <a:pt x="11" y="17"/>
                  </a:cubicBezTo>
                  <a:cubicBezTo>
                    <a:pt x="9" y="17"/>
                    <a:pt x="9" y="15"/>
                    <a:pt x="8" y="13"/>
                  </a:cubicBezTo>
                  <a:cubicBezTo>
                    <a:pt x="8" y="13"/>
                    <a:pt x="8" y="12"/>
                    <a:pt x="7" y="12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3" y="12"/>
                    <a:pt x="2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0" y="10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2" y="4"/>
                    <a:pt x="3" y="4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1"/>
                    <a:pt x="9" y="1"/>
                    <a:pt x="11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1"/>
                    <a:pt x="14" y="1"/>
                  </a:cubicBezTo>
                  <a:cubicBezTo>
                    <a:pt x="15" y="2"/>
                    <a:pt x="16" y="2"/>
                    <a:pt x="16" y="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4"/>
                    <a:pt x="16" y="4"/>
                  </a:cubicBezTo>
                  <a:cubicBezTo>
                    <a:pt x="17" y="4"/>
                    <a:pt x="17" y="5"/>
                    <a:pt x="17" y="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5"/>
                    <a:pt x="14" y="7"/>
                  </a:cubicBezTo>
                  <a:cubicBezTo>
                    <a:pt x="14" y="7"/>
                    <a:pt x="13" y="9"/>
                    <a:pt x="13" y="9"/>
                  </a:cubicBezTo>
                  <a:cubicBezTo>
                    <a:pt x="14" y="10"/>
                    <a:pt x="14" y="10"/>
                    <a:pt x="15" y="11"/>
                  </a:cubicBezTo>
                  <a:cubicBezTo>
                    <a:pt x="15" y="11"/>
                    <a:pt x="16" y="11"/>
                    <a:pt x="16" y="12"/>
                  </a:cubicBezTo>
                  <a:cubicBezTo>
                    <a:pt x="17" y="13"/>
                    <a:pt x="17" y="13"/>
                    <a:pt x="17" y="14"/>
                  </a:cubicBezTo>
                  <a:cubicBezTo>
                    <a:pt x="17" y="14"/>
                    <a:pt x="17" y="15"/>
                    <a:pt x="18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9" y="17"/>
                    <a:pt x="19" y="17"/>
                    <a:pt x="20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9"/>
                    <a:pt x="22" y="19"/>
                  </a:cubicBezTo>
                  <a:cubicBezTo>
                    <a:pt x="22" y="19"/>
                    <a:pt x="23" y="19"/>
                    <a:pt x="24" y="20"/>
                  </a:cubicBezTo>
                  <a:cubicBezTo>
                    <a:pt x="26" y="20"/>
                    <a:pt x="28" y="21"/>
                    <a:pt x="28" y="2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3"/>
                    <a:pt x="25" y="23"/>
                    <a:pt x="24" y="23"/>
                  </a:cubicBezTo>
                  <a:cubicBezTo>
                    <a:pt x="24" y="23"/>
                    <a:pt x="24" y="23"/>
                    <a:pt x="23" y="24"/>
                  </a:cubicBezTo>
                  <a:cubicBezTo>
                    <a:pt x="23" y="24"/>
                    <a:pt x="24" y="24"/>
                    <a:pt x="24" y="24"/>
                  </a:cubicBezTo>
                  <a:cubicBezTo>
                    <a:pt x="24" y="24"/>
                    <a:pt x="25" y="25"/>
                    <a:pt x="25" y="25"/>
                  </a:cubicBezTo>
                  <a:cubicBezTo>
                    <a:pt x="25" y="26"/>
                    <a:pt x="24" y="27"/>
                    <a:pt x="24" y="27"/>
                  </a:cubicBezTo>
                  <a:cubicBezTo>
                    <a:pt x="24" y="27"/>
                    <a:pt x="24" y="27"/>
                    <a:pt x="23" y="27"/>
                  </a:cubicBezTo>
                  <a:cubicBezTo>
                    <a:pt x="23" y="29"/>
                    <a:pt x="22" y="30"/>
                    <a:pt x="21" y="30"/>
                  </a:cubicBezTo>
                  <a:close/>
                  <a:moveTo>
                    <a:pt x="21" y="22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2" y="24"/>
                    <a:pt x="22" y="25"/>
                    <a:pt x="22" y="26"/>
                  </a:cubicBezTo>
                  <a:cubicBezTo>
                    <a:pt x="22" y="27"/>
                    <a:pt x="22" y="27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1" y="28"/>
                    <a:pt x="21" y="29"/>
                    <a:pt x="21" y="29"/>
                  </a:cubicBezTo>
                  <a:cubicBezTo>
                    <a:pt x="22" y="29"/>
                    <a:pt x="22" y="28"/>
                    <a:pt x="22" y="27"/>
                  </a:cubicBezTo>
                  <a:cubicBezTo>
                    <a:pt x="22" y="26"/>
                    <a:pt x="23" y="26"/>
                    <a:pt x="23" y="26"/>
                  </a:cubicBezTo>
                  <a:cubicBezTo>
                    <a:pt x="23" y="26"/>
                    <a:pt x="23" y="26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5"/>
                    <a:pt x="22" y="25"/>
                    <a:pt x="22" y="24"/>
                  </a:cubicBezTo>
                  <a:cubicBezTo>
                    <a:pt x="23" y="22"/>
                    <a:pt x="24" y="22"/>
                    <a:pt x="24" y="22"/>
                  </a:cubicBezTo>
                  <a:cubicBezTo>
                    <a:pt x="25" y="22"/>
                    <a:pt x="25" y="22"/>
                    <a:pt x="26" y="22"/>
                  </a:cubicBezTo>
                  <a:cubicBezTo>
                    <a:pt x="25" y="21"/>
                    <a:pt x="24" y="21"/>
                    <a:pt x="23" y="21"/>
                  </a:cubicBezTo>
                  <a:cubicBezTo>
                    <a:pt x="22" y="20"/>
                    <a:pt x="22" y="20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9"/>
                    <a:pt x="18" y="17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6" y="15"/>
                    <a:pt x="16" y="14"/>
                  </a:cubicBezTo>
                  <a:cubicBezTo>
                    <a:pt x="16" y="14"/>
                    <a:pt x="16" y="13"/>
                    <a:pt x="15" y="13"/>
                  </a:cubicBezTo>
                  <a:cubicBezTo>
                    <a:pt x="15" y="12"/>
                    <a:pt x="15" y="12"/>
                    <a:pt x="14" y="12"/>
                  </a:cubicBezTo>
                  <a:cubicBezTo>
                    <a:pt x="13" y="11"/>
                    <a:pt x="13" y="11"/>
                    <a:pt x="12" y="9"/>
                  </a:cubicBezTo>
                  <a:cubicBezTo>
                    <a:pt x="12" y="8"/>
                    <a:pt x="13" y="7"/>
                    <a:pt x="13" y="6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3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8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1" y="9"/>
                    <a:pt x="1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6" y="10"/>
                    <a:pt x="7" y="10"/>
                  </a:cubicBezTo>
                  <a:cubicBezTo>
                    <a:pt x="8" y="10"/>
                    <a:pt x="8" y="10"/>
                    <a:pt x="8" y="11"/>
                  </a:cubicBezTo>
                  <a:cubicBezTo>
                    <a:pt x="9" y="11"/>
                    <a:pt x="9" y="12"/>
                    <a:pt x="9" y="13"/>
                  </a:cubicBezTo>
                  <a:cubicBezTo>
                    <a:pt x="10" y="15"/>
                    <a:pt x="10" y="16"/>
                    <a:pt x="11" y="16"/>
                  </a:cubicBezTo>
                  <a:cubicBezTo>
                    <a:pt x="12" y="16"/>
                    <a:pt x="13" y="17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6" y="19"/>
                    <a:pt x="16" y="19"/>
                  </a:cubicBezTo>
                  <a:cubicBezTo>
                    <a:pt x="17" y="20"/>
                    <a:pt x="18" y="20"/>
                    <a:pt x="18" y="21"/>
                  </a:cubicBezTo>
                  <a:cubicBezTo>
                    <a:pt x="19" y="22"/>
                    <a:pt x="20" y="23"/>
                    <a:pt x="20" y="23"/>
                  </a:cubicBezTo>
                  <a:lnTo>
                    <a:pt x="21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6" name="Freeform 371"/>
            <p:cNvSpPr/>
            <p:nvPr/>
          </p:nvSpPr>
          <p:spPr bwMode="auto">
            <a:xfrm>
              <a:off x="1871188" y="2405591"/>
              <a:ext cx="31475" cy="59817"/>
            </a:xfrm>
            <a:custGeom>
              <a:avLst/>
              <a:gdLst>
                <a:gd name="T0" fmla="*/ 2147483646 w 4"/>
                <a:gd name="T1" fmla="*/ 0 h 8"/>
                <a:gd name="T2" fmla="*/ 2147483646 w 4"/>
                <a:gd name="T3" fmla="*/ 2147483646 h 8"/>
                <a:gd name="T4" fmla="*/ 2147483646 w 4"/>
                <a:gd name="T5" fmla="*/ 2147483646 h 8"/>
                <a:gd name="T6" fmla="*/ 0 w 4"/>
                <a:gd name="T7" fmla="*/ 2147483646 h 8"/>
                <a:gd name="T8" fmla="*/ 2147483646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8">
                  <a:moveTo>
                    <a:pt x="3" y="0"/>
                  </a:moveTo>
                  <a:cubicBezTo>
                    <a:pt x="4" y="1"/>
                    <a:pt x="4" y="3"/>
                    <a:pt x="4" y="5"/>
                  </a:cubicBezTo>
                  <a:cubicBezTo>
                    <a:pt x="4" y="7"/>
                    <a:pt x="3" y="6"/>
                    <a:pt x="2" y="8"/>
                  </a:cubicBezTo>
                  <a:cubicBezTo>
                    <a:pt x="1" y="7"/>
                    <a:pt x="1" y="3"/>
                    <a:pt x="0" y="2"/>
                  </a:cubicBezTo>
                  <a:cubicBezTo>
                    <a:pt x="1" y="2"/>
                    <a:pt x="2" y="1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7" name="Freeform 372"/>
            <p:cNvSpPr>
              <a:spLocks noEditPoints="1"/>
            </p:cNvSpPr>
            <p:nvPr/>
          </p:nvSpPr>
          <p:spPr bwMode="auto">
            <a:xfrm>
              <a:off x="1871188" y="2405591"/>
              <a:ext cx="37770" cy="66113"/>
            </a:xfrm>
            <a:custGeom>
              <a:avLst/>
              <a:gdLst>
                <a:gd name="T0" fmla="*/ 2147483646 w 5"/>
                <a:gd name="T1" fmla="*/ 2147483646 h 9"/>
                <a:gd name="T2" fmla="*/ 2147483646 w 5"/>
                <a:gd name="T3" fmla="*/ 2147483646 h 9"/>
                <a:gd name="T4" fmla="*/ 0 w 5"/>
                <a:gd name="T5" fmla="*/ 2147483646 h 9"/>
                <a:gd name="T6" fmla="*/ 0 w 5"/>
                <a:gd name="T7" fmla="*/ 2147483646 h 9"/>
                <a:gd name="T8" fmla="*/ 0 w 5"/>
                <a:gd name="T9" fmla="*/ 2147483646 h 9"/>
                <a:gd name="T10" fmla="*/ 2147483646 w 5"/>
                <a:gd name="T11" fmla="*/ 2147483646 h 9"/>
                <a:gd name="T12" fmla="*/ 2147483646 w 5"/>
                <a:gd name="T13" fmla="*/ 0 h 9"/>
                <a:gd name="T14" fmla="*/ 2147483646 w 5"/>
                <a:gd name="T15" fmla="*/ 0 h 9"/>
                <a:gd name="T16" fmla="*/ 2147483646 w 5"/>
                <a:gd name="T17" fmla="*/ 0 h 9"/>
                <a:gd name="T18" fmla="*/ 2147483646 w 5"/>
                <a:gd name="T19" fmla="*/ 2147483646 h 9"/>
                <a:gd name="T20" fmla="*/ 2147483646 w 5"/>
                <a:gd name="T21" fmla="*/ 2147483646 h 9"/>
                <a:gd name="T22" fmla="*/ 2147483646 w 5"/>
                <a:gd name="T23" fmla="*/ 2147483646 h 9"/>
                <a:gd name="T24" fmla="*/ 2147483646 w 5"/>
                <a:gd name="T25" fmla="*/ 2147483646 h 9"/>
                <a:gd name="T26" fmla="*/ 2147483646 w 5"/>
                <a:gd name="T27" fmla="*/ 2147483646 h 9"/>
                <a:gd name="T28" fmla="*/ 2147483646 w 5"/>
                <a:gd name="T29" fmla="*/ 2147483646 h 9"/>
                <a:gd name="T30" fmla="*/ 2147483646 w 5"/>
                <a:gd name="T31" fmla="*/ 2147483646 h 9"/>
                <a:gd name="T32" fmla="*/ 2147483646 w 5"/>
                <a:gd name="T33" fmla="*/ 2147483646 h 9"/>
                <a:gd name="T34" fmla="*/ 2147483646 w 5"/>
                <a:gd name="T35" fmla="*/ 2147483646 h 9"/>
                <a:gd name="T36" fmla="*/ 2147483646 w 5"/>
                <a:gd name="T37" fmla="*/ 2147483646 h 9"/>
                <a:gd name="T38" fmla="*/ 2147483646 w 5"/>
                <a:gd name="T39" fmla="*/ 2147483646 h 9"/>
                <a:gd name="T40" fmla="*/ 2147483646 w 5"/>
                <a:gd name="T41" fmla="*/ 2147483646 h 9"/>
                <a:gd name="T42" fmla="*/ 2147483646 w 5"/>
                <a:gd name="T43" fmla="*/ 2147483646 h 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" h="9">
                  <a:moveTo>
                    <a:pt x="2" y="9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1"/>
                    <a:pt x="4" y="3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8"/>
                    <a:pt x="3" y="8"/>
                    <a:pt x="2" y="8"/>
                  </a:cubicBezTo>
                  <a:lnTo>
                    <a:pt x="2" y="9"/>
                  </a:lnTo>
                  <a:close/>
                  <a:moveTo>
                    <a:pt x="1" y="2"/>
                  </a:moveTo>
                  <a:cubicBezTo>
                    <a:pt x="1" y="3"/>
                    <a:pt x="1" y="3"/>
                    <a:pt x="1" y="4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2" y="7"/>
                    <a:pt x="2" y="7"/>
                    <a:pt x="3" y="6"/>
                  </a:cubicBezTo>
                  <a:cubicBezTo>
                    <a:pt x="3" y="6"/>
                    <a:pt x="3" y="6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3"/>
                    <a:pt x="3" y="2"/>
                    <a:pt x="3" y="1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8" name="Freeform 373"/>
            <p:cNvSpPr/>
            <p:nvPr/>
          </p:nvSpPr>
          <p:spPr bwMode="auto">
            <a:xfrm>
              <a:off x="1946728" y="2471704"/>
              <a:ext cx="59802" cy="44076"/>
            </a:xfrm>
            <a:custGeom>
              <a:avLst/>
              <a:gdLst>
                <a:gd name="T0" fmla="*/ 2147483646 w 8"/>
                <a:gd name="T1" fmla="*/ 2147483646 h 6"/>
                <a:gd name="T2" fmla="*/ 2147483646 w 8"/>
                <a:gd name="T3" fmla="*/ 2147483646 h 6"/>
                <a:gd name="T4" fmla="*/ 2147483646 w 8"/>
                <a:gd name="T5" fmla="*/ 2147483646 h 6"/>
                <a:gd name="T6" fmla="*/ 2147483646 w 8"/>
                <a:gd name="T7" fmla="*/ 2147483646 h 6"/>
                <a:gd name="T8" fmla="*/ 2147483646 w 8"/>
                <a:gd name="T9" fmla="*/ 214748364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" h="6">
                  <a:moveTo>
                    <a:pt x="8" y="1"/>
                  </a:moveTo>
                  <a:cubicBezTo>
                    <a:pt x="7" y="1"/>
                    <a:pt x="7" y="5"/>
                    <a:pt x="6" y="5"/>
                  </a:cubicBezTo>
                  <a:cubicBezTo>
                    <a:pt x="6" y="6"/>
                    <a:pt x="2" y="3"/>
                    <a:pt x="1" y="3"/>
                  </a:cubicBezTo>
                  <a:cubicBezTo>
                    <a:pt x="0" y="2"/>
                    <a:pt x="1" y="0"/>
                    <a:pt x="2" y="1"/>
                  </a:cubicBezTo>
                  <a:cubicBezTo>
                    <a:pt x="4" y="2"/>
                    <a:pt x="6" y="1"/>
                    <a:pt x="8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9" name="Freeform 374"/>
            <p:cNvSpPr>
              <a:spLocks noEditPoints="1"/>
            </p:cNvSpPr>
            <p:nvPr/>
          </p:nvSpPr>
          <p:spPr bwMode="auto">
            <a:xfrm>
              <a:off x="1946728" y="2471704"/>
              <a:ext cx="66097" cy="44076"/>
            </a:xfrm>
            <a:custGeom>
              <a:avLst/>
              <a:gdLst>
                <a:gd name="T0" fmla="*/ 2147483646 w 9"/>
                <a:gd name="T1" fmla="*/ 2147483646 h 6"/>
                <a:gd name="T2" fmla="*/ 2147483646 w 9"/>
                <a:gd name="T3" fmla="*/ 2147483646 h 6"/>
                <a:gd name="T4" fmla="*/ 2147483646 w 9"/>
                <a:gd name="T5" fmla="*/ 2147483646 h 6"/>
                <a:gd name="T6" fmla="*/ 0 w 9"/>
                <a:gd name="T7" fmla="*/ 2147483646 h 6"/>
                <a:gd name="T8" fmla="*/ 2147483646 w 9"/>
                <a:gd name="T9" fmla="*/ 0 h 6"/>
                <a:gd name="T10" fmla="*/ 2147483646 w 9"/>
                <a:gd name="T11" fmla="*/ 0 h 6"/>
                <a:gd name="T12" fmla="*/ 2147483646 w 9"/>
                <a:gd name="T13" fmla="*/ 0 h 6"/>
                <a:gd name="T14" fmla="*/ 2147483646 w 9"/>
                <a:gd name="T15" fmla="*/ 0 h 6"/>
                <a:gd name="T16" fmla="*/ 2147483646 w 9"/>
                <a:gd name="T17" fmla="*/ 2147483646 h 6"/>
                <a:gd name="T18" fmla="*/ 2147483646 w 9"/>
                <a:gd name="T19" fmla="*/ 2147483646 h 6"/>
                <a:gd name="T20" fmla="*/ 2147483646 w 9"/>
                <a:gd name="T21" fmla="*/ 2147483646 h 6"/>
                <a:gd name="T22" fmla="*/ 2147483646 w 9"/>
                <a:gd name="T23" fmla="*/ 2147483646 h 6"/>
                <a:gd name="T24" fmla="*/ 2147483646 w 9"/>
                <a:gd name="T25" fmla="*/ 2147483646 h 6"/>
                <a:gd name="T26" fmla="*/ 2147483646 w 9"/>
                <a:gd name="T27" fmla="*/ 2147483646 h 6"/>
                <a:gd name="T28" fmla="*/ 2147483646 w 9"/>
                <a:gd name="T29" fmla="*/ 2147483646 h 6"/>
                <a:gd name="T30" fmla="*/ 2147483646 w 9"/>
                <a:gd name="T31" fmla="*/ 2147483646 h 6"/>
                <a:gd name="T32" fmla="*/ 2147483646 w 9"/>
                <a:gd name="T33" fmla="*/ 2147483646 h 6"/>
                <a:gd name="T34" fmla="*/ 2147483646 w 9"/>
                <a:gd name="T35" fmla="*/ 2147483646 h 6"/>
                <a:gd name="T36" fmla="*/ 2147483646 w 9"/>
                <a:gd name="T37" fmla="*/ 2147483646 h 6"/>
                <a:gd name="T38" fmla="*/ 2147483646 w 9"/>
                <a:gd name="T39" fmla="*/ 2147483646 h 6"/>
                <a:gd name="T40" fmla="*/ 2147483646 w 9"/>
                <a:gd name="T41" fmla="*/ 2147483646 h 6"/>
                <a:gd name="T42" fmla="*/ 2147483646 w 9"/>
                <a:gd name="T43" fmla="*/ 2147483646 h 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" h="6">
                  <a:moveTo>
                    <a:pt x="6" y="6"/>
                  </a:moveTo>
                  <a:cubicBezTo>
                    <a:pt x="5" y="6"/>
                    <a:pt x="4" y="5"/>
                    <a:pt x="2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1"/>
                    <a:pt x="5" y="1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3"/>
                    <a:pt x="7" y="3"/>
                  </a:cubicBezTo>
                  <a:cubicBezTo>
                    <a:pt x="7" y="5"/>
                    <a:pt x="7" y="5"/>
                    <a:pt x="7" y="6"/>
                  </a:cubicBezTo>
                  <a:cubicBezTo>
                    <a:pt x="7" y="6"/>
                    <a:pt x="6" y="6"/>
                    <a:pt x="6" y="6"/>
                  </a:cubicBezTo>
                  <a:close/>
                  <a:moveTo>
                    <a:pt x="2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3"/>
                  </a:cubicBezTo>
                  <a:cubicBezTo>
                    <a:pt x="3" y="3"/>
                    <a:pt x="5" y="4"/>
                    <a:pt x="6" y="5"/>
                  </a:cubicBezTo>
                  <a:cubicBezTo>
                    <a:pt x="6" y="4"/>
                    <a:pt x="6" y="4"/>
                    <a:pt x="6" y="3"/>
                  </a:cubicBezTo>
                  <a:cubicBezTo>
                    <a:pt x="7" y="2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2"/>
                    <a:pt x="3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0" name="Freeform 375"/>
            <p:cNvSpPr/>
            <p:nvPr/>
          </p:nvSpPr>
          <p:spPr bwMode="auto">
            <a:xfrm>
              <a:off x="1827124" y="2188361"/>
              <a:ext cx="15737" cy="22039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0 h 3"/>
                <a:gd name="T4" fmla="*/ 2147483646 w 2"/>
                <a:gd name="T5" fmla="*/ 2147483646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3">
                  <a:moveTo>
                    <a:pt x="1" y="2"/>
                  </a:moveTo>
                  <a:cubicBezTo>
                    <a:pt x="2" y="3"/>
                    <a:pt x="2" y="1"/>
                    <a:pt x="1" y="0"/>
                  </a:cubicBezTo>
                  <a:cubicBezTo>
                    <a:pt x="1" y="1"/>
                    <a:pt x="0" y="1"/>
                    <a:pt x="1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1" name="Freeform 376"/>
            <p:cNvSpPr/>
            <p:nvPr/>
          </p:nvSpPr>
          <p:spPr bwMode="auto">
            <a:xfrm>
              <a:off x="1827124" y="2182065"/>
              <a:ext cx="22032" cy="28334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0 w 3"/>
                <a:gd name="T7" fmla="*/ 2147483646 h 4"/>
                <a:gd name="T8" fmla="*/ 0 w 3"/>
                <a:gd name="T9" fmla="*/ 2147483646 h 4"/>
                <a:gd name="T10" fmla="*/ 0 w 3"/>
                <a:gd name="T11" fmla="*/ 2147483646 h 4"/>
                <a:gd name="T12" fmla="*/ 2147483646 w 3"/>
                <a:gd name="T13" fmla="*/ 2147483646 h 4"/>
                <a:gd name="T14" fmla="*/ 2147483646 w 3"/>
                <a:gd name="T15" fmla="*/ 0 h 4"/>
                <a:gd name="T16" fmla="*/ 2147483646 w 3"/>
                <a:gd name="T17" fmla="*/ 2147483646 h 4"/>
                <a:gd name="T18" fmla="*/ 2147483646 w 3"/>
                <a:gd name="T19" fmla="*/ 2147483646 h 4"/>
                <a:gd name="T20" fmla="*/ 2147483646 w 3"/>
                <a:gd name="T21" fmla="*/ 2147483646 h 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3" y="3"/>
                    <a:pt x="2" y="3"/>
                  </a:cubicBezTo>
                  <a:cubicBezTo>
                    <a:pt x="2" y="4"/>
                    <a:pt x="2" y="4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2" name="Freeform 377"/>
            <p:cNvSpPr/>
            <p:nvPr/>
          </p:nvSpPr>
          <p:spPr bwMode="auto">
            <a:xfrm>
              <a:off x="1811386" y="2106507"/>
              <a:ext cx="15737" cy="9445"/>
            </a:xfrm>
            <a:custGeom>
              <a:avLst/>
              <a:gdLst>
                <a:gd name="T0" fmla="*/ 2147483646 w 2"/>
                <a:gd name="T1" fmla="*/ 0 h 1"/>
                <a:gd name="T2" fmla="*/ 0 w 2"/>
                <a:gd name="T3" fmla="*/ 2147483646 h 1"/>
                <a:gd name="T4" fmla="*/ 2147483646 w 2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3" name="Freeform 378"/>
            <p:cNvSpPr/>
            <p:nvPr/>
          </p:nvSpPr>
          <p:spPr bwMode="auto">
            <a:xfrm>
              <a:off x="1811386" y="2100210"/>
              <a:ext cx="15737" cy="28334"/>
            </a:xfrm>
            <a:custGeom>
              <a:avLst/>
              <a:gdLst>
                <a:gd name="T0" fmla="*/ 0 w 2"/>
                <a:gd name="T1" fmla="*/ 2147483646 h 4"/>
                <a:gd name="T2" fmla="*/ 0 w 2"/>
                <a:gd name="T3" fmla="*/ 2147483646 h 4"/>
                <a:gd name="T4" fmla="*/ 2147483646 w 2"/>
                <a:gd name="T5" fmla="*/ 2147483646 h 4"/>
                <a:gd name="T6" fmla="*/ 2147483646 w 2"/>
                <a:gd name="T7" fmla="*/ 0 h 4"/>
                <a:gd name="T8" fmla="*/ 2147483646 w 2"/>
                <a:gd name="T9" fmla="*/ 2147483646 h 4"/>
                <a:gd name="T10" fmla="*/ 2147483646 w 2"/>
                <a:gd name="T11" fmla="*/ 2147483646 h 4"/>
                <a:gd name="T12" fmla="*/ 2147483646 w 2"/>
                <a:gd name="T13" fmla="*/ 2147483646 h 4"/>
                <a:gd name="T14" fmla="*/ 0 w 2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4" name="Freeform 379"/>
            <p:cNvSpPr/>
            <p:nvPr/>
          </p:nvSpPr>
          <p:spPr bwMode="auto">
            <a:xfrm>
              <a:off x="1795649" y="2093914"/>
              <a:ext cx="59802" cy="78706"/>
            </a:xfrm>
            <a:custGeom>
              <a:avLst/>
              <a:gdLst>
                <a:gd name="T0" fmla="*/ 2147483646 w 8"/>
                <a:gd name="T1" fmla="*/ 2147483646 h 11"/>
                <a:gd name="T2" fmla="*/ 2147483646 w 8"/>
                <a:gd name="T3" fmla="*/ 2147483646 h 11"/>
                <a:gd name="T4" fmla="*/ 2147483646 w 8"/>
                <a:gd name="T5" fmla="*/ 2147483646 h 11"/>
                <a:gd name="T6" fmla="*/ 2147483646 w 8"/>
                <a:gd name="T7" fmla="*/ 2147483646 h 11"/>
                <a:gd name="T8" fmla="*/ 2147483646 w 8"/>
                <a:gd name="T9" fmla="*/ 2147483646 h 11"/>
                <a:gd name="T10" fmla="*/ 2147483646 w 8"/>
                <a:gd name="T11" fmla="*/ 2147483646 h 11"/>
                <a:gd name="T12" fmla="*/ 2147483646 w 8"/>
                <a:gd name="T13" fmla="*/ 2147483646 h 11"/>
                <a:gd name="T14" fmla="*/ 2147483646 w 8"/>
                <a:gd name="T15" fmla="*/ 2147483646 h 11"/>
                <a:gd name="T16" fmla="*/ 0 w 8"/>
                <a:gd name="T17" fmla="*/ 2147483646 h 11"/>
                <a:gd name="T18" fmla="*/ 2147483646 w 8"/>
                <a:gd name="T19" fmla="*/ 2147483646 h 11"/>
                <a:gd name="T20" fmla="*/ 2147483646 w 8"/>
                <a:gd name="T21" fmla="*/ 2147483646 h 11"/>
                <a:gd name="T22" fmla="*/ 2147483646 w 8"/>
                <a:gd name="T23" fmla="*/ 2147483646 h 11"/>
                <a:gd name="T24" fmla="*/ 2147483646 w 8"/>
                <a:gd name="T25" fmla="*/ 2147483646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" h="11">
                  <a:moveTo>
                    <a:pt x="3" y="3"/>
                  </a:moveTo>
                  <a:cubicBezTo>
                    <a:pt x="4" y="4"/>
                    <a:pt x="2" y="5"/>
                    <a:pt x="4" y="5"/>
                  </a:cubicBezTo>
                  <a:cubicBezTo>
                    <a:pt x="4" y="5"/>
                    <a:pt x="4" y="2"/>
                    <a:pt x="4" y="2"/>
                  </a:cubicBezTo>
                  <a:cubicBezTo>
                    <a:pt x="5" y="1"/>
                    <a:pt x="7" y="0"/>
                    <a:pt x="8" y="2"/>
                  </a:cubicBezTo>
                  <a:cubicBezTo>
                    <a:pt x="8" y="3"/>
                    <a:pt x="7" y="4"/>
                    <a:pt x="7" y="4"/>
                  </a:cubicBezTo>
                  <a:cubicBezTo>
                    <a:pt x="8" y="5"/>
                    <a:pt x="7" y="7"/>
                    <a:pt x="5" y="7"/>
                  </a:cubicBezTo>
                  <a:cubicBezTo>
                    <a:pt x="5" y="8"/>
                    <a:pt x="5" y="10"/>
                    <a:pt x="5" y="11"/>
                  </a:cubicBezTo>
                  <a:cubicBezTo>
                    <a:pt x="4" y="10"/>
                    <a:pt x="5" y="10"/>
                    <a:pt x="4" y="9"/>
                  </a:cubicBezTo>
                  <a:cubicBezTo>
                    <a:pt x="2" y="8"/>
                    <a:pt x="1" y="10"/>
                    <a:pt x="0" y="9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8"/>
                    <a:pt x="2" y="8"/>
                    <a:pt x="3" y="8"/>
                  </a:cubicBezTo>
                  <a:cubicBezTo>
                    <a:pt x="0" y="8"/>
                    <a:pt x="3" y="4"/>
                    <a:pt x="3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5" name="Freeform 380"/>
            <p:cNvSpPr>
              <a:spLocks noEditPoints="1"/>
            </p:cNvSpPr>
            <p:nvPr/>
          </p:nvSpPr>
          <p:spPr bwMode="auto">
            <a:xfrm>
              <a:off x="1773616" y="2093914"/>
              <a:ext cx="91277" cy="88151"/>
            </a:xfrm>
            <a:custGeom>
              <a:avLst/>
              <a:gdLst>
                <a:gd name="T0" fmla="*/ 2147483646 w 12"/>
                <a:gd name="T1" fmla="*/ 2147483646 h 12"/>
                <a:gd name="T2" fmla="*/ 2147483646 w 12"/>
                <a:gd name="T3" fmla="*/ 2147483646 h 12"/>
                <a:gd name="T4" fmla="*/ 2147483646 w 12"/>
                <a:gd name="T5" fmla="*/ 2147483646 h 12"/>
                <a:gd name="T6" fmla="*/ 2147483646 w 12"/>
                <a:gd name="T7" fmla="*/ 2147483646 h 12"/>
                <a:gd name="T8" fmla="*/ 2147483646 w 12"/>
                <a:gd name="T9" fmla="*/ 2147483646 h 12"/>
                <a:gd name="T10" fmla="*/ 2147483646 w 12"/>
                <a:gd name="T11" fmla="*/ 2147483646 h 12"/>
                <a:gd name="T12" fmla="*/ 2147483646 w 12"/>
                <a:gd name="T13" fmla="*/ 2147483646 h 12"/>
                <a:gd name="T14" fmla="*/ 2147483646 w 12"/>
                <a:gd name="T15" fmla="*/ 2147483646 h 12"/>
                <a:gd name="T16" fmla="*/ 0 w 12"/>
                <a:gd name="T17" fmla="*/ 2147483646 h 12"/>
                <a:gd name="T18" fmla="*/ 2147483646 w 12"/>
                <a:gd name="T19" fmla="*/ 2147483646 h 12"/>
                <a:gd name="T20" fmla="*/ 2147483646 w 12"/>
                <a:gd name="T21" fmla="*/ 2147483646 h 12"/>
                <a:gd name="T22" fmla="*/ 2147483646 w 12"/>
                <a:gd name="T23" fmla="*/ 2147483646 h 12"/>
                <a:gd name="T24" fmla="*/ 2147483646 w 12"/>
                <a:gd name="T25" fmla="*/ 2147483646 h 12"/>
                <a:gd name="T26" fmla="*/ 2147483646 w 12"/>
                <a:gd name="T27" fmla="*/ 2147483646 h 12"/>
                <a:gd name="T28" fmla="*/ 2147483646 w 12"/>
                <a:gd name="T29" fmla="*/ 2147483646 h 12"/>
                <a:gd name="T30" fmla="*/ 2147483646 w 12"/>
                <a:gd name="T31" fmla="*/ 2147483646 h 12"/>
                <a:gd name="T32" fmla="*/ 2147483646 w 12"/>
                <a:gd name="T33" fmla="*/ 2147483646 h 12"/>
                <a:gd name="T34" fmla="*/ 2147483646 w 12"/>
                <a:gd name="T35" fmla="*/ 2147483646 h 12"/>
                <a:gd name="T36" fmla="*/ 2147483646 w 12"/>
                <a:gd name="T37" fmla="*/ 2147483646 h 12"/>
                <a:gd name="T38" fmla="*/ 2147483646 w 12"/>
                <a:gd name="T39" fmla="*/ 2147483646 h 12"/>
                <a:gd name="T40" fmla="*/ 2147483646 w 12"/>
                <a:gd name="T41" fmla="*/ 0 h 12"/>
                <a:gd name="T42" fmla="*/ 2147483646 w 12"/>
                <a:gd name="T43" fmla="*/ 2147483646 h 12"/>
                <a:gd name="T44" fmla="*/ 2147483646 w 12"/>
                <a:gd name="T45" fmla="*/ 2147483646 h 12"/>
                <a:gd name="T46" fmla="*/ 2147483646 w 12"/>
                <a:gd name="T47" fmla="*/ 2147483646 h 12"/>
                <a:gd name="T48" fmla="*/ 2147483646 w 12"/>
                <a:gd name="T49" fmla="*/ 2147483646 h 12"/>
                <a:gd name="T50" fmla="*/ 2147483646 w 12"/>
                <a:gd name="T51" fmla="*/ 2147483646 h 12"/>
                <a:gd name="T52" fmla="*/ 2147483646 w 12"/>
                <a:gd name="T53" fmla="*/ 2147483646 h 12"/>
                <a:gd name="T54" fmla="*/ 2147483646 w 12"/>
                <a:gd name="T55" fmla="*/ 2147483646 h 12"/>
                <a:gd name="T56" fmla="*/ 2147483646 w 12"/>
                <a:gd name="T57" fmla="*/ 2147483646 h 12"/>
                <a:gd name="T58" fmla="*/ 2147483646 w 12"/>
                <a:gd name="T59" fmla="*/ 2147483646 h 12"/>
                <a:gd name="T60" fmla="*/ 2147483646 w 12"/>
                <a:gd name="T61" fmla="*/ 2147483646 h 12"/>
                <a:gd name="T62" fmla="*/ 2147483646 w 12"/>
                <a:gd name="T63" fmla="*/ 2147483646 h 12"/>
                <a:gd name="T64" fmla="*/ 2147483646 w 12"/>
                <a:gd name="T65" fmla="*/ 2147483646 h 12"/>
                <a:gd name="T66" fmla="*/ 2147483646 w 12"/>
                <a:gd name="T67" fmla="*/ 2147483646 h 12"/>
                <a:gd name="T68" fmla="*/ 2147483646 w 12"/>
                <a:gd name="T69" fmla="*/ 2147483646 h 12"/>
                <a:gd name="T70" fmla="*/ 2147483646 w 12"/>
                <a:gd name="T71" fmla="*/ 2147483646 h 12"/>
                <a:gd name="T72" fmla="*/ 2147483646 w 12"/>
                <a:gd name="T73" fmla="*/ 2147483646 h 12"/>
                <a:gd name="T74" fmla="*/ 2147483646 w 12"/>
                <a:gd name="T75" fmla="*/ 2147483646 h 12"/>
                <a:gd name="T76" fmla="*/ 2147483646 w 12"/>
                <a:gd name="T77" fmla="*/ 2147483646 h 12"/>
                <a:gd name="T78" fmla="*/ 2147483646 w 12"/>
                <a:gd name="T79" fmla="*/ 2147483646 h 12"/>
                <a:gd name="T80" fmla="*/ 2147483646 w 12"/>
                <a:gd name="T81" fmla="*/ 2147483646 h 12"/>
                <a:gd name="T82" fmla="*/ 2147483646 w 12"/>
                <a:gd name="T83" fmla="*/ 2147483646 h 12"/>
                <a:gd name="T84" fmla="*/ 2147483646 w 12"/>
                <a:gd name="T85" fmla="*/ 2147483646 h 12"/>
                <a:gd name="T86" fmla="*/ 2147483646 w 12"/>
                <a:gd name="T87" fmla="*/ 2147483646 h 12"/>
                <a:gd name="T88" fmla="*/ 2147483646 w 12"/>
                <a:gd name="T89" fmla="*/ 2147483646 h 12"/>
                <a:gd name="T90" fmla="*/ 2147483646 w 12"/>
                <a:gd name="T91" fmla="*/ 2147483646 h 12"/>
                <a:gd name="T92" fmla="*/ 2147483646 w 12"/>
                <a:gd name="T93" fmla="*/ 2147483646 h 1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2" h="12">
                  <a:moveTo>
                    <a:pt x="9" y="12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7" y="11"/>
                    <a:pt x="7" y="11"/>
                    <a:pt x="7" y="10"/>
                  </a:cubicBezTo>
                  <a:cubicBezTo>
                    <a:pt x="7" y="10"/>
                    <a:pt x="7" y="10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4" y="10"/>
                    <a:pt x="3" y="10"/>
                    <a:pt x="2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7"/>
                    <a:pt x="4" y="5"/>
                    <a:pt x="5" y="3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0" y="0"/>
                    <a:pt x="11" y="1"/>
                    <a:pt x="11" y="2"/>
                  </a:cubicBezTo>
                  <a:cubicBezTo>
                    <a:pt x="12" y="2"/>
                    <a:pt x="11" y="3"/>
                    <a:pt x="11" y="4"/>
                  </a:cubicBezTo>
                  <a:cubicBezTo>
                    <a:pt x="11" y="5"/>
                    <a:pt x="11" y="5"/>
                    <a:pt x="11" y="6"/>
                  </a:cubicBezTo>
                  <a:cubicBezTo>
                    <a:pt x="11" y="7"/>
                    <a:pt x="10" y="7"/>
                    <a:pt x="9" y="7"/>
                  </a:cubicBezTo>
                  <a:lnTo>
                    <a:pt x="9" y="12"/>
                  </a:lnTo>
                  <a:close/>
                  <a:moveTo>
                    <a:pt x="6" y="8"/>
                  </a:moveTo>
                  <a:cubicBezTo>
                    <a:pt x="6" y="8"/>
                    <a:pt x="7" y="8"/>
                    <a:pt x="7" y="8"/>
                  </a:cubicBezTo>
                  <a:cubicBezTo>
                    <a:pt x="7" y="9"/>
                    <a:pt x="8" y="9"/>
                    <a:pt x="8" y="9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5" y="7"/>
                    <a:pt x="6" y="7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8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10" y="6"/>
                    <a:pt x="10" y="6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7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6" name="Freeform 381"/>
            <p:cNvSpPr/>
            <p:nvPr/>
          </p:nvSpPr>
          <p:spPr bwMode="auto">
            <a:xfrm>
              <a:off x="1565882" y="2389850"/>
              <a:ext cx="66097" cy="110189"/>
            </a:xfrm>
            <a:custGeom>
              <a:avLst/>
              <a:gdLst>
                <a:gd name="T0" fmla="*/ 2147483646 w 9"/>
                <a:gd name="T1" fmla="*/ 2147483646 h 15"/>
                <a:gd name="T2" fmla="*/ 2147483646 w 9"/>
                <a:gd name="T3" fmla="*/ 2147483646 h 15"/>
                <a:gd name="T4" fmla="*/ 2147483646 w 9"/>
                <a:gd name="T5" fmla="*/ 2147483646 h 15"/>
                <a:gd name="T6" fmla="*/ 2147483646 w 9"/>
                <a:gd name="T7" fmla="*/ 2147483646 h 15"/>
                <a:gd name="T8" fmla="*/ 2147483646 w 9"/>
                <a:gd name="T9" fmla="*/ 2147483646 h 15"/>
                <a:gd name="T10" fmla="*/ 2147483646 w 9"/>
                <a:gd name="T11" fmla="*/ 2147483646 h 15"/>
                <a:gd name="T12" fmla="*/ 2147483646 w 9"/>
                <a:gd name="T13" fmla="*/ 2147483646 h 15"/>
                <a:gd name="T14" fmla="*/ 2147483646 w 9"/>
                <a:gd name="T15" fmla="*/ 2147483646 h 15"/>
                <a:gd name="T16" fmla="*/ 2147483646 w 9"/>
                <a:gd name="T17" fmla="*/ 0 h 15"/>
                <a:gd name="T18" fmla="*/ 2147483646 w 9"/>
                <a:gd name="T19" fmla="*/ 2147483646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" h="15">
                  <a:moveTo>
                    <a:pt x="2" y="1"/>
                  </a:moveTo>
                  <a:cubicBezTo>
                    <a:pt x="3" y="3"/>
                    <a:pt x="3" y="4"/>
                    <a:pt x="2" y="6"/>
                  </a:cubicBezTo>
                  <a:cubicBezTo>
                    <a:pt x="2" y="7"/>
                    <a:pt x="0" y="12"/>
                    <a:pt x="3" y="11"/>
                  </a:cubicBezTo>
                  <a:cubicBezTo>
                    <a:pt x="3" y="12"/>
                    <a:pt x="2" y="14"/>
                    <a:pt x="2" y="15"/>
                  </a:cubicBezTo>
                  <a:cubicBezTo>
                    <a:pt x="3" y="15"/>
                    <a:pt x="4" y="15"/>
                    <a:pt x="5" y="15"/>
                  </a:cubicBezTo>
                  <a:cubicBezTo>
                    <a:pt x="5" y="15"/>
                    <a:pt x="7" y="12"/>
                    <a:pt x="7" y="12"/>
                  </a:cubicBezTo>
                  <a:cubicBezTo>
                    <a:pt x="7" y="12"/>
                    <a:pt x="5" y="8"/>
                    <a:pt x="6" y="7"/>
                  </a:cubicBezTo>
                  <a:cubicBezTo>
                    <a:pt x="8" y="6"/>
                    <a:pt x="7" y="4"/>
                    <a:pt x="8" y="2"/>
                  </a:cubicBezTo>
                  <a:cubicBezTo>
                    <a:pt x="9" y="0"/>
                    <a:pt x="5" y="1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7" name="Freeform 382"/>
            <p:cNvSpPr>
              <a:spLocks noEditPoints="1"/>
            </p:cNvSpPr>
            <p:nvPr/>
          </p:nvSpPr>
          <p:spPr bwMode="auto">
            <a:xfrm>
              <a:off x="1565882" y="2383553"/>
              <a:ext cx="66097" cy="125930"/>
            </a:xfrm>
            <a:custGeom>
              <a:avLst/>
              <a:gdLst>
                <a:gd name="T0" fmla="*/ 2147483646 w 9"/>
                <a:gd name="T1" fmla="*/ 2147483646 h 17"/>
                <a:gd name="T2" fmla="*/ 2147483646 w 9"/>
                <a:gd name="T3" fmla="*/ 2147483646 h 17"/>
                <a:gd name="T4" fmla="*/ 2147483646 w 9"/>
                <a:gd name="T5" fmla="*/ 2147483646 h 17"/>
                <a:gd name="T6" fmla="*/ 2147483646 w 9"/>
                <a:gd name="T7" fmla="*/ 2147483646 h 17"/>
                <a:gd name="T8" fmla="*/ 2147483646 w 9"/>
                <a:gd name="T9" fmla="*/ 2147483646 h 17"/>
                <a:gd name="T10" fmla="*/ 2147483646 w 9"/>
                <a:gd name="T11" fmla="*/ 2147483646 h 17"/>
                <a:gd name="T12" fmla="*/ 2147483646 w 9"/>
                <a:gd name="T13" fmla="*/ 2147483646 h 17"/>
                <a:gd name="T14" fmla="*/ 2147483646 w 9"/>
                <a:gd name="T15" fmla="*/ 2147483646 h 17"/>
                <a:gd name="T16" fmla="*/ 2147483646 w 9"/>
                <a:gd name="T17" fmla="*/ 2147483646 h 17"/>
                <a:gd name="T18" fmla="*/ 2147483646 w 9"/>
                <a:gd name="T19" fmla="*/ 2147483646 h 17"/>
                <a:gd name="T20" fmla="*/ 2147483646 w 9"/>
                <a:gd name="T21" fmla="*/ 2147483646 h 17"/>
                <a:gd name="T22" fmla="*/ 2147483646 w 9"/>
                <a:gd name="T23" fmla="*/ 2147483646 h 17"/>
                <a:gd name="T24" fmla="*/ 2147483646 w 9"/>
                <a:gd name="T25" fmla="*/ 2147483646 h 17"/>
                <a:gd name="T26" fmla="*/ 2147483646 w 9"/>
                <a:gd name="T27" fmla="*/ 0 h 17"/>
                <a:gd name="T28" fmla="*/ 2147483646 w 9"/>
                <a:gd name="T29" fmla="*/ 2147483646 h 17"/>
                <a:gd name="T30" fmla="*/ 2147483646 w 9"/>
                <a:gd name="T31" fmla="*/ 2147483646 h 17"/>
                <a:gd name="T32" fmla="*/ 2147483646 w 9"/>
                <a:gd name="T33" fmla="*/ 2147483646 h 17"/>
                <a:gd name="T34" fmla="*/ 2147483646 w 9"/>
                <a:gd name="T35" fmla="*/ 2147483646 h 17"/>
                <a:gd name="T36" fmla="*/ 2147483646 w 9"/>
                <a:gd name="T37" fmla="*/ 2147483646 h 17"/>
                <a:gd name="T38" fmla="*/ 2147483646 w 9"/>
                <a:gd name="T39" fmla="*/ 2147483646 h 17"/>
                <a:gd name="T40" fmla="*/ 2147483646 w 9"/>
                <a:gd name="T41" fmla="*/ 2147483646 h 17"/>
                <a:gd name="T42" fmla="*/ 2147483646 w 9"/>
                <a:gd name="T43" fmla="*/ 2147483646 h 17"/>
                <a:gd name="T44" fmla="*/ 2147483646 w 9"/>
                <a:gd name="T45" fmla="*/ 2147483646 h 17"/>
                <a:gd name="T46" fmla="*/ 2147483646 w 9"/>
                <a:gd name="T47" fmla="*/ 2147483646 h 17"/>
                <a:gd name="T48" fmla="*/ 2147483646 w 9"/>
                <a:gd name="T49" fmla="*/ 2147483646 h 17"/>
                <a:gd name="T50" fmla="*/ 2147483646 w 9"/>
                <a:gd name="T51" fmla="*/ 2147483646 h 17"/>
                <a:gd name="T52" fmla="*/ 2147483646 w 9"/>
                <a:gd name="T53" fmla="*/ 2147483646 h 17"/>
                <a:gd name="T54" fmla="*/ 2147483646 w 9"/>
                <a:gd name="T55" fmla="*/ 2147483646 h 17"/>
                <a:gd name="T56" fmla="*/ 2147483646 w 9"/>
                <a:gd name="T57" fmla="*/ 2147483646 h 17"/>
                <a:gd name="T58" fmla="*/ 2147483646 w 9"/>
                <a:gd name="T59" fmla="*/ 2147483646 h 17"/>
                <a:gd name="T60" fmla="*/ 2147483646 w 9"/>
                <a:gd name="T61" fmla="*/ 2147483646 h 17"/>
                <a:gd name="T62" fmla="*/ 2147483646 w 9"/>
                <a:gd name="T63" fmla="*/ 2147483646 h 17"/>
                <a:gd name="T64" fmla="*/ 2147483646 w 9"/>
                <a:gd name="T65" fmla="*/ 2147483646 h 17"/>
                <a:gd name="T66" fmla="*/ 2147483646 w 9"/>
                <a:gd name="T67" fmla="*/ 2147483646 h 17"/>
                <a:gd name="T68" fmla="*/ 2147483646 w 9"/>
                <a:gd name="T69" fmla="*/ 2147483646 h 17"/>
                <a:gd name="T70" fmla="*/ 2147483646 w 9"/>
                <a:gd name="T71" fmla="*/ 2147483646 h 17"/>
                <a:gd name="T72" fmla="*/ 2147483646 w 9"/>
                <a:gd name="T73" fmla="*/ 2147483646 h 17"/>
                <a:gd name="T74" fmla="*/ 2147483646 w 9"/>
                <a:gd name="T75" fmla="*/ 2147483646 h 17"/>
                <a:gd name="T76" fmla="*/ 2147483646 w 9"/>
                <a:gd name="T77" fmla="*/ 2147483646 h 17"/>
                <a:gd name="T78" fmla="*/ 2147483646 w 9"/>
                <a:gd name="T79" fmla="*/ 2147483646 h 17"/>
                <a:gd name="T80" fmla="*/ 2147483646 w 9"/>
                <a:gd name="T81" fmla="*/ 2147483646 h 17"/>
                <a:gd name="T82" fmla="*/ 2147483646 w 9"/>
                <a:gd name="T83" fmla="*/ 2147483646 h 17"/>
                <a:gd name="T84" fmla="*/ 2147483646 w 9"/>
                <a:gd name="T85" fmla="*/ 2147483646 h 17"/>
                <a:gd name="T86" fmla="*/ 2147483646 w 9"/>
                <a:gd name="T87" fmla="*/ 2147483646 h 17"/>
                <a:gd name="T88" fmla="*/ 2147483646 w 9"/>
                <a:gd name="T89" fmla="*/ 2147483646 h 17"/>
                <a:gd name="T90" fmla="*/ 2147483646 w 9"/>
                <a:gd name="T91" fmla="*/ 2147483646 h 17"/>
                <a:gd name="T92" fmla="*/ 2147483646 w 9"/>
                <a:gd name="T93" fmla="*/ 2147483646 h 17"/>
                <a:gd name="T94" fmla="*/ 2147483646 w 9"/>
                <a:gd name="T95" fmla="*/ 2147483646 h 1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9" h="17">
                  <a:moveTo>
                    <a:pt x="2" y="17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2" y="14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1" y="13"/>
                    <a:pt x="1" y="12"/>
                  </a:cubicBezTo>
                  <a:cubicBezTo>
                    <a:pt x="0" y="11"/>
                    <a:pt x="1" y="9"/>
                    <a:pt x="1" y="7"/>
                  </a:cubicBezTo>
                  <a:cubicBezTo>
                    <a:pt x="1" y="7"/>
                    <a:pt x="1" y="7"/>
                    <a:pt x="2" y="7"/>
                  </a:cubicBezTo>
                  <a:cubicBezTo>
                    <a:pt x="2" y="5"/>
                    <a:pt x="2" y="4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8" y="1"/>
                    <a:pt x="9" y="1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8" y="4"/>
                    <a:pt x="8" y="5"/>
                    <a:pt x="8" y="6"/>
                  </a:cubicBezTo>
                  <a:cubicBezTo>
                    <a:pt x="8" y="7"/>
                    <a:pt x="7" y="8"/>
                    <a:pt x="6" y="9"/>
                  </a:cubicBezTo>
                  <a:cubicBezTo>
                    <a:pt x="6" y="9"/>
                    <a:pt x="7" y="11"/>
                    <a:pt x="7" y="11"/>
                  </a:cubicBezTo>
                  <a:cubicBezTo>
                    <a:pt x="7" y="12"/>
                    <a:pt x="7" y="13"/>
                    <a:pt x="7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5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lnTo>
                    <a:pt x="2" y="17"/>
                  </a:lnTo>
                  <a:close/>
                  <a:moveTo>
                    <a:pt x="3" y="11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4"/>
                    <a:pt x="3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4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5" y="10"/>
                    <a:pt x="5" y="8"/>
                    <a:pt x="6" y="8"/>
                  </a:cubicBezTo>
                  <a:cubicBezTo>
                    <a:pt x="6" y="7"/>
                    <a:pt x="6" y="7"/>
                    <a:pt x="7" y="6"/>
                  </a:cubicBezTo>
                  <a:cubicBezTo>
                    <a:pt x="7" y="5"/>
                    <a:pt x="7" y="4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7"/>
                    <a:pt x="3" y="8"/>
                    <a:pt x="2" y="8"/>
                  </a:cubicBezTo>
                  <a:cubicBezTo>
                    <a:pt x="1" y="11"/>
                    <a:pt x="2" y="12"/>
                    <a:pt x="2" y="12"/>
                  </a:cubicBezTo>
                  <a:cubicBezTo>
                    <a:pt x="2" y="12"/>
                    <a:pt x="2" y="12"/>
                    <a:pt x="2" y="11"/>
                  </a:cubicBezTo>
                  <a:lnTo>
                    <a:pt x="3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8" name="Freeform 383"/>
            <p:cNvSpPr/>
            <p:nvPr/>
          </p:nvSpPr>
          <p:spPr bwMode="auto">
            <a:xfrm>
              <a:off x="2078923" y="2241882"/>
              <a:ext cx="163669" cy="110189"/>
            </a:xfrm>
            <a:custGeom>
              <a:avLst/>
              <a:gdLst>
                <a:gd name="T0" fmla="*/ 0 w 22"/>
                <a:gd name="T1" fmla="*/ 2147483646 h 15"/>
                <a:gd name="T2" fmla="*/ 2147483646 w 22"/>
                <a:gd name="T3" fmla="*/ 2147483646 h 15"/>
                <a:gd name="T4" fmla="*/ 2147483646 w 22"/>
                <a:gd name="T5" fmla="*/ 2147483646 h 15"/>
                <a:gd name="T6" fmla="*/ 2147483646 w 22"/>
                <a:gd name="T7" fmla="*/ 2147483646 h 15"/>
                <a:gd name="T8" fmla="*/ 2147483646 w 22"/>
                <a:gd name="T9" fmla="*/ 2147483646 h 15"/>
                <a:gd name="T10" fmla="*/ 2147483646 w 22"/>
                <a:gd name="T11" fmla="*/ 2147483646 h 15"/>
                <a:gd name="T12" fmla="*/ 2147483646 w 22"/>
                <a:gd name="T13" fmla="*/ 2147483646 h 15"/>
                <a:gd name="T14" fmla="*/ 2147483646 w 22"/>
                <a:gd name="T15" fmla="*/ 2147483646 h 15"/>
                <a:gd name="T16" fmla="*/ 2147483646 w 22"/>
                <a:gd name="T17" fmla="*/ 2147483646 h 15"/>
                <a:gd name="T18" fmla="*/ 2147483646 w 22"/>
                <a:gd name="T19" fmla="*/ 2147483646 h 15"/>
                <a:gd name="T20" fmla="*/ 2147483646 w 22"/>
                <a:gd name="T21" fmla="*/ 2147483646 h 15"/>
                <a:gd name="T22" fmla="*/ 2147483646 w 22"/>
                <a:gd name="T23" fmla="*/ 2147483646 h 15"/>
                <a:gd name="T24" fmla="*/ 2147483646 w 22"/>
                <a:gd name="T25" fmla="*/ 2147483646 h 15"/>
                <a:gd name="T26" fmla="*/ 2147483646 w 22"/>
                <a:gd name="T27" fmla="*/ 2147483646 h 15"/>
                <a:gd name="T28" fmla="*/ 0 w 22"/>
                <a:gd name="T29" fmla="*/ 2147483646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2" h="15">
                  <a:moveTo>
                    <a:pt x="0" y="7"/>
                  </a:moveTo>
                  <a:cubicBezTo>
                    <a:pt x="2" y="7"/>
                    <a:pt x="2" y="7"/>
                    <a:pt x="3" y="5"/>
                  </a:cubicBezTo>
                  <a:cubicBezTo>
                    <a:pt x="4" y="4"/>
                    <a:pt x="4" y="2"/>
                    <a:pt x="5" y="1"/>
                  </a:cubicBezTo>
                  <a:cubicBezTo>
                    <a:pt x="8" y="0"/>
                    <a:pt x="11" y="2"/>
                    <a:pt x="13" y="1"/>
                  </a:cubicBezTo>
                  <a:cubicBezTo>
                    <a:pt x="17" y="0"/>
                    <a:pt x="17" y="2"/>
                    <a:pt x="18" y="5"/>
                  </a:cubicBezTo>
                  <a:cubicBezTo>
                    <a:pt x="20" y="8"/>
                    <a:pt x="17" y="10"/>
                    <a:pt x="22" y="9"/>
                  </a:cubicBezTo>
                  <a:cubicBezTo>
                    <a:pt x="22" y="11"/>
                    <a:pt x="22" y="12"/>
                    <a:pt x="21" y="13"/>
                  </a:cubicBezTo>
                  <a:cubicBezTo>
                    <a:pt x="21" y="12"/>
                    <a:pt x="20" y="12"/>
                    <a:pt x="20" y="11"/>
                  </a:cubicBezTo>
                  <a:cubicBezTo>
                    <a:pt x="20" y="12"/>
                    <a:pt x="20" y="13"/>
                    <a:pt x="20" y="15"/>
                  </a:cubicBezTo>
                  <a:cubicBezTo>
                    <a:pt x="19" y="14"/>
                    <a:pt x="17" y="14"/>
                    <a:pt x="16" y="14"/>
                  </a:cubicBezTo>
                  <a:cubicBezTo>
                    <a:pt x="15" y="14"/>
                    <a:pt x="14" y="15"/>
                    <a:pt x="12" y="15"/>
                  </a:cubicBezTo>
                  <a:cubicBezTo>
                    <a:pt x="11" y="15"/>
                    <a:pt x="6" y="15"/>
                    <a:pt x="7" y="14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6" y="12"/>
                    <a:pt x="5" y="13"/>
                    <a:pt x="5" y="12"/>
                  </a:cubicBezTo>
                  <a:cubicBezTo>
                    <a:pt x="4" y="13"/>
                    <a:pt x="2" y="8"/>
                    <a:pt x="0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9" name="Freeform 384"/>
            <p:cNvSpPr>
              <a:spLocks noEditPoints="1"/>
            </p:cNvSpPr>
            <p:nvPr/>
          </p:nvSpPr>
          <p:spPr bwMode="auto">
            <a:xfrm>
              <a:off x="2072628" y="2241882"/>
              <a:ext cx="179407" cy="119634"/>
            </a:xfrm>
            <a:custGeom>
              <a:avLst/>
              <a:gdLst>
                <a:gd name="T0" fmla="*/ 2147483646 w 24"/>
                <a:gd name="T1" fmla="*/ 2147483646 h 16"/>
                <a:gd name="T2" fmla="*/ 2147483646 w 24"/>
                <a:gd name="T3" fmla="*/ 2147483646 h 16"/>
                <a:gd name="T4" fmla="*/ 2147483646 w 24"/>
                <a:gd name="T5" fmla="*/ 2147483646 h 16"/>
                <a:gd name="T6" fmla="*/ 2147483646 w 24"/>
                <a:gd name="T7" fmla="*/ 2147483646 h 16"/>
                <a:gd name="T8" fmla="*/ 0 w 24"/>
                <a:gd name="T9" fmla="*/ 2147483646 h 16"/>
                <a:gd name="T10" fmla="*/ 2147483646 w 24"/>
                <a:gd name="T11" fmla="*/ 2147483646 h 16"/>
                <a:gd name="T12" fmla="*/ 2147483646 w 24"/>
                <a:gd name="T13" fmla="*/ 2147483646 h 16"/>
                <a:gd name="T14" fmla="*/ 2147483646 w 24"/>
                <a:gd name="T15" fmla="*/ 0 h 16"/>
                <a:gd name="T16" fmla="*/ 2147483646 w 24"/>
                <a:gd name="T17" fmla="*/ 0 h 16"/>
                <a:gd name="T18" fmla="*/ 2147483646 w 24"/>
                <a:gd name="T19" fmla="*/ 2147483646 h 16"/>
                <a:gd name="T20" fmla="*/ 2147483646 w 24"/>
                <a:gd name="T21" fmla="*/ 2147483646 h 16"/>
                <a:gd name="T22" fmla="*/ 2147483646 w 24"/>
                <a:gd name="T23" fmla="*/ 2147483646 h 16"/>
                <a:gd name="T24" fmla="*/ 2147483646 w 24"/>
                <a:gd name="T25" fmla="*/ 2147483646 h 16"/>
                <a:gd name="T26" fmla="*/ 2147483646 w 24"/>
                <a:gd name="T27" fmla="*/ 2147483646 h 16"/>
                <a:gd name="T28" fmla="*/ 2147483646 w 24"/>
                <a:gd name="T29" fmla="*/ 2147483646 h 16"/>
                <a:gd name="T30" fmla="*/ 2147483646 w 24"/>
                <a:gd name="T31" fmla="*/ 2147483646 h 16"/>
                <a:gd name="T32" fmla="*/ 2147483646 w 24"/>
                <a:gd name="T33" fmla="*/ 2147483646 h 16"/>
                <a:gd name="T34" fmla="*/ 2147483646 w 24"/>
                <a:gd name="T35" fmla="*/ 2147483646 h 16"/>
                <a:gd name="T36" fmla="*/ 2147483646 w 24"/>
                <a:gd name="T37" fmla="*/ 2147483646 h 16"/>
                <a:gd name="T38" fmla="*/ 2147483646 w 24"/>
                <a:gd name="T39" fmla="*/ 2147483646 h 16"/>
                <a:gd name="T40" fmla="*/ 2147483646 w 24"/>
                <a:gd name="T41" fmla="*/ 2147483646 h 16"/>
                <a:gd name="T42" fmla="*/ 2147483646 w 24"/>
                <a:gd name="T43" fmla="*/ 2147483646 h 16"/>
                <a:gd name="T44" fmla="*/ 2147483646 w 24"/>
                <a:gd name="T45" fmla="*/ 2147483646 h 16"/>
                <a:gd name="T46" fmla="*/ 2147483646 w 24"/>
                <a:gd name="T47" fmla="*/ 2147483646 h 16"/>
                <a:gd name="T48" fmla="*/ 2147483646 w 24"/>
                <a:gd name="T49" fmla="*/ 2147483646 h 16"/>
                <a:gd name="T50" fmla="*/ 2147483646 w 24"/>
                <a:gd name="T51" fmla="*/ 2147483646 h 16"/>
                <a:gd name="T52" fmla="*/ 2147483646 w 24"/>
                <a:gd name="T53" fmla="*/ 2147483646 h 16"/>
                <a:gd name="T54" fmla="*/ 2147483646 w 24"/>
                <a:gd name="T55" fmla="*/ 2147483646 h 16"/>
                <a:gd name="T56" fmla="*/ 2147483646 w 24"/>
                <a:gd name="T57" fmla="*/ 2147483646 h 16"/>
                <a:gd name="T58" fmla="*/ 2147483646 w 24"/>
                <a:gd name="T59" fmla="*/ 2147483646 h 16"/>
                <a:gd name="T60" fmla="*/ 2147483646 w 24"/>
                <a:gd name="T61" fmla="*/ 2147483646 h 16"/>
                <a:gd name="T62" fmla="*/ 2147483646 w 24"/>
                <a:gd name="T63" fmla="*/ 2147483646 h 16"/>
                <a:gd name="T64" fmla="*/ 2147483646 w 24"/>
                <a:gd name="T65" fmla="*/ 2147483646 h 16"/>
                <a:gd name="T66" fmla="*/ 2147483646 w 24"/>
                <a:gd name="T67" fmla="*/ 2147483646 h 16"/>
                <a:gd name="T68" fmla="*/ 2147483646 w 24"/>
                <a:gd name="T69" fmla="*/ 2147483646 h 16"/>
                <a:gd name="T70" fmla="*/ 2147483646 w 24"/>
                <a:gd name="T71" fmla="*/ 2147483646 h 16"/>
                <a:gd name="T72" fmla="*/ 2147483646 w 24"/>
                <a:gd name="T73" fmla="*/ 2147483646 h 16"/>
                <a:gd name="T74" fmla="*/ 2147483646 w 24"/>
                <a:gd name="T75" fmla="*/ 2147483646 h 16"/>
                <a:gd name="T76" fmla="*/ 2147483646 w 24"/>
                <a:gd name="T77" fmla="*/ 2147483646 h 1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4" h="16">
                  <a:moveTo>
                    <a:pt x="12" y="16"/>
                  </a:moveTo>
                  <a:cubicBezTo>
                    <a:pt x="10" y="16"/>
                    <a:pt x="8" y="16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4" y="11"/>
                    <a:pt x="3" y="10"/>
                  </a:cubicBezTo>
                  <a:cubicBezTo>
                    <a:pt x="2" y="9"/>
                    <a:pt x="1" y="8"/>
                    <a:pt x="1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3"/>
                    <a:pt x="5" y="2"/>
                    <a:pt x="6" y="1"/>
                  </a:cubicBezTo>
                  <a:cubicBezTo>
                    <a:pt x="7" y="0"/>
                    <a:pt x="8" y="0"/>
                    <a:pt x="9" y="0"/>
                  </a:cubicBezTo>
                  <a:cubicBezTo>
                    <a:pt x="10" y="0"/>
                    <a:pt x="10" y="0"/>
                    <a:pt x="11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cubicBezTo>
                    <a:pt x="18" y="0"/>
                    <a:pt x="18" y="1"/>
                    <a:pt x="19" y="3"/>
                  </a:cubicBezTo>
                  <a:cubicBezTo>
                    <a:pt x="19" y="4"/>
                    <a:pt x="20" y="4"/>
                    <a:pt x="20" y="4"/>
                  </a:cubicBezTo>
                  <a:cubicBezTo>
                    <a:pt x="20" y="6"/>
                    <a:pt x="20" y="7"/>
                    <a:pt x="20" y="8"/>
                  </a:cubicBezTo>
                  <a:cubicBezTo>
                    <a:pt x="20" y="8"/>
                    <a:pt x="20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11"/>
                    <a:pt x="23" y="12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4"/>
                    <a:pt x="22" y="14"/>
                    <a:pt x="22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9" y="15"/>
                    <a:pt x="18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4"/>
                    <a:pt x="16" y="15"/>
                    <a:pt x="15" y="15"/>
                  </a:cubicBezTo>
                  <a:cubicBezTo>
                    <a:pt x="15" y="15"/>
                    <a:pt x="14" y="16"/>
                    <a:pt x="14" y="16"/>
                  </a:cubicBezTo>
                  <a:cubicBezTo>
                    <a:pt x="13" y="16"/>
                    <a:pt x="13" y="16"/>
                    <a:pt x="12" y="16"/>
                  </a:cubicBezTo>
                  <a:close/>
                  <a:moveTo>
                    <a:pt x="7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10" y="15"/>
                    <a:pt x="12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5"/>
                    <a:pt x="14" y="14"/>
                    <a:pt x="15" y="14"/>
                  </a:cubicBezTo>
                  <a:cubicBezTo>
                    <a:pt x="15" y="14"/>
                    <a:pt x="16" y="13"/>
                    <a:pt x="17" y="13"/>
                  </a:cubicBezTo>
                  <a:cubicBezTo>
                    <a:pt x="18" y="13"/>
                    <a:pt x="19" y="13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3"/>
                    <a:pt x="21" y="12"/>
                    <a:pt x="21" y="11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9"/>
                    <a:pt x="19" y="8"/>
                    <a:pt x="19" y="8"/>
                  </a:cubicBezTo>
                  <a:cubicBezTo>
                    <a:pt x="19" y="7"/>
                    <a:pt x="19" y="6"/>
                    <a:pt x="19" y="5"/>
                  </a:cubicBezTo>
                  <a:cubicBezTo>
                    <a:pt x="19" y="4"/>
                    <a:pt x="18" y="4"/>
                    <a:pt x="18" y="4"/>
                  </a:cubicBezTo>
                  <a:cubicBezTo>
                    <a:pt x="17" y="1"/>
                    <a:pt x="17" y="0"/>
                    <a:pt x="14" y="1"/>
                  </a:cubicBezTo>
                  <a:cubicBezTo>
                    <a:pt x="13" y="2"/>
                    <a:pt x="12" y="2"/>
                    <a:pt x="11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8" y="1"/>
                    <a:pt x="7" y="2"/>
                    <a:pt x="7" y="2"/>
                  </a:cubicBezTo>
                  <a:cubicBezTo>
                    <a:pt x="6" y="3"/>
                    <a:pt x="5" y="3"/>
                    <a:pt x="5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7"/>
                    <a:pt x="3" y="7"/>
                    <a:pt x="2" y="7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2"/>
                    <a:pt x="6" y="12"/>
                  </a:cubicBezTo>
                  <a:cubicBezTo>
                    <a:pt x="6" y="12"/>
                    <a:pt x="6" y="12"/>
                    <a:pt x="6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3"/>
                  </a:cubicBezTo>
                  <a:close/>
                  <a:moveTo>
                    <a:pt x="22" y="10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0" name="Freeform 385"/>
            <p:cNvSpPr/>
            <p:nvPr/>
          </p:nvSpPr>
          <p:spPr bwMode="auto">
            <a:xfrm>
              <a:off x="1959318" y="2279661"/>
              <a:ext cx="53507" cy="28334"/>
            </a:xfrm>
            <a:custGeom>
              <a:avLst/>
              <a:gdLst>
                <a:gd name="T0" fmla="*/ 2147483646 w 7"/>
                <a:gd name="T1" fmla="*/ 0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2147483646 w 7"/>
                <a:gd name="T7" fmla="*/ 2147483646 h 4"/>
                <a:gd name="T8" fmla="*/ 0 w 7"/>
                <a:gd name="T9" fmla="*/ 2147483646 h 4"/>
                <a:gd name="T10" fmla="*/ 2147483646 w 7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4">
                  <a:moveTo>
                    <a:pt x="7" y="0"/>
                  </a:moveTo>
                  <a:cubicBezTo>
                    <a:pt x="7" y="1"/>
                    <a:pt x="6" y="1"/>
                    <a:pt x="5" y="1"/>
                  </a:cubicBezTo>
                  <a:cubicBezTo>
                    <a:pt x="5" y="2"/>
                    <a:pt x="5" y="4"/>
                    <a:pt x="4" y="4"/>
                  </a:cubicBezTo>
                  <a:cubicBezTo>
                    <a:pt x="4" y="4"/>
                    <a:pt x="2" y="4"/>
                    <a:pt x="2" y="4"/>
                  </a:cubicBezTo>
                  <a:cubicBezTo>
                    <a:pt x="1" y="3"/>
                    <a:pt x="1" y="2"/>
                    <a:pt x="0" y="2"/>
                  </a:cubicBezTo>
                  <a:cubicBezTo>
                    <a:pt x="1" y="1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1" name="Freeform 386"/>
            <p:cNvSpPr>
              <a:spLocks noEditPoints="1"/>
            </p:cNvSpPr>
            <p:nvPr/>
          </p:nvSpPr>
          <p:spPr bwMode="auto">
            <a:xfrm>
              <a:off x="1959318" y="2270216"/>
              <a:ext cx="59802" cy="37780"/>
            </a:xfrm>
            <a:custGeom>
              <a:avLst/>
              <a:gdLst>
                <a:gd name="T0" fmla="*/ 2147483646 w 8"/>
                <a:gd name="T1" fmla="*/ 2147483646 h 5"/>
                <a:gd name="T2" fmla="*/ 2147483646 w 8"/>
                <a:gd name="T3" fmla="*/ 2147483646 h 5"/>
                <a:gd name="T4" fmla="*/ 2147483646 w 8"/>
                <a:gd name="T5" fmla="*/ 2147483646 h 5"/>
                <a:gd name="T6" fmla="*/ 2147483646 w 8"/>
                <a:gd name="T7" fmla="*/ 2147483646 h 5"/>
                <a:gd name="T8" fmla="*/ 2147483646 w 8"/>
                <a:gd name="T9" fmla="*/ 2147483646 h 5"/>
                <a:gd name="T10" fmla="*/ 2147483646 w 8"/>
                <a:gd name="T11" fmla="*/ 2147483646 h 5"/>
                <a:gd name="T12" fmla="*/ 0 w 8"/>
                <a:gd name="T13" fmla="*/ 2147483646 h 5"/>
                <a:gd name="T14" fmla="*/ 0 w 8"/>
                <a:gd name="T15" fmla="*/ 2147483646 h 5"/>
                <a:gd name="T16" fmla="*/ 0 w 8"/>
                <a:gd name="T17" fmla="*/ 2147483646 h 5"/>
                <a:gd name="T18" fmla="*/ 0 w 8"/>
                <a:gd name="T19" fmla="*/ 2147483646 h 5"/>
                <a:gd name="T20" fmla="*/ 2147483646 w 8"/>
                <a:gd name="T21" fmla="*/ 0 h 5"/>
                <a:gd name="T22" fmla="*/ 2147483646 w 8"/>
                <a:gd name="T23" fmla="*/ 2147483646 h 5"/>
                <a:gd name="T24" fmla="*/ 2147483646 w 8"/>
                <a:gd name="T25" fmla="*/ 2147483646 h 5"/>
                <a:gd name="T26" fmla="*/ 2147483646 w 8"/>
                <a:gd name="T27" fmla="*/ 2147483646 h 5"/>
                <a:gd name="T28" fmla="*/ 2147483646 w 8"/>
                <a:gd name="T29" fmla="*/ 2147483646 h 5"/>
                <a:gd name="T30" fmla="*/ 2147483646 w 8"/>
                <a:gd name="T31" fmla="*/ 2147483646 h 5"/>
                <a:gd name="T32" fmla="*/ 2147483646 w 8"/>
                <a:gd name="T33" fmla="*/ 2147483646 h 5"/>
                <a:gd name="T34" fmla="*/ 2147483646 w 8"/>
                <a:gd name="T35" fmla="*/ 2147483646 h 5"/>
                <a:gd name="T36" fmla="*/ 2147483646 w 8"/>
                <a:gd name="T37" fmla="*/ 2147483646 h 5"/>
                <a:gd name="T38" fmla="*/ 2147483646 w 8"/>
                <a:gd name="T39" fmla="*/ 2147483646 h 5"/>
                <a:gd name="T40" fmla="*/ 2147483646 w 8"/>
                <a:gd name="T41" fmla="*/ 2147483646 h 5"/>
                <a:gd name="T42" fmla="*/ 2147483646 w 8"/>
                <a:gd name="T43" fmla="*/ 2147483646 h 5"/>
                <a:gd name="T44" fmla="*/ 2147483646 w 8"/>
                <a:gd name="T45" fmla="*/ 2147483646 h 5"/>
                <a:gd name="T46" fmla="*/ 2147483646 w 8"/>
                <a:gd name="T47" fmla="*/ 2147483646 h 5"/>
                <a:gd name="T48" fmla="*/ 2147483646 w 8"/>
                <a:gd name="T49" fmla="*/ 2147483646 h 5"/>
                <a:gd name="T50" fmla="*/ 2147483646 w 8"/>
                <a:gd name="T51" fmla="*/ 2147483646 h 5"/>
                <a:gd name="T52" fmla="*/ 2147483646 w 8"/>
                <a:gd name="T53" fmla="*/ 2147483646 h 5"/>
                <a:gd name="T54" fmla="*/ 2147483646 w 8"/>
                <a:gd name="T55" fmla="*/ 2147483646 h 5"/>
                <a:gd name="T56" fmla="*/ 2147483646 w 8"/>
                <a:gd name="T57" fmla="*/ 2147483646 h 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" h="5"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5" y="0"/>
                    <a:pt x="7" y="0"/>
                  </a:cubicBezTo>
                  <a:cubicBezTo>
                    <a:pt x="7" y="0"/>
                    <a:pt x="7" y="0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5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2" y="5"/>
                    <a:pt x="2" y="5"/>
                  </a:cubicBezTo>
                  <a:close/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3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2" name="Freeform 387"/>
            <p:cNvSpPr/>
            <p:nvPr/>
          </p:nvSpPr>
          <p:spPr bwMode="auto">
            <a:xfrm>
              <a:off x="1968761" y="2279661"/>
              <a:ext cx="103867" cy="94448"/>
            </a:xfrm>
            <a:custGeom>
              <a:avLst/>
              <a:gdLst>
                <a:gd name="T0" fmla="*/ 2147483646 w 14"/>
                <a:gd name="T1" fmla="*/ 2147483646 h 13"/>
                <a:gd name="T2" fmla="*/ 2147483646 w 14"/>
                <a:gd name="T3" fmla="*/ 2147483646 h 13"/>
                <a:gd name="T4" fmla="*/ 2147483646 w 14"/>
                <a:gd name="T5" fmla="*/ 2147483646 h 13"/>
                <a:gd name="T6" fmla="*/ 2147483646 w 14"/>
                <a:gd name="T7" fmla="*/ 2147483646 h 13"/>
                <a:gd name="T8" fmla="*/ 2147483646 w 14"/>
                <a:gd name="T9" fmla="*/ 2147483646 h 13"/>
                <a:gd name="T10" fmla="*/ 2147483646 w 14"/>
                <a:gd name="T11" fmla="*/ 2147483646 h 13"/>
                <a:gd name="T12" fmla="*/ 0 w 14"/>
                <a:gd name="T13" fmla="*/ 2147483646 h 13"/>
                <a:gd name="T14" fmla="*/ 2147483646 w 14"/>
                <a:gd name="T15" fmla="*/ 2147483646 h 13"/>
                <a:gd name="T16" fmla="*/ 2147483646 w 14"/>
                <a:gd name="T17" fmla="*/ 2147483646 h 13"/>
                <a:gd name="T18" fmla="*/ 2147483646 w 14"/>
                <a:gd name="T19" fmla="*/ 0 h 13"/>
                <a:gd name="T20" fmla="*/ 2147483646 w 14"/>
                <a:gd name="T21" fmla="*/ 2147483646 h 13"/>
                <a:gd name="T22" fmla="*/ 2147483646 w 14"/>
                <a:gd name="T23" fmla="*/ 2147483646 h 13"/>
                <a:gd name="T24" fmla="*/ 2147483646 w 14"/>
                <a:gd name="T25" fmla="*/ 2147483646 h 13"/>
                <a:gd name="T26" fmla="*/ 2147483646 w 14"/>
                <a:gd name="T27" fmla="*/ 2147483646 h 13"/>
                <a:gd name="T28" fmla="*/ 2147483646 w 14"/>
                <a:gd name="T29" fmla="*/ 2147483646 h 13"/>
                <a:gd name="T30" fmla="*/ 2147483646 w 14"/>
                <a:gd name="T31" fmla="*/ 2147483646 h 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" h="13">
                  <a:moveTo>
                    <a:pt x="8" y="11"/>
                  </a:moveTo>
                  <a:cubicBezTo>
                    <a:pt x="9" y="12"/>
                    <a:pt x="10" y="12"/>
                    <a:pt x="11" y="13"/>
                  </a:cubicBezTo>
                  <a:cubicBezTo>
                    <a:pt x="10" y="13"/>
                    <a:pt x="9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8" y="11"/>
                    <a:pt x="2" y="10"/>
                    <a:pt x="4" y="8"/>
                  </a:cubicBezTo>
                  <a:cubicBezTo>
                    <a:pt x="3" y="7"/>
                    <a:pt x="3" y="5"/>
                    <a:pt x="2" y="5"/>
                  </a:cubicBezTo>
                  <a:cubicBezTo>
                    <a:pt x="2" y="5"/>
                    <a:pt x="0" y="8"/>
                    <a:pt x="0" y="5"/>
                  </a:cubicBezTo>
                  <a:cubicBezTo>
                    <a:pt x="0" y="2"/>
                    <a:pt x="3" y="4"/>
                    <a:pt x="4" y="4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5" y="1"/>
                    <a:pt x="6" y="1"/>
                    <a:pt x="6" y="0"/>
                  </a:cubicBezTo>
                  <a:cubicBezTo>
                    <a:pt x="7" y="1"/>
                    <a:pt x="9" y="3"/>
                    <a:pt x="10" y="3"/>
                  </a:cubicBezTo>
                  <a:cubicBezTo>
                    <a:pt x="11" y="4"/>
                    <a:pt x="12" y="2"/>
                    <a:pt x="12" y="3"/>
                  </a:cubicBezTo>
                  <a:cubicBezTo>
                    <a:pt x="12" y="4"/>
                    <a:pt x="12" y="5"/>
                    <a:pt x="14" y="5"/>
                  </a:cubicBezTo>
                  <a:cubicBezTo>
                    <a:pt x="12" y="7"/>
                    <a:pt x="12" y="5"/>
                    <a:pt x="11" y="5"/>
                  </a:cubicBezTo>
                  <a:cubicBezTo>
                    <a:pt x="9" y="5"/>
                    <a:pt x="6" y="5"/>
                    <a:pt x="5" y="4"/>
                  </a:cubicBezTo>
                  <a:cubicBezTo>
                    <a:pt x="4" y="6"/>
                    <a:pt x="7" y="9"/>
                    <a:pt x="8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3" name="Freeform 388"/>
            <p:cNvSpPr>
              <a:spLocks noEditPoints="1"/>
            </p:cNvSpPr>
            <p:nvPr/>
          </p:nvSpPr>
          <p:spPr bwMode="auto">
            <a:xfrm>
              <a:off x="1959318" y="2270216"/>
              <a:ext cx="119605" cy="113337"/>
            </a:xfrm>
            <a:custGeom>
              <a:avLst/>
              <a:gdLst>
                <a:gd name="T0" fmla="*/ 2147483646 w 16"/>
                <a:gd name="T1" fmla="*/ 2147483646 h 15"/>
                <a:gd name="T2" fmla="*/ 2147483646 w 16"/>
                <a:gd name="T3" fmla="*/ 2147483646 h 15"/>
                <a:gd name="T4" fmla="*/ 2147483646 w 16"/>
                <a:gd name="T5" fmla="*/ 2147483646 h 15"/>
                <a:gd name="T6" fmla="*/ 2147483646 w 16"/>
                <a:gd name="T7" fmla="*/ 2147483646 h 15"/>
                <a:gd name="T8" fmla="*/ 2147483646 w 16"/>
                <a:gd name="T9" fmla="*/ 2147483646 h 15"/>
                <a:gd name="T10" fmla="*/ 2147483646 w 16"/>
                <a:gd name="T11" fmla="*/ 2147483646 h 15"/>
                <a:gd name="T12" fmla="*/ 2147483646 w 16"/>
                <a:gd name="T13" fmla="*/ 2147483646 h 15"/>
                <a:gd name="T14" fmla="*/ 2147483646 w 16"/>
                <a:gd name="T15" fmla="*/ 2147483646 h 15"/>
                <a:gd name="T16" fmla="*/ 2147483646 w 16"/>
                <a:gd name="T17" fmla="*/ 2147483646 h 15"/>
                <a:gd name="T18" fmla="*/ 2147483646 w 16"/>
                <a:gd name="T19" fmla="*/ 2147483646 h 15"/>
                <a:gd name="T20" fmla="*/ 2147483646 w 16"/>
                <a:gd name="T21" fmla="*/ 2147483646 h 15"/>
                <a:gd name="T22" fmla="*/ 2147483646 w 16"/>
                <a:gd name="T23" fmla="*/ 2147483646 h 15"/>
                <a:gd name="T24" fmla="*/ 2147483646 w 16"/>
                <a:gd name="T25" fmla="*/ 2147483646 h 15"/>
                <a:gd name="T26" fmla="*/ 2147483646 w 16"/>
                <a:gd name="T27" fmla="*/ 2147483646 h 15"/>
                <a:gd name="T28" fmla="*/ 2147483646 w 16"/>
                <a:gd name="T29" fmla="*/ 2147483646 h 15"/>
                <a:gd name="T30" fmla="*/ 2147483646 w 16"/>
                <a:gd name="T31" fmla="*/ 2147483646 h 15"/>
                <a:gd name="T32" fmla="*/ 2147483646 w 16"/>
                <a:gd name="T33" fmla="*/ 2147483646 h 15"/>
                <a:gd name="T34" fmla="*/ 2147483646 w 16"/>
                <a:gd name="T35" fmla="*/ 2147483646 h 15"/>
                <a:gd name="T36" fmla="*/ 2147483646 w 16"/>
                <a:gd name="T37" fmla="*/ 2147483646 h 15"/>
                <a:gd name="T38" fmla="*/ 2147483646 w 16"/>
                <a:gd name="T39" fmla="*/ 2147483646 h 15"/>
                <a:gd name="T40" fmla="*/ 2147483646 w 16"/>
                <a:gd name="T41" fmla="*/ 2147483646 h 15"/>
                <a:gd name="T42" fmla="*/ 2147483646 w 16"/>
                <a:gd name="T43" fmla="*/ 2147483646 h 15"/>
                <a:gd name="T44" fmla="*/ 2147483646 w 16"/>
                <a:gd name="T45" fmla="*/ 2147483646 h 15"/>
                <a:gd name="T46" fmla="*/ 2147483646 w 16"/>
                <a:gd name="T47" fmla="*/ 2147483646 h 15"/>
                <a:gd name="T48" fmla="*/ 2147483646 w 16"/>
                <a:gd name="T49" fmla="*/ 2147483646 h 15"/>
                <a:gd name="T50" fmla="*/ 2147483646 w 16"/>
                <a:gd name="T51" fmla="*/ 2147483646 h 15"/>
                <a:gd name="T52" fmla="*/ 2147483646 w 16"/>
                <a:gd name="T53" fmla="*/ 2147483646 h 15"/>
                <a:gd name="T54" fmla="*/ 2147483646 w 16"/>
                <a:gd name="T55" fmla="*/ 2147483646 h 15"/>
                <a:gd name="T56" fmla="*/ 2147483646 w 16"/>
                <a:gd name="T57" fmla="*/ 2147483646 h 15"/>
                <a:gd name="T58" fmla="*/ 2147483646 w 16"/>
                <a:gd name="T59" fmla="*/ 2147483646 h 15"/>
                <a:gd name="T60" fmla="*/ 2147483646 w 16"/>
                <a:gd name="T61" fmla="*/ 2147483646 h 15"/>
                <a:gd name="T62" fmla="*/ 2147483646 w 16"/>
                <a:gd name="T63" fmla="*/ 2147483646 h 15"/>
                <a:gd name="T64" fmla="*/ 2147483646 w 16"/>
                <a:gd name="T65" fmla="*/ 2147483646 h 15"/>
                <a:gd name="T66" fmla="*/ 2147483646 w 16"/>
                <a:gd name="T67" fmla="*/ 2147483646 h 15"/>
                <a:gd name="T68" fmla="*/ 2147483646 w 16"/>
                <a:gd name="T69" fmla="*/ 2147483646 h 15"/>
                <a:gd name="T70" fmla="*/ 2147483646 w 16"/>
                <a:gd name="T71" fmla="*/ 2147483646 h 1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6" h="15">
                  <a:moveTo>
                    <a:pt x="12" y="15"/>
                  </a:moveTo>
                  <a:cubicBezTo>
                    <a:pt x="11" y="15"/>
                    <a:pt x="11" y="15"/>
                    <a:pt x="10" y="14"/>
                  </a:cubicBezTo>
                  <a:cubicBezTo>
                    <a:pt x="10" y="14"/>
                    <a:pt x="9" y="14"/>
                    <a:pt x="9" y="1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8" y="13"/>
                    <a:pt x="8" y="13"/>
                  </a:cubicBezTo>
                  <a:cubicBezTo>
                    <a:pt x="6" y="12"/>
                    <a:pt x="4" y="11"/>
                    <a:pt x="4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4" y="9"/>
                    <a:pt x="4" y="8"/>
                    <a:pt x="4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8"/>
                    <a:pt x="1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6" y="1"/>
                    <a:pt x="6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2"/>
                    <a:pt x="10" y="3"/>
                    <a:pt x="11" y="4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4"/>
                  </a:cubicBezTo>
                  <a:cubicBezTo>
                    <a:pt x="14" y="5"/>
                    <a:pt x="14" y="5"/>
                    <a:pt x="15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8"/>
                    <a:pt x="13" y="7"/>
                    <a:pt x="13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7"/>
                    <a:pt x="10" y="7"/>
                    <a:pt x="10" y="7"/>
                  </a:cubicBezTo>
                  <a:cubicBezTo>
                    <a:pt x="8" y="7"/>
                    <a:pt x="7" y="7"/>
                    <a:pt x="7" y="6"/>
                  </a:cubicBezTo>
                  <a:cubicBezTo>
                    <a:pt x="7" y="7"/>
                    <a:pt x="8" y="9"/>
                    <a:pt x="9" y="10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4" y="6"/>
                    <a:pt x="4" y="6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10"/>
                    <a:pt x="5" y="10"/>
                  </a:cubicBezTo>
                  <a:cubicBezTo>
                    <a:pt x="5" y="10"/>
                    <a:pt x="7" y="11"/>
                    <a:pt x="8" y="12"/>
                  </a:cubicBezTo>
                  <a:cubicBezTo>
                    <a:pt x="8" y="12"/>
                    <a:pt x="8" y="12"/>
                    <a:pt x="9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6" y="9"/>
                    <a:pt x="4" y="7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9" y="5"/>
                    <a:pt x="10" y="5"/>
                  </a:cubicBezTo>
                  <a:cubicBezTo>
                    <a:pt x="10" y="5"/>
                    <a:pt x="11" y="5"/>
                    <a:pt x="12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5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0" y="4"/>
                    <a:pt x="8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5" y="5"/>
                    <a:pt x="5" y="5"/>
                  </a:cubicBezTo>
                  <a:cubicBezTo>
                    <a:pt x="5" y="5"/>
                    <a:pt x="4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3" y="5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4" name="Freeform 389"/>
            <p:cNvSpPr/>
            <p:nvPr/>
          </p:nvSpPr>
          <p:spPr bwMode="auto">
            <a:xfrm>
              <a:off x="1997088" y="2307996"/>
              <a:ext cx="75540" cy="66113"/>
            </a:xfrm>
            <a:custGeom>
              <a:avLst/>
              <a:gdLst>
                <a:gd name="T0" fmla="*/ 2147483646 w 10"/>
                <a:gd name="T1" fmla="*/ 2147483646 h 9"/>
                <a:gd name="T2" fmla="*/ 2147483646 w 10"/>
                <a:gd name="T3" fmla="*/ 0 h 9"/>
                <a:gd name="T4" fmla="*/ 2147483646 w 10"/>
                <a:gd name="T5" fmla="*/ 2147483646 h 9"/>
                <a:gd name="T6" fmla="*/ 2147483646 w 10"/>
                <a:gd name="T7" fmla="*/ 2147483646 h 9"/>
                <a:gd name="T8" fmla="*/ 2147483646 w 10"/>
                <a:gd name="T9" fmla="*/ 2147483646 h 9"/>
                <a:gd name="T10" fmla="*/ 2147483646 w 10"/>
                <a:gd name="T11" fmla="*/ 2147483646 h 9"/>
                <a:gd name="T12" fmla="*/ 2147483646 w 10"/>
                <a:gd name="T13" fmla="*/ 2147483646 h 9"/>
                <a:gd name="T14" fmla="*/ 2147483646 w 10"/>
                <a:gd name="T15" fmla="*/ 2147483646 h 9"/>
                <a:gd name="T16" fmla="*/ 2147483646 w 10"/>
                <a:gd name="T17" fmla="*/ 2147483646 h 9"/>
                <a:gd name="T18" fmla="*/ 2147483646 w 10"/>
                <a:gd name="T19" fmla="*/ 2147483646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" h="9">
                  <a:moveTo>
                    <a:pt x="4" y="7"/>
                  </a:moveTo>
                  <a:cubicBezTo>
                    <a:pt x="3" y="5"/>
                    <a:pt x="0" y="2"/>
                    <a:pt x="1" y="0"/>
                  </a:cubicBezTo>
                  <a:cubicBezTo>
                    <a:pt x="2" y="2"/>
                    <a:pt x="4" y="0"/>
                    <a:pt x="5" y="1"/>
                  </a:cubicBezTo>
                  <a:cubicBezTo>
                    <a:pt x="7" y="1"/>
                    <a:pt x="8" y="2"/>
                    <a:pt x="9" y="2"/>
                  </a:cubicBezTo>
                  <a:cubicBezTo>
                    <a:pt x="8" y="4"/>
                    <a:pt x="10" y="5"/>
                    <a:pt x="9" y="5"/>
                  </a:cubicBezTo>
                  <a:cubicBezTo>
                    <a:pt x="10" y="6"/>
                    <a:pt x="9" y="6"/>
                    <a:pt x="8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6"/>
                  </a:cubicBezTo>
                  <a:cubicBezTo>
                    <a:pt x="8" y="7"/>
                    <a:pt x="7" y="8"/>
                    <a:pt x="7" y="9"/>
                  </a:cubicBezTo>
                  <a:cubicBezTo>
                    <a:pt x="6" y="8"/>
                    <a:pt x="5" y="8"/>
                    <a:pt x="4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5" name="Freeform 390"/>
            <p:cNvSpPr>
              <a:spLocks noEditPoints="1"/>
            </p:cNvSpPr>
            <p:nvPr/>
          </p:nvSpPr>
          <p:spPr bwMode="auto">
            <a:xfrm>
              <a:off x="1990793" y="2301699"/>
              <a:ext cx="88130" cy="81855"/>
            </a:xfrm>
            <a:custGeom>
              <a:avLst/>
              <a:gdLst>
                <a:gd name="T0" fmla="*/ 2147483646 w 12"/>
                <a:gd name="T1" fmla="*/ 2147483646 h 11"/>
                <a:gd name="T2" fmla="*/ 2147483646 w 12"/>
                <a:gd name="T3" fmla="*/ 2147483646 h 11"/>
                <a:gd name="T4" fmla="*/ 2147483646 w 12"/>
                <a:gd name="T5" fmla="*/ 2147483646 h 11"/>
                <a:gd name="T6" fmla="*/ 2147483646 w 12"/>
                <a:gd name="T7" fmla="*/ 2147483646 h 11"/>
                <a:gd name="T8" fmla="*/ 2147483646 w 12"/>
                <a:gd name="T9" fmla="*/ 2147483646 h 11"/>
                <a:gd name="T10" fmla="*/ 2147483646 w 12"/>
                <a:gd name="T11" fmla="*/ 2147483646 h 11"/>
                <a:gd name="T12" fmla="*/ 2147483646 w 12"/>
                <a:gd name="T13" fmla="*/ 0 h 11"/>
                <a:gd name="T14" fmla="*/ 2147483646 w 12"/>
                <a:gd name="T15" fmla="*/ 2147483646 h 11"/>
                <a:gd name="T16" fmla="*/ 2147483646 w 12"/>
                <a:gd name="T17" fmla="*/ 2147483646 h 11"/>
                <a:gd name="T18" fmla="*/ 2147483646 w 12"/>
                <a:gd name="T19" fmla="*/ 2147483646 h 11"/>
                <a:gd name="T20" fmla="*/ 2147483646 w 12"/>
                <a:gd name="T21" fmla="*/ 2147483646 h 11"/>
                <a:gd name="T22" fmla="*/ 2147483646 w 12"/>
                <a:gd name="T23" fmla="*/ 2147483646 h 11"/>
                <a:gd name="T24" fmla="*/ 2147483646 w 12"/>
                <a:gd name="T25" fmla="*/ 2147483646 h 11"/>
                <a:gd name="T26" fmla="*/ 2147483646 w 12"/>
                <a:gd name="T27" fmla="*/ 2147483646 h 11"/>
                <a:gd name="T28" fmla="*/ 2147483646 w 12"/>
                <a:gd name="T29" fmla="*/ 2147483646 h 11"/>
                <a:gd name="T30" fmla="*/ 2147483646 w 12"/>
                <a:gd name="T31" fmla="*/ 2147483646 h 11"/>
                <a:gd name="T32" fmla="*/ 2147483646 w 12"/>
                <a:gd name="T33" fmla="*/ 2147483646 h 11"/>
                <a:gd name="T34" fmla="*/ 2147483646 w 12"/>
                <a:gd name="T35" fmla="*/ 2147483646 h 11"/>
                <a:gd name="T36" fmla="*/ 2147483646 w 12"/>
                <a:gd name="T37" fmla="*/ 2147483646 h 11"/>
                <a:gd name="T38" fmla="*/ 2147483646 w 12"/>
                <a:gd name="T39" fmla="*/ 2147483646 h 11"/>
                <a:gd name="T40" fmla="*/ 2147483646 w 12"/>
                <a:gd name="T41" fmla="*/ 2147483646 h 11"/>
                <a:gd name="T42" fmla="*/ 2147483646 w 12"/>
                <a:gd name="T43" fmla="*/ 2147483646 h 11"/>
                <a:gd name="T44" fmla="*/ 2147483646 w 12"/>
                <a:gd name="T45" fmla="*/ 2147483646 h 11"/>
                <a:gd name="T46" fmla="*/ 2147483646 w 12"/>
                <a:gd name="T47" fmla="*/ 2147483646 h 11"/>
                <a:gd name="T48" fmla="*/ 2147483646 w 12"/>
                <a:gd name="T49" fmla="*/ 2147483646 h 11"/>
                <a:gd name="T50" fmla="*/ 2147483646 w 12"/>
                <a:gd name="T51" fmla="*/ 2147483646 h 11"/>
                <a:gd name="T52" fmla="*/ 2147483646 w 12"/>
                <a:gd name="T53" fmla="*/ 2147483646 h 11"/>
                <a:gd name="T54" fmla="*/ 2147483646 w 12"/>
                <a:gd name="T55" fmla="*/ 2147483646 h 11"/>
                <a:gd name="T56" fmla="*/ 2147483646 w 12"/>
                <a:gd name="T57" fmla="*/ 2147483646 h 11"/>
                <a:gd name="T58" fmla="*/ 2147483646 w 12"/>
                <a:gd name="T59" fmla="*/ 2147483646 h 11"/>
                <a:gd name="T60" fmla="*/ 2147483646 w 12"/>
                <a:gd name="T61" fmla="*/ 2147483646 h 11"/>
                <a:gd name="T62" fmla="*/ 2147483646 w 12"/>
                <a:gd name="T63" fmla="*/ 2147483646 h 11"/>
                <a:gd name="T64" fmla="*/ 2147483646 w 12"/>
                <a:gd name="T65" fmla="*/ 2147483646 h 11"/>
                <a:gd name="T66" fmla="*/ 2147483646 w 12"/>
                <a:gd name="T67" fmla="*/ 2147483646 h 11"/>
                <a:gd name="T68" fmla="*/ 2147483646 w 12"/>
                <a:gd name="T69" fmla="*/ 2147483646 h 11"/>
                <a:gd name="T70" fmla="*/ 2147483646 w 12"/>
                <a:gd name="T71" fmla="*/ 2147483646 h 11"/>
                <a:gd name="T72" fmla="*/ 2147483646 w 12"/>
                <a:gd name="T73" fmla="*/ 2147483646 h 11"/>
                <a:gd name="T74" fmla="*/ 2147483646 w 12"/>
                <a:gd name="T75" fmla="*/ 2147483646 h 11"/>
                <a:gd name="T76" fmla="*/ 2147483646 w 12"/>
                <a:gd name="T77" fmla="*/ 2147483646 h 11"/>
                <a:gd name="T78" fmla="*/ 2147483646 w 12"/>
                <a:gd name="T79" fmla="*/ 2147483646 h 11"/>
                <a:gd name="T80" fmla="*/ 2147483646 w 12"/>
                <a:gd name="T81" fmla="*/ 2147483646 h 11"/>
                <a:gd name="T82" fmla="*/ 2147483646 w 12"/>
                <a:gd name="T83" fmla="*/ 2147483646 h 11"/>
                <a:gd name="T84" fmla="*/ 2147483646 w 12"/>
                <a:gd name="T85" fmla="*/ 2147483646 h 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2" h="11">
                  <a:moveTo>
                    <a:pt x="9" y="11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7" y="10"/>
                    <a:pt x="7" y="10"/>
                    <a:pt x="6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4" y="7"/>
                    <a:pt x="4" y="7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4" y="1"/>
                    <a:pt x="4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7" y="1"/>
                    <a:pt x="8" y="2"/>
                    <a:pt x="8" y="2"/>
                  </a:cubicBezTo>
                  <a:cubicBezTo>
                    <a:pt x="9" y="2"/>
                    <a:pt x="10" y="3"/>
                    <a:pt x="10" y="3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1" y="5"/>
                    <a:pt x="11" y="5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9" y="10"/>
                  </a:cubicBezTo>
                  <a:lnTo>
                    <a:pt x="9" y="11"/>
                  </a:lnTo>
                  <a:close/>
                  <a:moveTo>
                    <a:pt x="6" y="7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9"/>
                    <a:pt x="8" y="9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8" y="8"/>
                    <a:pt x="8" y="8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8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4" y="3"/>
                    <a:pt x="3" y="3"/>
                    <a:pt x="3" y="2"/>
                  </a:cubicBezTo>
                  <a:cubicBezTo>
                    <a:pt x="3" y="4"/>
                    <a:pt x="4" y="5"/>
                    <a:pt x="5" y="6"/>
                  </a:cubicBezTo>
                  <a:cubicBezTo>
                    <a:pt x="5" y="7"/>
                    <a:pt x="6" y="7"/>
                    <a:pt x="6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6" name="Freeform 391"/>
            <p:cNvSpPr/>
            <p:nvPr/>
          </p:nvSpPr>
          <p:spPr bwMode="auto">
            <a:xfrm>
              <a:off x="2056890" y="2292255"/>
              <a:ext cx="81835" cy="97596"/>
            </a:xfrm>
            <a:custGeom>
              <a:avLst/>
              <a:gdLst>
                <a:gd name="T0" fmla="*/ 2147483646 w 11"/>
                <a:gd name="T1" fmla="*/ 2147483646 h 13"/>
                <a:gd name="T2" fmla="*/ 2147483646 w 11"/>
                <a:gd name="T3" fmla="*/ 2147483646 h 13"/>
                <a:gd name="T4" fmla="*/ 0 w 11"/>
                <a:gd name="T5" fmla="*/ 2147483646 h 13"/>
                <a:gd name="T6" fmla="*/ 2147483646 w 11"/>
                <a:gd name="T7" fmla="*/ 2147483646 h 13"/>
                <a:gd name="T8" fmla="*/ 2147483646 w 11"/>
                <a:gd name="T9" fmla="*/ 2147483646 h 13"/>
                <a:gd name="T10" fmla="*/ 2147483646 w 11"/>
                <a:gd name="T11" fmla="*/ 2147483646 h 13"/>
                <a:gd name="T12" fmla="*/ 2147483646 w 11"/>
                <a:gd name="T13" fmla="*/ 2147483646 h 13"/>
                <a:gd name="T14" fmla="*/ 2147483646 w 11"/>
                <a:gd name="T15" fmla="*/ 2147483646 h 13"/>
                <a:gd name="T16" fmla="*/ 2147483646 w 11"/>
                <a:gd name="T17" fmla="*/ 2147483646 h 13"/>
                <a:gd name="T18" fmla="*/ 2147483646 w 11"/>
                <a:gd name="T19" fmla="*/ 2147483646 h 13"/>
                <a:gd name="T20" fmla="*/ 2147483646 w 11"/>
                <a:gd name="T21" fmla="*/ 2147483646 h 13"/>
                <a:gd name="T22" fmla="*/ 2147483646 w 11"/>
                <a:gd name="T23" fmla="*/ 2147483646 h 13"/>
                <a:gd name="T24" fmla="*/ 2147483646 w 11"/>
                <a:gd name="T25" fmla="*/ 2147483646 h 13"/>
                <a:gd name="T26" fmla="*/ 2147483646 w 11"/>
                <a:gd name="T27" fmla="*/ 2147483646 h 13"/>
                <a:gd name="T28" fmla="*/ 2147483646 w 11"/>
                <a:gd name="T29" fmla="*/ 2147483646 h 1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13">
                  <a:moveTo>
                    <a:pt x="1" y="4"/>
                  </a:moveTo>
                  <a:cubicBezTo>
                    <a:pt x="1" y="4"/>
                    <a:pt x="1" y="3"/>
                    <a:pt x="2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2" y="0"/>
                    <a:pt x="4" y="0"/>
                    <a:pt x="5" y="2"/>
                  </a:cubicBezTo>
                  <a:cubicBezTo>
                    <a:pt x="5" y="3"/>
                    <a:pt x="7" y="6"/>
                    <a:pt x="8" y="5"/>
                  </a:cubicBezTo>
                  <a:cubicBezTo>
                    <a:pt x="8" y="6"/>
                    <a:pt x="9" y="5"/>
                    <a:pt x="8" y="6"/>
                  </a:cubicBezTo>
                  <a:cubicBezTo>
                    <a:pt x="9" y="6"/>
                    <a:pt x="9" y="6"/>
                    <a:pt x="9" y="7"/>
                  </a:cubicBezTo>
                  <a:cubicBezTo>
                    <a:pt x="6" y="7"/>
                    <a:pt x="11" y="11"/>
                    <a:pt x="8" y="12"/>
                  </a:cubicBezTo>
                  <a:cubicBezTo>
                    <a:pt x="7" y="13"/>
                    <a:pt x="6" y="12"/>
                    <a:pt x="5" y="13"/>
                  </a:cubicBezTo>
                  <a:cubicBezTo>
                    <a:pt x="4" y="13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2" y="7"/>
                    <a:pt x="0" y="6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7" name="Freeform 392"/>
            <p:cNvSpPr>
              <a:spLocks noEditPoints="1"/>
            </p:cNvSpPr>
            <p:nvPr/>
          </p:nvSpPr>
          <p:spPr bwMode="auto">
            <a:xfrm>
              <a:off x="2050595" y="2292255"/>
              <a:ext cx="81835" cy="97596"/>
            </a:xfrm>
            <a:custGeom>
              <a:avLst/>
              <a:gdLst>
                <a:gd name="T0" fmla="*/ 2147483646 w 11"/>
                <a:gd name="T1" fmla="*/ 2147483646 h 13"/>
                <a:gd name="T2" fmla="*/ 2147483646 w 11"/>
                <a:gd name="T3" fmla="*/ 2147483646 h 13"/>
                <a:gd name="T4" fmla="*/ 2147483646 w 11"/>
                <a:gd name="T5" fmla="*/ 2147483646 h 13"/>
                <a:gd name="T6" fmla="*/ 2147483646 w 11"/>
                <a:gd name="T7" fmla="*/ 2147483646 h 13"/>
                <a:gd name="T8" fmla="*/ 2147483646 w 11"/>
                <a:gd name="T9" fmla="*/ 2147483646 h 13"/>
                <a:gd name="T10" fmla="*/ 2147483646 w 11"/>
                <a:gd name="T11" fmla="*/ 2147483646 h 13"/>
                <a:gd name="T12" fmla="*/ 2147483646 w 11"/>
                <a:gd name="T13" fmla="*/ 2147483646 h 13"/>
                <a:gd name="T14" fmla="*/ 2147483646 w 11"/>
                <a:gd name="T15" fmla="*/ 2147483646 h 13"/>
                <a:gd name="T16" fmla="*/ 2147483646 w 11"/>
                <a:gd name="T17" fmla="*/ 2147483646 h 13"/>
                <a:gd name="T18" fmla="*/ 2147483646 w 11"/>
                <a:gd name="T19" fmla="*/ 2147483646 h 13"/>
                <a:gd name="T20" fmla="*/ 0 w 11"/>
                <a:gd name="T21" fmla="*/ 2147483646 h 13"/>
                <a:gd name="T22" fmla="*/ 2147483646 w 11"/>
                <a:gd name="T23" fmla="*/ 2147483646 h 13"/>
                <a:gd name="T24" fmla="*/ 2147483646 w 11"/>
                <a:gd name="T25" fmla="*/ 2147483646 h 13"/>
                <a:gd name="T26" fmla="*/ 2147483646 w 11"/>
                <a:gd name="T27" fmla="*/ 2147483646 h 13"/>
                <a:gd name="T28" fmla="*/ 0 w 11"/>
                <a:gd name="T29" fmla="*/ 2147483646 h 13"/>
                <a:gd name="T30" fmla="*/ 0 w 11"/>
                <a:gd name="T31" fmla="*/ 0 h 13"/>
                <a:gd name="T32" fmla="*/ 2147483646 w 11"/>
                <a:gd name="T33" fmla="*/ 0 h 13"/>
                <a:gd name="T34" fmla="*/ 2147483646 w 11"/>
                <a:gd name="T35" fmla="*/ 0 h 13"/>
                <a:gd name="T36" fmla="*/ 2147483646 w 11"/>
                <a:gd name="T37" fmla="*/ 2147483646 h 13"/>
                <a:gd name="T38" fmla="*/ 2147483646 w 11"/>
                <a:gd name="T39" fmla="*/ 2147483646 h 13"/>
                <a:gd name="T40" fmla="*/ 2147483646 w 11"/>
                <a:gd name="T41" fmla="*/ 2147483646 h 13"/>
                <a:gd name="T42" fmla="*/ 2147483646 w 11"/>
                <a:gd name="T43" fmla="*/ 2147483646 h 13"/>
                <a:gd name="T44" fmla="*/ 2147483646 w 11"/>
                <a:gd name="T45" fmla="*/ 2147483646 h 13"/>
                <a:gd name="T46" fmla="*/ 2147483646 w 11"/>
                <a:gd name="T47" fmla="*/ 2147483646 h 13"/>
                <a:gd name="T48" fmla="*/ 2147483646 w 11"/>
                <a:gd name="T49" fmla="*/ 2147483646 h 13"/>
                <a:gd name="T50" fmla="*/ 2147483646 w 11"/>
                <a:gd name="T51" fmla="*/ 2147483646 h 13"/>
                <a:gd name="T52" fmla="*/ 2147483646 w 11"/>
                <a:gd name="T53" fmla="*/ 2147483646 h 13"/>
                <a:gd name="T54" fmla="*/ 2147483646 w 11"/>
                <a:gd name="T55" fmla="*/ 2147483646 h 13"/>
                <a:gd name="T56" fmla="*/ 2147483646 w 11"/>
                <a:gd name="T57" fmla="*/ 2147483646 h 13"/>
                <a:gd name="T58" fmla="*/ 2147483646 w 11"/>
                <a:gd name="T59" fmla="*/ 2147483646 h 13"/>
                <a:gd name="T60" fmla="*/ 2147483646 w 11"/>
                <a:gd name="T61" fmla="*/ 2147483646 h 13"/>
                <a:gd name="T62" fmla="*/ 2147483646 w 11"/>
                <a:gd name="T63" fmla="*/ 2147483646 h 13"/>
                <a:gd name="T64" fmla="*/ 2147483646 w 11"/>
                <a:gd name="T65" fmla="*/ 2147483646 h 13"/>
                <a:gd name="T66" fmla="*/ 2147483646 w 11"/>
                <a:gd name="T67" fmla="*/ 2147483646 h 13"/>
                <a:gd name="T68" fmla="*/ 2147483646 w 11"/>
                <a:gd name="T69" fmla="*/ 2147483646 h 13"/>
                <a:gd name="T70" fmla="*/ 2147483646 w 11"/>
                <a:gd name="T71" fmla="*/ 2147483646 h 13"/>
                <a:gd name="T72" fmla="*/ 2147483646 w 11"/>
                <a:gd name="T73" fmla="*/ 2147483646 h 13"/>
                <a:gd name="T74" fmla="*/ 2147483646 w 11"/>
                <a:gd name="T75" fmla="*/ 2147483646 h 13"/>
                <a:gd name="T76" fmla="*/ 2147483646 w 11"/>
                <a:gd name="T77" fmla="*/ 2147483646 h 13"/>
                <a:gd name="T78" fmla="*/ 2147483646 w 11"/>
                <a:gd name="T79" fmla="*/ 2147483646 h 13"/>
                <a:gd name="T80" fmla="*/ 2147483646 w 11"/>
                <a:gd name="T81" fmla="*/ 2147483646 h 13"/>
                <a:gd name="T82" fmla="*/ 2147483646 w 11"/>
                <a:gd name="T83" fmla="*/ 2147483646 h 13"/>
                <a:gd name="T84" fmla="*/ 2147483646 w 11"/>
                <a:gd name="T85" fmla="*/ 2147483646 h 13"/>
                <a:gd name="T86" fmla="*/ 2147483646 w 11"/>
                <a:gd name="T87" fmla="*/ 2147483646 h 13"/>
                <a:gd name="T88" fmla="*/ 2147483646 w 11"/>
                <a:gd name="T89" fmla="*/ 2147483646 h 13"/>
                <a:gd name="T90" fmla="*/ 2147483646 w 11"/>
                <a:gd name="T91" fmla="*/ 2147483646 h 13"/>
                <a:gd name="T92" fmla="*/ 2147483646 w 11"/>
                <a:gd name="T93" fmla="*/ 2147483646 h 13"/>
                <a:gd name="T94" fmla="*/ 2147483646 w 11"/>
                <a:gd name="T95" fmla="*/ 2147483646 h 13"/>
                <a:gd name="T96" fmla="*/ 2147483646 w 11"/>
                <a:gd name="T97" fmla="*/ 2147483646 h 13"/>
                <a:gd name="T98" fmla="*/ 2147483646 w 11"/>
                <a:gd name="T99" fmla="*/ 2147483646 h 13"/>
                <a:gd name="T100" fmla="*/ 2147483646 w 11"/>
                <a:gd name="T101" fmla="*/ 2147483646 h 13"/>
                <a:gd name="T102" fmla="*/ 2147483646 w 11"/>
                <a:gd name="T103" fmla="*/ 2147483646 h 13"/>
                <a:gd name="T104" fmla="*/ 2147483646 w 11"/>
                <a:gd name="T105" fmla="*/ 2147483646 h 13"/>
                <a:gd name="T106" fmla="*/ 2147483646 w 11"/>
                <a:gd name="T107" fmla="*/ 2147483646 h 13"/>
                <a:gd name="T108" fmla="*/ 2147483646 w 11"/>
                <a:gd name="T109" fmla="*/ 2147483646 h 13"/>
                <a:gd name="T110" fmla="*/ 2147483646 w 11"/>
                <a:gd name="T111" fmla="*/ 2147483646 h 13"/>
                <a:gd name="T112" fmla="*/ 2147483646 w 11"/>
                <a:gd name="T113" fmla="*/ 2147483646 h 13"/>
                <a:gd name="T114" fmla="*/ 2147483646 w 11"/>
                <a:gd name="T115" fmla="*/ 2147483646 h 13"/>
                <a:gd name="T116" fmla="*/ 2147483646 w 11"/>
                <a:gd name="T117" fmla="*/ 2147483646 h 13"/>
                <a:gd name="T118" fmla="*/ 2147483646 w 11"/>
                <a:gd name="T119" fmla="*/ 2147483646 h 13"/>
                <a:gd name="T120" fmla="*/ 2147483646 w 11"/>
                <a:gd name="T121" fmla="*/ 2147483646 h 13"/>
                <a:gd name="T122" fmla="*/ 2147483646 w 11"/>
                <a:gd name="T123" fmla="*/ 2147483646 h 1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1" h="13">
                  <a:moveTo>
                    <a:pt x="5" y="13"/>
                  </a:moveTo>
                  <a:cubicBezTo>
                    <a:pt x="4" y="13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2" y="9"/>
                    <a:pt x="2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8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5"/>
                    <a:pt x="2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5" y="0"/>
                    <a:pt x="6" y="0"/>
                    <a:pt x="6" y="2"/>
                  </a:cubicBezTo>
                  <a:cubicBezTo>
                    <a:pt x="7" y="3"/>
                    <a:pt x="8" y="5"/>
                    <a:pt x="9" y="5"/>
                  </a:cubicBezTo>
                  <a:cubicBezTo>
                    <a:pt x="9" y="5"/>
                    <a:pt x="9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10" y="6"/>
                    <a:pt x="10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9"/>
                  </a:cubicBezTo>
                  <a:cubicBezTo>
                    <a:pt x="11" y="10"/>
                    <a:pt x="11" y="11"/>
                    <a:pt x="10" y="12"/>
                  </a:cubicBezTo>
                  <a:cubicBezTo>
                    <a:pt x="9" y="13"/>
                    <a:pt x="8" y="13"/>
                    <a:pt x="8" y="13"/>
                  </a:cubicBezTo>
                  <a:cubicBezTo>
                    <a:pt x="7" y="13"/>
                    <a:pt x="6" y="13"/>
                    <a:pt x="6" y="13"/>
                  </a:cubicBezTo>
                  <a:cubicBezTo>
                    <a:pt x="6" y="13"/>
                    <a:pt x="6" y="13"/>
                    <a:pt x="5" y="13"/>
                  </a:cubicBezTo>
                  <a:close/>
                  <a:moveTo>
                    <a:pt x="4" y="11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8" y="12"/>
                    <a:pt x="9" y="12"/>
                    <a:pt x="9" y="11"/>
                  </a:cubicBezTo>
                  <a:cubicBezTo>
                    <a:pt x="10" y="11"/>
                    <a:pt x="10" y="11"/>
                    <a:pt x="9" y="9"/>
                  </a:cubicBezTo>
                  <a:cubicBezTo>
                    <a:pt x="9" y="9"/>
                    <a:pt x="8" y="8"/>
                    <a:pt x="9" y="7"/>
                  </a:cubicBezTo>
                  <a:cubicBezTo>
                    <a:pt x="9" y="7"/>
                    <a:pt x="9" y="7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7" y="5"/>
                    <a:pt x="6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9"/>
                    <a:pt x="5" y="10"/>
                    <a:pt x="5" y="11"/>
                  </a:cubicBezTo>
                  <a:lnTo>
                    <a:pt x="4" y="11"/>
                  </a:lnTo>
                  <a:close/>
                  <a:moveTo>
                    <a:pt x="1" y="1"/>
                  </a:moveTo>
                  <a:cubicBezTo>
                    <a:pt x="2" y="2"/>
                    <a:pt x="2" y="2"/>
                    <a:pt x="3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5" y="2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3" y="1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8" name="Freeform 393"/>
            <p:cNvSpPr/>
            <p:nvPr/>
          </p:nvSpPr>
          <p:spPr bwMode="auto">
            <a:xfrm>
              <a:off x="2050595" y="2352071"/>
              <a:ext cx="28327" cy="44076"/>
            </a:xfrm>
            <a:custGeom>
              <a:avLst/>
              <a:gdLst>
                <a:gd name="T0" fmla="*/ 0 w 4"/>
                <a:gd name="T1" fmla="*/ 2147483646 h 6"/>
                <a:gd name="T2" fmla="*/ 2147483646 w 4"/>
                <a:gd name="T3" fmla="*/ 2147483646 h 6"/>
                <a:gd name="T4" fmla="*/ 2147483646 w 4"/>
                <a:gd name="T5" fmla="*/ 2147483646 h 6"/>
                <a:gd name="T6" fmla="*/ 2147483646 w 4"/>
                <a:gd name="T7" fmla="*/ 2147483646 h 6"/>
                <a:gd name="T8" fmla="*/ 2147483646 w 4"/>
                <a:gd name="T9" fmla="*/ 2147483646 h 6"/>
                <a:gd name="T10" fmla="*/ 2147483646 w 4"/>
                <a:gd name="T11" fmla="*/ 0 h 6"/>
                <a:gd name="T12" fmla="*/ 2147483646 w 4"/>
                <a:gd name="T13" fmla="*/ 0 h 6"/>
                <a:gd name="T14" fmla="*/ 2147483646 w 4"/>
                <a:gd name="T15" fmla="*/ 2147483646 h 6"/>
                <a:gd name="T16" fmla="*/ 2147483646 w 4"/>
                <a:gd name="T17" fmla="*/ 0 h 6"/>
                <a:gd name="T18" fmla="*/ 0 w 4"/>
                <a:gd name="T19" fmla="*/ 2147483646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cubicBezTo>
                    <a:pt x="0" y="4"/>
                    <a:pt x="1" y="5"/>
                    <a:pt x="2" y="6"/>
                  </a:cubicBezTo>
                  <a:cubicBezTo>
                    <a:pt x="2" y="5"/>
                    <a:pt x="2" y="4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2" y="2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9" name="Freeform 394"/>
            <p:cNvSpPr>
              <a:spLocks noEditPoints="1"/>
            </p:cNvSpPr>
            <p:nvPr/>
          </p:nvSpPr>
          <p:spPr bwMode="auto">
            <a:xfrm>
              <a:off x="2041153" y="2345774"/>
              <a:ext cx="47212" cy="59817"/>
            </a:xfrm>
            <a:custGeom>
              <a:avLst/>
              <a:gdLst>
                <a:gd name="T0" fmla="*/ 2147483646 w 6"/>
                <a:gd name="T1" fmla="*/ 2147483646 h 8"/>
                <a:gd name="T2" fmla="*/ 2147483646 w 6"/>
                <a:gd name="T3" fmla="*/ 2147483646 h 8"/>
                <a:gd name="T4" fmla="*/ 0 w 6"/>
                <a:gd name="T5" fmla="*/ 2147483646 h 8"/>
                <a:gd name="T6" fmla="*/ 0 w 6"/>
                <a:gd name="T7" fmla="*/ 2147483646 h 8"/>
                <a:gd name="T8" fmla="*/ 0 w 6"/>
                <a:gd name="T9" fmla="*/ 2147483646 h 8"/>
                <a:gd name="T10" fmla="*/ 2147483646 w 6"/>
                <a:gd name="T11" fmla="*/ 2147483646 h 8"/>
                <a:gd name="T12" fmla="*/ 2147483646 w 6"/>
                <a:gd name="T13" fmla="*/ 2147483646 h 8"/>
                <a:gd name="T14" fmla="*/ 2147483646 w 6"/>
                <a:gd name="T15" fmla="*/ 0 h 8"/>
                <a:gd name="T16" fmla="*/ 2147483646 w 6"/>
                <a:gd name="T17" fmla="*/ 2147483646 h 8"/>
                <a:gd name="T18" fmla="*/ 2147483646 w 6"/>
                <a:gd name="T19" fmla="*/ 2147483646 h 8"/>
                <a:gd name="T20" fmla="*/ 2147483646 w 6"/>
                <a:gd name="T21" fmla="*/ 2147483646 h 8"/>
                <a:gd name="T22" fmla="*/ 2147483646 w 6"/>
                <a:gd name="T23" fmla="*/ 2147483646 h 8"/>
                <a:gd name="T24" fmla="*/ 2147483646 w 6"/>
                <a:gd name="T25" fmla="*/ 2147483646 h 8"/>
                <a:gd name="T26" fmla="*/ 2147483646 w 6"/>
                <a:gd name="T27" fmla="*/ 2147483646 h 8"/>
                <a:gd name="T28" fmla="*/ 2147483646 w 6"/>
                <a:gd name="T29" fmla="*/ 2147483646 h 8"/>
                <a:gd name="T30" fmla="*/ 2147483646 w 6"/>
                <a:gd name="T31" fmla="*/ 2147483646 h 8"/>
                <a:gd name="T32" fmla="*/ 2147483646 w 6"/>
                <a:gd name="T33" fmla="*/ 2147483646 h 8"/>
                <a:gd name="T34" fmla="*/ 2147483646 w 6"/>
                <a:gd name="T35" fmla="*/ 2147483646 h 8"/>
                <a:gd name="T36" fmla="*/ 2147483646 w 6"/>
                <a:gd name="T37" fmla="*/ 2147483646 h 8"/>
                <a:gd name="T38" fmla="*/ 2147483646 w 6"/>
                <a:gd name="T39" fmla="*/ 2147483646 h 8"/>
                <a:gd name="T40" fmla="*/ 2147483646 w 6"/>
                <a:gd name="T41" fmla="*/ 2147483646 h 8"/>
                <a:gd name="T42" fmla="*/ 2147483646 w 6"/>
                <a:gd name="T43" fmla="*/ 2147483646 h 8"/>
                <a:gd name="T44" fmla="*/ 2147483646 w 6"/>
                <a:gd name="T45" fmla="*/ 2147483646 h 8"/>
                <a:gd name="T46" fmla="*/ 2147483646 w 6"/>
                <a:gd name="T47" fmla="*/ 2147483646 h 8"/>
                <a:gd name="T48" fmla="*/ 2147483646 w 6"/>
                <a:gd name="T49" fmla="*/ 2147483646 h 8"/>
                <a:gd name="T50" fmla="*/ 2147483646 w 6"/>
                <a:gd name="T51" fmla="*/ 2147483646 h 8"/>
                <a:gd name="T52" fmla="*/ 2147483646 w 6"/>
                <a:gd name="T53" fmla="*/ 2147483646 h 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6" y="3"/>
                    <a:pt x="6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6"/>
                    <a:pt x="4" y="7"/>
                  </a:cubicBezTo>
                  <a:lnTo>
                    <a:pt x="4" y="8"/>
                  </a:lnTo>
                  <a:close/>
                  <a:moveTo>
                    <a:pt x="1" y="4"/>
                  </a:moveTo>
                  <a:cubicBezTo>
                    <a:pt x="2" y="5"/>
                    <a:pt x="2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0" name="Freeform 395"/>
            <p:cNvSpPr/>
            <p:nvPr/>
          </p:nvSpPr>
          <p:spPr bwMode="auto">
            <a:xfrm>
              <a:off x="1484047" y="2673193"/>
              <a:ext cx="15737" cy="12593"/>
            </a:xfrm>
            <a:custGeom>
              <a:avLst/>
              <a:gdLst>
                <a:gd name="T0" fmla="*/ 2147483646 w 2"/>
                <a:gd name="T1" fmla="*/ 0 h 2"/>
                <a:gd name="T2" fmla="*/ 0 w 2"/>
                <a:gd name="T3" fmla="*/ 2147483646 h 2"/>
                <a:gd name="T4" fmla="*/ 2147483646 w 2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1"/>
                    <a:pt x="1" y="2"/>
                    <a:pt x="0" y="2"/>
                  </a:cubicBezTo>
                  <a:cubicBezTo>
                    <a:pt x="1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1" name="Freeform 396"/>
            <p:cNvSpPr/>
            <p:nvPr/>
          </p:nvSpPr>
          <p:spPr bwMode="auto">
            <a:xfrm>
              <a:off x="1477752" y="2663748"/>
              <a:ext cx="22032" cy="31483"/>
            </a:xfrm>
            <a:custGeom>
              <a:avLst/>
              <a:gdLst>
                <a:gd name="T0" fmla="*/ 0 w 3"/>
                <a:gd name="T1" fmla="*/ 2147483646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2147483646 w 3"/>
                <a:gd name="T7" fmla="*/ 2147483646 h 4"/>
                <a:gd name="T8" fmla="*/ 2147483646 w 3"/>
                <a:gd name="T9" fmla="*/ 0 h 4"/>
                <a:gd name="T10" fmla="*/ 2147483646 w 3"/>
                <a:gd name="T11" fmla="*/ 2147483646 h 4"/>
                <a:gd name="T12" fmla="*/ 2147483646 w 3"/>
                <a:gd name="T13" fmla="*/ 2147483646 h 4"/>
                <a:gd name="T14" fmla="*/ 0 w 3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3"/>
                    <a:pt x="3" y="3"/>
                    <a:pt x="2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2" name="Freeform 397"/>
            <p:cNvSpPr/>
            <p:nvPr/>
          </p:nvSpPr>
          <p:spPr bwMode="auto">
            <a:xfrm>
              <a:off x="1575324" y="2352071"/>
              <a:ext cx="220324" cy="170006"/>
            </a:xfrm>
            <a:custGeom>
              <a:avLst/>
              <a:gdLst>
                <a:gd name="T0" fmla="*/ 2147483646 w 30"/>
                <a:gd name="T1" fmla="*/ 2147483646 h 23"/>
                <a:gd name="T2" fmla="*/ 2147483646 w 30"/>
                <a:gd name="T3" fmla="*/ 2147483646 h 23"/>
                <a:gd name="T4" fmla="*/ 2147483646 w 30"/>
                <a:gd name="T5" fmla="*/ 2147483646 h 23"/>
                <a:gd name="T6" fmla="*/ 2147483646 w 30"/>
                <a:gd name="T7" fmla="*/ 2147483646 h 23"/>
                <a:gd name="T8" fmla="*/ 2147483646 w 30"/>
                <a:gd name="T9" fmla="*/ 2147483646 h 23"/>
                <a:gd name="T10" fmla="*/ 2147483646 w 30"/>
                <a:gd name="T11" fmla="*/ 2147483646 h 23"/>
                <a:gd name="T12" fmla="*/ 2147483646 w 30"/>
                <a:gd name="T13" fmla="*/ 2147483646 h 23"/>
                <a:gd name="T14" fmla="*/ 2147483646 w 30"/>
                <a:gd name="T15" fmla="*/ 2147483646 h 23"/>
                <a:gd name="T16" fmla="*/ 2147483646 w 30"/>
                <a:gd name="T17" fmla="*/ 2147483646 h 23"/>
                <a:gd name="T18" fmla="*/ 2147483646 w 30"/>
                <a:gd name="T19" fmla="*/ 2147483646 h 23"/>
                <a:gd name="T20" fmla="*/ 2147483646 w 30"/>
                <a:gd name="T21" fmla="*/ 2147483646 h 23"/>
                <a:gd name="T22" fmla="*/ 2147483646 w 30"/>
                <a:gd name="T23" fmla="*/ 2147483646 h 23"/>
                <a:gd name="T24" fmla="*/ 2147483646 w 30"/>
                <a:gd name="T25" fmla="*/ 2147483646 h 23"/>
                <a:gd name="T26" fmla="*/ 2147483646 w 30"/>
                <a:gd name="T27" fmla="*/ 2147483646 h 23"/>
                <a:gd name="T28" fmla="*/ 2147483646 w 30"/>
                <a:gd name="T29" fmla="*/ 2147483646 h 23"/>
                <a:gd name="T30" fmla="*/ 2147483646 w 30"/>
                <a:gd name="T31" fmla="*/ 2147483646 h 23"/>
                <a:gd name="T32" fmla="*/ 2147483646 w 30"/>
                <a:gd name="T33" fmla="*/ 2147483646 h 23"/>
                <a:gd name="T34" fmla="*/ 2147483646 w 30"/>
                <a:gd name="T35" fmla="*/ 2147483646 h 23"/>
                <a:gd name="T36" fmla="*/ 2147483646 w 30"/>
                <a:gd name="T37" fmla="*/ 2147483646 h 23"/>
                <a:gd name="T38" fmla="*/ 2147483646 w 30"/>
                <a:gd name="T39" fmla="*/ 2147483646 h 23"/>
                <a:gd name="T40" fmla="*/ 2147483646 w 30"/>
                <a:gd name="T41" fmla="*/ 2147483646 h 23"/>
                <a:gd name="T42" fmla="*/ 2147483646 w 30"/>
                <a:gd name="T43" fmla="*/ 2147483646 h 23"/>
                <a:gd name="T44" fmla="*/ 2147483646 w 30"/>
                <a:gd name="T45" fmla="*/ 2147483646 h 23"/>
                <a:gd name="T46" fmla="*/ 2147483646 w 30"/>
                <a:gd name="T47" fmla="*/ 2147483646 h 23"/>
                <a:gd name="T48" fmla="*/ 2147483646 w 30"/>
                <a:gd name="T49" fmla="*/ 2147483646 h 23"/>
                <a:gd name="T50" fmla="*/ 2147483646 w 30"/>
                <a:gd name="T51" fmla="*/ 2147483646 h 23"/>
                <a:gd name="T52" fmla="*/ 2147483646 w 30"/>
                <a:gd name="T53" fmla="*/ 0 h 23"/>
                <a:gd name="T54" fmla="*/ 2147483646 w 30"/>
                <a:gd name="T55" fmla="*/ 2147483646 h 2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0" h="23">
                  <a:moveTo>
                    <a:pt x="18" y="1"/>
                  </a:moveTo>
                  <a:cubicBezTo>
                    <a:pt x="19" y="2"/>
                    <a:pt x="20" y="3"/>
                    <a:pt x="21" y="3"/>
                  </a:cubicBezTo>
                  <a:cubicBezTo>
                    <a:pt x="22" y="3"/>
                    <a:pt x="24" y="3"/>
                    <a:pt x="25" y="4"/>
                  </a:cubicBezTo>
                  <a:cubicBezTo>
                    <a:pt x="26" y="4"/>
                    <a:pt x="30" y="3"/>
                    <a:pt x="29" y="6"/>
                  </a:cubicBezTo>
                  <a:cubicBezTo>
                    <a:pt x="28" y="7"/>
                    <a:pt x="26" y="8"/>
                    <a:pt x="25" y="8"/>
                  </a:cubicBezTo>
                  <a:cubicBezTo>
                    <a:pt x="23" y="9"/>
                    <a:pt x="23" y="10"/>
                    <a:pt x="22" y="12"/>
                  </a:cubicBezTo>
                  <a:cubicBezTo>
                    <a:pt x="21" y="13"/>
                    <a:pt x="20" y="14"/>
                    <a:pt x="22" y="15"/>
                  </a:cubicBezTo>
                  <a:cubicBezTo>
                    <a:pt x="23" y="15"/>
                    <a:pt x="21" y="17"/>
                    <a:pt x="20" y="18"/>
                  </a:cubicBezTo>
                  <a:cubicBezTo>
                    <a:pt x="20" y="19"/>
                    <a:pt x="19" y="18"/>
                    <a:pt x="18" y="20"/>
                  </a:cubicBezTo>
                  <a:cubicBezTo>
                    <a:pt x="17" y="21"/>
                    <a:pt x="16" y="21"/>
                    <a:pt x="14" y="21"/>
                  </a:cubicBezTo>
                  <a:cubicBezTo>
                    <a:pt x="12" y="21"/>
                    <a:pt x="12" y="21"/>
                    <a:pt x="10" y="22"/>
                  </a:cubicBezTo>
                  <a:cubicBezTo>
                    <a:pt x="9" y="23"/>
                    <a:pt x="8" y="23"/>
                    <a:pt x="7" y="22"/>
                  </a:cubicBezTo>
                  <a:cubicBezTo>
                    <a:pt x="7" y="21"/>
                    <a:pt x="7" y="21"/>
                    <a:pt x="7" y="20"/>
                  </a:cubicBezTo>
                  <a:cubicBezTo>
                    <a:pt x="6" y="20"/>
                    <a:pt x="5" y="20"/>
                    <a:pt x="5" y="20"/>
                  </a:cubicBezTo>
                  <a:cubicBezTo>
                    <a:pt x="4" y="19"/>
                    <a:pt x="5" y="18"/>
                    <a:pt x="5" y="18"/>
                  </a:cubicBezTo>
                  <a:cubicBezTo>
                    <a:pt x="6" y="17"/>
                    <a:pt x="5" y="17"/>
                    <a:pt x="5" y="16"/>
                  </a:cubicBezTo>
                  <a:cubicBezTo>
                    <a:pt x="5" y="15"/>
                    <a:pt x="6" y="15"/>
                    <a:pt x="5" y="14"/>
                  </a:cubicBezTo>
                  <a:cubicBezTo>
                    <a:pt x="5" y="14"/>
                    <a:pt x="5" y="13"/>
                    <a:pt x="5" y="13"/>
                  </a:cubicBezTo>
                  <a:cubicBezTo>
                    <a:pt x="5" y="12"/>
                    <a:pt x="6" y="12"/>
                    <a:pt x="6" y="11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6" y="8"/>
                    <a:pt x="8" y="7"/>
                    <a:pt x="7" y="6"/>
                  </a:cubicBezTo>
                  <a:cubicBezTo>
                    <a:pt x="6" y="5"/>
                    <a:pt x="4" y="7"/>
                    <a:pt x="3" y="5"/>
                  </a:cubicBezTo>
                  <a:cubicBezTo>
                    <a:pt x="3" y="6"/>
                    <a:pt x="2" y="6"/>
                    <a:pt x="1" y="6"/>
                  </a:cubicBezTo>
                  <a:cubicBezTo>
                    <a:pt x="2" y="6"/>
                    <a:pt x="2" y="5"/>
                    <a:pt x="2" y="4"/>
                  </a:cubicBezTo>
                  <a:cubicBezTo>
                    <a:pt x="2" y="4"/>
                    <a:pt x="0" y="2"/>
                    <a:pt x="1" y="2"/>
                  </a:cubicBezTo>
                  <a:cubicBezTo>
                    <a:pt x="1" y="1"/>
                    <a:pt x="2" y="2"/>
                    <a:pt x="2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8" y="1"/>
                    <a:pt x="13" y="1"/>
                    <a:pt x="18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3" name="Freeform 398"/>
            <p:cNvSpPr>
              <a:spLocks noEditPoints="1"/>
            </p:cNvSpPr>
            <p:nvPr/>
          </p:nvSpPr>
          <p:spPr bwMode="auto">
            <a:xfrm>
              <a:off x="1575324" y="2352071"/>
              <a:ext cx="220324" cy="170006"/>
            </a:xfrm>
            <a:custGeom>
              <a:avLst/>
              <a:gdLst>
                <a:gd name="T0" fmla="*/ 2147483646 w 30"/>
                <a:gd name="T1" fmla="*/ 2147483646 h 23"/>
                <a:gd name="T2" fmla="*/ 2147483646 w 30"/>
                <a:gd name="T3" fmla="*/ 2147483646 h 23"/>
                <a:gd name="T4" fmla="*/ 2147483646 w 30"/>
                <a:gd name="T5" fmla="*/ 2147483646 h 23"/>
                <a:gd name="T6" fmla="*/ 2147483646 w 30"/>
                <a:gd name="T7" fmla="*/ 2147483646 h 23"/>
                <a:gd name="T8" fmla="*/ 2147483646 w 30"/>
                <a:gd name="T9" fmla="*/ 2147483646 h 23"/>
                <a:gd name="T10" fmla="*/ 2147483646 w 30"/>
                <a:gd name="T11" fmla="*/ 2147483646 h 23"/>
                <a:gd name="T12" fmla="*/ 2147483646 w 30"/>
                <a:gd name="T13" fmla="*/ 2147483646 h 23"/>
                <a:gd name="T14" fmla="*/ 2147483646 w 30"/>
                <a:gd name="T15" fmla="*/ 2147483646 h 23"/>
                <a:gd name="T16" fmla="*/ 2147483646 w 30"/>
                <a:gd name="T17" fmla="*/ 2147483646 h 23"/>
                <a:gd name="T18" fmla="*/ 2147483646 w 30"/>
                <a:gd name="T19" fmla="*/ 2147483646 h 23"/>
                <a:gd name="T20" fmla="*/ 2147483646 w 30"/>
                <a:gd name="T21" fmla="*/ 2147483646 h 23"/>
                <a:gd name="T22" fmla="*/ 2147483646 w 30"/>
                <a:gd name="T23" fmla="*/ 2147483646 h 23"/>
                <a:gd name="T24" fmla="*/ 0 w 30"/>
                <a:gd name="T25" fmla="*/ 2147483646 h 23"/>
                <a:gd name="T26" fmla="*/ 2147483646 w 30"/>
                <a:gd name="T27" fmla="*/ 2147483646 h 23"/>
                <a:gd name="T28" fmla="*/ 0 w 30"/>
                <a:gd name="T29" fmla="*/ 2147483646 h 23"/>
                <a:gd name="T30" fmla="*/ 2147483646 w 30"/>
                <a:gd name="T31" fmla="*/ 2147483646 h 23"/>
                <a:gd name="T32" fmla="*/ 2147483646 w 30"/>
                <a:gd name="T33" fmla="*/ 0 h 23"/>
                <a:gd name="T34" fmla="*/ 2147483646 w 30"/>
                <a:gd name="T35" fmla="*/ 2147483646 h 23"/>
                <a:gd name="T36" fmla="*/ 2147483646 w 30"/>
                <a:gd name="T37" fmla="*/ 2147483646 h 23"/>
                <a:gd name="T38" fmla="*/ 2147483646 w 30"/>
                <a:gd name="T39" fmla="*/ 2147483646 h 23"/>
                <a:gd name="T40" fmla="*/ 2147483646 w 30"/>
                <a:gd name="T41" fmla="*/ 2147483646 h 23"/>
                <a:gd name="T42" fmla="*/ 2147483646 w 30"/>
                <a:gd name="T43" fmla="*/ 2147483646 h 23"/>
                <a:gd name="T44" fmla="*/ 2147483646 w 30"/>
                <a:gd name="T45" fmla="*/ 2147483646 h 23"/>
                <a:gd name="T46" fmla="*/ 2147483646 w 30"/>
                <a:gd name="T47" fmla="*/ 2147483646 h 23"/>
                <a:gd name="T48" fmla="*/ 2147483646 w 30"/>
                <a:gd name="T49" fmla="*/ 2147483646 h 23"/>
                <a:gd name="T50" fmla="*/ 2147483646 w 30"/>
                <a:gd name="T51" fmla="*/ 2147483646 h 23"/>
                <a:gd name="T52" fmla="*/ 2147483646 w 30"/>
                <a:gd name="T53" fmla="*/ 2147483646 h 23"/>
                <a:gd name="T54" fmla="*/ 2147483646 w 30"/>
                <a:gd name="T55" fmla="*/ 2147483646 h 23"/>
                <a:gd name="T56" fmla="*/ 2147483646 w 30"/>
                <a:gd name="T57" fmla="*/ 2147483646 h 23"/>
                <a:gd name="T58" fmla="*/ 2147483646 w 30"/>
                <a:gd name="T59" fmla="*/ 2147483646 h 23"/>
                <a:gd name="T60" fmla="*/ 2147483646 w 30"/>
                <a:gd name="T61" fmla="*/ 2147483646 h 23"/>
                <a:gd name="T62" fmla="*/ 2147483646 w 30"/>
                <a:gd name="T63" fmla="*/ 2147483646 h 23"/>
                <a:gd name="T64" fmla="*/ 2147483646 w 30"/>
                <a:gd name="T65" fmla="*/ 2147483646 h 23"/>
                <a:gd name="T66" fmla="*/ 2147483646 w 30"/>
                <a:gd name="T67" fmla="*/ 2147483646 h 23"/>
                <a:gd name="T68" fmla="*/ 2147483646 w 30"/>
                <a:gd name="T69" fmla="*/ 2147483646 h 23"/>
                <a:gd name="T70" fmla="*/ 2147483646 w 30"/>
                <a:gd name="T71" fmla="*/ 2147483646 h 23"/>
                <a:gd name="T72" fmla="*/ 2147483646 w 30"/>
                <a:gd name="T73" fmla="*/ 2147483646 h 23"/>
                <a:gd name="T74" fmla="*/ 2147483646 w 30"/>
                <a:gd name="T75" fmla="*/ 2147483646 h 23"/>
                <a:gd name="T76" fmla="*/ 2147483646 w 30"/>
                <a:gd name="T77" fmla="*/ 2147483646 h 23"/>
                <a:gd name="T78" fmla="*/ 2147483646 w 30"/>
                <a:gd name="T79" fmla="*/ 2147483646 h 23"/>
                <a:gd name="T80" fmla="*/ 2147483646 w 30"/>
                <a:gd name="T81" fmla="*/ 2147483646 h 23"/>
                <a:gd name="T82" fmla="*/ 2147483646 w 30"/>
                <a:gd name="T83" fmla="*/ 2147483646 h 23"/>
                <a:gd name="T84" fmla="*/ 2147483646 w 30"/>
                <a:gd name="T85" fmla="*/ 2147483646 h 23"/>
                <a:gd name="T86" fmla="*/ 2147483646 w 30"/>
                <a:gd name="T87" fmla="*/ 2147483646 h 23"/>
                <a:gd name="T88" fmla="*/ 2147483646 w 30"/>
                <a:gd name="T89" fmla="*/ 2147483646 h 23"/>
                <a:gd name="T90" fmla="*/ 2147483646 w 30"/>
                <a:gd name="T91" fmla="*/ 2147483646 h 23"/>
                <a:gd name="T92" fmla="*/ 2147483646 w 30"/>
                <a:gd name="T93" fmla="*/ 2147483646 h 23"/>
                <a:gd name="T94" fmla="*/ 2147483646 w 30"/>
                <a:gd name="T95" fmla="*/ 2147483646 h 23"/>
                <a:gd name="T96" fmla="*/ 2147483646 w 30"/>
                <a:gd name="T97" fmla="*/ 2147483646 h 23"/>
                <a:gd name="T98" fmla="*/ 2147483646 w 30"/>
                <a:gd name="T99" fmla="*/ 2147483646 h 23"/>
                <a:gd name="T100" fmla="*/ 2147483646 w 30"/>
                <a:gd name="T101" fmla="*/ 2147483646 h 23"/>
                <a:gd name="T102" fmla="*/ 2147483646 w 30"/>
                <a:gd name="T103" fmla="*/ 2147483646 h 23"/>
                <a:gd name="T104" fmla="*/ 2147483646 w 30"/>
                <a:gd name="T105" fmla="*/ 2147483646 h 23"/>
                <a:gd name="T106" fmla="*/ 2147483646 w 30"/>
                <a:gd name="T107" fmla="*/ 2147483646 h 23"/>
                <a:gd name="T108" fmla="*/ 2147483646 w 30"/>
                <a:gd name="T109" fmla="*/ 2147483646 h 23"/>
                <a:gd name="T110" fmla="*/ 2147483646 w 30"/>
                <a:gd name="T111" fmla="*/ 2147483646 h 23"/>
                <a:gd name="T112" fmla="*/ 2147483646 w 30"/>
                <a:gd name="T113" fmla="*/ 2147483646 h 23"/>
                <a:gd name="T114" fmla="*/ 2147483646 w 30"/>
                <a:gd name="T115" fmla="*/ 2147483646 h 23"/>
                <a:gd name="T116" fmla="*/ 2147483646 w 30"/>
                <a:gd name="T117" fmla="*/ 2147483646 h 23"/>
                <a:gd name="T118" fmla="*/ 2147483646 w 30"/>
                <a:gd name="T119" fmla="*/ 2147483646 h 23"/>
                <a:gd name="T120" fmla="*/ 2147483646 w 30"/>
                <a:gd name="T121" fmla="*/ 2147483646 h 23"/>
                <a:gd name="T122" fmla="*/ 2147483646 w 30"/>
                <a:gd name="T123" fmla="*/ 2147483646 h 23"/>
                <a:gd name="T124" fmla="*/ 2147483646 w 30"/>
                <a:gd name="T125" fmla="*/ 2147483646 h 2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0" h="23">
                  <a:moveTo>
                    <a:pt x="9" y="23"/>
                  </a:moveTo>
                  <a:cubicBezTo>
                    <a:pt x="8" y="23"/>
                    <a:pt x="7" y="23"/>
                    <a:pt x="7" y="22"/>
                  </a:cubicBezTo>
                  <a:cubicBezTo>
                    <a:pt x="7" y="22"/>
                    <a:pt x="7" y="22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4" y="20"/>
                    <a:pt x="4" y="20"/>
                  </a:cubicBezTo>
                  <a:cubicBezTo>
                    <a:pt x="3" y="19"/>
                    <a:pt x="4" y="18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4" y="16"/>
                    <a:pt x="4" y="16"/>
                  </a:cubicBezTo>
                  <a:cubicBezTo>
                    <a:pt x="4" y="16"/>
                    <a:pt x="5" y="15"/>
                    <a:pt x="5" y="15"/>
                  </a:cubicBezTo>
                  <a:cubicBezTo>
                    <a:pt x="5" y="15"/>
                    <a:pt x="5" y="15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4" y="13"/>
                    <a:pt x="4" y="13"/>
                  </a:cubicBezTo>
                  <a:cubicBezTo>
                    <a:pt x="4" y="12"/>
                    <a:pt x="5" y="12"/>
                    <a:pt x="5" y="12"/>
                  </a:cubicBezTo>
                  <a:cubicBezTo>
                    <a:pt x="5" y="12"/>
                    <a:pt x="5" y="11"/>
                    <a:pt x="5" y="11"/>
                  </a:cubicBezTo>
                  <a:cubicBezTo>
                    <a:pt x="5" y="11"/>
                    <a:pt x="5" y="10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8"/>
                    <a:pt x="6" y="8"/>
                    <a:pt x="6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6" y="6"/>
                    <a:pt x="6" y="6"/>
                    <a:pt x="5" y="6"/>
                  </a:cubicBezTo>
                  <a:cubicBezTo>
                    <a:pt x="4" y="6"/>
                    <a:pt x="3" y="7"/>
                    <a:pt x="3" y="6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2"/>
                    <a:pt x="0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8" y="0"/>
                    <a:pt x="13" y="0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9" y="1"/>
                  </a:cubicBezTo>
                  <a:cubicBezTo>
                    <a:pt x="19" y="2"/>
                    <a:pt x="20" y="2"/>
                    <a:pt x="21" y="3"/>
                  </a:cubicBezTo>
                  <a:cubicBezTo>
                    <a:pt x="21" y="3"/>
                    <a:pt x="22" y="3"/>
                    <a:pt x="22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3"/>
                    <a:pt x="25" y="3"/>
                    <a:pt x="25" y="4"/>
                  </a:cubicBezTo>
                  <a:cubicBezTo>
                    <a:pt x="26" y="3"/>
                    <a:pt x="27" y="3"/>
                    <a:pt x="27" y="3"/>
                  </a:cubicBezTo>
                  <a:cubicBezTo>
                    <a:pt x="28" y="3"/>
                    <a:pt x="29" y="4"/>
                    <a:pt x="30" y="4"/>
                  </a:cubicBezTo>
                  <a:cubicBezTo>
                    <a:pt x="30" y="5"/>
                    <a:pt x="30" y="6"/>
                    <a:pt x="29" y="6"/>
                  </a:cubicBezTo>
                  <a:cubicBezTo>
                    <a:pt x="29" y="7"/>
                    <a:pt x="27" y="8"/>
                    <a:pt x="26" y="8"/>
                  </a:cubicBezTo>
                  <a:cubicBezTo>
                    <a:pt x="26" y="9"/>
                    <a:pt x="25" y="9"/>
                    <a:pt x="25" y="9"/>
                  </a:cubicBezTo>
                  <a:cubicBezTo>
                    <a:pt x="24" y="10"/>
                    <a:pt x="24" y="10"/>
                    <a:pt x="23" y="11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3"/>
                    <a:pt x="22" y="13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2" y="15"/>
                    <a:pt x="23" y="15"/>
                  </a:cubicBezTo>
                  <a:cubicBezTo>
                    <a:pt x="23" y="16"/>
                    <a:pt x="22" y="16"/>
                    <a:pt x="22" y="17"/>
                  </a:cubicBezTo>
                  <a:cubicBezTo>
                    <a:pt x="21" y="17"/>
                    <a:pt x="21" y="18"/>
                    <a:pt x="21" y="18"/>
                  </a:cubicBezTo>
                  <a:cubicBezTo>
                    <a:pt x="21" y="19"/>
                    <a:pt x="20" y="19"/>
                    <a:pt x="20" y="19"/>
                  </a:cubicBezTo>
                  <a:cubicBezTo>
                    <a:pt x="19" y="19"/>
                    <a:pt x="19" y="20"/>
                    <a:pt x="19" y="20"/>
                  </a:cubicBezTo>
                  <a:cubicBezTo>
                    <a:pt x="17" y="21"/>
                    <a:pt x="17" y="22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2" y="22"/>
                    <a:pt x="12" y="22"/>
                    <a:pt x="11" y="23"/>
                  </a:cubicBezTo>
                  <a:cubicBezTo>
                    <a:pt x="10" y="23"/>
                    <a:pt x="9" y="23"/>
                    <a:pt x="9" y="23"/>
                  </a:cubicBezTo>
                  <a:close/>
                  <a:moveTo>
                    <a:pt x="5" y="19"/>
                  </a:moveTo>
                  <a:cubicBezTo>
                    <a:pt x="5" y="19"/>
                    <a:pt x="6" y="19"/>
                    <a:pt x="6" y="19"/>
                  </a:cubicBezTo>
                  <a:cubicBezTo>
                    <a:pt x="6" y="19"/>
                    <a:pt x="7" y="19"/>
                    <a:pt x="7" y="20"/>
                  </a:cubicBezTo>
                  <a:cubicBezTo>
                    <a:pt x="7" y="20"/>
                    <a:pt x="7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2"/>
                    <a:pt x="9" y="22"/>
                    <a:pt x="9" y="22"/>
                  </a:cubicBezTo>
                  <a:cubicBezTo>
                    <a:pt x="9" y="22"/>
                    <a:pt x="10" y="22"/>
                    <a:pt x="10" y="22"/>
                  </a:cubicBezTo>
                  <a:cubicBezTo>
                    <a:pt x="12" y="21"/>
                    <a:pt x="12" y="21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9"/>
                    <a:pt x="19" y="18"/>
                    <a:pt x="19" y="18"/>
                  </a:cubicBezTo>
                  <a:cubicBezTo>
                    <a:pt x="20" y="18"/>
                    <a:pt x="20" y="18"/>
                    <a:pt x="20" y="17"/>
                  </a:cubicBezTo>
                  <a:cubicBezTo>
                    <a:pt x="20" y="17"/>
                    <a:pt x="20" y="17"/>
                    <a:pt x="21" y="16"/>
                  </a:cubicBezTo>
                  <a:cubicBezTo>
                    <a:pt x="21" y="16"/>
                    <a:pt x="21" y="15"/>
                    <a:pt x="21" y="15"/>
                  </a:cubicBezTo>
                  <a:cubicBezTo>
                    <a:pt x="21" y="15"/>
                    <a:pt x="21" y="15"/>
                    <a:pt x="20" y="14"/>
                  </a:cubicBezTo>
                  <a:cubicBezTo>
                    <a:pt x="20" y="13"/>
                    <a:pt x="21" y="12"/>
                    <a:pt x="21" y="12"/>
                  </a:cubicBezTo>
                  <a:cubicBezTo>
                    <a:pt x="21" y="12"/>
                    <a:pt x="21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0"/>
                    <a:pt x="23" y="9"/>
                    <a:pt x="24" y="8"/>
                  </a:cubicBezTo>
                  <a:cubicBezTo>
                    <a:pt x="25" y="8"/>
                    <a:pt x="25" y="8"/>
                    <a:pt x="26" y="7"/>
                  </a:cubicBezTo>
                  <a:cubicBezTo>
                    <a:pt x="27" y="7"/>
                    <a:pt x="28" y="6"/>
                    <a:pt x="28" y="6"/>
                  </a:cubicBezTo>
                  <a:cubicBezTo>
                    <a:pt x="29" y="5"/>
                    <a:pt x="29" y="5"/>
                    <a:pt x="28" y="5"/>
                  </a:cubicBezTo>
                  <a:cubicBezTo>
                    <a:pt x="28" y="5"/>
                    <a:pt x="28" y="5"/>
                    <a:pt x="27" y="5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4"/>
                    <a:pt x="19" y="3"/>
                    <a:pt x="18" y="2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3" y="1"/>
                    <a:pt x="8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5"/>
                    <a:pt x="5" y="5"/>
                  </a:cubicBezTo>
                  <a:cubicBezTo>
                    <a:pt x="6" y="5"/>
                    <a:pt x="7" y="5"/>
                    <a:pt x="7" y="5"/>
                  </a:cubicBezTo>
                  <a:cubicBezTo>
                    <a:pt x="8" y="6"/>
                    <a:pt x="8" y="7"/>
                    <a:pt x="7" y="8"/>
                  </a:cubicBezTo>
                  <a:cubicBezTo>
                    <a:pt x="7" y="8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7" y="12"/>
                    <a:pt x="6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5" y="13"/>
                    <a:pt x="6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7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9"/>
                    <a:pt x="5" y="19"/>
                    <a:pt x="5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4" name="Freeform 399"/>
            <p:cNvSpPr/>
            <p:nvPr/>
          </p:nvSpPr>
          <p:spPr bwMode="auto">
            <a:xfrm>
              <a:off x="1811386" y="1423335"/>
              <a:ext cx="462681" cy="535203"/>
            </a:xfrm>
            <a:custGeom>
              <a:avLst/>
              <a:gdLst>
                <a:gd name="T0" fmla="*/ 2147483646 w 62"/>
                <a:gd name="T1" fmla="*/ 2147483646 h 72"/>
                <a:gd name="T2" fmla="*/ 2147483646 w 62"/>
                <a:gd name="T3" fmla="*/ 2147483646 h 72"/>
                <a:gd name="T4" fmla="*/ 2147483646 w 62"/>
                <a:gd name="T5" fmla="*/ 2147483646 h 72"/>
                <a:gd name="T6" fmla="*/ 2147483646 w 62"/>
                <a:gd name="T7" fmla="*/ 2147483646 h 72"/>
                <a:gd name="T8" fmla="*/ 2147483646 w 62"/>
                <a:gd name="T9" fmla="*/ 2147483646 h 72"/>
                <a:gd name="T10" fmla="*/ 2147483646 w 62"/>
                <a:gd name="T11" fmla="*/ 2147483646 h 72"/>
                <a:gd name="T12" fmla="*/ 2147483646 w 62"/>
                <a:gd name="T13" fmla="*/ 2147483646 h 72"/>
                <a:gd name="T14" fmla="*/ 2147483646 w 62"/>
                <a:gd name="T15" fmla="*/ 2147483646 h 72"/>
                <a:gd name="T16" fmla="*/ 2147483646 w 62"/>
                <a:gd name="T17" fmla="*/ 2147483646 h 72"/>
                <a:gd name="T18" fmla="*/ 2147483646 w 62"/>
                <a:gd name="T19" fmla="*/ 2147483646 h 72"/>
                <a:gd name="T20" fmla="*/ 2147483646 w 62"/>
                <a:gd name="T21" fmla="*/ 2147483646 h 72"/>
                <a:gd name="T22" fmla="*/ 2147483646 w 62"/>
                <a:gd name="T23" fmla="*/ 2147483646 h 72"/>
                <a:gd name="T24" fmla="*/ 2147483646 w 62"/>
                <a:gd name="T25" fmla="*/ 2147483646 h 72"/>
                <a:gd name="T26" fmla="*/ 2147483646 w 62"/>
                <a:gd name="T27" fmla="*/ 2147483646 h 72"/>
                <a:gd name="T28" fmla="*/ 2147483646 w 62"/>
                <a:gd name="T29" fmla="*/ 2147483646 h 72"/>
                <a:gd name="T30" fmla="*/ 2147483646 w 62"/>
                <a:gd name="T31" fmla="*/ 2147483646 h 72"/>
                <a:gd name="T32" fmla="*/ 2147483646 w 62"/>
                <a:gd name="T33" fmla="*/ 2147483646 h 72"/>
                <a:gd name="T34" fmla="*/ 2147483646 w 62"/>
                <a:gd name="T35" fmla="*/ 2147483646 h 72"/>
                <a:gd name="T36" fmla="*/ 2147483646 w 62"/>
                <a:gd name="T37" fmla="*/ 2147483646 h 72"/>
                <a:gd name="T38" fmla="*/ 2147483646 w 62"/>
                <a:gd name="T39" fmla="*/ 2147483646 h 72"/>
                <a:gd name="T40" fmla="*/ 2147483646 w 62"/>
                <a:gd name="T41" fmla="*/ 2147483646 h 72"/>
                <a:gd name="T42" fmla="*/ 2147483646 w 62"/>
                <a:gd name="T43" fmla="*/ 2147483646 h 72"/>
                <a:gd name="T44" fmla="*/ 2147483646 w 62"/>
                <a:gd name="T45" fmla="*/ 2147483646 h 72"/>
                <a:gd name="T46" fmla="*/ 2147483646 w 62"/>
                <a:gd name="T47" fmla="*/ 2147483646 h 72"/>
                <a:gd name="T48" fmla="*/ 2147483646 w 62"/>
                <a:gd name="T49" fmla="*/ 2147483646 h 72"/>
                <a:gd name="T50" fmla="*/ 2147483646 w 62"/>
                <a:gd name="T51" fmla="*/ 2147483646 h 72"/>
                <a:gd name="T52" fmla="*/ 2147483646 w 62"/>
                <a:gd name="T53" fmla="*/ 2147483646 h 72"/>
                <a:gd name="T54" fmla="*/ 2147483646 w 62"/>
                <a:gd name="T55" fmla="*/ 2147483646 h 72"/>
                <a:gd name="T56" fmla="*/ 2147483646 w 62"/>
                <a:gd name="T57" fmla="*/ 2147483646 h 72"/>
                <a:gd name="T58" fmla="*/ 2147483646 w 62"/>
                <a:gd name="T59" fmla="*/ 2147483646 h 72"/>
                <a:gd name="T60" fmla="*/ 2147483646 w 62"/>
                <a:gd name="T61" fmla="*/ 2147483646 h 72"/>
                <a:gd name="T62" fmla="*/ 2147483646 w 62"/>
                <a:gd name="T63" fmla="*/ 2147483646 h 72"/>
                <a:gd name="T64" fmla="*/ 2147483646 w 62"/>
                <a:gd name="T65" fmla="*/ 2147483646 h 72"/>
                <a:gd name="T66" fmla="*/ 2147483646 w 62"/>
                <a:gd name="T67" fmla="*/ 2147483646 h 72"/>
                <a:gd name="T68" fmla="*/ 2147483646 w 62"/>
                <a:gd name="T69" fmla="*/ 2147483646 h 72"/>
                <a:gd name="T70" fmla="*/ 2147483646 w 62"/>
                <a:gd name="T71" fmla="*/ 2147483646 h 72"/>
                <a:gd name="T72" fmla="*/ 2147483646 w 62"/>
                <a:gd name="T73" fmla="*/ 2147483646 h 72"/>
                <a:gd name="T74" fmla="*/ 2147483646 w 62"/>
                <a:gd name="T75" fmla="*/ 2147483646 h 72"/>
                <a:gd name="T76" fmla="*/ 2147483646 w 62"/>
                <a:gd name="T77" fmla="*/ 2147483646 h 72"/>
                <a:gd name="T78" fmla="*/ 2147483646 w 62"/>
                <a:gd name="T79" fmla="*/ 2147483646 h 72"/>
                <a:gd name="T80" fmla="*/ 2147483646 w 62"/>
                <a:gd name="T81" fmla="*/ 2147483646 h 72"/>
                <a:gd name="T82" fmla="*/ 2147483646 w 62"/>
                <a:gd name="T83" fmla="*/ 2147483646 h 7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62" h="72">
                  <a:moveTo>
                    <a:pt x="7" y="49"/>
                  </a:moveTo>
                  <a:cubicBezTo>
                    <a:pt x="6" y="49"/>
                    <a:pt x="6" y="49"/>
                    <a:pt x="6" y="49"/>
                  </a:cubicBezTo>
                  <a:cubicBezTo>
                    <a:pt x="9" y="50"/>
                    <a:pt x="6" y="51"/>
                    <a:pt x="4" y="51"/>
                  </a:cubicBezTo>
                  <a:cubicBezTo>
                    <a:pt x="5" y="52"/>
                    <a:pt x="5" y="52"/>
                    <a:pt x="5" y="53"/>
                  </a:cubicBezTo>
                  <a:cubicBezTo>
                    <a:pt x="4" y="53"/>
                    <a:pt x="4" y="52"/>
                    <a:pt x="4" y="52"/>
                  </a:cubicBezTo>
                  <a:cubicBezTo>
                    <a:pt x="4" y="53"/>
                    <a:pt x="3" y="53"/>
                    <a:pt x="4" y="54"/>
                  </a:cubicBezTo>
                  <a:cubicBezTo>
                    <a:pt x="3" y="53"/>
                    <a:pt x="2" y="53"/>
                    <a:pt x="1" y="53"/>
                  </a:cubicBezTo>
                  <a:cubicBezTo>
                    <a:pt x="1" y="55"/>
                    <a:pt x="3" y="54"/>
                    <a:pt x="4" y="54"/>
                  </a:cubicBezTo>
                  <a:cubicBezTo>
                    <a:pt x="3" y="55"/>
                    <a:pt x="2" y="55"/>
                    <a:pt x="1" y="55"/>
                  </a:cubicBezTo>
                  <a:cubicBezTo>
                    <a:pt x="2" y="56"/>
                    <a:pt x="0" y="57"/>
                    <a:pt x="1" y="58"/>
                  </a:cubicBezTo>
                  <a:cubicBezTo>
                    <a:pt x="2" y="59"/>
                    <a:pt x="4" y="58"/>
                    <a:pt x="4" y="57"/>
                  </a:cubicBezTo>
                  <a:cubicBezTo>
                    <a:pt x="4" y="59"/>
                    <a:pt x="6" y="57"/>
                    <a:pt x="7" y="56"/>
                  </a:cubicBezTo>
                  <a:cubicBezTo>
                    <a:pt x="7" y="56"/>
                    <a:pt x="7" y="57"/>
                    <a:pt x="6" y="58"/>
                  </a:cubicBezTo>
                  <a:cubicBezTo>
                    <a:pt x="7" y="58"/>
                    <a:pt x="7" y="57"/>
                    <a:pt x="7" y="57"/>
                  </a:cubicBezTo>
                  <a:cubicBezTo>
                    <a:pt x="6" y="58"/>
                    <a:pt x="6" y="59"/>
                    <a:pt x="5" y="59"/>
                  </a:cubicBezTo>
                  <a:cubicBezTo>
                    <a:pt x="5" y="57"/>
                    <a:pt x="3" y="59"/>
                    <a:pt x="1" y="59"/>
                  </a:cubicBezTo>
                  <a:cubicBezTo>
                    <a:pt x="1" y="59"/>
                    <a:pt x="1" y="60"/>
                    <a:pt x="2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2" y="60"/>
                    <a:pt x="1" y="60"/>
                    <a:pt x="3" y="60"/>
                  </a:cubicBezTo>
                  <a:cubicBezTo>
                    <a:pt x="2" y="61"/>
                    <a:pt x="1" y="62"/>
                    <a:pt x="2" y="63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2" y="63"/>
                    <a:pt x="2" y="63"/>
                    <a:pt x="2" y="64"/>
                  </a:cubicBezTo>
                  <a:cubicBezTo>
                    <a:pt x="3" y="62"/>
                    <a:pt x="4" y="60"/>
                    <a:pt x="6" y="61"/>
                  </a:cubicBezTo>
                  <a:cubicBezTo>
                    <a:pt x="5" y="61"/>
                    <a:pt x="5" y="62"/>
                    <a:pt x="5" y="62"/>
                  </a:cubicBezTo>
                  <a:cubicBezTo>
                    <a:pt x="5" y="62"/>
                    <a:pt x="5" y="61"/>
                    <a:pt x="4" y="61"/>
                  </a:cubicBezTo>
                  <a:cubicBezTo>
                    <a:pt x="4" y="62"/>
                    <a:pt x="3" y="63"/>
                    <a:pt x="3" y="64"/>
                  </a:cubicBezTo>
                  <a:cubicBezTo>
                    <a:pt x="3" y="64"/>
                    <a:pt x="4" y="64"/>
                    <a:pt x="4" y="64"/>
                  </a:cubicBezTo>
                  <a:cubicBezTo>
                    <a:pt x="3" y="65"/>
                    <a:pt x="2" y="65"/>
                    <a:pt x="2" y="66"/>
                  </a:cubicBezTo>
                  <a:cubicBezTo>
                    <a:pt x="2" y="66"/>
                    <a:pt x="3" y="66"/>
                    <a:pt x="4" y="65"/>
                  </a:cubicBezTo>
                  <a:cubicBezTo>
                    <a:pt x="4" y="66"/>
                    <a:pt x="3" y="67"/>
                    <a:pt x="3" y="68"/>
                  </a:cubicBezTo>
                  <a:cubicBezTo>
                    <a:pt x="3" y="68"/>
                    <a:pt x="3" y="68"/>
                    <a:pt x="2" y="68"/>
                  </a:cubicBezTo>
                  <a:cubicBezTo>
                    <a:pt x="2" y="69"/>
                    <a:pt x="4" y="71"/>
                    <a:pt x="5" y="71"/>
                  </a:cubicBezTo>
                  <a:cubicBezTo>
                    <a:pt x="5" y="71"/>
                    <a:pt x="5" y="72"/>
                    <a:pt x="5" y="72"/>
                  </a:cubicBezTo>
                  <a:cubicBezTo>
                    <a:pt x="7" y="72"/>
                    <a:pt x="9" y="71"/>
                    <a:pt x="11" y="69"/>
                  </a:cubicBezTo>
                  <a:cubicBezTo>
                    <a:pt x="11" y="69"/>
                    <a:pt x="11" y="68"/>
                    <a:pt x="12" y="67"/>
                  </a:cubicBezTo>
                  <a:cubicBezTo>
                    <a:pt x="12" y="67"/>
                    <a:pt x="13" y="68"/>
                    <a:pt x="13" y="68"/>
                  </a:cubicBezTo>
                  <a:cubicBezTo>
                    <a:pt x="14" y="67"/>
                    <a:pt x="13" y="66"/>
                    <a:pt x="13" y="65"/>
                  </a:cubicBezTo>
                  <a:cubicBezTo>
                    <a:pt x="13" y="65"/>
                    <a:pt x="13" y="65"/>
                    <a:pt x="14" y="65"/>
                  </a:cubicBezTo>
                  <a:cubicBezTo>
                    <a:pt x="13" y="64"/>
                    <a:pt x="14" y="64"/>
                    <a:pt x="14" y="64"/>
                  </a:cubicBezTo>
                  <a:cubicBezTo>
                    <a:pt x="14" y="65"/>
                    <a:pt x="14" y="66"/>
                    <a:pt x="14" y="66"/>
                  </a:cubicBezTo>
                  <a:cubicBezTo>
                    <a:pt x="14" y="67"/>
                    <a:pt x="15" y="67"/>
                    <a:pt x="15" y="69"/>
                  </a:cubicBezTo>
                  <a:cubicBezTo>
                    <a:pt x="16" y="68"/>
                    <a:pt x="16" y="67"/>
                    <a:pt x="16" y="66"/>
                  </a:cubicBezTo>
                  <a:cubicBezTo>
                    <a:pt x="16" y="64"/>
                    <a:pt x="18" y="64"/>
                    <a:pt x="18" y="63"/>
                  </a:cubicBezTo>
                  <a:cubicBezTo>
                    <a:pt x="19" y="61"/>
                    <a:pt x="18" y="60"/>
                    <a:pt x="18" y="59"/>
                  </a:cubicBezTo>
                  <a:cubicBezTo>
                    <a:pt x="17" y="58"/>
                    <a:pt x="19" y="58"/>
                    <a:pt x="18" y="56"/>
                  </a:cubicBezTo>
                  <a:cubicBezTo>
                    <a:pt x="17" y="54"/>
                    <a:pt x="17" y="52"/>
                    <a:pt x="18" y="49"/>
                  </a:cubicBezTo>
                  <a:cubicBezTo>
                    <a:pt x="18" y="47"/>
                    <a:pt x="16" y="44"/>
                    <a:pt x="20" y="43"/>
                  </a:cubicBezTo>
                  <a:cubicBezTo>
                    <a:pt x="24" y="42"/>
                    <a:pt x="20" y="41"/>
                    <a:pt x="22" y="38"/>
                  </a:cubicBezTo>
                  <a:cubicBezTo>
                    <a:pt x="23" y="37"/>
                    <a:pt x="23" y="36"/>
                    <a:pt x="23" y="35"/>
                  </a:cubicBezTo>
                  <a:cubicBezTo>
                    <a:pt x="23" y="34"/>
                    <a:pt x="23" y="33"/>
                    <a:pt x="23" y="32"/>
                  </a:cubicBezTo>
                  <a:cubicBezTo>
                    <a:pt x="23" y="32"/>
                    <a:pt x="24" y="32"/>
                    <a:pt x="25" y="31"/>
                  </a:cubicBezTo>
                  <a:cubicBezTo>
                    <a:pt x="26" y="30"/>
                    <a:pt x="27" y="27"/>
                    <a:pt x="27" y="25"/>
                  </a:cubicBezTo>
                  <a:cubicBezTo>
                    <a:pt x="26" y="23"/>
                    <a:pt x="29" y="19"/>
                    <a:pt x="31" y="21"/>
                  </a:cubicBezTo>
                  <a:cubicBezTo>
                    <a:pt x="31" y="20"/>
                    <a:pt x="31" y="17"/>
                    <a:pt x="32" y="17"/>
                  </a:cubicBezTo>
                  <a:cubicBezTo>
                    <a:pt x="33" y="18"/>
                    <a:pt x="35" y="18"/>
                    <a:pt x="36" y="18"/>
                  </a:cubicBezTo>
                  <a:cubicBezTo>
                    <a:pt x="35" y="17"/>
                    <a:pt x="36" y="16"/>
                    <a:pt x="36" y="14"/>
                  </a:cubicBezTo>
                  <a:cubicBezTo>
                    <a:pt x="37" y="14"/>
                    <a:pt x="37" y="14"/>
                    <a:pt x="38" y="14"/>
                  </a:cubicBezTo>
                  <a:cubicBezTo>
                    <a:pt x="39" y="13"/>
                    <a:pt x="38" y="13"/>
                    <a:pt x="38" y="12"/>
                  </a:cubicBezTo>
                  <a:cubicBezTo>
                    <a:pt x="39" y="12"/>
                    <a:pt x="41" y="16"/>
                    <a:pt x="41" y="16"/>
                  </a:cubicBezTo>
                  <a:cubicBezTo>
                    <a:pt x="43" y="17"/>
                    <a:pt x="45" y="15"/>
                    <a:pt x="45" y="16"/>
                  </a:cubicBezTo>
                  <a:cubicBezTo>
                    <a:pt x="47" y="17"/>
                    <a:pt x="48" y="16"/>
                    <a:pt x="49" y="14"/>
                  </a:cubicBezTo>
                  <a:cubicBezTo>
                    <a:pt x="50" y="13"/>
                    <a:pt x="49" y="12"/>
                    <a:pt x="49" y="10"/>
                  </a:cubicBezTo>
                  <a:cubicBezTo>
                    <a:pt x="50" y="8"/>
                    <a:pt x="52" y="8"/>
                    <a:pt x="54" y="8"/>
                  </a:cubicBezTo>
                  <a:cubicBezTo>
                    <a:pt x="55" y="7"/>
                    <a:pt x="57" y="9"/>
                    <a:pt x="57" y="10"/>
                  </a:cubicBezTo>
                  <a:cubicBezTo>
                    <a:pt x="58" y="12"/>
                    <a:pt x="56" y="13"/>
                    <a:pt x="57" y="14"/>
                  </a:cubicBezTo>
                  <a:cubicBezTo>
                    <a:pt x="58" y="13"/>
                    <a:pt x="59" y="12"/>
                    <a:pt x="59" y="10"/>
                  </a:cubicBezTo>
                  <a:cubicBezTo>
                    <a:pt x="60" y="11"/>
                    <a:pt x="60" y="11"/>
                    <a:pt x="61" y="11"/>
                  </a:cubicBezTo>
                  <a:cubicBezTo>
                    <a:pt x="61" y="11"/>
                    <a:pt x="61" y="10"/>
                    <a:pt x="61" y="10"/>
                  </a:cubicBezTo>
                  <a:cubicBezTo>
                    <a:pt x="60" y="10"/>
                    <a:pt x="59" y="10"/>
                    <a:pt x="58" y="10"/>
                  </a:cubicBezTo>
                  <a:cubicBezTo>
                    <a:pt x="60" y="8"/>
                    <a:pt x="57" y="8"/>
                    <a:pt x="56" y="7"/>
                  </a:cubicBezTo>
                  <a:cubicBezTo>
                    <a:pt x="58" y="7"/>
                    <a:pt x="59" y="8"/>
                    <a:pt x="61" y="6"/>
                  </a:cubicBezTo>
                  <a:cubicBezTo>
                    <a:pt x="62" y="4"/>
                    <a:pt x="59" y="2"/>
                    <a:pt x="57" y="3"/>
                  </a:cubicBezTo>
                  <a:cubicBezTo>
                    <a:pt x="57" y="3"/>
                    <a:pt x="57" y="2"/>
                    <a:pt x="57" y="2"/>
                  </a:cubicBezTo>
                  <a:cubicBezTo>
                    <a:pt x="55" y="2"/>
                    <a:pt x="57" y="5"/>
                    <a:pt x="54" y="5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4"/>
                    <a:pt x="54" y="4"/>
                    <a:pt x="54" y="4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6" y="3"/>
                    <a:pt x="55" y="1"/>
                    <a:pt x="53" y="0"/>
                  </a:cubicBezTo>
                  <a:cubicBezTo>
                    <a:pt x="53" y="2"/>
                    <a:pt x="53" y="5"/>
                    <a:pt x="51" y="5"/>
                  </a:cubicBezTo>
                  <a:cubicBezTo>
                    <a:pt x="51" y="4"/>
                    <a:pt x="51" y="3"/>
                    <a:pt x="51" y="1"/>
                  </a:cubicBezTo>
                  <a:cubicBezTo>
                    <a:pt x="50" y="3"/>
                    <a:pt x="49" y="5"/>
                    <a:pt x="47" y="7"/>
                  </a:cubicBezTo>
                  <a:cubicBezTo>
                    <a:pt x="46" y="6"/>
                    <a:pt x="49" y="3"/>
                    <a:pt x="49" y="2"/>
                  </a:cubicBezTo>
                  <a:cubicBezTo>
                    <a:pt x="48" y="3"/>
                    <a:pt x="47" y="2"/>
                    <a:pt x="47" y="1"/>
                  </a:cubicBezTo>
                  <a:cubicBezTo>
                    <a:pt x="47" y="1"/>
                    <a:pt x="46" y="2"/>
                    <a:pt x="46" y="2"/>
                  </a:cubicBezTo>
                  <a:cubicBezTo>
                    <a:pt x="48" y="4"/>
                    <a:pt x="43" y="5"/>
                    <a:pt x="43" y="8"/>
                  </a:cubicBezTo>
                  <a:cubicBezTo>
                    <a:pt x="43" y="7"/>
                    <a:pt x="42" y="8"/>
                    <a:pt x="43" y="7"/>
                  </a:cubicBezTo>
                  <a:cubicBezTo>
                    <a:pt x="42" y="7"/>
                    <a:pt x="41" y="7"/>
                    <a:pt x="40" y="6"/>
                  </a:cubicBezTo>
                  <a:cubicBezTo>
                    <a:pt x="40" y="6"/>
                    <a:pt x="40" y="7"/>
                    <a:pt x="40" y="7"/>
                  </a:cubicBezTo>
                  <a:cubicBezTo>
                    <a:pt x="40" y="7"/>
                    <a:pt x="39" y="6"/>
                    <a:pt x="39" y="6"/>
                  </a:cubicBezTo>
                  <a:cubicBezTo>
                    <a:pt x="39" y="7"/>
                    <a:pt x="40" y="7"/>
                    <a:pt x="40" y="7"/>
                  </a:cubicBezTo>
                  <a:cubicBezTo>
                    <a:pt x="41" y="8"/>
                    <a:pt x="40" y="9"/>
                    <a:pt x="40" y="10"/>
                  </a:cubicBezTo>
                  <a:cubicBezTo>
                    <a:pt x="40" y="9"/>
                    <a:pt x="39" y="8"/>
                    <a:pt x="39" y="8"/>
                  </a:cubicBezTo>
                  <a:cubicBezTo>
                    <a:pt x="39" y="9"/>
                    <a:pt x="38" y="8"/>
                    <a:pt x="37" y="9"/>
                  </a:cubicBezTo>
                  <a:cubicBezTo>
                    <a:pt x="37" y="10"/>
                    <a:pt x="37" y="11"/>
                    <a:pt x="36" y="12"/>
                  </a:cubicBezTo>
                  <a:cubicBezTo>
                    <a:pt x="36" y="11"/>
                    <a:pt x="36" y="10"/>
                    <a:pt x="36" y="8"/>
                  </a:cubicBezTo>
                  <a:cubicBezTo>
                    <a:pt x="35" y="9"/>
                    <a:pt x="35" y="10"/>
                    <a:pt x="35" y="12"/>
                  </a:cubicBezTo>
                  <a:cubicBezTo>
                    <a:pt x="35" y="11"/>
                    <a:pt x="35" y="10"/>
                    <a:pt x="35" y="9"/>
                  </a:cubicBezTo>
                  <a:cubicBezTo>
                    <a:pt x="33" y="9"/>
                    <a:pt x="34" y="12"/>
                    <a:pt x="35" y="13"/>
                  </a:cubicBezTo>
                  <a:cubicBezTo>
                    <a:pt x="34" y="12"/>
                    <a:pt x="33" y="11"/>
                    <a:pt x="32" y="11"/>
                  </a:cubicBezTo>
                  <a:cubicBezTo>
                    <a:pt x="34" y="13"/>
                    <a:pt x="32" y="13"/>
                    <a:pt x="32" y="11"/>
                  </a:cubicBezTo>
                  <a:cubicBezTo>
                    <a:pt x="31" y="13"/>
                    <a:pt x="30" y="14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30" y="17"/>
                    <a:pt x="29" y="17"/>
                    <a:pt x="28" y="17"/>
                  </a:cubicBezTo>
                  <a:cubicBezTo>
                    <a:pt x="29" y="18"/>
                    <a:pt x="29" y="18"/>
                    <a:pt x="30" y="18"/>
                  </a:cubicBezTo>
                  <a:cubicBezTo>
                    <a:pt x="30" y="19"/>
                    <a:pt x="28" y="19"/>
                    <a:pt x="27" y="18"/>
                  </a:cubicBezTo>
                  <a:cubicBezTo>
                    <a:pt x="27" y="20"/>
                    <a:pt x="28" y="21"/>
                    <a:pt x="27" y="21"/>
                  </a:cubicBezTo>
                  <a:cubicBezTo>
                    <a:pt x="27" y="21"/>
                    <a:pt x="26" y="20"/>
                    <a:pt x="26" y="20"/>
                  </a:cubicBezTo>
                  <a:cubicBezTo>
                    <a:pt x="25" y="21"/>
                    <a:pt x="26" y="22"/>
                    <a:pt x="25" y="23"/>
                  </a:cubicBezTo>
                  <a:cubicBezTo>
                    <a:pt x="25" y="23"/>
                    <a:pt x="25" y="23"/>
                    <a:pt x="26" y="23"/>
                  </a:cubicBezTo>
                  <a:cubicBezTo>
                    <a:pt x="23" y="24"/>
                    <a:pt x="23" y="24"/>
                    <a:pt x="22" y="26"/>
                  </a:cubicBezTo>
                  <a:cubicBezTo>
                    <a:pt x="22" y="28"/>
                    <a:pt x="19" y="28"/>
                    <a:pt x="21" y="29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1" y="31"/>
                    <a:pt x="19" y="32"/>
                    <a:pt x="18" y="33"/>
                  </a:cubicBezTo>
                  <a:cubicBezTo>
                    <a:pt x="19" y="33"/>
                    <a:pt x="19" y="32"/>
                    <a:pt x="20" y="32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19" y="33"/>
                    <a:pt x="19" y="33"/>
                  </a:cubicBezTo>
                  <a:cubicBezTo>
                    <a:pt x="19" y="34"/>
                    <a:pt x="18" y="35"/>
                    <a:pt x="19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5"/>
                    <a:pt x="17" y="36"/>
                    <a:pt x="17" y="37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8"/>
                    <a:pt x="17" y="38"/>
                    <a:pt x="16" y="38"/>
                  </a:cubicBezTo>
                  <a:cubicBezTo>
                    <a:pt x="15" y="39"/>
                    <a:pt x="16" y="40"/>
                    <a:pt x="16" y="41"/>
                  </a:cubicBezTo>
                  <a:cubicBezTo>
                    <a:pt x="14" y="40"/>
                    <a:pt x="9" y="48"/>
                    <a:pt x="16" y="44"/>
                  </a:cubicBezTo>
                  <a:cubicBezTo>
                    <a:pt x="15" y="45"/>
                    <a:pt x="14" y="46"/>
                    <a:pt x="13" y="47"/>
                  </a:cubicBezTo>
                  <a:cubicBezTo>
                    <a:pt x="12" y="44"/>
                    <a:pt x="11" y="46"/>
                    <a:pt x="11" y="47"/>
                  </a:cubicBezTo>
                  <a:cubicBezTo>
                    <a:pt x="11" y="47"/>
                    <a:pt x="11" y="46"/>
                    <a:pt x="10" y="46"/>
                  </a:cubicBezTo>
                  <a:cubicBezTo>
                    <a:pt x="9" y="47"/>
                    <a:pt x="8" y="48"/>
                    <a:pt x="7" y="4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5" name="Freeform 400"/>
            <p:cNvSpPr>
              <a:spLocks noEditPoints="1"/>
            </p:cNvSpPr>
            <p:nvPr/>
          </p:nvSpPr>
          <p:spPr bwMode="auto">
            <a:xfrm>
              <a:off x="1805091" y="1417040"/>
              <a:ext cx="468976" cy="541500"/>
            </a:xfrm>
            <a:custGeom>
              <a:avLst/>
              <a:gdLst>
                <a:gd name="T0" fmla="*/ 2147483646 w 63"/>
                <a:gd name="T1" fmla="*/ 2147483646 h 73"/>
                <a:gd name="T2" fmla="*/ 2147483646 w 63"/>
                <a:gd name="T3" fmla="*/ 2147483646 h 73"/>
                <a:gd name="T4" fmla="*/ 2147483646 w 63"/>
                <a:gd name="T5" fmla="*/ 2147483646 h 73"/>
                <a:gd name="T6" fmla="*/ 2147483646 w 63"/>
                <a:gd name="T7" fmla="*/ 2147483646 h 73"/>
                <a:gd name="T8" fmla="*/ 2147483646 w 63"/>
                <a:gd name="T9" fmla="*/ 2147483646 h 73"/>
                <a:gd name="T10" fmla="*/ 2147483646 w 63"/>
                <a:gd name="T11" fmla="*/ 2147483646 h 73"/>
                <a:gd name="T12" fmla="*/ 2147483646 w 63"/>
                <a:gd name="T13" fmla="*/ 2147483646 h 73"/>
                <a:gd name="T14" fmla="*/ 2147483646 w 63"/>
                <a:gd name="T15" fmla="*/ 2147483646 h 73"/>
                <a:gd name="T16" fmla="*/ 2147483646 w 63"/>
                <a:gd name="T17" fmla="*/ 2147483646 h 73"/>
                <a:gd name="T18" fmla="*/ 2147483646 w 63"/>
                <a:gd name="T19" fmla="*/ 2147483646 h 73"/>
                <a:gd name="T20" fmla="*/ 2147483646 w 63"/>
                <a:gd name="T21" fmla="*/ 2147483646 h 73"/>
                <a:gd name="T22" fmla="*/ 2147483646 w 63"/>
                <a:gd name="T23" fmla="*/ 2147483646 h 73"/>
                <a:gd name="T24" fmla="*/ 2147483646 w 63"/>
                <a:gd name="T25" fmla="*/ 2147483646 h 73"/>
                <a:gd name="T26" fmla="*/ 2147483646 w 63"/>
                <a:gd name="T27" fmla="*/ 2147483646 h 73"/>
                <a:gd name="T28" fmla="*/ 2147483646 w 63"/>
                <a:gd name="T29" fmla="*/ 2147483646 h 73"/>
                <a:gd name="T30" fmla="*/ 2147483646 w 63"/>
                <a:gd name="T31" fmla="*/ 0 h 73"/>
                <a:gd name="T32" fmla="*/ 2147483646 w 63"/>
                <a:gd name="T33" fmla="*/ 2147483646 h 73"/>
                <a:gd name="T34" fmla="*/ 2147483646 w 63"/>
                <a:gd name="T35" fmla="*/ 2147483646 h 73"/>
                <a:gd name="T36" fmla="*/ 2147483646 w 63"/>
                <a:gd name="T37" fmla="*/ 2147483646 h 73"/>
                <a:gd name="T38" fmla="*/ 2147483646 w 63"/>
                <a:gd name="T39" fmla="*/ 2147483646 h 73"/>
                <a:gd name="T40" fmla="*/ 2147483646 w 63"/>
                <a:gd name="T41" fmla="*/ 2147483646 h 73"/>
                <a:gd name="T42" fmla="*/ 2147483646 w 63"/>
                <a:gd name="T43" fmla="*/ 2147483646 h 73"/>
                <a:gd name="T44" fmla="*/ 2147483646 w 63"/>
                <a:gd name="T45" fmla="*/ 2147483646 h 73"/>
                <a:gd name="T46" fmla="*/ 2147483646 w 63"/>
                <a:gd name="T47" fmla="*/ 2147483646 h 73"/>
                <a:gd name="T48" fmla="*/ 2147483646 w 63"/>
                <a:gd name="T49" fmla="*/ 2147483646 h 73"/>
                <a:gd name="T50" fmla="*/ 2147483646 w 63"/>
                <a:gd name="T51" fmla="*/ 2147483646 h 73"/>
                <a:gd name="T52" fmla="*/ 2147483646 w 63"/>
                <a:gd name="T53" fmla="*/ 2147483646 h 73"/>
                <a:gd name="T54" fmla="*/ 2147483646 w 63"/>
                <a:gd name="T55" fmla="*/ 2147483646 h 73"/>
                <a:gd name="T56" fmla="*/ 2147483646 w 63"/>
                <a:gd name="T57" fmla="*/ 2147483646 h 73"/>
                <a:gd name="T58" fmla="*/ 2147483646 w 63"/>
                <a:gd name="T59" fmla="*/ 2147483646 h 73"/>
                <a:gd name="T60" fmla="*/ 2147483646 w 63"/>
                <a:gd name="T61" fmla="*/ 2147483646 h 73"/>
                <a:gd name="T62" fmla="*/ 2147483646 w 63"/>
                <a:gd name="T63" fmla="*/ 2147483646 h 73"/>
                <a:gd name="T64" fmla="*/ 2147483646 w 63"/>
                <a:gd name="T65" fmla="*/ 2147483646 h 73"/>
                <a:gd name="T66" fmla="*/ 2147483646 w 63"/>
                <a:gd name="T67" fmla="*/ 2147483646 h 73"/>
                <a:gd name="T68" fmla="*/ 2147483646 w 63"/>
                <a:gd name="T69" fmla="*/ 2147483646 h 73"/>
                <a:gd name="T70" fmla="*/ 2147483646 w 63"/>
                <a:gd name="T71" fmla="*/ 2147483646 h 73"/>
                <a:gd name="T72" fmla="*/ 2147483646 w 63"/>
                <a:gd name="T73" fmla="*/ 2147483646 h 73"/>
                <a:gd name="T74" fmla="*/ 2147483646 w 63"/>
                <a:gd name="T75" fmla="*/ 2147483646 h 73"/>
                <a:gd name="T76" fmla="*/ 2147483646 w 63"/>
                <a:gd name="T77" fmla="*/ 2147483646 h 73"/>
                <a:gd name="T78" fmla="*/ 2147483646 w 63"/>
                <a:gd name="T79" fmla="*/ 2147483646 h 73"/>
                <a:gd name="T80" fmla="*/ 2147483646 w 63"/>
                <a:gd name="T81" fmla="*/ 2147483646 h 73"/>
                <a:gd name="T82" fmla="*/ 2147483646 w 63"/>
                <a:gd name="T83" fmla="*/ 2147483646 h 73"/>
                <a:gd name="T84" fmla="*/ 2147483646 w 63"/>
                <a:gd name="T85" fmla="*/ 2147483646 h 73"/>
                <a:gd name="T86" fmla="*/ 2147483646 w 63"/>
                <a:gd name="T87" fmla="*/ 2147483646 h 73"/>
                <a:gd name="T88" fmla="*/ 2147483646 w 63"/>
                <a:gd name="T89" fmla="*/ 2147483646 h 73"/>
                <a:gd name="T90" fmla="*/ 2147483646 w 63"/>
                <a:gd name="T91" fmla="*/ 2147483646 h 73"/>
                <a:gd name="T92" fmla="*/ 2147483646 w 63"/>
                <a:gd name="T93" fmla="*/ 2147483646 h 73"/>
                <a:gd name="T94" fmla="*/ 2147483646 w 63"/>
                <a:gd name="T95" fmla="*/ 2147483646 h 73"/>
                <a:gd name="T96" fmla="*/ 2147483646 w 63"/>
                <a:gd name="T97" fmla="*/ 2147483646 h 73"/>
                <a:gd name="T98" fmla="*/ 2147483646 w 63"/>
                <a:gd name="T99" fmla="*/ 2147483646 h 73"/>
                <a:gd name="T100" fmla="*/ 2147483646 w 63"/>
                <a:gd name="T101" fmla="*/ 2147483646 h 73"/>
                <a:gd name="T102" fmla="*/ 2147483646 w 63"/>
                <a:gd name="T103" fmla="*/ 2147483646 h 73"/>
                <a:gd name="T104" fmla="*/ 2147483646 w 63"/>
                <a:gd name="T105" fmla="*/ 2147483646 h 73"/>
                <a:gd name="T106" fmla="*/ 2147483646 w 63"/>
                <a:gd name="T107" fmla="*/ 2147483646 h 73"/>
                <a:gd name="T108" fmla="*/ 2147483646 w 63"/>
                <a:gd name="T109" fmla="*/ 2147483646 h 73"/>
                <a:gd name="T110" fmla="*/ 2147483646 w 63"/>
                <a:gd name="T111" fmla="*/ 2147483646 h 73"/>
                <a:gd name="T112" fmla="*/ 2147483646 w 63"/>
                <a:gd name="T113" fmla="*/ 2147483646 h 73"/>
                <a:gd name="T114" fmla="*/ 2147483646 w 63"/>
                <a:gd name="T115" fmla="*/ 2147483646 h 73"/>
                <a:gd name="T116" fmla="*/ 2147483646 w 63"/>
                <a:gd name="T117" fmla="*/ 2147483646 h 73"/>
                <a:gd name="T118" fmla="*/ 2147483646 w 63"/>
                <a:gd name="T119" fmla="*/ 2147483646 h 7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63" h="73">
                  <a:moveTo>
                    <a:pt x="6" y="73"/>
                  </a:moveTo>
                  <a:cubicBezTo>
                    <a:pt x="5" y="73"/>
                    <a:pt x="5" y="73"/>
                    <a:pt x="5" y="73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5" y="73"/>
                    <a:pt x="5" y="72"/>
                    <a:pt x="5" y="72"/>
                  </a:cubicBezTo>
                  <a:cubicBezTo>
                    <a:pt x="4" y="72"/>
                    <a:pt x="4" y="72"/>
                    <a:pt x="3" y="71"/>
                  </a:cubicBezTo>
                  <a:cubicBezTo>
                    <a:pt x="3" y="70"/>
                    <a:pt x="3" y="69"/>
                    <a:pt x="3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67"/>
                    <a:pt x="4" y="67"/>
                    <a:pt x="4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3" y="65"/>
                    <a:pt x="3" y="64"/>
                    <a:pt x="3" y="64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2" y="63"/>
                    <a:pt x="2" y="62"/>
                    <a:pt x="2" y="62"/>
                  </a:cubicBezTo>
                  <a:cubicBezTo>
                    <a:pt x="2" y="62"/>
                    <a:pt x="2" y="61"/>
                    <a:pt x="2" y="61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1" y="59"/>
                    <a:pt x="1" y="58"/>
                    <a:pt x="2" y="57"/>
                  </a:cubicBezTo>
                  <a:cubicBezTo>
                    <a:pt x="2" y="57"/>
                    <a:pt x="2" y="57"/>
                    <a:pt x="2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2" y="55"/>
                    <a:pt x="2" y="55"/>
                    <a:pt x="2" y="54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4" y="53"/>
                    <a:pt x="4" y="53"/>
                    <a:pt x="5" y="53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1"/>
                    <a:pt x="6" y="51"/>
                    <a:pt x="7" y="51"/>
                  </a:cubicBezTo>
                  <a:cubicBezTo>
                    <a:pt x="7" y="51"/>
                    <a:pt x="7" y="51"/>
                    <a:pt x="6" y="51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7" y="50"/>
                    <a:pt x="7" y="50"/>
                  </a:cubicBezTo>
                  <a:cubicBezTo>
                    <a:pt x="7" y="50"/>
                    <a:pt x="7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9" y="48"/>
                    <a:pt x="10" y="47"/>
                    <a:pt x="11" y="47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6"/>
                    <a:pt x="12" y="46"/>
                    <a:pt x="13" y="46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44"/>
                    <a:pt x="15" y="41"/>
                    <a:pt x="16" y="41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6" y="40"/>
                    <a:pt x="16" y="39"/>
                    <a:pt x="17" y="39"/>
                  </a:cubicBezTo>
                  <a:cubicBezTo>
                    <a:pt x="17" y="39"/>
                    <a:pt x="17" y="39"/>
                    <a:pt x="17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7"/>
                    <a:pt x="18" y="36"/>
                    <a:pt x="18" y="3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9" y="33"/>
                    <a:pt x="19" y="33"/>
                    <a:pt x="20" y="33"/>
                  </a:cubicBezTo>
                  <a:cubicBezTo>
                    <a:pt x="20" y="33"/>
                    <a:pt x="21" y="32"/>
                    <a:pt x="21" y="32"/>
                  </a:cubicBezTo>
                  <a:cubicBezTo>
                    <a:pt x="21" y="32"/>
                    <a:pt x="21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29"/>
                    <a:pt x="21" y="29"/>
                    <a:pt x="22" y="28"/>
                  </a:cubicBezTo>
                  <a:cubicBezTo>
                    <a:pt x="22" y="28"/>
                    <a:pt x="23" y="28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6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2"/>
                    <a:pt x="26" y="21"/>
                    <a:pt x="27" y="2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0" y="17"/>
                    <a:pt x="31" y="17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2" y="13"/>
                    <a:pt x="32" y="13"/>
                    <a:pt x="3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4" y="11"/>
                    <a:pt x="34" y="11"/>
                    <a:pt x="34" y="12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0"/>
                    <a:pt x="35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7" y="9"/>
                    <a:pt x="37" y="9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9"/>
                    <a:pt x="39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3" y="8"/>
                    <a:pt x="43" y="7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5" y="7"/>
                    <a:pt x="45" y="6"/>
                    <a:pt x="46" y="6"/>
                  </a:cubicBezTo>
                  <a:cubicBezTo>
                    <a:pt x="46" y="5"/>
                    <a:pt x="47" y="5"/>
                    <a:pt x="47" y="4"/>
                  </a:cubicBezTo>
                  <a:cubicBezTo>
                    <a:pt x="47" y="4"/>
                    <a:pt x="47" y="4"/>
                    <a:pt x="46" y="4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7" y="2"/>
                    <a:pt x="48" y="2"/>
                    <a:pt x="48" y="2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3"/>
                    <a:pt x="49" y="3"/>
                  </a:cubicBezTo>
                  <a:cubicBezTo>
                    <a:pt x="49" y="3"/>
                    <a:pt x="50" y="3"/>
                    <a:pt x="50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4"/>
                    <a:pt x="50" y="4"/>
                    <a:pt x="50" y="4"/>
                  </a:cubicBezTo>
                  <a:cubicBezTo>
                    <a:pt x="50" y="5"/>
                    <a:pt x="49" y="5"/>
                    <a:pt x="49" y="6"/>
                  </a:cubicBezTo>
                  <a:cubicBezTo>
                    <a:pt x="50" y="5"/>
                    <a:pt x="51" y="4"/>
                    <a:pt x="51" y="2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3"/>
                    <a:pt x="53" y="2"/>
                  </a:cubicBezTo>
                  <a:cubicBezTo>
                    <a:pt x="54" y="2"/>
                    <a:pt x="54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6" y="1"/>
                    <a:pt x="57" y="2"/>
                    <a:pt x="57" y="3"/>
                  </a:cubicBezTo>
                  <a:cubicBezTo>
                    <a:pt x="57" y="3"/>
                    <a:pt x="57" y="2"/>
                    <a:pt x="58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60" y="3"/>
                    <a:pt x="62" y="4"/>
                    <a:pt x="62" y="5"/>
                  </a:cubicBezTo>
                  <a:cubicBezTo>
                    <a:pt x="62" y="6"/>
                    <a:pt x="62" y="7"/>
                    <a:pt x="62" y="7"/>
                  </a:cubicBezTo>
                  <a:cubicBezTo>
                    <a:pt x="61" y="8"/>
                    <a:pt x="60" y="9"/>
                    <a:pt x="59" y="9"/>
                  </a:cubicBezTo>
                  <a:cubicBezTo>
                    <a:pt x="60" y="9"/>
                    <a:pt x="60" y="9"/>
                    <a:pt x="60" y="1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3" y="11"/>
                    <a:pt x="63" y="12"/>
                    <a:pt x="62" y="12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3"/>
                    <a:pt x="60" y="14"/>
                    <a:pt x="59" y="15"/>
                  </a:cubicBezTo>
                  <a:cubicBezTo>
                    <a:pt x="59" y="15"/>
                    <a:pt x="58" y="15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5"/>
                    <a:pt x="57" y="14"/>
                    <a:pt x="57" y="13"/>
                  </a:cubicBezTo>
                  <a:cubicBezTo>
                    <a:pt x="57" y="13"/>
                    <a:pt x="58" y="12"/>
                    <a:pt x="58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7" y="10"/>
                    <a:pt x="56" y="9"/>
                    <a:pt x="55" y="9"/>
                  </a:cubicBezTo>
                  <a:cubicBezTo>
                    <a:pt x="55" y="9"/>
                    <a:pt x="54" y="9"/>
                    <a:pt x="54" y="10"/>
                  </a:cubicBezTo>
                  <a:cubicBezTo>
                    <a:pt x="52" y="10"/>
                    <a:pt x="51" y="10"/>
                    <a:pt x="51" y="12"/>
                  </a:cubicBezTo>
                  <a:cubicBezTo>
                    <a:pt x="51" y="12"/>
                    <a:pt x="51" y="13"/>
                    <a:pt x="51" y="13"/>
                  </a:cubicBezTo>
                  <a:cubicBezTo>
                    <a:pt x="51" y="14"/>
                    <a:pt x="51" y="15"/>
                    <a:pt x="51" y="16"/>
                  </a:cubicBezTo>
                  <a:cubicBezTo>
                    <a:pt x="50" y="17"/>
                    <a:pt x="49" y="18"/>
                    <a:pt x="48" y="18"/>
                  </a:cubicBezTo>
                  <a:cubicBezTo>
                    <a:pt x="47" y="18"/>
                    <a:pt x="47" y="18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5" y="18"/>
                    <a:pt x="43" y="18"/>
                    <a:pt x="42" y="18"/>
                  </a:cubicBezTo>
                  <a:cubicBezTo>
                    <a:pt x="42" y="17"/>
                    <a:pt x="41" y="17"/>
                    <a:pt x="41" y="16"/>
                  </a:cubicBezTo>
                  <a:cubicBezTo>
                    <a:pt x="41" y="15"/>
                    <a:pt x="40" y="15"/>
                    <a:pt x="40" y="14"/>
                  </a:cubicBezTo>
                  <a:cubicBezTo>
                    <a:pt x="40" y="14"/>
                    <a:pt x="40" y="14"/>
                    <a:pt x="40" y="15"/>
                  </a:cubicBezTo>
                  <a:cubicBezTo>
                    <a:pt x="40" y="15"/>
                    <a:pt x="39" y="15"/>
                    <a:pt x="39" y="15"/>
                  </a:cubicBezTo>
                  <a:cubicBezTo>
                    <a:pt x="39" y="15"/>
                    <a:pt x="38" y="15"/>
                    <a:pt x="38" y="16"/>
                  </a:cubicBezTo>
                  <a:cubicBezTo>
                    <a:pt x="38" y="16"/>
                    <a:pt x="38" y="17"/>
                    <a:pt x="37" y="17"/>
                  </a:cubicBezTo>
                  <a:cubicBezTo>
                    <a:pt x="37" y="18"/>
                    <a:pt x="37" y="18"/>
                    <a:pt x="38" y="18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20"/>
                    <a:pt x="35" y="19"/>
                    <a:pt x="34" y="19"/>
                  </a:cubicBezTo>
                  <a:cubicBezTo>
                    <a:pt x="34" y="19"/>
                    <a:pt x="33" y="19"/>
                    <a:pt x="33" y="19"/>
                  </a:cubicBezTo>
                  <a:cubicBezTo>
                    <a:pt x="33" y="20"/>
                    <a:pt x="33" y="21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0" y="22"/>
                    <a:pt x="30" y="22"/>
                    <a:pt x="30" y="23"/>
                  </a:cubicBezTo>
                  <a:cubicBezTo>
                    <a:pt x="29" y="23"/>
                    <a:pt x="29" y="23"/>
                    <a:pt x="29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8" y="25"/>
                    <a:pt x="28" y="25"/>
                    <a:pt x="28" y="26"/>
                  </a:cubicBezTo>
                  <a:cubicBezTo>
                    <a:pt x="29" y="28"/>
                    <a:pt x="27" y="31"/>
                    <a:pt x="26" y="33"/>
                  </a:cubicBezTo>
                  <a:cubicBezTo>
                    <a:pt x="26" y="33"/>
                    <a:pt x="25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4" y="37"/>
                    <a:pt x="24" y="38"/>
                    <a:pt x="23" y="40"/>
                  </a:cubicBezTo>
                  <a:cubicBezTo>
                    <a:pt x="23" y="41"/>
                    <a:pt x="23" y="41"/>
                    <a:pt x="23" y="42"/>
                  </a:cubicBezTo>
                  <a:cubicBezTo>
                    <a:pt x="24" y="43"/>
                    <a:pt x="23" y="44"/>
                    <a:pt x="21" y="45"/>
                  </a:cubicBezTo>
                  <a:cubicBezTo>
                    <a:pt x="19" y="46"/>
                    <a:pt x="19" y="46"/>
                    <a:pt x="19" y="48"/>
                  </a:cubicBezTo>
                  <a:cubicBezTo>
                    <a:pt x="19" y="49"/>
                    <a:pt x="19" y="50"/>
                    <a:pt x="19" y="50"/>
                  </a:cubicBezTo>
                  <a:cubicBezTo>
                    <a:pt x="19" y="53"/>
                    <a:pt x="19" y="55"/>
                    <a:pt x="20" y="57"/>
                  </a:cubicBezTo>
                  <a:cubicBezTo>
                    <a:pt x="21" y="58"/>
                    <a:pt x="20" y="59"/>
                    <a:pt x="19" y="59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0" y="61"/>
                    <a:pt x="20" y="62"/>
                    <a:pt x="20" y="64"/>
                  </a:cubicBezTo>
                  <a:cubicBezTo>
                    <a:pt x="19" y="65"/>
                    <a:pt x="19" y="65"/>
                    <a:pt x="18" y="65"/>
                  </a:cubicBezTo>
                  <a:cubicBezTo>
                    <a:pt x="18" y="66"/>
                    <a:pt x="18" y="66"/>
                    <a:pt x="18" y="67"/>
                  </a:cubicBezTo>
                  <a:cubicBezTo>
                    <a:pt x="18" y="68"/>
                    <a:pt x="18" y="70"/>
                    <a:pt x="17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5" y="69"/>
                    <a:pt x="15" y="68"/>
                    <a:pt x="15" y="68"/>
                  </a:cubicBezTo>
                  <a:cubicBezTo>
                    <a:pt x="15" y="68"/>
                    <a:pt x="15" y="69"/>
                    <a:pt x="14" y="69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69"/>
                    <a:pt x="13" y="69"/>
                    <a:pt x="13" y="69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3" y="69"/>
                    <a:pt x="12" y="69"/>
                    <a:pt x="12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1" y="73"/>
                    <a:pt x="7" y="73"/>
                    <a:pt x="6" y="73"/>
                  </a:cubicBezTo>
                  <a:close/>
                  <a:moveTo>
                    <a:pt x="7" y="70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8" y="72"/>
                    <a:pt x="10" y="72"/>
                    <a:pt x="11" y="70"/>
                  </a:cubicBezTo>
                  <a:cubicBezTo>
                    <a:pt x="11" y="70"/>
                    <a:pt x="11" y="69"/>
                    <a:pt x="11" y="69"/>
                  </a:cubicBezTo>
                  <a:cubicBezTo>
                    <a:pt x="12" y="69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4" y="68"/>
                    <a:pt x="14" y="68"/>
                  </a:cubicBezTo>
                  <a:cubicBezTo>
                    <a:pt x="14" y="67"/>
                    <a:pt x="14" y="67"/>
                    <a:pt x="13" y="66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4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6" y="68"/>
                    <a:pt x="16" y="68"/>
                  </a:cubicBezTo>
                  <a:cubicBezTo>
                    <a:pt x="16" y="68"/>
                    <a:pt x="16" y="68"/>
                    <a:pt x="17" y="68"/>
                  </a:cubicBezTo>
                  <a:cubicBezTo>
                    <a:pt x="17" y="68"/>
                    <a:pt x="17" y="67"/>
                    <a:pt x="17" y="67"/>
                  </a:cubicBezTo>
                  <a:cubicBezTo>
                    <a:pt x="16" y="65"/>
                    <a:pt x="17" y="65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9" y="62"/>
                    <a:pt x="19" y="62"/>
                    <a:pt x="18" y="60"/>
                  </a:cubicBezTo>
                  <a:cubicBezTo>
                    <a:pt x="18" y="59"/>
                    <a:pt x="18" y="59"/>
                    <a:pt x="19" y="58"/>
                  </a:cubicBezTo>
                  <a:cubicBezTo>
                    <a:pt x="19" y="58"/>
                    <a:pt x="19" y="58"/>
                    <a:pt x="19" y="57"/>
                  </a:cubicBezTo>
                  <a:cubicBezTo>
                    <a:pt x="18" y="55"/>
                    <a:pt x="17" y="53"/>
                    <a:pt x="18" y="50"/>
                  </a:cubicBezTo>
                  <a:cubicBezTo>
                    <a:pt x="18" y="49"/>
                    <a:pt x="18" y="49"/>
                    <a:pt x="18" y="48"/>
                  </a:cubicBezTo>
                  <a:cubicBezTo>
                    <a:pt x="18" y="47"/>
                    <a:pt x="18" y="45"/>
                    <a:pt x="21" y="44"/>
                  </a:cubicBezTo>
                  <a:cubicBezTo>
                    <a:pt x="22" y="43"/>
                    <a:pt x="22" y="43"/>
                    <a:pt x="22" y="42"/>
                  </a:cubicBezTo>
                  <a:cubicBezTo>
                    <a:pt x="22" y="42"/>
                    <a:pt x="22" y="41"/>
                    <a:pt x="22" y="39"/>
                  </a:cubicBezTo>
                  <a:cubicBezTo>
                    <a:pt x="23" y="38"/>
                    <a:pt x="23" y="37"/>
                    <a:pt x="23" y="35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3"/>
                    <a:pt x="24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0"/>
                    <a:pt x="28" y="28"/>
                    <a:pt x="27" y="26"/>
                  </a:cubicBezTo>
                  <a:cubicBezTo>
                    <a:pt x="27" y="26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5" y="25"/>
                    <a:pt x="25" y="25"/>
                    <a:pt x="24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3" y="29"/>
                    <a:pt x="23" y="29"/>
                  </a:cubicBezTo>
                  <a:cubicBezTo>
                    <a:pt x="22" y="29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2"/>
                    <a:pt x="22" y="32"/>
                  </a:cubicBezTo>
                  <a:cubicBezTo>
                    <a:pt x="22" y="32"/>
                    <a:pt x="22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9"/>
                    <a:pt x="19" y="39"/>
                    <a:pt x="18" y="39"/>
                  </a:cubicBezTo>
                  <a:cubicBezTo>
                    <a:pt x="18" y="40"/>
                    <a:pt x="18" y="40"/>
                    <a:pt x="17" y="40"/>
                  </a:cubicBezTo>
                  <a:cubicBezTo>
                    <a:pt x="17" y="40"/>
                    <a:pt x="17" y="41"/>
                    <a:pt x="17" y="41"/>
                  </a:cubicBezTo>
                  <a:cubicBezTo>
                    <a:pt x="17" y="41"/>
                    <a:pt x="17" y="42"/>
                    <a:pt x="17" y="42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2"/>
                    <a:pt x="15" y="43"/>
                    <a:pt x="14" y="44"/>
                  </a:cubicBezTo>
                  <a:cubicBezTo>
                    <a:pt x="14" y="45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5" y="46"/>
                    <a:pt x="16" y="45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2" y="48"/>
                    <a:pt x="12" y="48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8"/>
                    <a:pt x="10" y="49"/>
                    <a:pt x="9" y="49"/>
                  </a:cubicBezTo>
                  <a:cubicBezTo>
                    <a:pt x="9" y="50"/>
                    <a:pt x="9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1"/>
                    <a:pt x="9" y="51"/>
                    <a:pt x="9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7"/>
                    <a:pt x="3" y="57"/>
                    <a:pt x="3" y="58"/>
                  </a:cubicBezTo>
                  <a:cubicBezTo>
                    <a:pt x="2" y="58"/>
                    <a:pt x="2" y="58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4" y="59"/>
                    <a:pt x="5" y="58"/>
                    <a:pt x="5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7" y="58"/>
                    <a:pt x="7" y="57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7" y="59"/>
                    <a:pt x="7" y="60"/>
                    <a:pt x="7" y="60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3"/>
                    <a:pt x="6" y="63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5" y="64"/>
                    <a:pt x="5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1"/>
                    <a:pt x="5" y="71"/>
                    <a:pt x="6" y="71"/>
                  </a:cubicBezTo>
                  <a:lnTo>
                    <a:pt x="7" y="70"/>
                  </a:lnTo>
                  <a:close/>
                  <a:moveTo>
                    <a:pt x="4" y="62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5" y="61"/>
                    <a:pt x="6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4" y="61"/>
                    <a:pt x="4" y="61"/>
                    <a:pt x="4" y="61"/>
                  </a:cubicBezTo>
                  <a:lnTo>
                    <a:pt x="4" y="62"/>
                  </a:lnTo>
                  <a:close/>
                  <a:moveTo>
                    <a:pt x="3" y="60"/>
                  </a:move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1"/>
                  </a:cubicBezTo>
                  <a:cubicBezTo>
                    <a:pt x="3" y="61"/>
                    <a:pt x="3" y="61"/>
                    <a:pt x="4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59"/>
                    <a:pt x="4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lose/>
                  <a:moveTo>
                    <a:pt x="27" y="24"/>
                  </a:moveTo>
                  <a:cubicBezTo>
                    <a:pt x="28" y="24"/>
                    <a:pt x="28" y="24"/>
                    <a:pt x="28" y="24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3"/>
                  </a:cubicBezTo>
                  <a:cubicBezTo>
                    <a:pt x="27" y="23"/>
                    <a:pt x="27" y="23"/>
                    <a:pt x="27" y="24"/>
                  </a:cubicBezTo>
                  <a:close/>
                  <a:moveTo>
                    <a:pt x="29" y="20"/>
                  </a:moveTo>
                  <a:cubicBezTo>
                    <a:pt x="29" y="21"/>
                    <a:pt x="29" y="21"/>
                    <a:pt x="29" y="22"/>
                  </a:cubicBezTo>
                  <a:cubicBezTo>
                    <a:pt x="29" y="21"/>
                    <a:pt x="30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2" y="19"/>
                    <a:pt x="32" y="18"/>
                    <a:pt x="33" y="18"/>
                  </a:cubicBezTo>
                  <a:cubicBezTo>
                    <a:pt x="33" y="18"/>
                    <a:pt x="34" y="18"/>
                    <a:pt x="34" y="18"/>
                  </a:cubicBezTo>
                  <a:cubicBezTo>
                    <a:pt x="35" y="18"/>
                    <a:pt x="36" y="18"/>
                    <a:pt x="36" y="18"/>
                  </a:cubicBezTo>
                  <a:cubicBezTo>
                    <a:pt x="36" y="18"/>
                    <a:pt x="36" y="17"/>
                    <a:pt x="36" y="17"/>
                  </a:cubicBezTo>
                  <a:cubicBezTo>
                    <a:pt x="36" y="16"/>
                    <a:pt x="37" y="16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4" y="14"/>
                    <a:pt x="34" y="14"/>
                  </a:cubicBezTo>
                  <a:cubicBezTo>
                    <a:pt x="34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2" y="15"/>
                    <a:pt x="32" y="16"/>
                    <a:pt x="32" y="16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8"/>
                    <a:pt x="31" y="18"/>
                    <a:pt x="31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1" y="20"/>
                    <a:pt x="30" y="21"/>
                    <a:pt x="29" y="20"/>
                  </a:cubicBezTo>
                  <a:close/>
                  <a:moveTo>
                    <a:pt x="29" y="19"/>
                  </a:moveTo>
                  <a:cubicBezTo>
                    <a:pt x="29" y="19"/>
                    <a:pt x="30" y="19"/>
                    <a:pt x="30" y="19"/>
                  </a:cubicBezTo>
                  <a:cubicBezTo>
                    <a:pt x="29" y="19"/>
                    <a:pt x="29" y="19"/>
                    <a:pt x="29" y="19"/>
                  </a:cubicBezTo>
                  <a:close/>
                  <a:moveTo>
                    <a:pt x="40" y="13"/>
                  </a:moveTo>
                  <a:cubicBezTo>
                    <a:pt x="40" y="13"/>
                    <a:pt x="41" y="14"/>
                    <a:pt x="42" y="15"/>
                  </a:cubicBezTo>
                  <a:cubicBezTo>
                    <a:pt x="42" y="16"/>
                    <a:pt x="43" y="16"/>
                    <a:pt x="43" y="17"/>
                  </a:cubicBezTo>
                  <a:cubicBezTo>
                    <a:pt x="43" y="17"/>
                    <a:pt x="45" y="16"/>
                    <a:pt x="45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7"/>
                    <a:pt x="48" y="17"/>
                  </a:cubicBezTo>
                  <a:cubicBezTo>
                    <a:pt x="49" y="17"/>
                    <a:pt x="49" y="16"/>
                    <a:pt x="49" y="15"/>
                  </a:cubicBezTo>
                  <a:cubicBezTo>
                    <a:pt x="50" y="15"/>
                    <a:pt x="50" y="14"/>
                    <a:pt x="50" y="13"/>
                  </a:cubicBezTo>
                  <a:cubicBezTo>
                    <a:pt x="50" y="13"/>
                    <a:pt x="50" y="12"/>
                    <a:pt x="50" y="11"/>
                  </a:cubicBezTo>
                  <a:cubicBezTo>
                    <a:pt x="50" y="9"/>
                    <a:pt x="52" y="9"/>
                    <a:pt x="53" y="8"/>
                  </a:cubicBezTo>
                  <a:cubicBezTo>
                    <a:pt x="54" y="8"/>
                    <a:pt x="54" y="8"/>
                    <a:pt x="55" y="8"/>
                  </a:cubicBezTo>
                  <a:cubicBezTo>
                    <a:pt x="56" y="8"/>
                    <a:pt x="58" y="9"/>
                    <a:pt x="59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8" y="9"/>
                    <a:pt x="57" y="9"/>
                  </a:cubicBezTo>
                  <a:cubicBezTo>
                    <a:pt x="57" y="9"/>
                    <a:pt x="57" y="9"/>
                    <a:pt x="56" y="8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60" y="8"/>
                    <a:pt x="60" y="7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5"/>
                    <a:pt x="60" y="5"/>
                    <a:pt x="59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7" y="4"/>
                    <a:pt x="57" y="4"/>
                    <a:pt x="57" y="5"/>
                  </a:cubicBezTo>
                  <a:cubicBezTo>
                    <a:pt x="57" y="5"/>
                    <a:pt x="57" y="7"/>
                    <a:pt x="55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3" y="6"/>
                    <a:pt x="53" y="7"/>
                    <a:pt x="52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6"/>
                    <a:pt x="50" y="7"/>
                    <a:pt x="50" y="8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7" y="8"/>
                    <a:pt x="48" y="6"/>
                    <a:pt x="49" y="4"/>
                  </a:cubicBezTo>
                  <a:cubicBezTo>
                    <a:pt x="49" y="4"/>
                    <a:pt x="48" y="4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5"/>
                    <a:pt x="47" y="6"/>
                    <a:pt x="46" y="6"/>
                  </a:cubicBezTo>
                  <a:cubicBezTo>
                    <a:pt x="46" y="7"/>
                    <a:pt x="45" y="8"/>
                    <a:pt x="45" y="9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2" y="9"/>
                    <a:pt x="42" y="9"/>
                  </a:cubicBezTo>
                  <a:cubicBezTo>
                    <a:pt x="42" y="9"/>
                    <a:pt x="42" y="10"/>
                    <a:pt x="42" y="10"/>
                  </a:cubicBezTo>
                  <a:cubicBezTo>
                    <a:pt x="42" y="10"/>
                    <a:pt x="42" y="11"/>
                    <a:pt x="42" y="11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2"/>
                    <a:pt x="38" y="13"/>
                    <a:pt x="38" y="14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8" y="14"/>
                    <a:pt x="38" y="14"/>
                    <a:pt x="39" y="14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40" y="13"/>
                  </a:cubicBezTo>
                  <a:close/>
                  <a:moveTo>
                    <a:pt x="37" y="11"/>
                  </a:moveTo>
                  <a:cubicBezTo>
                    <a:pt x="37" y="11"/>
                    <a:pt x="37" y="12"/>
                    <a:pt x="37" y="12"/>
                  </a:cubicBezTo>
                  <a:cubicBezTo>
                    <a:pt x="37" y="12"/>
                    <a:pt x="37" y="12"/>
                    <a:pt x="37" y="13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2"/>
                    <a:pt x="37" y="12"/>
                    <a:pt x="37" y="11"/>
                  </a:cubicBezTo>
                  <a:close/>
                  <a:moveTo>
                    <a:pt x="59" y="12"/>
                  </a:moveTo>
                  <a:cubicBezTo>
                    <a:pt x="59" y="12"/>
                    <a:pt x="59" y="13"/>
                    <a:pt x="58" y="13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9" y="13"/>
                    <a:pt x="60" y="13"/>
                    <a:pt x="60" y="12"/>
                  </a:cubicBezTo>
                  <a:lnTo>
                    <a:pt x="59" y="12"/>
                  </a:lnTo>
                  <a:close/>
                  <a:moveTo>
                    <a:pt x="35" y="11"/>
                  </a:move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2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lose/>
                  <a:moveTo>
                    <a:pt x="40" y="8"/>
                  </a:move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0" y="9"/>
                    <a:pt x="40" y="9"/>
                    <a:pt x="40" y="8"/>
                  </a:cubicBezTo>
                  <a:close/>
                  <a:moveTo>
                    <a:pt x="55" y="3"/>
                  </a:move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6" y="3"/>
                    <a:pt x="56" y="3"/>
                  </a:cubicBezTo>
                  <a:cubicBezTo>
                    <a:pt x="56" y="3"/>
                    <a:pt x="55" y="2"/>
                    <a:pt x="55" y="2"/>
                  </a:cubicBezTo>
                  <a:cubicBezTo>
                    <a:pt x="55" y="2"/>
                    <a:pt x="55" y="2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6" name="Freeform 401"/>
            <p:cNvSpPr/>
            <p:nvPr/>
          </p:nvSpPr>
          <p:spPr bwMode="auto">
            <a:xfrm>
              <a:off x="1924696" y="1527228"/>
              <a:ext cx="229767" cy="513167"/>
            </a:xfrm>
            <a:custGeom>
              <a:avLst/>
              <a:gdLst>
                <a:gd name="T0" fmla="*/ 2147483646 w 31"/>
                <a:gd name="T1" fmla="*/ 0 h 69"/>
                <a:gd name="T2" fmla="*/ 2147483646 w 31"/>
                <a:gd name="T3" fmla="*/ 0 h 69"/>
                <a:gd name="T4" fmla="*/ 2147483646 w 31"/>
                <a:gd name="T5" fmla="*/ 2147483646 h 69"/>
                <a:gd name="T6" fmla="*/ 2147483646 w 31"/>
                <a:gd name="T7" fmla="*/ 2147483646 h 69"/>
                <a:gd name="T8" fmla="*/ 2147483646 w 31"/>
                <a:gd name="T9" fmla="*/ 2147483646 h 69"/>
                <a:gd name="T10" fmla="*/ 2147483646 w 31"/>
                <a:gd name="T11" fmla="*/ 2147483646 h 69"/>
                <a:gd name="T12" fmla="*/ 2147483646 w 31"/>
                <a:gd name="T13" fmla="*/ 2147483646 h 69"/>
                <a:gd name="T14" fmla="*/ 2147483646 w 31"/>
                <a:gd name="T15" fmla="*/ 2147483646 h 69"/>
                <a:gd name="T16" fmla="*/ 2147483646 w 31"/>
                <a:gd name="T17" fmla="*/ 2147483646 h 69"/>
                <a:gd name="T18" fmla="*/ 2147483646 w 31"/>
                <a:gd name="T19" fmla="*/ 2147483646 h 69"/>
                <a:gd name="T20" fmla="*/ 2147483646 w 31"/>
                <a:gd name="T21" fmla="*/ 2147483646 h 69"/>
                <a:gd name="T22" fmla="*/ 2147483646 w 31"/>
                <a:gd name="T23" fmla="*/ 2147483646 h 69"/>
                <a:gd name="T24" fmla="*/ 2147483646 w 31"/>
                <a:gd name="T25" fmla="*/ 2147483646 h 69"/>
                <a:gd name="T26" fmla="*/ 2147483646 w 31"/>
                <a:gd name="T27" fmla="*/ 2147483646 h 69"/>
                <a:gd name="T28" fmla="*/ 2147483646 w 31"/>
                <a:gd name="T29" fmla="*/ 2147483646 h 69"/>
                <a:gd name="T30" fmla="*/ 2147483646 w 31"/>
                <a:gd name="T31" fmla="*/ 2147483646 h 69"/>
                <a:gd name="T32" fmla="*/ 2147483646 w 31"/>
                <a:gd name="T33" fmla="*/ 2147483646 h 69"/>
                <a:gd name="T34" fmla="*/ 2147483646 w 31"/>
                <a:gd name="T35" fmla="*/ 2147483646 h 69"/>
                <a:gd name="T36" fmla="*/ 0 w 31"/>
                <a:gd name="T37" fmla="*/ 2147483646 h 69"/>
                <a:gd name="T38" fmla="*/ 0 w 31"/>
                <a:gd name="T39" fmla="*/ 2147483646 h 69"/>
                <a:gd name="T40" fmla="*/ 2147483646 w 31"/>
                <a:gd name="T41" fmla="*/ 2147483646 h 69"/>
                <a:gd name="T42" fmla="*/ 2147483646 w 31"/>
                <a:gd name="T43" fmla="*/ 2147483646 h 69"/>
                <a:gd name="T44" fmla="*/ 2147483646 w 31"/>
                <a:gd name="T45" fmla="*/ 2147483646 h 69"/>
                <a:gd name="T46" fmla="*/ 2147483646 w 31"/>
                <a:gd name="T47" fmla="*/ 2147483646 h 69"/>
                <a:gd name="T48" fmla="*/ 2147483646 w 31"/>
                <a:gd name="T49" fmla="*/ 2147483646 h 69"/>
                <a:gd name="T50" fmla="*/ 2147483646 w 31"/>
                <a:gd name="T51" fmla="*/ 2147483646 h 69"/>
                <a:gd name="T52" fmla="*/ 2147483646 w 31"/>
                <a:gd name="T53" fmla="*/ 2147483646 h 69"/>
                <a:gd name="T54" fmla="*/ 2147483646 w 31"/>
                <a:gd name="T55" fmla="*/ 2147483646 h 69"/>
                <a:gd name="T56" fmla="*/ 2147483646 w 31"/>
                <a:gd name="T57" fmla="*/ 2147483646 h 69"/>
                <a:gd name="T58" fmla="*/ 2147483646 w 31"/>
                <a:gd name="T59" fmla="*/ 2147483646 h 69"/>
                <a:gd name="T60" fmla="*/ 2147483646 w 31"/>
                <a:gd name="T61" fmla="*/ 2147483646 h 69"/>
                <a:gd name="T62" fmla="*/ 2147483646 w 31"/>
                <a:gd name="T63" fmla="*/ 2147483646 h 69"/>
                <a:gd name="T64" fmla="*/ 2147483646 w 31"/>
                <a:gd name="T65" fmla="*/ 2147483646 h 69"/>
                <a:gd name="T66" fmla="*/ 2147483646 w 31"/>
                <a:gd name="T67" fmla="*/ 2147483646 h 69"/>
                <a:gd name="T68" fmla="*/ 2147483646 w 31"/>
                <a:gd name="T69" fmla="*/ 2147483646 h 69"/>
                <a:gd name="T70" fmla="*/ 2147483646 w 31"/>
                <a:gd name="T71" fmla="*/ 2147483646 h 69"/>
                <a:gd name="T72" fmla="*/ 2147483646 w 31"/>
                <a:gd name="T73" fmla="*/ 2147483646 h 69"/>
                <a:gd name="T74" fmla="*/ 2147483646 w 31"/>
                <a:gd name="T75" fmla="*/ 2147483646 h 69"/>
                <a:gd name="T76" fmla="*/ 2147483646 w 31"/>
                <a:gd name="T77" fmla="*/ 2147483646 h 69"/>
                <a:gd name="T78" fmla="*/ 2147483646 w 31"/>
                <a:gd name="T79" fmla="*/ 2147483646 h 69"/>
                <a:gd name="T80" fmla="*/ 2147483646 w 31"/>
                <a:gd name="T81" fmla="*/ 2147483646 h 69"/>
                <a:gd name="T82" fmla="*/ 2147483646 w 31"/>
                <a:gd name="T83" fmla="*/ 2147483646 h 69"/>
                <a:gd name="T84" fmla="*/ 2147483646 w 31"/>
                <a:gd name="T85" fmla="*/ 2147483646 h 69"/>
                <a:gd name="T86" fmla="*/ 2147483646 w 31"/>
                <a:gd name="T87" fmla="*/ 2147483646 h 69"/>
                <a:gd name="T88" fmla="*/ 2147483646 w 31"/>
                <a:gd name="T89" fmla="*/ 2147483646 h 69"/>
                <a:gd name="T90" fmla="*/ 2147483646 w 31"/>
                <a:gd name="T91" fmla="*/ 2147483646 h 69"/>
                <a:gd name="T92" fmla="*/ 2147483646 w 31"/>
                <a:gd name="T93" fmla="*/ 2147483646 h 69"/>
                <a:gd name="T94" fmla="*/ 2147483646 w 31"/>
                <a:gd name="T95" fmla="*/ 2147483646 h 69"/>
                <a:gd name="T96" fmla="*/ 2147483646 w 31"/>
                <a:gd name="T97" fmla="*/ 2147483646 h 69"/>
                <a:gd name="T98" fmla="*/ 2147483646 w 31"/>
                <a:gd name="T99" fmla="*/ 2147483646 h 69"/>
                <a:gd name="T100" fmla="*/ 2147483646 w 31"/>
                <a:gd name="T101" fmla="*/ 2147483646 h 69"/>
                <a:gd name="T102" fmla="*/ 2147483646 w 31"/>
                <a:gd name="T103" fmla="*/ 2147483646 h 69"/>
                <a:gd name="T104" fmla="*/ 2147483646 w 31"/>
                <a:gd name="T105" fmla="*/ 2147483646 h 69"/>
                <a:gd name="T106" fmla="*/ 2147483646 w 31"/>
                <a:gd name="T107" fmla="*/ 2147483646 h 69"/>
                <a:gd name="T108" fmla="*/ 2147483646 w 31"/>
                <a:gd name="T109" fmla="*/ 2147483646 h 69"/>
                <a:gd name="T110" fmla="*/ 2147483646 w 31"/>
                <a:gd name="T111" fmla="*/ 0 h 6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31" h="69">
                  <a:moveTo>
                    <a:pt x="22" y="0"/>
                  </a:moveTo>
                  <a:cubicBezTo>
                    <a:pt x="22" y="0"/>
                    <a:pt x="21" y="0"/>
                    <a:pt x="21" y="0"/>
                  </a:cubicBezTo>
                  <a:cubicBezTo>
                    <a:pt x="21" y="2"/>
                    <a:pt x="20" y="3"/>
                    <a:pt x="21" y="4"/>
                  </a:cubicBezTo>
                  <a:cubicBezTo>
                    <a:pt x="20" y="4"/>
                    <a:pt x="19" y="4"/>
                    <a:pt x="18" y="4"/>
                  </a:cubicBezTo>
                  <a:cubicBezTo>
                    <a:pt x="16" y="3"/>
                    <a:pt x="16" y="6"/>
                    <a:pt x="16" y="7"/>
                  </a:cubicBezTo>
                  <a:cubicBezTo>
                    <a:pt x="14" y="5"/>
                    <a:pt x="12" y="9"/>
                    <a:pt x="12" y="10"/>
                  </a:cubicBezTo>
                  <a:cubicBezTo>
                    <a:pt x="11" y="12"/>
                    <a:pt x="13" y="12"/>
                    <a:pt x="11" y="14"/>
                  </a:cubicBezTo>
                  <a:cubicBezTo>
                    <a:pt x="11" y="15"/>
                    <a:pt x="10" y="16"/>
                    <a:pt x="10" y="17"/>
                  </a:cubicBezTo>
                  <a:cubicBezTo>
                    <a:pt x="9" y="18"/>
                    <a:pt x="8" y="18"/>
                    <a:pt x="8" y="19"/>
                  </a:cubicBezTo>
                  <a:cubicBezTo>
                    <a:pt x="8" y="20"/>
                    <a:pt x="8" y="22"/>
                    <a:pt x="8" y="23"/>
                  </a:cubicBezTo>
                  <a:cubicBezTo>
                    <a:pt x="7" y="25"/>
                    <a:pt x="6" y="25"/>
                    <a:pt x="7" y="27"/>
                  </a:cubicBezTo>
                  <a:cubicBezTo>
                    <a:pt x="8" y="29"/>
                    <a:pt x="7" y="29"/>
                    <a:pt x="5" y="29"/>
                  </a:cubicBezTo>
                  <a:cubicBezTo>
                    <a:pt x="4" y="30"/>
                    <a:pt x="4" y="30"/>
                    <a:pt x="3" y="31"/>
                  </a:cubicBezTo>
                  <a:cubicBezTo>
                    <a:pt x="2" y="32"/>
                    <a:pt x="3" y="33"/>
                    <a:pt x="3" y="34"/>
                  </a:cubicBezTo>
                  <a:cubicBezTo>
                    <a:pt x="3" y="37"/>
                    <a:pt x="2" y="39"/>
                    <a:pt x="3" y="42"/>
                  </a:cubicBezTo>
                  <a:cubicBezTo>
                    <a:pt x="4" y="44"/>
                    <a:pt x="3" y="43"/>
                    <a:pt x="2" y="45"/>
                  </a:cubicBezTo>
                  <a:cubicBezTo>
                    <a:pt x="2" y="46"/>
                    <a:pt x="3" y="47"/>
                    <a:pt x="3" y="48"/>
                  </a:cubicBezTo>
                  <a:cubicBezTo>
                    <a:pt x="3" y="49"/>
                    <a:pt x="1" y="50"/>
                    <a:pt x="1" y="51"/>
                  </a:cubicBezTo>
                  <a:cubicBezTo>
                    <a:pt x="1" y="53"/>
                    <a:pt x="2" y="54"/>
                    <a:pt x="0" y="55"/>
                  </a:cubicBezTo>
                  <a:cubicBezTo>
                    <a:pt x="0" y="54"/>
                    <a:pt x="0" y="54"/>
                    <a:pt x="0" y="53"/>
                  </a:cubicBezTo>
                  <a:cubicBezTo>
                    <a:pt x="0" y="55"/>
                    <a:pt x="0" y="56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8"/>
                  </a:cubicBezTo>
                  <a:cubicBezTo>
                    <a:pt x="2" y="59"/>
                    <a:pt x="1" y="60"/>
                    <a:pt x="2" y="61"/>
                  </a:cubicBezTo>
                  <a:cubicBezTo>
                    <a:pt x="3" y="63"/>
                    <a:pt x="5" y="64"/>
                    <a:pt x="3" y="66"/>
                  </a:cubicBezTo>
                  <a:cubicBezTo>
                    <a:pt x="4" y="67"/>
                    <a:pt x="5" y="68"/>
                    <a:pt x="4" y="69"/>
                  </a:cubicBezTo>
                  <a:cubicBezTo>
                    <a:pt x="7" y="69"/>
                    <a:pt x="7" y="69"/>
                    <a:pt x="7" y="67"/>
                  </a:cubicBezTo>
                  <a:cubicBezTo>
                    <a:pt x="8" y="65"/>
                    <a:pt x="11" y="67"/>
                    <a:pt x="11" y="65"/>
                  </a:cubicBezTo>
                  <a:cubicBezTo>
                    <a:pt x="12" y="64"/>
                    <a:pt x="14" y="57"/>
                    <a:pt x="12" y="56"/>
                  </a:cubicBezTo>
                  <a:cubicBezTo>
                    <a:pt x="12" y="56"/>
                    <a:pt x="13" y="56"/>
                    <a:pt x="13" y="56"/>
                  </a:cubicBezTo>
                  <a:cubicBezTo>
                    <a:pt x="13" y="56"/>
                    <a:pt x="12" y="56"/>
                    <a:pt x="12" y="55"/>
                  </a:cubicBezTo>
                  <a:cubicBezTo>
                    <a:pt x="13" y="56"/>
                    <a:pt x="14" y="55"/>
                    <a:pt x="15" y="53"/>
                  </a:cubicBezTo>
                  <a:cubicBezTo>
                    <a:pt x="16" y="55"/>
                    <a:pt x="16" y="53"/>
                    <a:pt x="17" y="52"/>
                  </a:cubicBezTo>
                  <a:cubicBezTo>
                    <a:pt x="15" y="52"/>
                    <a:pt x="14" y="52"/>
                    <a:pt x="12" y="52"/>
                  </a:cubicBezTo>
                  <a:cubicBezTo>
                    <a:pt x="14" y="51"/>
                    <a:pt x="15" y="52"/>
                    <a:pt x="16" y="52"/>
                  </a:cubicBezTo>
                  <a:cubicBezTo>
                    <a:pt x="18" y="51"/>
                    <a:pt x="18" y="49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6" y="47"/>
                    <a:pt x="16" y="47"/>
                    <a:pt x="15" y="46"/>
                  </a:cubicBezTo>
                  <a:cubicBezTo>
                    <a:pt x="14" y="47"/>
                    <a:pt x="13" y="49"/>
                    <a:pt x="12" y="49"/>
                  </a:cubicBezTo>
                  <a:cubicBezTo>
                    <a:pt x="13" y="48"/>
                    <a:pt x="14" y="48"/>
                    <a:pt x="14" y="46"/>
                  </a:cubicBezTo>
                  <a:cubicBezTo>
                    <a:pt x="14" y="44"/>
                    <a:pt x="13" y="43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5" y="40"/>
                    <a:pt x="15" y="38"/>
                    <a:pt x="14" y="37"/>
                  </a:cubicBezTo>
                  <a:cubicBezTo>
                    <a:pt x="16" y="38"/>
                    <a:pt x="16" y="36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8" y="33"/>
                    <a:pt x="21" y="32"/>
                    <a:pt x="23" y="29"/>
                  </a:cubicBezTo>
                  <a:cubicBezTo>
                    <a:pt x="23" y="29"/>
                    <a:pt x="24" y="28"/>
                    <a:pt x="24" y="27"/>
                  </a:cubicBezTo>
                  <a:cubicBezTo>
                    <a:pt x="24" y="27"/>
                    <a:pt x="23" y="26"/>
                    <a:pt x="23" y="25"/>
                  </a:cubicBezTo>
                  <a:cubicBezTo>
                    <a:pt x="24" y="24"/>
                    <a:pt x="24" y="23"/>
                    <a:pt x="24" y="22"/>
                  </a:cubicBezTo>
                  <a:cubicBezTo>
                    <a:pt x="24" y="21"/>
                    <a:pt x="26" y="21"/>
                    <a:pt x="25" y="20"/>
                  </a:cubicBezTo>
                  <a:cubicBezTo>
                    <a:pt x="25" y="20"/>
                    <a:pt x="26" y="21"/>
                    <a:pt x="26" y="21"/>
                  </a:cubicBezTo>
                  <a:cubicBezTo>
                    <a:pt x="26" y="17"/>
                    <a:pt x="31" y="21"/>
                    <a:pt x="30" y="19"/>
                  </a:cubicBezTo>
                  <a:cubicBezTo>
                    <a:pt x="29" y="17"/>
                    <a:pt x="29" y="16"/>
                    <a:pt x="30" y="15"/>
                  </a:cubicBezTo>
                  <a:cubicBezTo>
                    <a:pt x="30" y="14"/>
                    <a:pt x="29" y="13"/>
                    <a:pt x="29" y="12"/>
                  </a:cubicBezTo>
                  <a:cubicBezTo>
                    <a:pt x="29" y="9"/>
                    <a:pt x="29" y="7"/>
                    <a:pt x="28" y="5"/>
                  </a:cubicBezTo>
                  <a:cubicBezTo>
                    <a:pt x="27" y="3"/>
                    <a:pt x="24" y="1"/>
                    <a:pt x="2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7" name="Freeform 402"/>
            <p:cNvSpPr>
              <a:spLocks noEditPoints="1"/>
            </p:cNvSpPr>
            <p:nvPr/>
          </p:nvSpPr>
          <p:spPr bwMode="auto">
            <a:xfrm>
              <a:off x="1915253" y="1520931"/>
              <a:ext cx="239209" cy="525759"/>
            </a:xfrm>
            <a:custGeom>
              <a:avLst/>
              <a:gdLst>
                <a:gd name="T0" fmla="*/ 2147483646 w 32"/>
                <a:gd name="T1" fmla="*/ 2147483646 h 71"/>
                <a:gd name="T2" fmla="*/ 2147483646 w 32"/>
                <a:gd name="T3" fmla="*/ 2147483646 h 71"/>
                <a:gd name="T4" fmla="*/ 2147483646 w 32"/>
                <a:gd name="T5" fmla="*/ 2147483646 h 71"/>
                <a:gd name="T6" fmla="*/ 2147483646 w 32"/>
                <a:gd name="T7" fmla="*/ 2147483646 h 71"/>
                <a:gd name="T8" fmla="*/ 2147483646 w 32"/>
                <a:gd name="T9" fmla="*/ 2147483646 h 71"/>
                <a:gd name="T10" fmla="*/ 2147483646 w 32"/>
                <a:gd name="T11" fmla="*/ 2147483646 h 71"/>
                <a:gd name="T12" fmla="*/ 2147483646 w 32"/>
                <a:gd name="T13" fmla="*/ 2147483646 h 71"/>
                <a:gd name="T14" fmla="*/ 2147483646 w 32"/>
                <a:gd name="T15" fmla="*/ 2147483646 h 71"/>
                <a:gd name="T16" fmla="*/ 2147483646 w 32"/>
                <a:gd name="T17" fmla="*/ 2147483646 h 71"/>
                <a:gd name="T18" fmla="*/ 2147483646 w 32"/>
                <a:gd name="T19" fmla="*/ 2147483646 h 71"/>
                <a:gd name="T20" fmla="*/ 2147483646 w 32"/>
                <a:gd name="T21" fmla="*/ 2147483646 h 71"/>
                <a:gd name="T22" fmla="*/ 2147483646 w 32"/>
                <a:gd name="T23" fmla="*/ 2147483646 h 71"/>
                <a:gd name="T24" fmla="*/ 2147483646 w 32"/>
                <a:gd name="T25" fmla="*/ 2147483646 h 71"/>
                <a:gd name="T26" fmla="*/ 2147483646 w 32"/>
                <a:gd name="T27" fmla="*/ 2147483646 h 71"/>
                <a:gd name="T28" fmla="*/ 2147483646 w 32"/>
                <a:gd name="T29" fmla="*/ 2147483646 h 71"/>
                <a:gd name="T30" fmla="*/ 2147483646 w 32"/>
                <a:gd name="T31" fmla="*/ 2147483646 h 71"/>
                <a:gd name="T32" fmla="*/ 2147483646 w 32"/>
                <a:gd name="T33" fmla="*/ 2147483646 h 71"/>
                <a:gd name="T34" fmla="*/ 2147483646 w 32"/>
                <a:gd name="T35" fmla="*/ 2147483646 h 71"/>
                <a:gd name="T36" fmla="*/ 2147483646 w 32"/>
                <a:gd name="T37" fmla="*/ 2147483646 h 71"/>
                <a:gd name="T38" fmla="*/ 2147483646 w 32"/>
                <a:gd name="T39" fmla="*/ 2147483646 h 71"/>
                <a:gd name="T40" fmla="*/ 2147483646 w 32"/>
                <a:gd name="T41" fmla="*/ 2147483646 h 71"/>
                <a:gd name="T42" fmla="*/ 2147483646 w 32"/>
                <a:gd name="T43" fmla="*/ 2147483646 h 71"/>
                <a:gd name="T44" fmla="*/ 2147483646 w 32"/>
                <a:gd name="T45" fmla="*/ 2147483646 h 71"/>
                <a:gd name="T46" fmla="*/ 2147483646 w 32"/>
                <a:gd name="T47" fmla="*/ 2147483646 h 71"/>
                <a:gd name="T48" fmla="*/ 2147483646 w 32"/>
                <a:gd name="T49" fmla="*/ 2147483646 h 71"/>
                <a:gd name="T50" fmla="*/ 2147483646 w 32"/>
                <a:gd name="T51" fmla="*/ 2147483646 h 71"/>
                <a:gd name="T52" fmla="*/ 2147483646 w 32"/>
                <a:gd name="T53" fmla="*/ 2147483646 h 71"/>
                <a:gd name="T54" fmla="*/ 2147483646 w 32"/>
                <a:gd name="T55" fmla="*/ 2147483646 h 71"/>
                <a:gd name="T56" fmla="*/ 2147483646 w 32"/>
                <a:gd name="T57" fmla="*/ 2147483646 h 71"/>
                <a:gd name="T58" fmla="*/ 2147483646 w 32"/>
                <a:gd name="T59" fmla="*/ 2147483646 h 71"/>
                <a:gd name="T60" fmla="*/ 2147483646 w 32"/>
                <a:gd name="T61" fmla="*/ 2147483646 h 71"/>
                <a:gd name="T62" fmla="*/ 2147483646 w 32"/>
                <a:gd name="T63" fmla="*/ 2147483646 h 71"/>
                <a:gd name="T64" fmla="*/ 2147483646 w 32"/>
                <a:gd name="T65" fmla="*/ 2147483646 h 71"/>
                <a:gd name="T66" fmla="*/ 2147483646 w 32"/>
                <a:gd name="T67" fmla="*/ 2147483646 h 71"/>
                <a:gd name="T68" fmla="*/ 2147483646 w 32"/>
                <a:gd name="T69" fmla="*/ 2147483646 h 71"/>
                <a:gd name="T70" fmla="*/ 2147483646 w 32"/>
                <a:gd name="T71" fmla="*/ 2147483646 h 71"/>
                <a:gd name="T72" fmla="*/ 2147483646 w 32"/>
                <a:gd name="T73" fmla="*/ 2147483646 h 71"/>
                <a:gd name="T74" fmla="*/ 2147483646 w 32"/>
                <a:gd name="T75" fmla="*/ 2147483646 h 71"/>
                <a:gd name="T76" fmla="*/ 2147483646 w 32"/>
                <a:gd name="T77" fmla="*/ 2147483646 h 71"/>
                <a:gd name="T78" fmla="*/ 2147483646 w 32"/>
                <a:gd name="T79" fmla="*/ 2147483646 h 71"/>
                <a:gd name="T80" fmla="*/ 2147483646 w 32"/>
                <a:gd name="T81" fmla="*/ 2147483646 h 71"/>
                <a:gd name="T82" fmla="*/ 2147483646 w 32"/>
                <a:gd name="T83" fmla="*/ 2147483646 h 71"/>
                <a:gd name="T84" fmla="*/ 2147483646 w 32"/>
                <a:gd name="T85" fmla="*/ 2147483646 h 71"/>
                <a:gd name="T86" fmla="*/ 2147483646 w 32"/>
                <a:gd name="T87" fmla="*/ 2147483646 h 71"/>
                <a:gd name="T88" fmla="*/ 2147483646 w 32"/>
                <a:gd name="T89" fmla="*/ 2147483646 h 71"/>
                <a:gd name="T90" fmla="*/ 2147483646 w 32"/>
                <a:gd name="T91" fmla="*/ 2147483646 h 71"/>
                <a:gd name="T92" fmla="*/ 2147483646 w 32"/>
                <a:gd name="T93" fmla="*/ 2147483646 h 71"/>
                <a:gd name="T94" fmla="*/ 2147483646 w 32"/>
                <a:gd name="T95" fmla="*/ 2147483646 h 71"/>
                <a:gd name="T96" fmla="*/ 2147483646 w 32"/>
                <a:gd name="T97" fmla="*/ 2147483646 h 71"/>
                <a:gd name="T98" fmla="*/ 2147483646 w 32"/>
                <a:gd name="T99" fmla="*/ 2147483646 h 71"/>
                <a:gd name="T100" fmla="*/ 2147483646 w 32"/>
                <a:gd name="T101" fmla="*/ 2147483646 h 71"/>
                <a:gd name="T102" fmla="*/ 2147483646 w 32"/>
                <a:gd name="T103" fmla="*/ 2147483646 h 71"/>
                <a:gd name="T104" fmla="*/ 2147483646 w 32"/>
                <a:gd name="T105" fmla="*/ 2147483646 h 71"/>
                <a:gd name="T106" fmla="*/ 2147483646 w 32"/>
                <a:gd name="T107" fmla="*/ 2147483646 h 71"/>
                <a:gd name="T108" fmla="*/ 2147483646 w 32"/>
                <a:gd name="T109" fmla="*/ 2147483646 h 71"/>
                <a:gd name="T110" fmla="*/ 2147483646 w 32"/>
                <a:gd name="T111" fmla="*/ 2147483646 h 7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32" h="71">
                  <a:moveTo>
                    <a:pt x="6" y="71"/>
                  </a:moveTo>
                  <a:cubicBezTo>
                    <a:pt x="4" y="71"/>
                    <a:pt x="4" y="71"/>
                    <a:pt x="4" y="71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5" y="69"/>
                    <a:pt x="5" y="69"/>
                    <a:pt x="4" y="68"/>
                  </a:cubicBezTo>
                  <a:cubicBezTo>
                    <a:pt x="4" y="68"/>
                    <a:pt x="4" y="67"/>
                    <a:pt x="4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5" y="65"/>
                    <a:pt x="4" y="65"/>
                    <a:pt x="3" y="63"/>
                  </a:cubicBezTo>
                  <a:cubicBezTo>
                    <a:pt x="3" y="63"/>
                    <a:pt x="3" y="63"/>
                    <a:pt x="2" y="62"/>
                  </a:cubicBezTo>
                  <a:cubicBezTo>
                    <a:pt x="2" y="62"/>
                    <a:pt x="2" y="61"/>
                    <a:pt x="2" y="60"/>
                  </a:cubicBezTo>
                  <a:cubicBezTo>
                    <a:pt x="2" y="60"/>
                    <a:pt x="2" y="60"/>
                    <a:pt x="1" y="5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7"/>
                    <a:pt x="0" y="56"/>
                    <a:pt x="1" y="54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1"/>
                    <a:pt x="2" y="51"/>
                    <a:pt x="3" y="50"/>
                  </a:cubicBezTo>
                  <a:cubicBezTo>
                    <a:pt x="3" y="50"/>
                    <a:pt x="3" y="50"/>
                    <a:pt x="3" y="49"/>
                  </a:cubicBezTo>
                  <a:cubicBezTo>
                    <a:pt x="4" y="49"/>
                    <a:pt x="3" y="48"/>
                    <a:pt x="3" y="47"/>
                  </a:cubicBezTo>
                  <a:cubicBezTo>
                    <a:pt x="3" y="47"/>
                    <a:pt x="3" y="46"/>
                    <a:pt x="3" y="46"/>
                  </a:cubicBezTo>
                  <a:cubicBezTo>
                    <a:pt x="3" y="45"/>
                    <a:pt x="3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3" y="43"/>
                  </a:cubicBezTo>
                  <a:cubicBezTo>
                    <a:pt x="2" y="41"/>
                    <a:pt x="3" y="39"/>
                    <a:pt x="3" y="37"/>
                  </a:cubicBezTo>
                  <a:cubicBezTo>
                    <a:pt x="3" y="37"/>
                    <a:pt x="3" y="36"/>
                    <a:pt x="3" y="35"/>
                  </a:cubicBezTo>
                  <a:cubicBezTo>
                    <a:pt x="3" y="35"/>
                    <a:pt x="3" y="35"/>
                    <a:pt x="3" y="34"/>
                  </a:cubicBezTo>
                  <a:cubicBezTo>
                    <a:pt x="3" y="34"/>
                    <a:pt x="2" y="32"/>
                    <a:pt x="3" y="3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5" y="31"/>
                    <a:pt x="5" y="30"/>
                    <a:pt x="6" y="30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8" y="29"/>
                    <a:pt x="8" y="29"/>
                    <a:pt x="7" y="28"/>
                  </a:cubicBezTo>
                  <a:cubicBezTo>
                    <a:pt x="6" y="27"/>
                    <a:pt x="7" y="26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3"/>
                    <a:pt x="8" y="22"/>
                    <a:pt x="8" y="21"/>
                  </a:cubicBezTo>
                  <a:cubicBezTo>
                    <a:pt x="8" y="21"/>
                    <a:pt x="8" y="20"/>
                    <a:pt x="9" y="20"/>
                  </a:cubicBezTo>
                  <a:cubicBezTo>
                    <a:pt x="9" y="19"/>
                    <a:pt x="9" y="19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6"/>
                    <a:pt x="11" y="16"/>
                    <a:pt x="12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2" y="13"/>
                    <a:pt x="12" y="12"/>
                    <a:pt x="12" y="11"/>
                  </a:cubicBezTo>
                  <a:cubicBezTo>
                    <a:pt x="12" y="10"/>
                    <a:pt x="14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6"/>
                    <a:pt x="17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4"/>
                    <a:pt x="21" y="4"/>
                    <a:pt x="21" y="4"/>
                  </a:cubicBezTo>
                  <a:cubicBezTo>
                    <a:pt x="21" y="4"/>
                    <a:pt x="21" y="3"/>
                    <a:pt x="21" y="3"/>
                  </a:cubicBezTo>
                  <a:cubicBezTo>
                    <a:pt x="21" y="2"/>
                    <a:pt x="22" y="2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"/>
                    <a:pt x="25" y="1"/>
                    <a:pt x="25" y="2"/>
                  </a:cubicBezTo>
                  <a:cubicBezTo>
                    <a:pt x="27" y="3"/>
                    <a:pt x="28" y="4"/>
                    <a:pt x="29" y="6"/>
                  </a:cubicBezTo>
                  <a:cubicBezTo>
                    <a:pt x="31" y="8"/>
                    <a:pt x="31" y="9"/>
                    <a:pt x="30" y="12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1" y="13"/>
                    <a:pt x="31" y="14"/>
                  </a:cubicBezTo>
                  <a:cubicBezTo>
                    <a:pt x="31" y="14"/>
                    <a:pt x="32" y="15"/>
                    <a:pt x="31" y="16"/>
                  </a:cubicBezTo>
                  <a:cubicBezTo>
                    <a:pt x="31" y="18"/>
                    <a:pt x="31" y="18"/>
                    <a:pt x="32" y="19"/>
                  </a:cubicBezTo>
                  <a:cubicBezTo>
                    <a:pt x="32" y="20"/>
                    <a:pt x="32" y="20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21"/>
                    <a:pt x="30" y="21"/>
                    <a:pt x="29" y="21"/>
                  </a:cubicBezTo>
                  <a:cubicBezTo>
                    <a:pt x="29" y="21"/>
                    <a:pt x="28" y="21"/>
                    <a:pt x="28" y="21"/>
                  </a:cubicBezTo>
                  <a:cubicBezTo>
                    <a:pt x="28" y="21"/>
                    <a:pt x="27" y="21"/>
                    <a:pt x="27" y="22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3"/>
                    <a:pt x="26" y="23"/>
                    <a:pt x="26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5"/>
                    <a:pt x="25" y="25"/>
                    <a:pt x="25" y="26"/>
                  </a:cubicBezTo>
                  <a:cubicBezTo>
                    <a:pt x="25" y="26"/>
                    <a:pt x="25" y="27"/>
                    <a:pt x="25" y="27"/>
                  </a:cubicBezTo>
                  <a:cubicBezTo>
                    <a:pt x="26" y="27"/>
                    <a:pt x="26" y="28"/>
                    <a:pt x="26" y="28"/>
                  </a:cubicBezTo>
                  <a:cubicBezTo>
                    <a:pt x="26" y="29"/>
                    <a:pt x="25" y="30"/>
                    <a:pt x="25" y="30"/>
                  </a:cubicBezTo>
                  <a:cubicBezTo>
                    <a:pt x="24" y="30"/>
                    <a:pt x="24" y="31"/>
                    <a:pt x="24" y="31"/>
                  </a:cubicBezTo>
                  <a:cubicBezTo>
                    <a:pt x="23" y="32"/>
                    <a:pt x="22" y="33"/>
                    <a:pt x="21" y="34"/>
                  </a:cubicBezTo>
                  <a:cubicBezTo>
                    <a:pt x="20" y="35"/>
                    <a:pt x="18" y="36"/>
                    <a:pt x="17" y="3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6" y="39"/>
                    <a:pt x="16" y="39"/>
                  </a:cubicBezTo>
                  <a:cubicBezTo>
                    <a:pt x="16" y="40"/>
                    <a:pt x="16" y="41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4"/>
                    <a:pt x="15" y="45"/>
                    <a:pt x="15" y="46"/>
                  </a:cubicBezTo>
                  <a:cubicBezTo>
                    <a:pt x="15" y="46"/>
                    <a:pt x="15" y="46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9" y="50"/>
                    <a:pt x="19" y="51"/>
                    <a:pt x="19" y="51"/>
                  </a:cubicBezTo>
                  <a:cubicBezTo>
                    <a:pt x="19" y="52"/>
                    <a:pt x="19" y="52"/>
                    <a:pt x="18" y="53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5"/>
                    <a:pt x="17" y="56"/>
                    <a:pt x="16" y="56"/>
                  </a:cubicBezTo>
                  <a:cubicBezTo>
                    <a:pt x="16" y="56"/>
                    <a:pt x="16" y="55"/>
                    <a:pt x="16" y="55"/>
                  </a:cubicBezTo>
                  <a:cubicBezTo>
                    <a:pt x="16" y="56"/>
                    <a:pt x="15" y="56"/>
                    <a:pt x="15" y="56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5" y="59"/>
                    <a:pt x="14" y="62"/>
                    <a:pt x="13" y="66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2" y="68"/>
                    <a:pt x="11" y="68"/>
                    <a:pt x="11" y="68"/>
                  </a:cubicBezTo>
                  <a:cubicBezTo>
                    <a:pt x="11" y="68"/>
                    <a:pt x="10" y="68"/>
                    <a:pt x="10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8" y="70"/>
                    <a:pt x="8" y="71"/>
                    <a:pt x="6" y="71"/>
                  </a:cubicBezTo>
                  <a:close/>
                  <a:moveTo>
                    <a:pt x="6" y="69"/>
                  </a:moveTo>
                  <a:cubicBezTo>
                    <a:pt x="6" y="69"/>
                    <a:pt x="6" y="69"/>
                    <a:pt x="6" y="69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7" y="69"/>
                    <a:pt x="7" y="69"/>
                    <a:pt x="8" y="68"/>
                  </a:cubicBezTo>
                  <a:cubicBezTo>
                    <a:pt x="8" y="67"/>
                    <a:pt x="9" y="67"/>
                    <a:pt x="10" y="67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67"/>
                    <a:pt x="11" y="67"/>
                    <a:pt x="11" y="67"/>
                  </a:cubicBezTo>
                  <a:cubicBezTo>
                    <a:pt x="12" y="67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4" y="59"/>
                    <a:pt x="13" y="58"/>
                    <a:pt x="13" y="58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6"/>
                    <a:pt x="15" y="55"/>
                    <a:pt x="15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4"/>
                    <a:pt x="14" y="54"/>
                    <a:pt x="13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1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7" y="52"/>
                    <a:pt x="18" y="52"/>
                    <a:pt x="18" y="51"/>
                  </a:cubicBezTo>
                  <a:cubicBezTo>
                    <a:pt x="18" y="50"/>
                    <a:pt x="18" y="50"/>
                    <a:pt x="17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5" y="49"/>
                    <a:pt x="14" y="50"/>
                    <a:pt x="13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4" y="48"/>
                    <a:pt x="14" y="48"/>
                    <a:pt x="14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4"/>
                    <a:pt x="14" y="43"/>
                    <a:pt x="14" y="42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0"/>
                    <a:pt x="15" y="39"/>
                    <a:pt x="15" y="38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7"/>
                    <a:pt x="16" y="36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8" y="34"/>
                    <a:pt x="19" y="34"/>
                    <a:pt x="20" y="33"/>
                  </a:cubicBezTo>
                  <a:cubicBezTo>
                    <a:pt x="21" y="32"/>
                    <a:pt x="22" y="31"/>
                    <a:pt x="23" y="30"/>
                  </a:cubicBezTo>
                  <a:cubicBezTo>
                    <a:pt x="23" y="30"/>
                    <a:pt x="24" y="30"/>
                    <a:pt x="24" y="30"/>
                  </a:cubicBezTo>
                  <a:cubicBezTo>
                    <a:pt x="24" y="29"/>
                    <a:pt x="25" y="29"/>
                    <a:pt x="25" y="28"/>
                  </a:cubicBezTo>
                  <a:cubicBezTo>
                    <a:pt x="25" y="28"/>
                    <a:pt x="24" y="28"/>
                    <a:pt x="24" y="28"/>
                  </a:cubicBezTo>
                  <a:cubicBezTo>
                    <a:pt x="24" y="27"/>
                    <a:pt x="24" y="26"/>
                    <a:pt x="24" y="26"/>
                  </a:cubicBezTo>
                  <a:cubicBezTo>
                    <a:pt x="24" y="25"/>
                    <a:pt x="24" y="25"/>
                    <a:pt x="24" y="24"/>
                  </a:cubicBezTo>
                  <a:cubicBezTo>
                    <a:pt x="24" y="24"/>
                    <a:pt x="24" y="23"/>
                    <a:pt x="24" y="23"/>
                  </a:cubicBezTo>
                  <a:cubicBezTo>
                    <a:pt x="25" y="22"/>
                    <a:pt x="25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5" y="21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0"/>
                    <a:pt x="27" y="20"/>
                  </a:cubicBezTo>
                  <a:cubicBezTo>
                    <a:pt x="27" y="20"/>
                    <a:pt x="28" y="20"/>
                    <a:pt x="28" y="20"/>
                  </a:cubicBezTo>
                  <a:cubicBezTo>
                    <a:pt x="29" y="20"/>
                    <a:pt x="29" y="20"/>
                    <a:pt x="30" y="20"/>
                  </a:cubicBezTo>
                  <a:cubicBezTo>
                    <a:pt x="30" y="20"/>
                    <a:pt x="30" y="20"/>
                    <a:pt x="31" y="20"/>
                  </a:cubicBezTo>
                  <a:cubicBezTo>
                    <a:pt x="31" y="20"/>
                    <a:pt x="30" y="20"/>
                    <a:pt x="30" y="20"/>
                  </a:cubicBezTo>
                  <a:cubicBezTo>
                    <a:pt x="30" y="18"/>
                    <a:pt x="30" y="17"/>
                    <a:pt x="30" y="16"/>
                  </a:cubicBezTo>
                  <a:cubicBezTo>
                    <a:pt x="30" y="15"/>
                    <a:pt x="30" y="15"/>
                    <a:pt x="30" y="14"/>
                  </a:cubicBezTo>
                  <a:cubicBezTo>
                    <a:pt x="30" y="14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9"/>
                    <a:pt x="29" y="8"/>
                    <a:pt x="28" y="6"/>
                  </a:cubicBezTo>
                  <a:cubicBezTo>
                    <a:pt x="27" y="5"/>
                    <a:pt x="26" y="4"/>
                    <a:pt x="25" y="3"/>
                  </a:cubicBezTo>
                  <a:cubicBezTo>
                    <a:pt x="24" y="2"/>
                    <a:pt x="23" y="2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3" y="3"/>
                    <a:pt x="22" y="3"/>
                  </a:cubicBezTo>
                  <a:cubicBezTo>
                    <a:pt x="22" y="4"/>
                    <a:pt x="22" y="4"/>
                    <a:pt x="23" y="4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6"/>
                    <a:pt x="20" y="5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6"/>
                    <a:pt x="18" y="7"/>
                  </a:cubicBezTo>
                  <a:cubicBezTo>
                    <a:pt x="17" y="7"/>
                    <a:pt x="17" y="8"/>
                    <a:pt x="1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4" y="10"/>
                    <a:pt x="13" y="12"/>
                  </a:cubicBezTo>
                  <a:cubicBezTo>
                    <a:pt x="13" y="12"/>
                    <a:pt x="13" y="12"/>
                    <a:pt x="13" y="13"/>
                  </a:cubicBezTo>
                  <a:cubicBezTo>
                    <a:pt x="14" y="13"/>
                    <a:pt x="14" y="14"/>
                    <a:pt x="13" y="15"/>
                  </a:cubicBezTo>
                  <a:cubicBezTo>
                    <a:pt x="12" y="16"/>
                    <a:pt x="12" y="17"/>
                    <a:pt x="11" y="18"/>
                  </a:cubicBezTo>
                  <a:cubicBezTo>
                    <a:pt x="11" y="19"/>
                    <a:pt x="10" y="19"/>
                    <a:pt x="10" y="19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10" y="21"/>
                    <a:pt x="10" y="21"/>
                  </a:cubicBezTo>
                  <a:cubicBezTo>
                    <a:pt x="10" y="22"/>
                    <a:pt x="10" y="23"/>
                    <a:pt x="9" y="24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8" y="26"/>
                    <a:pt x="8" y="27"/>
                    <a:pt x="8" y="28"/>
                  </a:cubicBezTo>
                  <a:cubicBezTo>
                    <a:pt x="9" y="28"/>
                    <a:pt x="9" y="29"/>
                    <a:pt x="9" y="30"/>
                  </a:cubicBezTo>
                  <a:cubicBezTo>
                    <a:pt x="8" y="30"/>
                    <a:pt x="7" y="31"/>
                    <a:pt x="7" y="31"/>
                  </a:cubicBezTo>
                  <a:cubicBezTo>
                    <a:pt x="6" y="31"/>
                    <a:pt x="5" y="31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3"/>
                    <a:pt x="4" y="34"/>
                  </a:cubicBezTo>
                  <a:cubicBezTo>
                    <a:pt x="4" y="34"/>
                    <a:pt x="4" y="35"/>
                    <a:pt x="4" y="35"/>
                  </a:cubicBezTo>
                  <a:cubicBezTo>
                    <a:pt x="4" y="36"/>
                    <a:pt x="4" y="37"/>
                    <a:pt x="4" y="38"/>
                  </a:cubicBezTo>
                  <a:cubicBezTo>
                    <a:pt x="4" y="39"/>
                    <a:pt x="4" y="41"/>
                    <a:pt x="4" y="42"/>
                  </a:cubicBezTo>
                  <a:cubicBezTo>
                    <a:pt x="5" y="44"/>
                    <a:pt x="5" y="44"/>
                    <a:pt x="5" y="45"/>
                  </a:cubicBezTo>
                  <a:cubicBezTo>
                    <a:pt x="4" y="45"/>
                    <a:pt x="4" y="45"/>
                    <a:pt x="4" y="46"/>
                  </a:cubicBezTo>
                  <a:cubicBezTo>
                    <a:pt x="4" y="46"/>
                    <a:pt x="4" y="47"/>
                    <a:pt x="4" y="47"/>
                  </a:cubicBezTo>
                  <a:cubicBezTo>
                    <a:pt x="5" y="48"/>
                    <a:pt x="5" y="49"/>
                    <a:pt x="5" y="50"/>
                  </a:cubicBezTo>
                  <a:cubicBezTo>
                    <a:pt x="5" y="50"/>
                    <a:pt x="4" y="51"/>
                    <a:pt x="4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3"/>
                    <a:pt x="3" y="53"/>
                    <a:pt x="3" y="54"/>
                  </a:cubicBezTo>
                  <a:cubicBezTo>
                    <a:pt x="3" y="54"/>
                    <a:pt x="3" y="55"/>
                    <a:pt x="2" y="56"/>
                  </a:cubicBezTo>
                  <a:cubicBezTo>
                    <a:pt x="2" y="56"/>
                    <a:pt x="2" y="57"/>
                    <a:pt x="2" y="57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2" y="59"/>
                  </a:cubicBezTo>
                  <a:cubicBezTo>
                    <a:pt x="3" y="59"/>
                    <a:pt x="3" y="60"/>
                    <a:pt x="3" y="60"/>
                  </a:cubicBezTo>
                  <a:cubicBezTo>
                    <a:pt x="3" y="61"/>
                    <a:pt x="3" y="61"/>
                    <a:pt x="3" y="62"/>
                  </a:cubicBezTo>
                  <a:cubicBezTo>
                    <a:pt x="4" y="62"/>
                    <a:pt x="4" y="62"/>
                    <a:pt x="4" y="63"/>
                  </a:cubicBezTo>
                  <a:cubicBezTo>
                    <a:pt x="5" y="64"/>
                    <a:pt x="6" y="65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8"/>
                    <a:pt x="6" y="69"/>
                    <a:pt x="6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8" name="Freeform 403"/>
            <p:cNvSpPr/>
            <p:nvPr/>
          </p:nvSpPr>
          <p:spPr bwMode="auto">
            <a:xfrm>
              <a:off x="1833418" y="2248178"/>
              <a:ext cx="75540" cy="53521"/>
            </a:xfrm>
            <a:custGeom>
              <a:avLst/>
              <a:gdLst>
                <a:gd name="T0" fmla="*/ 2147483646 w 10"/>
                <a:gd name="T1" fmla="*/ 2147483646 h 7"/>
                <a:gd name="T2" fmla="*/ 2147483646 w 10"/>
                <a:gd name="T3" fmla="*/ 2147483646 h 7"/>
                <a:gd name="T4" fmla="*/ 2147483646 w 10"/>
                <a:gd name="T5" fmla="*/ 2147483646 h 7"/>
                <a:gd name="T6" fmla="*/ 2147483646 w 10"/>
                <a:gd name="T7" fmla="*/ 2147483646 h 7"/>
                <a:gd name="T8" fmla="*/ 2147483646 w 10"/>
                <a:gd name="T9" fmla="*/ 2147483646 h 7"/>
                <a:gd name="T10" fmla="*/ 2147483646 w 10"/>
                <a:gd name="T11" fmla="*/ 2147483646 h 7"/>
                <a:gd name="T12" fmla="*/ 2147483646 w 10"/>
                <a:gd name="T13" fmla="*/ 2147483646 h 7"/>
                <a:gd name="T14" fmla="*/ 0 w 10"/>
                <a:gd name="T15" fmla="*/ 2147483646 h 7"/>
                <a:gd name="T16" fmla="*/ 2147483646 w 10"/>
                <a:gd name="T17" fmla="*/ 2147483646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" h="7">
                  <a:moveTo>
                    <a:pt x="4" y="1"/>
                  </a:moveTo>
                  <a:cubicBezTo>
                    <a:pt x="6" y="1"/>
                    <a:pt x="8" y="0"/>
                    <a:pt x="9" y="3"/>
                  </a:cubicBezTo>
                  <a:cubicBezTo>
                    <a:pt x="9" y="4"/>
                    <a:pt x="10" y="3"/>
                    <a:pt x="10" y="4"/>
                  </a:cubicBezTo>
                  <a:cubicBezTo>
                    <a:pt x="10" y="5"/>
                    <a:pt x="10" y="4"/>
                    <a:pt x="10" y="6"/>
                  </a:cubicBezTo>
                  <a:cubicBezTo>
                    <a:pt x="8" y="5"/>
                    <a:pt x="8" y="5"/>
                    <a:pt x="7" y="7"/>
                  </a:cubicBezTo>
                  <a:cubicBezTo>
                    <a:pt x="7" y="6"/>
                    <a:pt x="6" y="6"/>
                    <a:pt x="6" y="5"/>
                  </a:cubicBezTo>
                  <a:cubicBezTo>
                    <a:pt x="5" y="7"/>
                    <a:pt x="4" y="7"/>
                    <a:pt x="3" y="7"/>
                  </a:cubicBezTo>
                  <a:cubicBezTo>
                    <a:pt x="2" y="7"/>
                    <a:pt x="2" y="4"/>
                    <a:pt x="0" y="6"/>
                  </a:cubicBezTo>
                  <a:cubicBezTo>
                    <a:pt x="0" y="4"/>
                    <a:pt x="2" y="1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9" name="Freeform 404"/>
            <p:cNvSpPr>
              <a:spLocks noEditPoints="1"/>
            </p:cNvSpPr>
            <p:nvPr/>
          </p:nvSpPr>
          <p:spPr bwMode="auto">
            <a:xfrm>
              <a:off x="1833418" y="2248178"/>
              <a:ext cx="81835" cy="66113"/>
            </a:xfrm>
            <a:custGeom>
              <a:avLst/>
              <a:gdLst>
                <a:gd name="T0" fmla="*/ 2147483646 w 11"/>
                <a:gd name="T1" fmla="*/ 2147483646 h 9"/>
                <a:gd name="T2" fmla="*/ 2147483646 w 11"/>
                <a:gd name="T3" fmla="*/ 2147483646 h 9"/>
                <a:gd name="T4" fmla="*/ 2147483646 w 11"/>
                <a:gd name="T5" fmla="*/ 2147483646 h 9"/>
                <a:gd name="T6" fmla="*/ 2147483646 w 11"/>
                <a:gd name="T7" fmla="*/ 2147483646 h 9"/>
                <a:gd name="T8" fmla="*/ 2147483646 w 11"/>
                <a:gd name="T9" fmla="*/ 2147483646 h 9"/>
                <a:gd name="T10" fmla="*/ 2147483646 w 11"/>
                <a:gd name="T11" fmla="*/ 2147483646 h 9"/>
                <a:gd name="T12" fmla="*/ 2147483646 w 11"/>
                <a:gd name="T13" fmla="*/ 2147483646 h 9"/>
                <a:gd name="T14" fmla="*/ 2147483646 w 11"/>
                <a:gd name="T15" fmla="*/ 2147483646 h 9"/>
                <a:gd name="T16" fmla="*/ 2147483646 w 11"/>
                <a:gd name="T17" fmla="*/ 2147483646 h 9"/>
                <a:gd name="T18" fmla="*/ 0 w 11"/>
                <a:gd name="T19" fmla="*/ 2147483646 h 9"/>
                <a:gd name="T20" fmla="*/ 0 w 11"/>
                <a:gd name="T21" fmla="*/ 2147483646 h 9"/>
                <a:gd name="T22" fmla="*/ 2147483646 w 11"/>
                <a:gd name="T23" fmla="*/ 2147483646 h 9"/>
                <a:gd name="T24" fmla="*/ 2147483646 w 11"/>
                <a:gd name="T25" fmla="*/ 0 h 9"/>
                <a:gd name="T26" fmla="*/ 2147483646 w 11"/>
                <a:gd name="T27" fmla="*/ 0 h 9"/>
                <a:gd name="T28" fmla="*/ 2147483646 w 11"/>
                <a:gd name="T29" fmla="*/ 0 h 9"/>
                <a:gd name="T30" fmla="*/ 2147483646 w 11"/>
                <a:gd name="T31" fmla="*/ 2147483646 h 9"/>
                <a:gd name="T32" fmla="*/ 2147483646 w 11"/>
                <a:gd name="T33" fmla="*/ 2147483646 h 9"/>
                <a:gd name="T34" fmla="*/ 2147483646 w 11"/>
                <a:gd name="T35" fmla="*/ 2147483646 h 9"/>
                <a:gd name="T36" fmla="*/ 2147483646 w 11"/>
                <a:gd name="T37" fmla="*/ 2147483646 h 9"/>
                <a:gd name="T38" fmla="*/ 2147483646 w 11"/>
                <a:gd name="T39" fmla="*/ 2147483646 h 9"/>
                <a:gd name="T40" fmla="*/ 2147483646 w 11"/>
                <a:gd name="T41" fmla="*/ 2147483646 h 9"/>
                <a:gd name="T42" fmla="*/ 2147483646 w 11"/>
                <a:gd name="T43" fmla="*/ 2147483646 h 9"/>
                <a:gd name="T44" fmla="*/ 2147483646 w 11"/>
                <a:gd name="T45" fmla="*/ 2147483646 h 9"/>
                <a:gd name="T46" fmla="*/ 2147483646 w 11"/>
                <a:gd name="T47" fmla="*/ 2147483646 h 9"/>
                <a:gd name="T48" fmla="*/ 2147483646 w 11"/>
                <a:gd name="T49" fmla="*/ 2147483646 h 9"/>
                <a:gd name="T50" fmla="*/ 2147483646 w 11"/>
                <a:gd name="T51" fmla="*/ 2147483646 h 9"/>
                <a:gd name="T52" fmla="*/ 2147483646 w 11"/>
                <a:gd name="T53" fmla="*/ 2147483646 h 9"/>
                <a:gd name="T54" fmla="*/ 2147483646 w 11"/>
                <a:gd name="T55" fmla="*/ 2147483646 h 9"/>
                <a:gd name="T56" fmla="*/ 2147483646 w 11"/>
                <a:gd name="T57" fmla="*/ 2147483646 h 9"/>
                <a:gd name="T58" fmla="*/ 2147483646 w 11"/>
                <a:gd name="T59" fmla="*/ 2147483646 h 9"/>
                <a:gd name="T60" fmla="*/ 2147483646 w 11"/>
                <a:gd name="T61" fmla="*/ 2147483646 h 9"/>
                <a:gd name="T62" fmla="*/ 2147483646 w 11"/>
                <a:gd name="T63" fmla="*/ 2147483646 h 9"/>
                <a:gd name="T64" fmla="*/ 2147483646 w 11"/>
                <a:gd name="T65" fmla="*/ 2147483646 h 9"/>
                <a:gd name="T66" fmla="*/ 2147483646 w 11"/>
                <a:gd name="T67" fmla="*/ 2147483646 h 9"/>
                <a:gd name="T68" fmla="*/ 2147483646 w 11"/>
                <a:gd name="T69" fmla="*/ 2147483646 h 9"/>
                <a:gd name="T70" fmla="*/ 2147483646 w 11"/>
                <a:gd name="T71" fmla="*/ 2147483646 h 9"/>
                <a:gd name="T72" fmla="*/ 2147483646 w 11"/>
                <a:gd name="T73" fmla="*/ 2147483646 h 9"/>
                <a:gd name="T74" fmla="*/ 2147483646 w 11"/>
                <a:gd name="T75" fmla="*/ 2147483646 h 9"/>
                <a:gd name="T76" fmla="*/ 2147483646 w 11"/>
                <a:gd name="T77" fmla="*/ 2147483646 h 9"/>
                <a:gd name="T78" fmla="*/ 2147483646 w 11"/>
                <a:gd name="T79" fmla="*/ 2147483646 h 9"/>
                <a:gd name="T80" fmla="*/ 2147483646 w 11"/>
                <a:gd name="T81" fmla="*/ 2147483646 h 9"/>
                <a:gd name="T82" fmla="*/ 2147483646 w 11"/>
                <a:gd name="T83" fmla="*/ 2147483646 h 9"/>
                <a:gd name="T84" fmla="*/ 2147483646 w 11"/>
                <a:gd name="T85" fmla="*/ 2147483646 h 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1" h="9">
                  <a:moveTo>
                    <a:pt x="8" y="9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7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4"/>
                    <a:pt x="1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9" y="1"/>
                    <a:pt x="9" y="3"/>
                  </a:cubicBezTo>
                  <a:cubicBezTo>
                    <a:pt x="9" y="3"/>
                    <a:pt x="9" y="3"/>
                    <a:pt x="10" y="3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4"/>
                    <a:pt x="11" y="5"/>
                    <a:pt x="11" y="5"/>
                  </a:cubicBezTo>
                  <a:cubicBezTo>
                    <a:pt x="11" y="5"/>
                    <a:pt x="10" y="5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8" y="6"/>
                    <a:pt x="8" y="7"/>
                  </a:cubicBezTo>
                  <a:lnTo>
                    <a:pt x="8" y="9"/>
                  </a:lnTo>
                  <a:close/>
                  <a:moveTo>
                    <a:pt x="1" y="5"/>
                  </a:moveTo>
                  <a:cubicBezTo>
                    <a:pt x="2" y="5"/>
                    <a:pt x="2" y="5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5" y="6"/>
                    <a:pt x="5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6"/>
                  </a:cubicBezTo>
                  <a:cubicBezTo>
                    <a:pt x="7" y="5"/>
                    <a:pt x="8" y="4"/>
                    <a:pt x="9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4"/>
                    <a:pt x="8" y="3"/>
                  </a:cubicBezTo>
                  <a:cubicBezTo>
                    <a:pt x="8" y="2"/>
                    <a:pt x="7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2" y="3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0" name="Freeform 405"/>
            <p:cNvSpPr/>
            <p:nvPr/>
          </p:nvSpPr>
          <p:spPr bwMode="auto">
            <a:xfrm>
              <a:off x="1984498" y="2314292"/>
              <a:ext cx="6295" cy="944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1" name="Freeform 406"/>
            <p:cNvSpPr/>
            <p:nvPr/>
          </p:nvSpPr>
          <p:spPr bwMode="auto">
            <a:xfrm>
              <a:off x="1975056" y="2285957"/>
              <a:ext cx="22032" cy="44076"/>
            </a:xfrm>
            <a:custGeom>
              <a:avLst/>
              <a:gdLst>
                <a:gd name="T0" fmla="*/ 2147483646 w 3"/>
                <a:gd name="T1" fmla="*/ 2147483646 h 6"/>
                <a:gd name="T2" fmla="*/ 2147483646 w 3"/>
                <a:gd name="T3" fmla="*/ 2147483646 h 6"/>
                <a:gd name="T4" fmla="*/ 0 w 3"/>
                <a:gd name="T5" fmla="*/ 2147483646 h 6"/>
                <a:gd name="T6" fmla="*/ 0 w 3"/>
                <a:gd name="T7" fmla="*/ 2147483646 h 6"/>
                <a:gd name="T8" fmla="*/ 0 w 3"/>
                <a:gd name="T9" fmla="*/ 2147483646 h 6"/>
                <a:gd name="T10" fmla="*/ 0 w 3"/>
                <a:gd name="T11" fmla="*/ 0 h 6"/>
                <a:gd name="T12" fmla="*/ 2147483646 w 3"/>
                <a:gd name="T13" fmla="*/ 2147483646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6">
                  <a:moveTo>
                    <a:pt x="3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762" name="Group 608"/>
            <p:cNvGrpSpPr/>
            <p:nvPr/>
          </p:nvGrpSpPr>
          <p:grpSpPr bwMode="auto">
            <a:xfrm>
              <a:off x="1527871" y="1052091"/>
              <a:ext cx="3132137" cy="2971800"/>
              <a:chOff x="2752" y="1123"/>
              <a:chExt cx="995" cy="944"/>
            </a:xfrm>
          </p:grpSpPr>
          <p:sp>
            <p:nvSpPr>
              <p:cNvPr id="13894" name="Freeform 408"/>
              <p:cNvSpPr/>
              <p:nvPr/>
            </p:nvSpPr>
            <p:spPr bwMode="auto">
              <a:xfrm>
                <a:off x="3052" y="1864"/>
                <a:ext cx="3" cy="3"/>
              </a:xfrm>
              <a:custGeom>
                <a:avLst/>
                <a:gdLst>
                  <a:gd name="T0" fmla="*/ 531441 w 1"/>
                  <a:gd name="T1" fmla="*/ 0 h 1"/>
                  <a:gd name="T2" fmla="*/ 531441 w 1"/>
                  <a:gd name="T3" fmla="*/ 531441 h 1"/>
                  <a:gd name="T4" fmla="*/ 531441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895" name="Freeform 409"/>
              <p:cNvSpPr/>
              <p:nvPr/>
            </p:nvSpPr>
            <p:spPr bwMode="auto">
              <a:xfrm>
                <a:off x="3052" y="1864"/>
                <a:ext cx="5" cy="5"/>
              </a:xfrm>
              <a:custGeom>
                <a:avLst/>
                <a:gdLst>
                  <a:gd name="T0" fmla="*/ 126958 w 2"/>
                  <a:gd name="T1" fmla="*/ 126958 h 2"/>
                  <a:gd name="T2" fmla="*/ 76488 w 2"/>
                  <a:gd name="T3" fmla="*/ 126958 h 2"/>
                  <a:gd name="T4" fmla="*/ 0 w 2"/>
                  <a:gd name="T5" fmla="*/ 0 h 2"/>
                  <a:gd name="T6" fmla="*/ 0 w 2"/>
                  <a:gd name="T7" fmla="*/ 0 h 2"/>
                  <a:gd name="T8" fmla="*/ 126958 w 2"/>
                  <a:gd name="T9" fmla="*/ 0 h 2"/>
                  <a:gd name="T10" fmla="*/ 126958 w 2"/>
                  <a:gd name="T11" fmla="*/ 76488 h 2"/>
                  <a:gd name="T12" fmla="*/ 126958 w 2"/>
                  <a:gd name="T13" fmla="*/ 126958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1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896" name="Freeform 410"/>
              <p:cNvSpPr/>
              <p:nvPr/>
            </p:nvSpPr>
            <p:spPr bwMode="auto">
              <a:xfrm>
                <a:off x="3060" y="1869"/>
                <a:ext cx="2" cy="0"/>
              </a:xfrm>
              <a:custGeom>
                <a:avLst/>
                <a:gdLst>
                  <a:gd name="T0" fmla="*/ 4096 w 1"/>
                  <a:gd name="T1" fmla="*/ 4096 w 1"/>
                  <a:gd name="T2" fmla="*/ 0 w 1"/>
                  <a:gd name="T3" fmla="*/ 4096 w 1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897" name="Freeform 411"/>
              <p:cNvSpPr/>
              <p:nvPr/>
            </p:nvSpPr>
            <p:spPr bwMode="auto">
              <a:xfrm>
                <a:off x="3057" y="1867"/>
                <a:ext cx="5" cy="4"/>
              </a:xfrm>
              <a:custGeom>
                <a:avLst/>
                <a:gdLst>
                  <a:gd name="T0" fmla="*/ 126958 w 2"/>
                  <a:gd name="T1" fmla="*/ 8192 h 2"/>
                  <a:gd name="T2" fmla="*/ 0 w 2"/>
                  <a:gd name="T3" fmla="*/ 4096 h 2"/>
                  <a:gd name="T4" fmla="*/ 76488 w 2"/>
                  <a:gd name="T5" fmla="*/ 0 h 2"/>
                  <a:gd name="T6" fmla="*/ 76488 w 2"/>
                  <a:gd name="T7" fmla="*/ 0 h 2"/>
                  <a:gd name="T8" fmla="*/ 126958 w 2"/>
                  <a:gd name="T9" fmla="*/ 0 h 2"/>
                  <a:gd name="T10" fmla="*/ 126958 w 2"/>
                  <a:gd name="T11" fmla="*/ 8192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898" name="Rectangle 412"/>
              <p:cNvSpPr>
                <a:spLocks noChangeArrowheads="1"/>
              </p:cNvSpPr>
              <p:nvPr/>
            </p:nvSpPr>
            <p:spPr bwMode="auto">
              <a:xfrm>
                <a:off x="3064" y="1871"/>
                <a:ext cx="1" cy="1"/>
              </a:xfrm>
              <a:prstGeom prst="rect">
                <a:avLst/>
              </a:pr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/>
              </a:p>
            </p:txBody>
          </p:sp>
          <p:sp>
            <p:nvSpPr>
              <p:cNvPr id="13899" name="Freeform 413"/>
              <p:cNvSpPr/>
              <p:nvPr/>
            </p:nvSpPr>
            <p:spPr bwMode="auto">
              <a:xfrm>
                <a:off x="3062" y="1871"/>
                <a:ext cx="2" cy="3"/>
              </a:xfrm>
              <a:custGeom>
                <a:avLst/>
                <a:gdLst>
                  <a:gd name="T0" fmla="*/ 4096 w 1"/>
                  <a:gd name="T1" fmla="*/ 531441 h 1"/>
                  <a:gd name="T2" fmla="*/ 0 w 1"/>
                  <a:gd name="T3" fmla="*/ 531441 h 1"/>
                  <a:gd name="T4" fmla="*/ 0 w 1"/>
                  <a:gd name="T5" fmla="*/ 0 h 1"/>
                  <a:gd name="T6" fmla="*/ 4096 w 1"/>
                  <a:gd name="T7" fmla="*/ 0 h 1"/>
                  <a:gd name="T8" fmla="*/ 4096 w 1"/>
                  <a:gd name="T9" fmla="*/ 0 h 1"/>
                  <a:gd name="T10" fmla="*/ 4096 w 1"/>
                  <a:gd name="T11" fmla="*/ 0 h 1"/>
                  <a:gd name="T12" fmla="*/ 4096 w 1"/>
                  <a:gd name="T13" fmla="*/ 0 h 1"/>
                  <a:gd name="T14" fmla="*/ 4096 w 1"/>
                  <a:gd name="T15" fmla="*/ 0 h 1"/>
                  <a:gd name="T16" fmla="*/ 4096 w 1"/>
                  <a:gd name="T17" fmla="*/ 0 h 1"/>
                  <a:gd name="T18" fmla="*/ 4096 w 1"/>
                  <a:gd name="T19" fmla="*/ 0 h 1"/>
                  <a:gd name="T20" fmla="*/ 4096 w 1"/>
                  <a:gd name="T21" fmla="*/ 531441 h 1"/>
                  <a:gd name="T22" fmla="*/ 4096 w 1"/>
                  <a:gd name="T23" fmla="*/ 531441 h 1"/>
                  <a:gd name="T24" fmla="*/ 4096 w 1"/>
                  <a:gd name="T25" fmla="*/ 531441 h 1"/>
                  <a:gd name="T26" fmla="*/ 4096 w 1"/>
                  <a:gd name="T27" fmla="*/ 531441 h 1"/>
                  <a:gd name="T28" fmla="*/ 4096 w 1"/>
                  <a:gd name="T29" fmla="*/ 531441 h 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0" name="Freeform 414"/>
              <p:cNvSpPr/>
              <p:nvPr/>
            </p:nvSpPr>
            <p:spPr bwMode="auto">
              <a:xfrm>
                <a:off x="2793" y="1477"/>
                <a:ext cx="68" cy="69"/>
              </a:xfrm>
              <a:custGeom>
                <a:avLst/>
                <a:gdLst>
                  <a:gd name="T0" fmla="*/ 471538 w 29"/>
                  <a:gd name="T1" fmla="*/ 0 h 29"/>
                  <a:gd name="T2" fmla="*/ 613008 w 29"/>
                  <a:gd name="T3" fmla="*/ 97614 h 29"/>
                  <a:gd name="T4" fmla="*/ 694446 w 29"/>
                  <a:gd name="T5" fmla="*/ 168384 h 29"/>
                  <a:gd name="T6" fmla="*/ 718336 w 29"/>
                  <a:gd name="T7" fmla="*/ 232254 h 29"/>
                  <a:gd name="T8" fmla="*/ 799804 w 29"/>
                  <a:gd name="T9" fmla="*/ 232254 h 29"/>
                  <a:gd name="T10" fmla="*/ 777524 w 29"/>
                  <a:gd name="T11" fmla="*/ 400638 h 29"/>
                  <a:gd name="T12" fmla="*/ 657872 w 29"/>
                  <a:gd name="T13" fmla="*/ 552604 h 29"/>
                  <a:gd name="T14" fmla="*/ 743941 w 29"/>
                  <a:gd name="T15" fmla="*/ 662567 h 29"/>
                  <a:gd name="T16" fmla="*/ 718336 w 29"/>
                  <a:gd name="T17" fmla="*/ 691080 h 29"/>
                  <a:gd name="T18" fmla="*/ 743941 w 29"/>
                  <a:gd name="T19" fmla="*/ 761850 h 29"/>
                  <a:gd name="T20" fmla="*/ 777524 w 29"/>
                  <a:gd name="T21" fmla="*/ 791713 h 29"/>
                  <a:gd name="T22" fmla="*/ 694446 w 29"/>
                  <a:gd name="T23" fmla="*/ 884466 h 29"/>
                  <a:gd name="T24" fmla="*/ 613008 w 29"/>
                  <a:gd name="T25" fmla="*/ 860649 h 29"/>
                  <a:gd name="T26" fmla="*/ 492667 w 29"/>
                  <a:gd name="T27" fmla="*/ 953242 h 29"/>
                  <a:gd name="T28" fmla="*/ 331591 w 29"/>
                  <a:gd name="T29" fmla="*/ 923282 h 29"/>
                  <a:gd name="T30" fmla="*/ 190965 w 29"/>
                  <a:gd name="T31" fmla="*/ 860649 h 29"/>
                  <a:gd name="T32" fmla="*/ 227549 w 29"/>
                  <a:gd name="T33" fmla="*/ 623367 h 29"/>
                  <a:gd name="T34" fmla="*/ 246683 w 29"/>
                  <a:gd name="T35" fmla="*/ 662567 h 29"/>
                  <a:gd name="T36" fmla="*/ 227549 w 29"/>
                  <a:gd name="T37" fmla="*/ 552604 h 29"/>
                  <a:gd name="T38" fmla="*/ 165242 w 29"/>
                  <a:gd name="T39" fmla="*/ 459354 h 29"/>
                  <a:gd name="T40" fmla="*/ 190965 w 29"/>
                  <a:gd name="T41" fmla="*/ 430382 h 29"/>
                  <a:gd name="T42" fmla="*/ 0 w 29"/>
                  <a:gd name="T43" fmla="*/ 361722 h 29"/>
                  <a:gd name="T44" fmla="*/ 25720 w 29"/>
                  <a:gd name="T45" fmla="*/ 361722 h 29"/>
                  <a:gd name="T46" fmla="*/ 25720 w 29"/>
                  <a:gd name="T47" fmla="*/ 332749 h 29"/>
                  <a:gd name="T48" fmla="*/ 0 w 29"/>
                  <a:gd name="T49" fmla="*/ 332749 h 29"/>
                  <a:gd name="T50" fmla="*/ 190965 w 29"/>
                  <a:gd name="T51" fmla="*/ 290454 h 29"/>
                  <a:gd name="T52" fmla="*/ 165242 w 29"/>
                  <a:gd name="T53" fmla="*/ 168384 h 29"/>
                  <a:gd name="T54" fmla="*/ 227549 w 29"/>
                  <a:gd name="T55" fmla="*/ 193062 h 29"/>
                  <a:gd name="T56" fmla="*/ 331591 w 29"/>
                  <a:gd name="T57" fmla="*/ 193062 h 29"/>
                  <a:gd name="T58" fmla="*/ 306349 w 29"/>
                  <a:gd name="T59" fmla="*/ 193062 h 29"/>
                  <a:gd name="T60" fmla="*/ 387464 w 29"/>
                  <a:gd name="T61" fmla="*/ 97614 h 29"/>
                  <a:gd name="T62" fmla="*/ 471538 w 29"/>
                  <a:gd name="T63" fmla="*/ 0 h 2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9" h="29">
                    <a:moveTo>
                      <a:pt x="17" y="0"/>
                    </a:moveTo>
                    <a:cubicBezTo>
                      <a:pt x="17" y="1"/>
                      <a:pt x="21" y="4"/>
                      <a:pt x="22" y="3"/>
                    </a:cubicBezTo>
                    <a:cubicBezTo>
                      <a:pt x="21" y="6"/>
                      <a:pt x="24" y="5"/>
                      <a:pt x="25" y="5"/>
                    </a:cubicBezTo>
                    <a:cubicBezTo>
                      <a:pt x="25" y="6"/>
                      <a:pt x="26" y="6"/>
                      <a:pt x="26" y="7"/>
                    </a:cubicBezTo>
                    <a:cubicBezTo>
                      <a:pt x="27" y="7"/>
                      <a:pt x="28" y="7"/>
                      <a:pt x="29" y="7"/>
                    </a:cubicBezTo>
                    <a:cubicBezTo>
                      <a:pt x="29" y="8"/>
                      <a:pt x="28" y="12"/>
                      <a:pt x="28" y="12"/>
                    </a:cubicBezTo>
                    <a:cubicBezTo>
                      <a:pt x="26" y="13"/>
                      <a:pt x="24" y="15"/>
                      <a:pt x="24" y="17"/>
                    </a:cubicBezTo>
                    <a:cubicBezTo>
                      <a:pt x="26" y="14"/>
                      <a:pt x="26" y="19"/>
                      <a:pt x="27" y="20"/>
                    </a:cubicBezTo>
                    <a:cubicBezTo>
                      <a:pt x="27" y="20"/>
                      <a:pt x="26" y="21"/>
                      <a:pt x="26" y="21"/>
                    </a:cubicBezTo>
                    <a:cubicBezTo>
                      <a:pt x="27" y="22"/>
                      <a:pt x="27" y="23"/>
                      <a:pt x="27" y="23"/>
                    </a:cubicBezTo>
                    <a:cubicBezTo>
                      <a:pt x="27" y="24"/>
                      <a:pt x="28" y="23"/>
                      <a:pt x="28" y="24"/>
                    </a:cubicBezTo>
                    <a:cubicBezTo>
                      <a:pt x="28" y="25"/>
                      <a:pt x="26" y="26"/>
                      <a:pt x="25" y="27"/>
                    </a:cubicBezTo>
                    <a:cubicBezTo>
                      <a:pt x="24" y="27"/>
                      <a:pt x="23" y="26"/>
                      <a:pt x="22" y="26"/>
                    </a:cubicBezTo>
                    <a:cubicBezTo>
                      <a:pt x="20" y="25"/>
                      <a:pt x="17" y="26"/>
                      <a:pt x="18" y="29"/>
                    </a:cubicBezTo>
                    <a:cubicBezTo>
                      <a:pt x="16" y="29"/>
                      <a:pt x="14" y="28"/>
                      <a:pt x="12" y="28"/>
                    </a:cubicBezTo>
                    <a:cubicBezTo>
                      <a:pt x="10" y="29"/>
                      <a:pt x="8" y="27"/>
                      <a:pt x="7" y="26"/>
                    </a:cubicBezTo>
                    <a:cubicBezTo>
                      <a:pt x="9" y="25"/>
                      <a:pt x="8" y="21"/>
                      <a:pt x="8" y="19"/>
                    </a:cubicBezTo>
                    <a:cubicBezTo>
                      <a:pt x="9" y="19"/>
                      <a:pt x="9" y="20"/>
                      <a:pt x="9" y="20"/>
                    </a:cubicBezTo>
                    <a:cubicBezTo>
                      <a:pt x="8" y="19"/>
                      <a:pt x="9" y="18"/>
                      <a:pt x="8" y="17"/>
                    </a:cubicBezTo>
                    <a:cubicBezTo>
                      <a:pt x="7" y="15"/>
                      <a:pt x="6" y="16"/>
                      <a:pt x="6" y="14"/>
                    </a:cubicBezTo>
                    <a:cubicBezTo>
                      <a:pt x="6" y="14"/>
                      <a:pt x="6" y="14"/>
                      <a:pt x="7" y="13"/>
                    </a:cubicBezTo>
                    <a:cubicBezTo>
                      <a:pt x="6" y="14"/>
                      <a:pt x="0" y="11"/>
                      <a:pt x="0" y="11"/>
                    </a:cubicBezTo>
                    <a:cubicBezTo>
                      <a:pt x="0" y="11"/>
                      <a:pt x="0" y="11"/>
                      <a:pt x="1" y="11"/>
                    </a:cubicBezTo>
                    <a:cubicBezTo>
                      <a:pt x="1" y="10"/>
                      <a:pt x="0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7"/>
                      <a:pt x="6" y="9"/>
                      <a:pt x="7" y="9"/>
                    </a:cubicBezTo>
                    <a:cubicBezTo>
                      <a:pt x="7" y="7"/>
                      <a:pt x="7" y="6"/>
                      <a:pt x="6" y="5"/>
                    </a:cubicBezTo>
                    <a:cubicBezTo>
                      <a:pt x="8" y="5"/>
                      <a:pt x="8" y="6"/>
                      <a:pt x="8" y="6"/>
                    </a:cubicBezTo>
                    <a:cubicBezTo>
                      <a:pt x="9" y="6"/>
                      <a:pt x="11" y="6"/>
                      <a:pt x="12" y="6"/>
                    </a:cubicBezTo>
                    <a:cubicBezTo>
                      <a:pt x="12" y="6"/>
                      <a:pt x="11" y="6"/>
                      <a:pt x="11" y="6"/>
                    </a:cubicBezTo>
                    <a:cubicBezTo>
                      <a:pt x="11" y="4"/>
                      <a:pt x="14" y="4"/>
                      <a:pt x="14" y="3"/>
                    </a:cubicBezTo>
                    <a:cubicBezTo>
                      <a:pt x="16" y="1"/>
                      <a:pt x="14" y="1"/>
                      <a:pt x="17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1" name="Freeform 415"/>
              <p:cNvSpPr>
                <a:spLocks noEditPoints="1"/>
              </p:cNvSpPr>
              <p:nvPr/>
            </p:nvSpPr>
            <p:spPr bwMode="auto">
              <a:xfrm>
                <a:off x="2790" y="1475"/>
                <a:ext cx="73" cy="73"/>
              </a:xfrm>
              <a:custGeom>
                <a:avLst/>
                <a:gdLst>
                  <a:gd name="T0" fmla="*/ 383116 w 31"/>
                  <a:gd name="T1" fmla="*/ 874587 h 31"/>
                  <a:gd name="T2" fmla="*/ 173921 w 31"/>
                  <a:gd name="T3" fmla="*/ 792241 h 31"/>
                  <a:gd name="T4" fmla="*/ 256108 w 31"/>
                  <a:gd name="T5" fmla="*/ 581454 h 31"/>
                  <a:gd name="T6" fmla="*/ 256108 w 31"/>
                  <a:gd name="T7" fmla="*/ 519181 h 31"/>
                  <a:gd name="T8" fmla="*/ 0 w 31"/>
                  <a:gd name="T9" fmla="*/ 345325 h 31"/>
                  <a:gd name="T10" fmla="*/ 0 w 31"/>
                  <a:gd name="T11" fmla="*/ 320411 h 31"/>
                  <a:gd name="T12" fmla="*/ 0 w 31"/>
                  <a:gd name="T13" fmla="*/ 320411 h 31"/>
                  <a:gd name="T14" fmla="*/ 236494 w 31"/>
                  <a:gd name="T15" fmla="*/ 256108 h 31"/>
                  <a:gd name="T16" fmla="*/ 198826 w 31"/>
                  <a:gd name="T17" fmla="*/ 146645 h 31"/>
                  <a:gd name="T18" fmla="*/ 256108 w 31"/>
                  <a:gd name="T19" fmla="*/ 198826 h 31"/>
                  <a:gd name="T20" fmla="*/ 429169 w 31"/>
                  <a:gd name="T21" fmla="*/ 108758 h 31"/>
                  <a:gd name="T22" fmla="*/ 556905 w 31"/>
                  <a:gd name="T23" fmla="*/ 0 h 31"/>
                  <a:gd name="T24" fmla="*/ 639263 w 31"/>
                  <a:gd name="T25" fmla="*/ 108758 h 31"/>
                  <a:gd name="T26" fmla="*/ 703562 w 31"/>
                  <a:gd name="T27" fmla="*/ 146645 h 31"/>
                  <a:gd name="T28" fmla="*/ 754516 w 31"/>
                  <a:gd name="T29" fmla="*/ 173921 h 31"/>
                  <a:gd name="T30" fmla="*/ 902176 w 31"/>
                  <a:gd name="T31" fmla="*/ 236494 h 31"/>
                  <a:gd name="T32" fmla="*/ 839604 w 31"/>
                  <a:gd name="T33" fmla="*/ 409556 h 31"/>
                  <a:gd name="T34" fmla="*/ 813185 w 31"/>
                  <a:gd name="T35" fmla="*/ 581454 h 31"/>
                  <a:gd name="T36" fmla="*/ 813185 w 31"/>
                  <a:gd name="T37" fmla="*/ 639263 h 31"/>
                  <a:gd name="T38" fmla="*/ 813185 w 31"/>
                  <a:gd name="T39" fmla="*/ 703562 h 31"/>
                  <a:gd name="T40" fmla="*/ 792241 w 31"/>
                  <a:gd name="T41" fmla="*/ 813185 h 31"/>
                  <a:gd name="T42" fmla="*/ 581454 w 31"/>
                  <a:gd name="T43" fmla="*/ 813185 h 31"/>
                  <a:gd name="T44" fmla="*/ 556905 w 31"/>
                  <a:gd name="T45" fmla="*/ 902176 h 31"/>
                  <a:gd name="T46" fmla="*/ 519181 w 31"/>
                  <a:gd name="T47" fmla="*/ 874587 h 31"/>
                  <a:gd name="T48" fmla="*/ 727944 w 31"/>
                  <a:gd name="T49" fmla="*/ 792241 h 31"/>
                  <a:gd name="T50" fmla="*/ 792241 w 31"/>
                  <a:gd name="T51" fmla="*/ 792241 h 31"/>
                  <a:gd name="T52" fmla="*/ 813185 w 31"/>
                  <a:gd name="T53" fmla="*/ 727944 h 31"/>
                  <a:gd name="T54" fmla="*/ 792241 w 31"/>
                  <a:gd name="T55" fmla="*/ 639263 h 31"/>
                  <a:gd name="T56" fmla="*/ 792241 w 31"/>
                  <a:gd name="T57" fmla="*/ 581454 h 31"/>
                  <a:gd name="T58" fmla="*/ 727944 w 31"/>
                  <a:gd name="T59" fmla="*/ 581454 h 31"/>
                  <a:gd name="T60" fmla="*/ 839604 w 31"/>
                  <a:gd name="T61" fmla="*/ 298773 h 31"/>
                  <a:gd name="T62" fmla="*/ 754516 w 31"/>
                  <a:gd name="T63" fmla="*/ 198826 h 31"/>
                  <a:gd name="T64" fmla="*/ 665682 w 31"/>
                  <a:gd name="T65" fmla="*/ 173921 h 31"/>
                  <a:gd name="T66" fmla="*/ 519181 w 31"/>
                  <a:gd name="T67" fmla="*/ 62274 h 31"/>
                  <a:gd name="T68" fmla="*/ 409556 w 31"/>
                  <a:gd name="T69" fmla="*/ 173921 h 31"/>
                  <a:gd name="T70" fmla="*/ 383116 w 31"/>
                  <a:gd name="T71" fmla="*/ 198826 h 31"/>
                  <a:gd name="T72" fmla="*/ 236494 w 31"/>
                  <a:gd name="T73" fmla="*/ 198826 h 31"/>
                  <a:gd name="T74" fmla="*/ 236494 w 31"/>
                  <a:gd name="T75" fmla="*/ 298773 h 31"/>
                  <a:gd name="T76" fmla="*/ 62274 w 31"/>
                  <a:gd name="T77" fmla="*/ 320411 h 31"/>
                  <a:gd name="T78" fmla="*/ 62274 w 31"/>
                  <a:gd name="T79" fmla="*/ 345325 h 31"/>
                  <a:gd name="T80" fmla="*/ 198826 w 31"/>
                  <a:gd name="T81" fmla="*/ 429169 h 31"/>
                  <a:gd name="T82" fmla="*/ 298773 w 31"/>
                  <a:gd name="T83" fmla="*/ 556905 h 31"/>
                  <a:gd name="T84" fmla="*/ 298773 w 31"/>
                  <a:gd name="T85" fmla="*/ 603093 h 31"/>
                  <a:gd name="T86" fmla="*/ 383116 w 31"/>
                  <a:gd name="T87" fmla="*/ 839604 h 3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31" h="31">
                    <a:moveTo>
                      <a:pt x="19" y="31"/>
                    </a:moveTo>
                    <a:cubicBezTo>
                      <a:pt x="18" y="31"/>
                      <a:pt x="17" y="31"/>
                      <a:pt x="16" y="30"/>
                    </a:cubicBezTo>
                    <a:cubicBezTo>
                      <a:pt x="15" y="30"/>
                      <a:pt x="14" y="30"/>
                      <a:pt x="13" y="30"/>
                    </a:cubicBezTo>
                    <a:cubicBezTo>
                      <a:pt x="13" y="30"/>
                      <a:pt x="13" y="30"/>
                      <a:pt x="12" y="30"/>
                    </a:cubicBezTo>
                    <a:cubicBezTo>
                      <a:pt x="10" y="30"/>
                      <a:pt x="9" y="29"/>
                      <a:pt x="8" y="28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9" y="26"/>
                      <a:pt x="9" y="24"/>
                      <a:pt x="9" y="22"/>
                    </a:cubicBezTo>
                    <a:cubicBezTo>
                      <a:pt x="9" y="21"/>
                      <a:pt x="9" y="21"/>
                      <a:pt x="9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9"/>
                      <a:pt x="9" y="18"/>
                      <a:pt x="9" y="18"/>
                    </a:cubicBezTo>
                    <a:cubicBezTo>
                      <a:pt x="8" y="18"/>
                      <a:pt x="8" y="17"/>
                      <a:pt x="8" y="17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4" y="14"/>
                      <a:pt x="1" y="13"/>
                      <a:pt x="0" y="12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9"/>
                      <a:pt x="1" y="9"/>
                      <a:pt x="3" y="9"/>
                    </a:cubicBezTo>
                    <a:cubicBezTo>
                      <a:pt x="4" y="9"/>
                      <a:pt x="5" y="9"/>
                      <a:pt x="6" y="9"/>
                    </a:cubicBezTo>
                    <a:cubicBezTo>
                      <a:pt x="7" y="9"/>
                      <a:pt x="7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7" y="8"/>
                      <a:pt x="7" y="7"/>
                      <a:pt x="7" y="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9" y="5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7"/>
                    </a:cubicBezTo>
                    <a:cubicBezTo>
                      <a:pt x="10" y="7"/>
                      <a:pt x="11" y="7"/>
                      <a:pt x="12" y="6"/>
                    </a:cubicBezTo>
                    <a:cubicBezTo>
                      <a:pt x="12" y="5"/>
                      <a:pt x="13" y="5"/>
                      <a:pt x="14" y="5"/>
                    </a:cubicBezTo>
                    <a:cubicBezTo>
                      <a:pt x="14" y="4"/>
                      <a:pt x="15" y="4"/>
                      <a:pt x="15" y="4"/>
                    </a:cubicBezTo>
                    <a:cubicBezTo>
                      <a:pt x="15" y="3"/>
                      <a:pt x="15" y="3"/>
                      <a:pt x="15" y="2"/>
                    </a:cubicBezTo>
                    <a:cubicBezTo>
                      <a:pt x="16" y="1"/>
                      <a:pt x="16" y="1"/>
                      <a:pt x="18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9" y="1"/>
                      <a:pt x="19" y="2"/>
                    </a:cubicBezTo>
                    <a:cubicBezTo>
                      <a:pt x="20" y="3"/>
                      <a:pt x="22" y="4"/>
                      <a:pt x="22" y="4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4" y="5"/>
                      <a:pt x="24" y="5"/>
                      <a:pt x="25" y="6"/>
                    </a:cubicBezTo>
                    <a:cubicBezTo>
                      <a:pt x="25" y="6"/>
                      <a:pt x="26" y="6"/>
                      <a:pt x="26" y="6"/>
                    </a:cubicBezTo>
                    <a:cubicBezTo>
                      <a:pt x="27" y="6"/>
                      <a:pt x="27" y="6"/>
                      <a:pt x="27" y="7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0" y="9"/>
                      <a:pt x="30" y="9"/>
                      <a:pt x="30" y="10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8" y="14"/>
                      <a:pt x="27" y="15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8" y="17"/>
                      <a:pt x="28" y="18"/>
                      <a:pt x="28" y="20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8" y="21"/>
                      <a:pt x="28" y="21"/>
                      <a:pt x="28" y="22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9" y="24"/>
                      <a:pt x="29" y="24"/>
                      <a:pt x="29" y="25"/>
                    </a:cubicBezTo>
                    <a:cubicBezTo>
                      <a:pt x="30" y="26"/>
                      <a:pt x="28" y="27"/>
                      <a:pt x="27" y="28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6" y="29"/>
                      <a:pt x="25" y="28"/>
                      <a:pt x="24" y="28"/>
                    </a:cubicBezTo>
                    <a:cubicBezTo>
                      <a:pt x="24" y="28"/>
                      <a:pt x="23" y="28"/>
                      <a:pt x="23" y="28"/>
                    </a:cubicBezTo>
                    <a:cubicBezTo>
                      <a:pt x="22" y="27"/>
                      <a:pt x="20" y="27"/>
                      <a:pt x="20" y="28"/>
                    </a:cubicBezTo>
                    <a:cubicBezTo>
                      <a:pt x="19" y="29"/>
                      <a:pt x="19" y="29"/>
                      <a:pt x="19" y="30"/>
                    </a:cubicBezTo>
                    <a:cubicBezTo>
                      <a:pt x="20" y="31"/>
                      <a:pt x="20" y="31"/>
                      <a:pt x="20" y="31"/>
                    </a:cubicBezTo>
                    <a:lnTo>
                      <a:pt x="19" y="31"/>
                    </a:lnTo>
                    <a:close/>
                    <a:moveTo>
                      <a:pt x="14" y="29"/>
                    </a:moveTo>
                    <a:cubicBezTo>
                      <a:pt x="15" y="29"/>
                      <a:pt x="15" y="29"/>
                      <a:pt x="16" y="29"/>
                    </a:cubicBezTo>
                    <a:cubicBezTo>
                      <a:pt x="17" y="29"/>
                      <a:pt x="18" y="30"/>
                      <a:pt x="18" y="30"/>
                    </a:cubicBezTo>
                    <a:cubicBezTo>
                      <a:pt x="18" y="29"/>
                      <a:pt x="18" y="28"/>
                      <a:pt x="19" y="27"/>
                    </a:cubicBezTo>
                    <a:cubicBezTo>
                      <a:pt x="20" y="26"/>
                      <a:pt x="21" y="26"/>
                      <a:pt x="23" y="26"/>
                    </a:cubicBezTo>
                    <a:cubicBezTo>
                      <a:pt x="24" y="27"/>
                      <a:pt x="24" y="27"/>
                      <a:pt x="25" y="27"/>
                    </a:cubicBezTo>
                    <a:cubicBezTo>
                      <a:pt x="25" y="27"/>
                      <a:pt x="25" y="27"/>
                      <a:pt x="26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7"/>
                      <a:pt x="26" y="27"/>
                      <a:pt x="27" y="27"/>
                    </a:cubicBezTo>
                    <a:cubicBezTo>
                      <a:pt x="27" y="26"/>
                      <a:pt x="28" y="26"/>
                      <a:pt x="28" y="25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7" y="25"/>
                      <a:pt x="27" y="25"/>
                      <a:pt x="27" y="24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7" y="23"/>
                      <a:pt x="27" y="23"/>
                      <a:pt x="27" y="22"/>
                    </a:cubicBezTo>
                    <a:cubicBezTo>
                      <a:pt x="27" y="22"/>
                      <a:pt x="27" y="22"/>
                      <a:pt x="27" y="21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7" y="21"/>
                      <a:pt x="27" y="20"/>
                      <a:pt x="27" y="20"/>
                    </a:cubicBezTo>
                    <a:cubicBezTo>
                      <a:pt x="27" y="19"/>
                      <a:pt x="27" y="18"/>
                      <a:pt x="26" y="18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4" y="16"/>
                      <a:pt x="26" y="13"/>
                      <a:pt x="28" y="13"/>
                    </a:cubicBezTo>
                    <a:cubicBezTo>
                      <a:pt x="28" y="12"/>
                      <a:pt x="29" y="11"/>
                      <a:pt x="29" y="10"/>
                    </a:cubicBezTo>
                    <a:cubicBezTo>
                      <a:pt x="29" y="10"/>
                      <a:pt x="29" y="9"/>
                      <a:pt x="29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7" y="8"/>
                      <a:pt x="26" y="8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7"/>
                      <a:pt x="23" y="6"/>
                      <a:pt x="23" y="6"/>
                    </a:cubicBezTo>
                    <a:cubicBezTo>
                      <a:pt x="22" y="6"/>
                      <a:pt x="22" y="5"/>
                      <a:pt x="22" y="5"/>
                    </a:cubicBezTo>
                    <a:cubicBezTo>
                      <a:pt x="21" y="5"/>
                      <a:pt x="19" y="4"/>
                      <a:pt x="18" y="3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3"/>
                      <a:pt x="17" y="3"/>
                      <a:pt x="16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4" y="6"/>
                      <a:pt x="13" y="6"/>
                      <a:pt x="13" y="6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2" y="7"/>
                      <a:pt x="12" y="8"/>
                    </a:cubicBezTo>
                    <a:cubicBezTo>
                      <a:pt x="11" y="8"/>
                      <a:pt x="10" y="8"/>
                      <a:pt x="9" y="8"/>
                    </a:cubicBezTo>
                    <a:cubicBezTo>
                      <a:pt x="9" y="8"/>
                      <a:pt x="8" y="7"/>
                      <a:pt x="8" y="7"/>
                    </a:cubicBezTo>
                    <a:cubicBezTo>
                      <a:pt x="8" y="7"/>
                      <a:pt x="9" y="8"/>
                      <a:pt x="9" y="9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0"/>
                      <a:pt x="7" y="10"/>
                      <a:pt x="6" y="10"/>
                    </a:cubicBezTo>
                    <a:cubicBezTo>
                      <a:pt x="5" y="10"/>
                      <a:pt x="3" y="10"/>
                      <a:pt x="3" y="1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4" y="13"/>
                      <a:pt x="7" y="14"/>
                      <a:pt x="8" y="14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9" y="16"/>
                      <a:pt x="9" y="17"/>
                      <a:pt x="10" y="17"/>
                    </a:cubicBezTo>
                    <a:cubicBezTo>
                      <a:pt x="10" y="18"/>
                      <a:pt x="10" y="18"/>
                      <a:pt x="10" y="19"/>
                    </a:cubicBezTo>
                    <a:cubicBezTo>
                      <a:pt x="10" y="19"/>
                      <a:pt x="10" y="20"/>
                      <a:pt x="10" y="20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4"/>
                      <a:pt x="10" y="26"/>
                      <a:pt x="9" y="27"/>
                    </a:cubicBezTo>
                    <a:cubicBezTo>
                      <a:pt x="10" y="28"/>
                      <a:pt x="11" y="29"/>
                      <a:pt x="13" y="29"/>
                    </a:cubicBezTo>
                    <a:cubicBezTo>
                      <a:pt x="13" y="29"/>
                      <a:pt x="13" y="29"/>
                      <a:pt x="14" y="2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2" name="Freeform 416"/>
              <p:cNvSpPr/>
              <p:nvPr/>
            </p:nvSpPr>
            <p:spPr bwMode="auto">
              <a:xfrm>
                <a:off x="2863" y="1541"/>
                <a:ext cx="5" cy="12"/>
              </a:xfrm>
              <a:custGeom>
                <a:avLst/>
                <a:gdLst>
                  <a:gd name="T0" fmla="*/ 126958 w 2"/>
                  <a:gd name="T1" fmla="*/ 0 h 5"/>
                  <a:gd name="T2" fmla="*/ 126958 w 2"/>
                  <a:gd name="T3" fmla="*/ 184798 h 5"/>
                  <a:gd name="T4" fmla="*/ 0 w 2"/>
                  <a:gd name="T5" fmla="*/ 76999 h 5"/>
                  <a:gd name="T6" fmla="*/ 126958 w 2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2" y="0"/>
                    </a:moveTo>
                    <a:cubicBezTo>
                      <a:pt x="2" y="2"/>
                      <a:pt x="2" y="3"/>
                      <a:pt x="2" y="5"/>
                    </a:cubicBezTo>
                    <a:cubicBezTo>
                      <a:pt x="1" y="5"/>
                      <a:pt x="0" y="3"/>
                      <a:pt x="0" y="2"/>
                    </a:cubicBezTo>
                    <a:cubicBezTo>
                      <a:pt x="1" y="1"/>
                      <a:pt x="2" y="2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3" name="Freeform 417"/>
              <p:cNvSpPr>
                <a:spLocks noEditPoints="1"/>
              </p:cNvSpPr>
              <p:nvPr/>
            </p:nvSpPr>
            <p:spPr bwMode="auto">
              <a:xfrm>
                <a:off x="2861" y="1534"/>
                <a:ext cx="10" cy="21"/>
              </a:xfrm>
              <a:custGeom>
                <a:avLst/>
                <a:gdLst>
                  <a:gd name="T0" fmla="*/ 191220 w 4"/>
                  <a:gd name="T1" fmla="*/ 233849 h 9"/>
                  <a:gd name="T2" fmla="*/ 191220 w 4"/>
                  <a:gd name="T3" fmla="*/ 233849 h 9"/>
                  <a:gd name="T4" fmla="*/ 76488 w 4"/>
                  <a:gd name="T5" fmla="*/ 133628 h 9"/>
                  <a:gd name="T6" fmla="*/ 126958 w 4"/>
                  <a:gd name="T7" fmla="*/ 100221 h 9"/>
                  <a:gd name="T8" fmla="*/ 191220 w 4"/>
                  <a:gd name="T9" fmla="*/ 75677 h 9"/>
                  <a:gd name="T10" fmla="*/ 191220 w 4"/>
                  <a:gd name="T11" fmla="*/ 0 h 9"/>
                  <a:gd name="T12" fmla="*/ 241220 w 4"/>
                  <a:gd name="T13" fmla="*/ 75677 h 9"/>
                  <a:gd name="T14" fmla="*/ 191220 w 4"/>
                  <a:gd name="T15" fmla="*/ 233849 h 9"/>
                  <a:gd name="T16" fmla="*/ 191220 w 4"/>
                  <a:gd name="T17" fmla="*/ 133628 h 9"/>
                  <a:gd name="T18" fmla="*/ 126958 w 4"/>
                  <a:gd name="T19" fmla="*/ 133628 h 9"/>
                  <a:gd name="T20" fmla="*/ 126958 w 4"/>
                  <a:gd name="T21" fmla="*/ 133628 h 9"/>
                  <a:gd name="T22" fmla="*/ 191220 w 4"/>
                  <a:gd name="T23" fmla="*/ 176580 h 9"/>
                  <a:gd name="T24" fmla="*/ 191220 w 4"/>
                  <a:gd name="T25" fmla="*/ 133628 h 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" h="9">
                    <a:moveTo>
                      <a:pt x="3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1" y="8"/>
                      <a:pt x="0" y="6"/>
                      <a:pt x="1" y="5"/>
                    </a:cubicBezTo>
                    <a:cubicBezTo>
                      <a:pt x="1" y="4"/>
                      <a:pt x="2" y="4"/>
                      <a:pt x="2" y="4"/>
                    </a:cubicBezTo>
                    <a:cubicBezTo>
                      <a:pt x="2" y="4"/>
                      <a:pt x="2" y="3"/>
                      <a:pt x="3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6"/>
                      <a:pt x="3" y="9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6"/>
                      <a:pt x="2" y="7"/>
                      <a:pt x="3" y="7"/>
                    </a:cubicBezTo>
                    <a:cubicBezTo>
                      <a:pt x="3" y="6"/>
                      <a:pt x="3" y="6"/>
                      <a:pt x="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4" name="Freeform 418"/>
              <p:cNvSpPr/>
              <p:nvPr/>
            </p:nvSpPr>
            <p:spPr bwMode="auto">
              <a:xfrm>
                <a:off x="3147" y="1572"/>
                <a:ext cx="80" cy="63"/>
              </a:xfrm>
              <a:custGeom>
                <a:avLst/>
                <a:gdLst>
                  <a:gd name="T0" fmla="*/ 426442 w 34"/>
                  <a:gd name="T1" fmla="*/ 100221 h 27"/>
                  <a:gd name="T2" fmla="*/ 514656 w 34"/>
                  <a:gd name="T3" fmla="*/ 133628 h 27"/>
                  <a:gd name="T4" fmla="*/ 599386 w 34"/>
                  <a:gd name="T5" fmla="*/ 133628 h 27"/>
                  <a:gd name="T6" fmla="*/ 599386 w 34"/>
                  <a:gd name="T7" fmla="*/ 100221 h 27"/>
                  <a:gd name="T8" fmla="*/ 722198 w 34"/>
                  <a:gd name="T9" fmla="*/ 24544 h 27"/>
                  <a:gd name="T10" fmla="*/ 749908 w 34"/>
                  <a:gd name="T11" fmla="*/ 158172 h 27"/>
                  <a:gd name="T12" fmla="*/ 977092 w 34"/>
                  <a:gd name="T13" fmla="*/ 100221 h 27"/>
                  <a:gd name="T14" fmla="*/ 957381 w 34"/>
                  <a:gd name="T15" fmla="*/ 133628 h 27"/>
                  <a:gd name="T16" fmla="*/ 957381 w 34"/>
                  <a:gd name="T17" fmla="*/ 133628 h 27"/>
                  <a:gd name="T18" fmla="*/ 722198 w 34"/>
                  <a:gd name="T19" fmla="*/ 210957 h 27"/>
                  <a:gd name="T20" fmla="*/ 749908 w 34"/>
                  <a:gd name="T21" fmla="*/ 258393 h 27"/>
                  <a:gd name="T22" fmla="*/ 722198 w 34"/>
                  <a:gd name="T23" fmla="*/ 311799 h 27"/>
                  <a:gd name="T24" fmla="*/ 634021 w 34"/>
                  <a:gd name="T25" fmla="*/ 369068 h 27"/>
                  <a:gd name="T26" fmla="*/ 661115 w 34"/>
                  <a:gd name="T27" fmla="*/ 412020 h 27"/>
                  <a:gd name="T28" fmla="*/ 599386 w 34"/>
                  <a:gd name="T29" fmla="*/ 444806 h 27"/>
                  <a:gd name="T30" fmla="*/ 599386 w 34"/>
                  <a:gd name="T31" fmla="*/ 527240 h 27"/>
                  <a:gd name="T32" fmla="*/ 488696 w 34"/>
                  <a:gd name="T33" fmla="*/ 545648 h 27"/>
                  <a:gd name="T34" fmla="*/ 406887 w 34"/>
                  <a:gd name="T35" fmla="*/ 602917 h 27"/>
                  <a:gd name="T36" fmla="*/ 318711 w 34"/>
                  <a:gd name="T37" fmla="*/ 678148 h 27"/>
                  <a:gd name="T38" fmla="*/ 26325 w 34"/>
                  <a:gd name="T39" fmla="*/ 645869 h 27"/>
                  <a:gd name="T40" fmla="*/ 83527 w 34"/>
                  <a:gd name="T41" fmla="*/ 570192 h 27"/>
                  <a:gd name="T42" fmla="*/ 26325 w 34"/>
                  <a:gd name="T43" fmla="*/ 527240 h 27"/>
                  <a:gd name="T44" fmla="*/ 26325 w 34"/>
                  <a:gd name="T45" fmla="*/ 444806 h 27"/>
                  <a:gd name="T46" fmla="*/ 26325 w 34"/>
                  <a:gd name="T47" fmla="*/ 392012 h 27"/>
                  <a:gd name="T48" fmla="*/ 0 w 34"/>
                  <a:gd name="T49" fmla="*/ 369068 h 27"/>
                  <a:gd name="T50" fmla="*/ 61941 w 34"/>
                  <a:gd name="T51" fmla="*/ 311799 h 27"/>
                  <a:gd name="T52" fmla="*/ 61941 w 34"/>
                  <a:gd name="T53" fmla="*/ 233849 h 27"/>
                  <a:gd name="T54" fmla="*/ 196534 w 34"/>
                  <a:gd name="T55" fmla="*/ 233849 h 27"/>
                  <a:gd name="T56" fmla="*/ 292231 w 34"/>
                  <a:gd name="T57" fmla="*/ 158172 h 27"/>
                  <a:gd name="T58" fmla="*/ 426442 w 34"/>
                  <a:gd name="T59" fmla="*/ 100221 h 2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4" h="27">
                    <a:moveTo>
                      <a:pt x="15" y="4"/>
                    </a:moveTo>
                    <a:cubicBezTo>
                      <a:pt x="16" y="4"/>
                      <a:pt x="17" y="4"/>
                      <a:pt x="18" y="5"/>
                    </a:cubicBezTo>
                    <a:cubicBezTo>
                      <a:pt x="19" y="6"/>
                      <a:pt x="20" y="4"/>
                      <a:pt x="21" y="5"/>
                    </a:cubicBezTo>
                    <a:cubicBezTo>
                      <a:pt x="21" y="5"/>
                      <a:pt x="21" y="4"/>
                      <a:pt x="21" y="4"/>
                    </a:cubicBezTo>
                    <a:cubicBezTo>
                      <a:pt x="24" y="5"/>
                      <a:pt x="23" y="0"/>
                      <a:pt x="25" y="1"/>
                    </a:cubicBezTo>
                    <a:cubicBezTo>
                      <a:pt x="27" y="2"/>
                      <a:pt x="25" y="5"/>
                      <a:pt x="26" y="6"/>
                    </a:cubicBezTo>
                    <a:cubicBezTo>
                      <a:pt x="30" y="5"/>
                      <a:pt x="31" y="4"/>
                      <a:pt x="34" y="4"/>
                    </a:cubicBezTo>
                    <a:cubicBezTo>
                      <a:pt x="34" y="5"/>
                      <a:pt x="33" y="5"/>
                      <a:pt x="33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2" y="6"/>
                      <a:pt x="26" y="6"/>
                      <a:pt x="25" y="8"/>
                    </a:cubicBezTo>
                    <a:cubicBezTo>
                      <a:pt x="25" y="9"/>
                      <a:pt x="26" y="9"/>
                      <a:pt x="26" y="10"/>
                    </a:cubicBezTo>
                    <a:cubicBezTo>
                      <a:pt x="26" y="11"/>
                      <a:pt x="26" y="12"/>
                      <a:pt x="25" y="12"/>
                    </a:cubicBezTo>
                    <a:cubicBezTo>
                      <a:pt x="24" y="14"/>
                      <a:pt x="25" y="14"/>
                      <a:pt x="22" y="14"/>
                    </a:cubicBezTo>
                    <a:cubicBezTo>
                      <a:pt x="23" y="14"/>
                      <a:pt x="23" y="15"/>
                      <a:pt x="23" y="16"/>
                    </a:cubicBezTo>
                    <a:cubicBezTo>
                      <a:pt x="23" y="16"/>
                      <a:pt x="21" y="16"/>
                      <a:pt x="21" y="17"/>
                    </a:cubicBezTo>
                    <a:cubicBezTo>
                      <a:pt x="21" y="17"/>
                      <a:pt x="21" y="20"/>
                      <a:pt x="21" y="20"/>
                    </a:cubicBezTo>
                    <a:cubicBezTo>
                      <a:pt x="20" y="21"/>
                      <a:pt x="17" y="20"/>
                      <a:pt x="17" y="21"/>
                    </a:cubicBezTo>
                    <a:cubicBezTo>
                      <a:pt x="16" y="22"/>
                      <a:pt x="14" y="22"/>
                      <a:pt x="14" y="23"/>
                    </a:cubicBezTo>
                    <a:cubicBezTo>
                      <a:pt x="14" y="26"/>
                      <a:pt x="13" y="26"/>
                      <a:pt x="11" y="26"/>
                    </a:cubicBezTo>
                    <a:cubicBezTo>
                      <a:pt x="8" y="27"/>
                      <a:pt x="5" y="26"/>
                      <a:pt x="1" y="25"/>
                    </a:cubicBezTo>
                    <a:cubicBezTo>
                      <a:pt x="2" y="25"/>
                      <a:pt x="4" y="23"/>
                      <a:pt x="3" y="22"/>
                    </a:cubicBezTo>
                    <a:cubicBezTo>
                      <a:pt x="3" y="21"/>
                      <a:pt x="1" y="21"/>
                      <a:pt x="1" y="20"/>
                    </a:cubicBezTo>
                    <a:cubicBezTo>
                      <a:pt x="1" y="19"/>
                      <a:pt x="1" y="18"/>
                      <a:pt x="1" y="17"/>
                    </a:cubicBezTo>
                    <a:cubicBezTo>
                      <a:pt x="0" y="16"/>
                      <a:pt x="2" y="16"/>
                      <a:pt x="1" y="15"/>
                    </a:cubicBezTo>
                    <a:cubicBezTo>
                      <a:pt x="0" y="15"/>
                      <a:pt x="0" y="14"/>
                      <a:pt x="0" y="14"/>
                    </a:cubicBezTo>
                    <a:cubicBezTo>
                      <a:pt x="0" y="13"/>
                      <a:pt x="2" y="12"/>
                      <a:pt x="2" y="12"/>
                    </a:cubicBezTo>
                    <a:cubicBezTo>
                      <a:pt x="2" y="11"/>
                      <a:pt x="2" y="10"/>
                      <a:pt x="2" y="9"/>
                    </a:cubicBezTo>
                    <a:cubicBezTo>
                      <a:pt x="2" y="11"/>
                      <a:pt x="8" y="11"/>
                      <a:pt x="7" y="9"/>
                    </a:cubicBezTo>
                    <a:cubicBezTo>
                      <a:pt x="9" y="8"/>
                      <a:pt x="10" y="8"/>
                      <a:pt x="10" y="6"/>
                    </a:cubicBezTo>
                    <a:cubicBezTo>
                      <a:pt x="11" y="4"/>
                      <a:pt x="13" y="4"/>
                      <a:pt x="15" y="4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5" name="Freeform 419"/>
              <p:cNvSpPr>
                <a:spLocks noEditPoints="1"/>
              </p:cNvSpPr>
              <p:nvPr/>
            </p:nvSpPr>
            <p:spPr bwMode="auto">
              <a:xfrm>
                <a:off x="3147" y="1574"/>
                <a:ext cx="83" cy="61"/>
              </a:xfrm>
              <a:custGeom>
                <a:avLst/>
                <a:gdLst>
                  <a:gd name="T0" fmla="*/ 0 w 35"/>
                  <a:gd name="T1" fmla="*/ 697627 h 26"/>
                  <a:gd name="T2" fmla="*/ 94938 w 35"/>
                  <a:gd name="T3" fmla="*/ 581037 h 26"/>
                  <a:gd name="T4" fmla="*/ 0 w 35"/>
                  <a:gd name="T5" fmla="*/ 476628 h 26"/>
                  <a:gd name="T6" fmla="*/ 0 w 35"/>
                  <a:gd name="T7" fmla="*/ 390128 h 26"/>
                  <a:gd name="T8" fmla="*/ 27900 w 35"/>
                  <a:gd name="T9" fmla="*/ 273538 h 26"/>
                  <a:gd name="T10" fmla="*/ 94938 w 35"/>
                  <a:gd name="T11" fmla="*/ 228478 h 26"/>
                  <a:gd name="T12" fmla="*/ 185171 w 35"/>
                  <a:gd name="T13" fmla="*/ 228478 h 26"/>
                  <a:gd name="T14" fmla="*/ 185171 w 35"/>
                  <a:gd name="T15" fmla="*/ 191791 h 26"/>
                  <a:gd name="T16" fmla="*/ 479166 w 35"/>
                  <a:gd name="T17" fmla="*/ 81747 h 26"/>
                  <a:gd name="T18" fmla="*/ 602246 w 35"/>
                  <a:gd name="T19" fmla="*/ 105558 h 26"/>
                  <a:gd name="T20" fmla="*/ 668914 w 35"/>
                  <a:gd name="T21" fmla="*/ 81747 h 26"/>
                  <a:gd name="T22" fmla="*/ 692225 w 35"/>
                  <a:gd name="T23" fmla="*/ 60726 h 26"/>
                  <a:gd name="T24" fmla="*/ 787032 w 35"/>
                  <a:gd name="T25" fmla="*/ 0 h 26"/>
                  <a:gd name="T26" fmla="*/ 1079228 w 35"/>
                  <a:gd name="T27" fmla="*/ 81747 h 26"/>
                  <a:gd name="T28" fmla="*/ 1079228 w 35"/>
                  <a:gd name="T29" fmla="*/ 105558 h 26"/>
                  <a:gd name="T30" fmla="*/ 1013065 w 35"/>
                  <a:gd name="T31" fmla="*/ 142473 h 26"/>
                  <a:gd name="T32" fmla="*/ 854084 w 35"/>
                  <a:gd name="T33" fmla="*/ 247655 h 26"/>
                  <a:gd name="T34" fmla="*/ 787032 w 35"/>
                  <a:gd name="T35" fmla="*/ 334264 h 26"/>
                  <a:gd name="T36" fmla="*/ 759270 w 35"/>
                  <a:gd name="T37" fmla="*/ 390128 h 26"/>
                  <a:gd name="T38" fmla="*/ 692225 w 35"/>
                  <a:gd name="T39" fmla="*/ 449971 h 26"/>
                  <a:gd name="T40" fmla="*/ 602246 w 35"/>
                  <a:gd name="T41" fmla="*/ 555173 h 26"/>
                  <a:gd name="T42" fmla="*/ 574109 w 35"/>
                  <a:gd name="T43" fmla="*/ 581037 h 26"/>
                  <a:gd name="T44" fmla="*/ 372080 w 35"/>
                  <a:gd name="T45" fmla="*/ 697627 h 26"/>
                  <a:gd name="T46" fmla="*/ 66163 w 35"/>
                  <a:gd name="T47" fmla="*/ 660968 h 26"/>
                  <a:gd name="T48" fmla="*/ 439120 w 35"/>
                  <a:gd name="T49" fmla="*/ 615879 h 26"/>
                  <a:gd name="T50" fmla="*/ 602246 w 35"/>
                  <a:gd name="T51" fmla="*/ 536045 h 26"/>
                  <a:gd name="T52" fmla="*/ 668914 w 35"/>
                  <a:gd name="T53" fmla="*/ 449971 h 26"/>
                  <a:gd name="T54" fmla="*/ 692225 w 35"/>
                  <a:gd name="T55" fmla="*/ 368224 h 26"/>
                  <a:gd name="T56" fmla="*/ 759270 w 35"/>
                  <a:gd name="T57" fmla="*/ 334264 h 26"/>
                  <a:gd name="T58" fmla="*/ 787032 w 35"/>
                  <a:gd name="T59" fmla="*/ 308381 h 26"/>
                  <a:gd name="T60" fmla="*/ 787032 w 35"/>
                  <a:gd name="T61" fmla="*/ 191791 h 26"/>
                  <a:gd name="T62" fmla="*/ 787032 w 35"/>
                  <a:gd name="T63" fmla="*/ 25883 h 26"/>
                  <a:gd name="T64" fmla="*/ 692225 w 35"/>
                  <a:gd name="T65" fmla="*/ 105558 h 26"/>
                  <a:gd name="T66" fmla="*/ 692225 w 35"/>
                  <a:gd name="T67" fmla="*/ 105558 h 26"/>
                  <a:gd name="T68" fmla="*/ 624290 w 35"/>
                  <a:gd name="T69" fmla="*/ 105558 h 26"/>
                  <a:gd name="T70" fmla="*/ 479166 w 35"/>
                  <a:gd name="T71" fmla="*/ 105558 h 26"/>
                  <a:gd name="T72" fmla="*/ 349276 w 35"/>
                  <a:gd name="T73" fmla="*/ 142473 h 26"/>
                  <a:gd name="T74" fmla="*/ 225139 w 35"/>
                  <a:gd name="T75" fmla="*/ 247655 h 26"/>
                  <a:gd name="T76" fmla="*/ 94938 w 35"/>
                  <a:gd name="T77" fmla="*/ 247655 h 26"/>
                  <a:gd name="T78" fmla="*/ 27900 w 35"/>
                  <a:gd name="T79" fmla="*/ 368224 h 26"/>
                  <a:gd name="T80" fmla="*/ 27900 w 35"/>
                  <a:gd name="T81" fmla="*/ 449971 h 26"/>
                  <a:gd name="T82" fmla="*/ 66163 w 35"/>
                  <a:gd name="T83" fmla="*/ 536045 h 2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35" h="26">
                    <a:moveTo>
                      <a:pt x="8" y="26"/>
                    </a:moveTo>
                    <a:cubicBezTo>
                      <a:pt x="6" y="26"/>
                      <a:pt x="3" y="26"/>
                      <a:pt x="1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2" y="23"/>
                      <a:pt x="3" y="21"/>
                      <a:pt x="3" y="21"/>
                    </a:cubicBezTo>
                    <a:cubicBezTo>
                      <a:pt x="2" y="21"/>
                      <a:pt x="2" y="20"/>
                      <a:pt x="2" y="20"/>
                    </a:cubicBezTo>
                    <a:cubicBezTo>
                      <a:pt x="1" y="20"/>
                      <a:pt x="1" y="20"/>
                      <a:pt x="1" y="19"/>
                    </a:cubicBezTo>
                    <a:cubicBezTo>
                      <a:pt x="0" y="19"/>
                      <a:pt x="0" y="18"/>
                      <a:pt x="0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16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11"/>
                      <a:pt x="1" y="11"/>
                      <a:pt x="1" y="10"/>
                    </a:cubicBezTo>
                    <a:cubicBezTo>
                      <a:pt x="1" y="10"/>
                      <a:pt x="2" y="9"/>
                      <a:pt x="2" y="9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9"/>
                      <a:pt x="4" y="9"/>
                      <a:pt x="5" y="9"/>
                    </a:cubicBezTo>
                    <a:cubicBezTo>
                      <a:pt x="6" y="9"/>
                      <a:pt x="6" y="9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9" y="6"/>
                      <a:pt x="9" y="6"/>
                      <a:pt x="10" y="4"/>
                    </a:cubicBezTo>
                    <a:cubicBezTo>
                      <a:pt x="10" y="3"/>
                      <a:pt x="13" y="2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6" y="3"/>
                      <a:pt x="17" y="3"/>
                      <a:pt x="18" y="4"/>
                    </a:cubicBezTo>
                    <a:cubicBezTo>
                      <a:pt x="18" y="4"/>
                      <a:pt x="18" y="4"/>
                      <a:pt x="19" y="4"/>
                    </a:cubicBezTo>
                    <a:cubicBezTo>
                      <a:pt x="19" y="3"/>
                      <a:pt x="20" y="3"/>
                      <a:pt x="21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2"/>
                      <a:pt x="23" y="2"/>
                      <a:pt x="23" y="1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6" y="1"/>
                      <a:pt x="26" y="2"/>
                      <a:pt x="26" y="3"/>
                    </a:cubicBezTo>
                    <a:cubicBezTo>
                      <a:pt x="26" y="3"/>
                      <a:pt x="26" y="4"/>
                      <a:pt x="27" y="5"/>
                    </a:cubicBezTo>
                    <a:cubicBezTo>
                      <a:pt x="30" y="3"/>
                      <a:pt x="31" y="3"/>
                      <a:pt x="34" y="3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3" y="5"/>
                      <a:pt x="32" y="5"/>
                      <a:pt x="32" y="5"/>
                    </a:cubicBezTo>
                    <a:cubicBezTo>
                      <a:pt x="30" y="5"/>
                      <a:pt x="26" y="6"/>
                      <a:pt x="26" y="7"/>
                    </a:cubicBezTo>
                    <a:cubicBezTo>
                      <a:pt x="26" y="7"/>
                      <a:pt x="26" y="8"/>
                      <a:pt x="26" y="8"/>
                    </a:cubicBezTo>
                    <a:cubicBezTo>
                      <a:pt x="27" y="8"/>
                      <a:pt x="27" y="8"/>
                      <a:pt x="27" y="9"/>
                    </a:cubicBezTo>
                    <a:cubicBezTo>
                      <a:pt x="27" y="10"/>
                      <a:pt x="26" y="11"/>
                      <a:pt x="26" y="11"/>
                    </a:cubicBezTo>
                    <a:cubicBezTo>
                      <a:pt x="26" y="11"/>
                      <a:pt x="26" y="12"/>
                      <a:pt x="26" y="12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5" y="13"/>
                      <a:pt x="24" y="13"/>
                      <a:pt x="23" y="14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3" y="16"/>
                      <a:pt x="22" y="16"/>
                      <a:pt x="22" y="16"/>
                    </a:cubicBezTo>
                    <a:cubicBezTo>
                      <a:pt x="22" y="16"/>
                      <a:pt x="22" y="17"/>
                      <a:pt x="22" y="18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0" y="20"/>
                      <a:pt x="19" y="20"/>
                    </a:cubicBezTo>
                    <a:cubicBezTo>
                      <a:pt x="19" y="20"/>
                      <a:pt x="18" y="20"/>
                      <a:pt x="18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5" y="21"/>
                      <a:pt x="15" y="21"/>
                      <a:pt x="15" y="22"/>
                    </a:cubicBezTo>
                    <a:cubicBezTo>
                      <a:pt x="15" y="25"/>
                      <a:pt x="14" y="25"/>
                      <a:pt x="12" y="25"/>
                    </a:cubicBezTo>
                    <a:cubicBezTo>
                      <a:pt x="12" y="26"/>
                      <a:pt x="12" y="26"/>
                      <a:pt x="11" y="26"/>
                    </a:cubicBezTo>
                    <a:cubicBezTo>
                      <a:pt x="10" y="26"/>
                      <a:pt x="9" y="26"/>
                      <a:pt x="8" y="26"/>
                    </a:cubicBezTo>
                    <a:close/>
                    <a:moveTo>
                      <a:pt x="2" y="24"/>
                    </a:moveTo>
                    <a:cubicBezTo>
                      <a:pt x="5" y="25"/>
                      <a:pt x="8" y="25"/>
                      <a:pt x="11" y="25"/>
                    </a:cubicBezTo>
                    <a:cubicBezTo>
                      <a:pt x="11" y="24"/>
                      <a:pt x="12" y="24"/>
                      <a:pt x="12" y="24"/>
                    </a:cubicBezTo>
                    <a:cubicBezTo>
                      <a:pt x="13" y="24"/>
                      <a:pt x="13" y="24"/>
                      <a:pt x="14" y="22"/>
                    </a:cubicBezTo>
                    <a:cubicBezTo>
                      <a:pt x="14" y="20"/>
                      <a:pt x="15" y="20"/>
                      <a:pt x="17" y="20"/>
                    </a:cubicBezTo>
                    <a:cubicBezTo>
                      <a:pt x="17" y="20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9" y="19"/>
                    </a:cubicBezTo>
                    <a:cubicBezTo>
                      <a:pt x="19" y="19"/>
                      <a:pt x="20" y="19"/>
                      <a:pt x="20" y="19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1" y="17"/>
                      <a:pt x="21" y="16"/>
                      <a:pt x="21" y="16"/>
                    </a:cubicBezTo>
                    <a:cubicBezTo>
                      <a:pt x="21" y="15"/>
                      <a:pt x="22" y="15"/>
                      <a:pt x="22" y="14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22" y="14"/>
                      <a:pt x="22" y="14"/>
                      <a:pt x="22" y="13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2"/>
                      <a:pt x="24" y="11"/>
                      <a:pt x="2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10"/>
                      <a:pt x="26" y="10"/>
                      <a:pt x="26" y="9"/>
                    </a:cubicBezTo>
                    <a:cubicBezTo>
                      <a:pt x="26" y="9"/>
                      <a:pt x="26" y="9"/>
                      <a:pt x="25" y="8"/>
                    </a:cubicBezTo>
                    <a:cubicBezTo>
                      <a:pt x="25" y="8"/>
                      <a:pt x="25" y="8"/>
                      <a:pt x="25" y="7"/>
                    </a:cubicBezTo>
                    <a:cubicBezTo>
                      <a:pt x="25" y="6"/>
                      <a:pt x="25" y="6"/>
                      <a:pt x="26" y="6"/>
                    </a:cubicBezTo>
                    <a:cubicBezTo>
                      <a:pt x="25" y="5"/>
                      <a:pt x="25" y="4"/>
                      <a:pt x="25" y="3"/>
                    </a:cubicBezTo>
                    <a:cubicBezTo>
                      <a:pt x="25" y="2"/>
                      <a:pt x="25" y="1"/>
                      <a:pt x="25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4" y="1"/>
                      <a:pt x="24" y="1"/>
                      <a:pt x="24" y="2"/>
                    </a:cubicBezTo>
                    <a:cubicBezTo>
                      <a:pt x="24" y="2"/>
                      <a:pt x="23" y="4"/>
                      <a:pt x="22" y="4"/>
                    </a:cubicBezTo>
                    <a:cubicBezTo>
                      <a:pt x="22" y="4"/>
                      <a:pt x="22" y="4"/>
                      <a:pt x="22" y="3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4"/>
                      <a:pt x="20" y="5"/>
                      <a:pt x="19" y="5"/>
                    </a:cubicBezTo>
                    <a:cubicBezTo>
                      <a:pt x="19" y="5"/>
                      <a:pt x="18" y="5"/>
                      <a:pt x="17" y="5"/>
                    </a:cubicBezTo>
                    <a:cubicBezTo>
                      <a:pt x="17" y="4"/>
                      <a:pt x="16" y="4"/>
                      <a:pt x="15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4"/>
                      <a:pt x="14" y="4"/>
                      <a:pt x="13" y="4"/>
                    </a:cubicBezTo>
                    <a:cubicBezTo>
                      <a:pt x="12" y="4"/>
                      <a:pt x="11" y="4"/>
                      <a:pt x="11" y="5"/>
                    </a:cubicBezTo>
                    <a:cubicBezTo>
                      <a:pt x="10" y="7"/>
                      <a:pt x="9" y="7"/>
                      <a:pt x="8" y="8"/>
                    </a:cubicBezTo>
                    <a:cubicBezTo>
                      <a:pt x="8" y="8"/>
                      <a:pt x="7" y="8"/>
                      <a:pt x="7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10"/>
                      <a:pt x="6" y="10"/>
                      <a:pt x="5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10"/>
                      <a:pt x="3" y="10"/>
                      <a:pt x="3" y="9"/>
                    </a:cubicBezTo>
                    <a:cubicBezTo>
                      <a:pt x="3" y="10"/>
                      <a:pt x="3" y="10"/>
                      <a:pt x="2" y="11"/>
                    </a:cubicBezTo>
                    <a:cubicBezTo>
                      <a:pt x="2" y="11"/>
                      <a:pt x="2" y="12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1" y="13"/>
                      <a:pt x="1" y="14"/>
                    </a:cubicBezTo>
                    <a:cubicBezTo>
                      <a:pt x="2" y="14"/>
                      <a:pt x="2" y="15"/>
                      <a:pt x="1" y="1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7"/>
                      <a:pt x="1" y="17"/>
                    </a:cubicBezTo>
                    <a:cubicBezTo>
                      <a:pt x="1" y="18"/>
                      <a:pt x="1" y="18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3" y="19"/>
                      <a:pt x="3" y="20"/>
                      <a:pt x="4" y="20"/>
                    </a:cubicBezTo>
                    <a:cubicBezTo>
                      <a:pt x="4" y="21"/>
                      <a:pt x="3" y="23"/>
                      <a:pt x="2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6" name="Freeform 420"/>
              <p:cNvSpPr/>
              <p:nvPr/>
            </p:nvSpPr>
            <p:spPr bwMode="auto">
              <a:xfrm>
                <a:off x="3093" y="1654"/>
                <a:ext cx="2" cy="0"/>
              </a:xfrm>
              <a:custGeom>
                <a:avLst/>
                <a:gdLst>
                  <a:gd name="T0" fmla="*/ 4096 w 1"/>
                  <a:gd name="T1" fmla="*/ 0 w 1"/>
                  <a:gd name="T2" fmla="*/ 4096 w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7" name="Freeform 421"/>
              <p:cNvSpPr/>
              <p:nvPr/>
            </p:nvSpPr>
            <p:spPr bwMode="auto">
              <a:xfrm>
                <a:off x="3090" y="1649"/>
                <a:ext cx="7" cy="10"/>
              </a:xfrm>
              <a:custGeom>
                <a:avLst/>
                <a:gdLst>
                  <a:gd name="T0" fmla="*/ 24544 w 3"/>
                  <a:gd name="T1" fmla="*/ 241220 h 4"/>
                  <a:gd name="T2" fmla="*/ 24544 w 3"/>
                  <a:gd name="T3" fmla="*/ 191220 h 4"/>
                  <a:gd name="T4" fmla="*/ 24544 w 3"/>
                  <a:gd name="T5" fmla="*/ 126958 h 4"/>
                  <a:gd name="T6" fmla="*/ 24544 w 3"/>
                  <a:gd name="T7" fmla="*/ 76488 h 4"/>
                  <a:gd name="T8" fmla="*/ 24544 w 3"/>
                  <a:gd name="T9" fmla="*/ 76488 h 4"/>
                  <a:gd name="T10" fmla="*/ 75677 w 3"/>
                  <a:gd name="T11" fmla="*/ 0 h 4"/>
                  <a:gd name="T12" fmla="*/ 57269 w 3"/>
                  <a:gd name="T13" fmla="*/ 126958 h 4"/>
                  <a:gd name="T14" fmla="*/ 57269 w 3"/>
                  <a:gd name="T15" fmla="*/ 191220 h 4"/>
                  <a:gd name="T16" fmla="*/ 24544 w 3"/>
                  <a:gd name="T17" fmla="*/ 241220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3"/>
                    </a:cubicBez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8" name="Freeform 422"/>
              <p:cNvSpPr/>
              <p:nvPr/>
            </p:nvSpPr>
            <p:spPr bwMode="auto">
              <a:xfrm>
                <a:off x="3029" y="1581"/>
                <a:ext cx="54" cy="57"/>
              </a:xfrm>
              <a:custGeom>
                <a:avLst/>
                <a:gdLst>
                  <a:gd name="T0" fmla="*/ 25974 w 23"/>
                  <a:gd name="T1" fmla="*/ 491022 h 24"/>
                  <a:gd name="T2" fmla="*/ 193135 w 23"/>
                  <a:gd name="T3" fmla="*/ 582215 h 24"/>
                  <a:gd name="T4" fmla="*/ 275168 w 23"/>
                  <a:gd name="T5" fmla="*/ 610344 h 24"/>
                  <a:gd name="T6" fmla="*/ 310176 w 23"/>
                  <a:gd name="T7" fmla="*/ 652208 h 24"/>
                  <a:gd name="T8" fmla="*/ 310176 w 23"/>
                  <a:gd name="T9" fmla="*/ 709641 h 24"/>
                  <a:gd name="T10" fmla="*/ 503299 w 23"/>
                  <a:gd name="T11" fmla="*/ 748009 h 24"/>
                  <a:gd name="T12" fmla="*/ 559581 w 23"/>
                  <a:gd name="T13" fmla="*/ 680395 h 24"/>
                  <a:gd name="T14" fmla="*/ 646047 w 23"/>
                  <a:gd name="T15" fmla="*/ 680395 h 24"/>
                  <a:gd name="T16" fmla="*/ 503299 w 23"/>
                  <a:gd name="T17" fmla="*/ 423170 h 24"/>
                  <a:gd name="T18" fmla="*/ 453447 w 23"/>
                  <a:gd name="T19" fmla="*/ 324850 h 24"/>
                  <a:gd name="T20" fmla="*/ 503299 w 23"/>
                  <a:gd name="T21" fmla="*/ 166184 h 24"/>
                  <a:gd name="T22" fmla="*/ 392425 w 23"/>
                  <a:gd name="T23" fmla="*/ 29462 h 24"/>
                  <a:gd name="T24" fmla="*/ 249403 w 23"/>
                  <a:gd name="T25" fmla="*/ 29462 h 24"/>
                  <a:gd name="T26" fmla="*/ 167144 w 23"/>
                  <a:gd name="T27" fmla="*/ 166184 h 24"/>
                  <a:gd name="T28" fmla="*/ 82261 w 23"/>
                  <a:gd name="T29" fmla="*/ 324850 h 24"/>
                  <a:gd name="T30" fmla="*/ 25974 w 23"/>
                  <a:gd name="T31" fmla="*/ 491022 h 2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3" h="24">
                    <a:moveTo>
                      <a:pt x="1" y="15"/>
                    </a:moveTo>
                    <a:cubicBezTo>
                      <a:pt x="3" y="16"/>
                      <a:pt x="5" y="17"/>
                      <a:pt x="7" y="18"/>
                    </a:cubicBezTo>
                    <a:cubicBezTo>
                      <a:pt x="8" y="18"/>
                      <a:pt x="9" y="18"/>
                      <a:pt x="10" y="19"/>
                    </a:cubicBezTo>
                    <a:cubicBezTo>
                      <a:pt x="10" y="20"/>
                      <a:pt x="11" y="19"/>
                      <a:pt x="11" y="20"/>
                    </a:cubicBezTo>
                    <a:cubicBezTo>
                      <a:pt x="12" y="20"/>
                      <a:pt x="11" y="21"/>
                      <a:pt x="11" y="22"/>
                    </a:cubicBezTo>
                    <a:cubicBezTo>
                      <a:pt x="13" y="24"/>
                      <a:pt x="16" y="22"/>
                      <a:pt x="18" y="23"/>
                    </a:cubicBezTo>
                    <a:cubicBezTo>
                      <a:pt x="19" y="23"/>
                      <a:pt x="19" y="21"/>
                      <a:pt x="20" y="21"/>
                    </a:cubicBezTo>
                    <a:cubicBezTo>
                      <a:pt x="21" y="20"/>
                      <a:pt x="22" y="21"/>
                      <a:pt x="23" y="21"/>
                    </a:cubicBezTo>
                    <a:cubicBezTo>
                      <a:pt x="20" y="19"/>
                      <a:pt x="22" y="15"/>
                      <a:pt x="18" y="13"/>
                    </a:cubicBezTo>
                    <a:cubicBezTo>
                      <a:pt x="17" y="13"/>
                      <a:pt x="15" y="11"/>
                      <a:pt x="16" y="10"/>
                    </a:cubicBezTo>
                    <a:cubicBezTo>
                      <a:pt x="16" y="8"/>
                      <a:pt x="17" y="6"/>
                      <a:pt x="18" y="5"/>
                    </a:cubicBezTo>
                    <a:cubicBezTo>
                      <a:pt x="16" y="4"/>
                      <a:pt x="14" y="3"/>
                      <a:pt x="14" y="1"/>
                    </a:cubicBezTo>
                    <a:cubicBezTo>
                      <a:pt x="13" y="1"/>
                      <a:pt x="11" y="0"/>
                      <a:pt x="9" y="1"/>
                    </a:cubicBezTo>
                    <a:cubicBezTo>
                      <a:pt x="7" y="2"/>
                      <a:pt x="6" y="3"/>
                      <a:pt x="6" y="5"/>
                    </a:cubicBezTo>
                    <a:cubicBezTo>
                      <a:pt x="6" y="8"/>
                      <a:pt x="6" y="9"/>
                      <a:pt x="3" y="10"/>
                    </a:cubicBezTo>
                    <a:cubicBezTo>
                      <a:pt x="0" y="12"/>
                      <a:pt x="0" y="12"/>
                      <a:pt x="1" y="15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9" name="Freeform 423"/>
              <p:cNvSpPr>
                <a:spLocks noEditPoints="1"/>
              </p:cNvSpPr>
              <p:nvPr/>
            </p:nvSpPr>
            <p:spPr bwMode="auto">
              <a:xfrm>
                <a:off x="3026" y="1579"/>
                <a:ext cx="59" cy="59"/>
              </a:xfrm>
              <a:custGeom>
                <a:avLst/>
                <a:gdLst>
                  <a:gd name="T0" fmla="*/ 567582 w 25"/>
                  <a:gd name="T1" fmla="*/ 744951 h 25"/>
                  <a:gd name="T2" fmla="*/ 481185 w 25"/>
                  <a:gd name="T3" fmla="*/ 724605 h 25"/>
                  <a:gd name="T4" fmla="*/ 353814 w 25"/>
                  <a:gd name="T5" fmla="*/ 681424 h 25"/>
                  <a:gd name="T6" fmla="*/ 353814 w 25"/>
                  <a:gd name="T7" fmla="*/ 631147 h 25"/>
                  <a:gd name="T8" fmla="*/ 307036 w 25"/>
                  <a:gd name="T9" fmla="*/ 631147 h 25"/>
                  <a:gd name="T10" fmla="*/ 240501 w 25"/>
                  <a:gd name="T11" fmla="*/ 567582 h 25"/>
                  <a:gd name="T12" fmla="*/ 63526 w 25"/>
                  <a:gd name="T13" fmla="*/ 481185 h 25"/>
                  <a:gd name="T14" fmla="*/ 26918 w 25"/>
                  <a:gd name="T15" fmla="*/ 481185 h 25"/>
                  <a:gd name="T16" fmla="*/ 113320 w 25"/>
                  <a:gd name="T17" fmla="*/ 327013 h 25"/>
                  <a:gd name="T18" fmla="*/ 267435 w 25"/>
                  <a:gd name="T19" fmla="*/ 63526 h 25"/>
                  <a:gd name="T20" fmla="*/ 417564 w 25"/>
                  <a:gd name="T21" fmla="*/ 26918 h 25"/>
                  <a:gd name="T22" fmla="*/ 481185 w 25"/>
                  <a:gd name="T23" fmla="*/ 26918 h 25"/>
                  <a:gd name="T24" fmla="*/ 567582 w 25"/>
                  <a:gd name="T25" fmla="*/ 149921 h 25"/>
                  <a:gd name="T26" fmla="*/ 567582 w 25"/>
                  <a:gd name="T27" fmla="*/ 176934 h 25"/>
                  <a:gd name="T28" fmla="*/ 504332 w 25"/>
                  <a:gd name="T29" fmla="*/ 327013 h 25"/>
                  <a:gd name="T30" fmla="*/ 658065 w 25"/>
                  <a:gd name="T31" fmla="*/ 531290 h 25"/>
                  <a:gd name="T32" fmla="*/ 744951 w 25"/>
                  <a:gd name="T33" fmla="*/ 658065 h 25"/>
                  <a:gd name="T34" fmla="*/ 658065 w 25"/>
                  <a:gd name="T35" fmla="*/ 658065 h 25"/>
                  <a:gd name="T36" fmla="*/ 631147 w 25"/>
                  <a:gd name="T37" fmla="*/ 681424 h 25"/>
                  <a:gd name="T38" fmla="*/ 504332 w 25"/>
                  <a:gd name="T39" fmla="*/ 681424 h 25"/>
                  <a:gd name="T40" fmla="*/ 594543 w 25"/>
                  <a:gd name="T41" fmla="*/ 681424 h 25"/>
                  <a:gd name="T42" fmla="*/ 658065 w 25"/>
                  <a:gd name="T43" fmla="*/ 631147 h 25"/>
                  <a:gd name="T44" fmla="*/ 567582 w 25"/>
                  <a:gd name="T45" fmla="*/ 445551 h 25"/>
                  <a:gd name="T46" fmla="*/ 504332 w 25"/>
                  <a:gd name="T47" fmla="*/ 240501 h 25"/>
                  <a:gd name="T48" fmla="*/ 445551 w 25"/>
                  <a:gd name="T49" fmla="*/ 63526 h 25"/>
                  <a:gd name="T50" fmla="*/ 307036 w 25"/>
                  <a:gd name="T51" fmla="*/ 63526 h 25"/>
                  <a:gd name="T52" fmla="*/ 240501 w 25"/>
                  <a:gd name="T53" fmla="*/ 176934 h 25"/>
                  <a:gd name="T54" fmla="*/ 90551 w 25"/>
                  <a:gd name="T55" fmla="*/ 353814 h 25"/>
                  <a:gd name="T56" fmla="*/ 213700 w 25"/>
                  <a:gd name="T57" fmla="*/ 531290 h 25"/>
                  <a:gd name="T58" fmla="*/ 267435 w 25"/>
                  <a:gd name="T59" fmla="*/ 567582 h 25"/>
                  <a:gd name="T60" fmla="*/ 353814 w 25"/>
                  <a:gd name="T61" fmla="*/ 594543 h 25"/>
                  <a:gd name="T62" fmla="*/ 390634 w 25"/>
                  <a:gd name="T63" fmla="*/ 658065 h 25"/>
                  <a:gd name="T64" fmla="*/ 481185 w 25"/>
                  <a:gd name="T65" fmla="*/ 681424 h 2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5" h="25">
                    <a:moveTo>
                      <a:pt x="19" y="25"/>
                    </a:move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4"/>
                      <a:pt x="18" y="24"/>
                      <a:pt x="17" y="24"/>
                    </a:cubicBezTo>
                    <a:cubicBezTo>
                      <a:pt x="17" y="24"/>
                      <a:pt x="17" y="24"/>
                      <a:pt x="16" y="24"/>
                    </a:cubicBezTo>
                    <a:cubicBezTo>
                      <a:pt x="16" y="24"/>
                      <a:pt x="16" y="24"/>
                      <a:pt x="15" y="24"/>
                    </a:cubicBezTo>
                    <a:cubicBezTo>
                      <a:pt x="14" y="24"/>
                      <a:pt x="13" y="24"/>
                      <a:pt x="12" y="23"/>
                    </a:cubicBezTo>
                    <a:cubicBezTo>
                      <a:pt x="12" y="23"/>
                      <a:pt x="12" y="22"/>
                      <a:pt x="12" y="22"/>
                    </a:cubicBezTo>
                    <a:cubicBezTo>
                      <a:pt x="12" y="22"/>
                      <a:pt x="12" y="21"/>
                      <a:pt x="12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1" y="21"/>
                      <a:pt x="10" y="21"/>
                    </a:cubicBezTo>
                    <a:cubicBezTo>
                      <a:pt x="10" y="20"/>
                      <a:pt x="9" y="20"/>
                      <a:pt x="9" y="20"/>
                    </a:cubicBezTo>
                    <a:cubicBezTo>
                      <a:pt x="9" y="20"/>
                      <a:pt x="8" y="20"/>
                      <a:pt x="8" y="19"/>
                    </a:cubicBezTo>
                    <a:cubicBezTo>
                      <a:pt x="7" y="19"/>
                      <a:pt x="7" y="19"/>
                      <a:pt x="6" y="19"/>
                    </a:cubicBezTo>
                    <a:cubicBezTo>
                      <a:pt x="5" y="18"/>
                      <a:pt x="4" y="17"/>
                      <a:pt x="2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3"/>
                      <a:pt x="0" y="13"/>
                      <a:pt x="3" y="11"/>
                    </a:cubicBezTo>
                    <a:cubicBezTo>
                      <a:pt x="3" y="11"/>
                      <a:pt x="3" y="11"/>
                      <a:pt x="4" y="11"/>
                    </a:cubicBezTo>
                    <a:cubicBezTo>
                      <a:pt x="6" y="9"/>
                      <a:pt x="6" y="9"/>
                      <a:pt x="6" y="6"/>
                    </a:cubicBezTo>
                    <a:cubicBezTo>
                      <a:pt x="6" y="4"/>
                      <a:pt x="8" y="3"/>
                      <a:pt x="9" y="2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1" y="0"/>
                      <a:pt x="12" y="1"/>
                      <a:pt x="14" y="1"/>
                    </a:cubicBezTo>
                    <a:cubicBezTo>
                      <a:pt x="14" y="1"/>
                      <a:pt x="15" y="1"/>
                      <a:pt x="15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6" y="4"/>
                      <a:pt x="17" y="5"/>
                      <a:pt x="19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7"/>
                      <a:pt x="18" y="8"/>
                      <a:pt x="18" y="9"/>
                    </a:cubicBezTo>
                    <a:cubicBezTo>
                      <a:pt x="18" y="9"/>
                      <a:pt x="17" y="10"/>
                      <a:pt x="17" y="11"/>
                    </a:cubicBezTo>
                    <a:cubicBezTo>
                      <a:pt x="17" y="12"/>
                      <a:pt x="18" y="13"/>
                      <a:pt x="20" y="14"/>
                    </a:cubicBezTo>
                    <a:cubicBezTo>
                      <a:pt x="22" y="15"/>
                      <a:pt x="22" y="17"/>
                      <a:pt x="22" y="18"/>
                    </a:cubicBezTo>
                    <a:cubicBezTo>
                      <a:pt x="23" y="19"/>
                      <a:pt x="23" y="20"/>
                      <a:pt x="24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3" y="22"/>
                      <a:pt x="22" y="22"/>
                    </a:cubicBezTo>
                    <a:cubicBezTo>
                      <a:pt x="22" y="22"/>
                      <a:pt x="21" y="22"/>
                      <a:pt x="21" y="22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0" y="24"/>
                      <a:pt x="20" y="25"/>
                      <a:pt x="19" y="25"/>
                    </a:cubicBezTo>
                    <a:close/>
                    <a:moveTo>
                      <a:pt x="17" y="23"/>
                    </a:moveTo>
                    <a:cubicBezTo>
                      <a:pt x="18" y="23"/>
                      <a:pt x="18" y="23"/>
                      <a:pt x="19" y="23"/>
                    </a:cubicBezTo>
                    <a:cubicBezTo>
                      <a:pt x="19" y="23"/>
                      <a:pt x="19" y="23"/>
                      <a:pt x="20" y="23"/>
                    </a:cubicBezTo>
                    <a:cubicBezTo>
                      <a:pt x="20" y="22"/>
                      <a:pt x="20" y="22"/>
                      <a:pt x="21" y="21"/>
                    </a:cubicBezTo>
                    <a:cubicBezTo>
                      <a:pt x="21" y="21"/>
                      <a:pt x="22" y="21"/>
                      <a:pt x="22" y="21"/>
                    </a:cubicBezTo>
                    <a:cubicBezTo>
                      <a:pt x="22" y="20"/>
                      <a:pt x="21" y="19"/>
                      <a:pt x="21" y="18"/>
                    </a:cubicBezTo>
                    <a:cubicBezTo>
                      <a:pt x="21" y="17"/>
                      <a:pt x="20" y="16"/>
                      <a:pt x="19" y="15"/>
                    </a:cubicBezTo>
                    <a:cubicBezTo>
                      <a:pt x="18" y="14"/>
                      <a:pt x="15" y="12"/>
                      <a:pt x="16" y="10"/>
                    </a:cubicBezTo>
                    <a:cubicBezTo>
                      <a:pt x="16" y="10"/>
                      <a:pt x="17" y="9"/>
                      <a:pt x="17" y="8"/>
                    </a:cubicBezTo>
                    <a:cubicBezTo>
                      <a:pt x="17" y="7"/>
                      <a:pt x="18" y="7"/>
                      <a:pt x="18" y="6"/>
                    </a:cubicBezTo>
                    <a:cubicBezTo>
                      <a:pt x="16" y="6"/>
                      <a:pt x="15" y="4"/>
                      <a:pt x="15" y="2"/>
                    </a:cubicBezTo>
                    <a:cubicBezTo>
                      <a:pt x="14" y="2"/>
                      <a:pt x="14" y="2"/>
                      <a:pt x="13" y="2"/>
                    </a:cubicBezTo>
                    <a:cubicBezTo>
                      <a:pt x="12" y="2"/>
                      <a:pt x="11" y="2"/>
                      <a:pt x="10" y="2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4"/>
                      <a:pt x="8" y="4"/>
                      <a:pt x="8" y="6"/>
                    </a:cubicBezTo>
                    <a:cubicBezTo>
                      <a:pt x="7" y="9"/>
                      <a:pt x="7" y="10"/>
                      <a:pt x="4" y="12"/>
                    </a:cubicBezTo>
                    <a:cubicBezTo>
                      <a:pt x="4" y="12"/>
                      <a:pt x="4" y="12"/>
                      <a:pt x="3" y="12"/>
                    </a:cubicBezTo>
                    <a:cubicBezTo>
                      <a:pt x="2" y="13"/>
                      <a:pt x="2" y="13"/>
                      <a:pt x="2" y="15"/>
                    </a:cubicBezTo>
                    <a:cubicBezTo>
                      <a:pt x="4" y="16"/>
                      <a:pt x="6" y="17"/>
                      <a:pt x="7" y="18"/>
                    </a:cubicBezTo>
                    <a:cubicBezTo>
                      <a:pt x="7" y="18"/>
                      <a:pt x="8" y="18"/>
                      <a:pt x="8" y="18"/>
                    </a:cubicBezTo>
                    <a:cubicBezTo>
                      <a:pt x="9" y="18"/>
                      <a:pt x="9" y="19"/>
                      <a:pt x="9" y="19"/>
                    </a:cubicBezTo>
                    <a:cubicBezTo>
                      <a:pt x="10" y="19"/>
                      <a:pt x="11" y="19"/>
                      <a:pt x="11" y="20"/>
                    </a:cubicBezTo>
                    <a:cubicBezTo>
                      <a:pt x="11" y="20"/>
                      <a:pt x="11" y="20"/>
                      <a:pt x="12" y="20"/>
                    </a:cubicBezTo>
                    <a:cubicBezTo>
                      <a:pt x="12" y="20"/>
                      <a:pt x="12" y="20"/>
                      <a:pt x="13" y="21"/>
                    </a:cubicBezTo>
                    <a:cubicBezTo>
                      <a:pt x="13" y="21"/>
                      <a:pt x="13" y="21"/>
                      <a:pt x="13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4" y="23"/>
                      <a:pt x="15" y="23"/>
                      <a:pt x="16" y="23"/>
                    </a:cubicBezTo>
                    <a:cubicBezTo>
                      <a:pt x="17" y="23"/>
                      <a:pt x="17" y="23"/>
                      <a:pt x="17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0" name="Freeform 424"/>
              <p:cNvSpPr/>
              <p:nvPr/>
            </p:nvSpPr>
            <p:spPr bwMode="auto">
              <a:xfrm>
                <a:off x="3062" y="1633"/>
                <a:ext cx="9" cy="7"/>
              </a:xfrm>
              <a:custGeom>
                <a:avLst/>
                <a:gdLst>
                  <a:gd name="T0" fmla="*/ 0 w 4"/>
                  <a:gd name="T1" fmla="*/ 24544 h 3"/>
                  <a:gd name="T2" fmla="*/ 66330 w 4"/>
                  <a:gd name="T3" fmla="*/ 24544 h 3"/>
                  <a:gd name="T4" fmla="*/ 0 w 4"/>
                  <a:gd name="T5" fmla="*/ 24544 h 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cubicBezTo>
                      <a:pt x="2" y="3"/>
                      <a:pt x="2" y="2"/>
                      <a:pt x="4" y="1"/>
                    </a:cubicBezTo>
                    <a:cubicBezTo>
                      <a:pt x="3" y="1"/>
                      <a:pt x="2" y="0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1" name="Freeform 425"/>
              <p:cNvSpPr>
                <a:spLocks noEditPoints="1"/>
              </p:cNvSpPr>
              <p:nvPr/>
            </p:nvSpPr>
            <p:spPr bwMode="auto">
              <a:xfrm>
                <a:off x="3060" y="1633"/>
                <a:ext cx="16" cy="7"/>
              </a:xfrm>
              <a:custGeom>
                <a:avLst/>
                <a:gdLst>
                  <a:gd name="T0" fmla="*/ 63184 w 7"/>
                  <a:gd name="T1" fmla="*/ 75677 h 3"/>
                  <a:gd name="T2" fmla="*/ 63184 w 7"/>
                  <a:gd name="T3" fmla="*/ 75677 h 3"/>
                  <a:gd name="T4" fmla="*/ 18530 w 7"/>
                  <a:gd name="T5" fmla="*/ 24544 h 3"/>
                  <a:gd name="T6" fmla="*/ 0 w 7"/>
                  <a:gd name="T7" fmla="*/ 24544 h 3"/>
                  <a:gd name="T8" fmla="*/ 18530 w 7"/>
                  <a:gd name="T9" fmla="*/ 24544 h 3"/>
                  <a:gd name="T10" fmla="*/ 96809 w 7"/>
                  <a:gd name="T11" fmla="*/ 0 h 3"/>
                  <a:gd name="T12" fmla="*/ 144421 w 7"/>
                  <a:gd name="T13" fmla="*/ 24544 h 3"/>
                  <a:gd name="T14" fmla="*/ 96809 w 7"/>
                  <a:gd name="T15" fmla="*/ 57269 h 3"/>
                  <a:gd name="T16" fmla="*/ 63184 w 7"/>
                  <a:gd name="T17" fmla="*/ 75677 h 3"/>
                  <a:gd name="T18" fmla="*/ 42354 w 7"/>
                  <a:gd name="T19" fmla="*/ 24544 h 3"/>
                  <a:gd name="T20" fmla="*/ 81863 w 7"/>
                  <a:gd name="T21" fmla="*/ 24544 h 3"/>
                  <a:gd name="T22" fmla="*/ 42354 w 7"/>
                  <a:gd name="T23" fmla="*/ 24544 h 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7" h="3">
                    <a:moveTo>
                      <a:pt x="3" y="3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2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2"/>
                      <a:pt x="4" y="3"/>
                      <a:pt x="3" y="3"/>
                    </a:cubicBezTo>
                    <a:close/>
                    <a:moveTo>
                      <a:pt x="2" y="1"/>
                    </a:moveTo>
                    <a:cubicBezTo>
                      <a:pt x="3" y="2"/>
                      <a:pt x="3" y="1"/>
                      <a:pt x="4" y="1"/>
                    </a:cubicBezTo>
                    <a:cubicBezTo>
                      <a:pt x="3" y="1"/>
                      <a:pt x="3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2" name="Freeform 426"/>
              <p:cNvSpPr/>
              <p:nvPr/>
            </p:nvSpPr>
            <p:spPr bwMode="auto">
              <a:xfrm>
                <a:off x="3003" y="1609"/>
                <a:ext cx="9" cy="26"/>
              </a:xfrm>
              <a:custGeom>
                <a:avLst/>
                <a:gdLst>
                  <a:gd name="T0" fmla="*/ 36860 w 4"/>
                  <a:gd name="T1" fmla="*/ 310743 h 11"/>
                  <a:gd name="T2" fmla="*/ 53228 w 4"/>
                  <a:gd name="T3" fmla="*/ 152034 h 11"/>
                  <a:gd name="T4" fmla="*/ 36860 w 4"/>
                  <a:gd name="T5" fmla="*/ 152034 h 11"/>
                  <a:gd name="T6" fmla="*/ 53228 w 4"/>
                  <a:gd name="T7" fmla="*/ 114948 h 11"/>
                  <a:gd name="T8" fmla="*/ 66330 w 4"/>
                  <a:gd name="T9" fmla="*/ 92723 h 11"/>
                  <a:gd name="T10" fmla="*/ 66330 w 4"/>
                  <a:gd name="T11" fmla="*/ 0 h 11"/>
                  <a:gd name="T12" fmla="*/ 16382 w 4"/>
                  <a:gd name="T13" fmla="*/ 152034 h 11"/>
                  <a:gd name="T14" fmla="*/ 36860 w 4"/>
                  <a:gd name="T15" fmla="*/ 310743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11">
                    <a:moveTo>
                      <a:pt x="2" y="10"/>
                    </a:moveTo>
                    <a:cubicBezTo>
                      <a:pt x="3" y="9"/>
                      <a:pt x="3" y="7"/>
                      <a:pt x="3" y="5"/>
                    </a:cubicBezTo>
                    <a:cubicBezTo>
                      <a:pt x="3" y="5"/>
                      <a:pt x="2" y="5"/>
                      <a:pt x="2" y="5"/>
                    </a:cubicBezTo>
                    <a:cubicBezTo>
                      <a:pt x="2" y="5"/>
                      <a:pt x="2" y="4"/>
                      <a:pt x="3" y="4"/>
                    </a:cubicBezTo>
                    <a:cubicBezTo>
                      <a:pt x="2" y="4"/>
                      <a:pt x="2" y="2"/>
                      <a:pt x="4" y="3"/>
                    </a:cubicBezTo>
                    <a:cubicBezTo>
                      <a:pt x="4" y="2"/>
                      <a:pt x="4" y="1"/>
                      <a:pt x="4" y="0"/>
                    </a:cubicBezTo>
                    <a:cubicBezTo>
                      <a:pt x="1" y="0"/>
                      <a:pt x="2" y="3"/>
                      <a:pt x="1" y="5"/>
                    </a:cubicBezTo>
                    <a:cubicBezTo>
                      <a:pt x="0" y="6"/>
                      <a:pt x="2" y="11"/>
                      <a:pt x="2" y="1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3" name="Freeform 427"/>
              <p:cNvSpPr>
                <a:spLocks noEditPoints="1"/>
              </p:cNvSpPr>
              <p:nvPr/>
            </p:nvSpPr>
            <p:spPr bwMode="auto">
              <a:xfrm>
                <a:off x="3003" y="1609"/>
                <a:ext cx="9" cy="26"/>
              </a:xfrm>
              <a:custGeom>
                <a:avLst/>
                <a:gdLst>
                  <a:gd name="T0" fmla="*/ 36860 w 4"/>
                  <a:gd name="T1" fmla="*/ 331318 h 11"/>
                  <a:gd name="T2" fmla="*/ 16382 w 4"/>
                  <a:gd name="T3" fmla="*/ 310743 h 11"/>
                  <a:gd name="T4" fmla="*/ 0 w 4"/>
                  <a:gd name="T5" fmla="*/ 219163 h 11"/>
                  <a:gd name="T6" fmla="*/ 0 w 4"/>
                  <a:gd name="T7" fmla="*/ 219163 h 11"/>
                  <a:gd name="T8" fmla="*/ 0 w 4"/>
                  <a:gd name="T9" fmla="*/ 179284 h 11"/>
                  <a:gd name="T10" fmla="*/ 16382 w 4"/>
                  <a:gd name="T11" fmla="*/ 114948 h 11"/>
                  <a:gd name="T12" fmla="*/ 16382 w 4"/>
                  <a:gd name="T13" fmla="*/ 64322 h 11"/>
                  <a:gd name="T14" fmla="*/ 66330 w 4"/>
                  <a:gd name="T15" fmla="*/ 0 h 11"/>
                  <a:gd name="T16" fmla="*/ 66330 w 4"/>
                  <a:gd name="T17" fmla="*/ 0 h 11"/>
                  <a:gd name="T18" fmla="*/ 66330 w 4"/>
                  <a:gd name="T19" fmla="*/ 0 h 11"/>
                  <a:gd name="T20" fmla="*/ 66330 w 4"/>
                  <a:gd name="T21" fmla="*/ 92723 h 11"/>
                  <a:gd name="T22" fmla="*/ 66330 w 4"/>
                  <a:gd name="T23" fmla="*/ 114948 h 11"/>
                  <a:gd name="T24" fmla="*/ 53228 w 4"/>
                  <a:gd name="T25" fmla="*/ 92723 h 11"/>
                  <a:gd name="T26" fmla="*/ 53228 w 4"/>
                  <a:gd name="T27" fmla="*/ 92723 h 11"/>
                  <a:gd name="T28" fmla="*/ 53228 w 4"/>
                  <a:gd name="T29" fmla="*/ 92723 h 11"/>
                  <a:gd name="T30" fmla="*/ 53228 w 4"/>
                  <a:gd name="T31" fmla="*/ 114948 h 11"/>
                  <a:gd name="T32" fmla="*/ 66330 w 4"/>
                  <a:gd name="T33" fmla="*/ 114948 h 11"/>
                  <a:gd name="T34" fmla="*/ 53228 w 4"/>
                  <a:gd name="T35" fmla="*/ 114948 h 11"/>
                  <a:gd name="T36" fmla="*/ 66330 w 4"/>
                  <a:gd name="T37" fmla="*/ 114948 h 11"/>
                  <a:gd name="T38" fmla="*/ 53228 w 4"/>
                  <a:gd name="T39" fmla="*/ 331318 h 11"/>
                  <a:gd name="T40" fmla="*/ 36860 w 4"/>
                  <a:gd name="T41" fmla="*/ 331318 h 11"/>
                  <a:gd name="T42" fmla="*/ 16382 w 4"/>
                  <a:gd name="T43" fmla="*/ 179284 h 11"/>
                  <a:gd name="T44" fmla="*/ 36860 w 4"/>
                  <a:gd name="T45" fmla="*/ 271695 h 11"/>
                  <a:gd name="T46" fmla="*/ 53228 w 4"/>
                  <a:gd name="T47" fmla="*/ 179284 h 11"/>
                  <a:gd name="T48" fmla="*/ 36860 w 4"/>
                  <a:gd name="T49" fmla="*/ 179284 h 11"/>
                  <a:gd name="T50" fmla="*/ 16382 w 4"/>
                  <a:gd name="T51" fmla="*/ 179284 h 1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4" h="11">
                    <a:moveTo>
                      <a:pt x="2" y="11"/>
                    </a:moveTo>
                    <a:cubicBezTo>
                      <a:pt x="2" y="11"/>
                      <a:pt x="2" y="11"/>
                      <a:pt x="1" y="10"/>
                    </a:cubicBezTo>
                    <a:cubicBezTo>
                      <a:pt x="1" y="10"/>
                      <a:pt x="0" y="8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5"/>
                      <a:pt x="1" y="4"/>
                    </a:cubicBezTo>
                    <a:cubicBezTo>
                      <a:pt x="1" y="4"/>
                      <a:pt x="1" y="3"/>
                      <a:pt x="1" y="2"/>
                    </a:cubicBezTo>
                    <a:cubicBezTo>
                      <a:pt x="1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2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11"/>
                      <a:pt x="3" y="11"/>
                      <a:pt x="3" y="11"/>
                    </a:cubicBezTo>
                    <a:lnTo>
                      <a:pt x="2" y="11"/>
                    </a:lnTo>
                    <a:close/>
                    <a:moveTo>
                      <a:pt x="1" y="6"/>
                    </a:moveTo>
                    <a:cubicBezTo>
                      <a:pt x="1" y="7"/>
                      <a:pt x="2" y="8"/>
                      <a:pt x="2" y="9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lnTo>
                      <a:pt x="1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4" name="Freeform 428"/>
              <p:cNvSpPr/>
              <p:nvPr/>
            </p:nvSpPr>
            <p:spPr bwMode="auto">
              <a:xfrm>
                <a:off x="3005" y="1609"/>
                <a:ext cx="26" cy="26"/>
              </a:xfrm>
              <a:custGeom>
                <a:avLst/>
                <a:gdLst>
                  <a:gd name="T0" fmla="*/ 310743 w 11"/>
                  <a:gd name="T1" fmla="*/ 0 h 11"/>
                  <a:gd name="T2" fmla="*/ 152034 w 11"/>
                  <a:gd name="T3" fmla="*/ 92723 h 11"/>
                  <a:gd name="T4" fmla="*/ 92723 w 11"/>
                  <a:gd name="T5" fmla="*/ 92723 h 11"/>
                  <a:gd name="T6" fmla="*/ 64322 w 11"/>
                  <a:gd name="T7" fmla="*/ 114948 h 11"/>
                  <a:gd name="T8" fmla="*/ 27213 w 11"/>
                  <a:gd name="T9" fmla="*/ 152034 h 11"/>
                  <a:gd name="T10" fmla="*/ 64322 w 11"/>
                  <a:gd name="T11" fmla="*/ 152034 h 11"/>
                  <a:gd name="T12" fmla="*/ 64322 w 11"/>
                  <a:gd name="T13" fmla="*/ 331318 h 11"/>
                  <a:gd name="T14" fmla="*/ 152034 w 11"/>
                  <a:gd name="T15" fmla="*/ 271695 h 11"/>
                  <a:gd name="T16" fmla="*/ 219163 w 11"/>
                  <a:gd name="T17" fmla="*/ 271695 h 11"/>
                  <a:gd name="T18" fmla="*/ 244478 w 11"/>
                  <a:gd name="T19" fmla="*/ 219163 h 11"/>
                  <a:gd name="T20" fmla="*/ 179284 w 11"/>
                  <a:gd name="T21" fmla="*/ 152034 h 11"/>
                  <a:gd name="T22" fmla="*/ 310743 w 11"/>
                  <a:gd name="T23" fmla="*/ 114948 h 11"/>
                  <a:gd name="T24" fmla="*/ 310743 w 11"/>
                  <a:gd name="T25" fmla="*/ 0 h 1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" h="11">
                    <a:moveTo>
                      <a:pt x="10" y="0"/>
                    </a:moveTo>
                    <a:cubicBezTo>
                      <a:pt x="8" y="1"/>
                      <a:pt x="7" y="2"/>
                      <a:pt x="5" y="3"/>
                    </a:cubicBezTo>
                    <a:cubicBezTo>
                      <a:pt x="4" y="3"/>
                      <a:pt x="2" y="0"/>
                      <a:pt x="3" y="3"/>
                    </a:cubicBezTo>
                    <a:cubicBezTo>
                      <a:pt x="1" y="2"/>
                      <a:pt x="1" y="4"/>
                      <a:pt x="2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5"/>
                      <a:pt x="2" y="5"/>
                      <a:pt x="2" y="5"/>
                    </a:cubicBezTo>
                    <a:cubicBezTo>
                      <a:pt x="2" y="7"/>
                      <a:pt x="0" y="11"/>
                      <a:pt x="2" y="11"/>
                    </a:cubicBezTo>
                    <a:cubicBezTo>
                      <a:pt x="4" y="11"/>
                      <a:pt x="4" y="11"/>
                      <a:pt x="5" y="9"/>
                    </a:cubicBezTo>
                    <a:cubicBezTo>
                      <a:pt x="6" y="9"/>
                      <a:pt x="7" y="9"/>
                      <a:pt x="7" y="9"/>
                    </a:cubicBezTo>
                    <a:cubicBezTo>
                      <a:pt x="7" y="8"/>
                      <a:pt x="8" y="8"/>
                      <a:pt x="8" y="7"/>
                    </a:cubicBezTo>
                    <a:cubicBezTo>
                      <a:pt x="7" y="6"/>
                      <a:pt x="7" y="6"/>
                      <a:pt x="6" y="5"/>
                    </a:cubicBezTo>
                    <a:cubicBezTo>
                      <a:pt x="7" y="4"/>
                      <a:pt x="10" y="4"/>
                      <a:pt x="10" y="4"/>
                    </a:cubicBezTo>
                    <a:cubicBezTo>
                      <a:pt x="11" y="3"/>
                      <a:pt x="10" y="1"/>
                      <a:pt x="1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5" name="Freeform 429"/>
              <p:cNvSpPr>
                <a:spLocks noEditPoints="1"/>
              </p:cNvSpPr>
              <p:nvPr/>
            </p:nvSpPr>
            <p:spPr bwMode="auto">
              <a:xfrm>
                <a:off x="3003" y="1607"/>
                <a:ext cx="31" cy="31"/>
              </a:xfrm>
              <a:custGeom>
                <a:avLst/>
                <a:gdLst>
                  <a:gd name="T0" fmla="*/ 142109 w 13"/>
                  <a:gd name="T1" fmla="*/ 439275 h 13"/>
                  <a:gd name="T2" fmla="*/ 142109 w 13"/>
                  <a:gd name="T3" fmla="*/ 439275 h 13"/>
                  <a:gd name="T4" fmla="*/ 102634 w 13"/>
                  <a:gd name="T5" fmla="*/ 439275 h 13"/>
                  <a:gd name="T6" fmla="*/ 72235 w 13"/>
                  <a:gd name="T7" fmla="*/ 410757 h 13"/>
                  <a:gd name="T8" fmla="*/ 72235 w 13"/>
                  <a:gd name="T9" fmla="*/ 244743 h 13"/>
                  <a:gd name="T10" fmla="*/ 102634 w 13"/>
                  <a:gd name="T11" fmla="*/ 244743 h 13"/>
                  <a:gd name="T12" fmla="*/ 72235 w 13"/>
                  <a:gd name="T13" fmla="*/ 244743 h 13"/>
                  <a:gd name="T14" fmla="*/ 0 w 13"/>
                  <a:gd name="T15" fmla="*/ 266641 h 13"/>
                  <a:gd name="T16" fmla="*/ 72235 w 13"/>
                  <a:gd name="T17" fmla="*/ 196402 h 13"/>
                  <a:gd name="T18" fmla="*/ 72235 w 13"/>
                  <a:gd name="T19" fmla="*/ 172253 h 13"/>
                  <a:gd name="T20" fmla="*/ 72235 w 13"/>
                  <a:gd name="T21" fmla="*/ 172253 h 13"/>
                  <a:gd name="T22" fmla="*/ 72235 w 13"/>
                  <a:gd name="T23" fmla="*/ 142109 h 13"/>
                  <a:gd name="T24" fmla="*/ 102634 w 13"/>
                  <a:gd name="T25" fmla="*/ 102634 h 13"/>
                  <a:gd name="T26" fmla="*/ 102634 w 13"/>
                  <a:gd name="T27" fmla="*/ 72235 h 13"/>
                  <a:gd name="T28" fmla="*/ 142109 w 13"/>
                  <a:gd name="T29" fmla="*/ 72235 h 13"/>
                  <a:gd name="T30" fmla="*/ 172253 w 13"/>
                  <a:gd name="T31" fmla="*/ 102634 h 13"/>
                  <a:gd name="T32" fmla="*/ 196402 w 13"/>
                  <a:gd name="T33" fmla="*/ 102634 h 13"/>
                  <a:gd name="T34" fmla="*/ 369205 w 13"/>
                  <a:gd name="T35" fmla="*/ 0 h 13"/>
                  <a:gd name="T36" fmla="*/ 369205 w 13"/>
                  <a:gd name="T37" fmla="*/ 30292 h 13"/>
                  <a:gd name="T38" fmla="*/ 410757 w 13"/>
                  <a:gd name="T39" fmla="*/ 72235 h 13"/>
                  <a:gd name="T40" fmla="*/ 410757 w 13"/>
                  <a:gd name="T41" fmla="*/ 172253 h 13"/>
                  <a:gd name="T42" fmla="*/ 266641 w 13"/>
                  <a:gd name="T43" fmla="*/ 196402 h 13"/>
                  <a:gd name="T44" fmla="*/ 266641 w 13"/>
                  <a:gd name="T45" fmla="*/ 196402 h 13"/>
                  <a:gd name="T46" fmla="*/ 338875 w 13"/>
                  <a:gd name="T47" fmla="*/ 266641 h 13"/>
                  <a:gd name="T48" fmla="*/ 338875 w 13"/>
                  <a:gd name="T49" fmla="*/ 296773 h 13"/>
                  <a:gd name="T50" fmla="*/ 296773 w 13"/>
                  <a:gd name="T51" fmla="*/ 338875 h 13"/>
                  <a:gd name="T52" fmla="*/ 266641 w 13"/>
                  <a:gd name="T53" fmla="*/ 338875 h 13"/>
                  <a:gd name="T54" fmla="*/ 244743 w 13"/>
                  <a:gd name="T55" fmla="*/ 369205 h 13"/>
                  <a:gd name="T56" fmla="*/ 244743 w 13"/>
                  <a:gd name="T57" fmla="*/ 369205 h 13"/>
                  <a:gd name="T58" fmla="*/ 196402 w 13"/>
                  <a:gd name="T59" fmla="*/ 410757 h 13"/>
                  <a:gd name="T60" fmla="*/ 142109 w 13"/>
                  <a:gd name="T61" fmla="*/ 439275 h 13"/>
                  <a:gd name="T62" fmla="*/ 142109 w 13"/>
                  <a:gd name="T63" fmla="*/ 172253 h 13"/>
                  <a:gd name="T64" fmla="*/ 142109 w 13"/>
                  <a:gd name="T65" fmla="*/ 196402 h 13"/>
                  <a:gd name="T66" fmla="*/ 142109 w 13"/>
                  <a:gd name="T67" fmla="*/ 244743 h 13"/>
                  <a:gd name="T68" fmla="*/ 102634 w 13"/>
                  <a:gd name="T69" fmla="*/ 369205 h 13"/>
                  <a:gd name="T70" fmla="*/ 102634 w 13"/>
                  <a:gd name="T71" fmla="*/ 369205 h 13"/>
                  <a:gd name="T72" fmla="*/ 142109 w 13"/>
                  <a:gd name="T73" fmla="*/ 369205 h 13"/>
                  <a:gd name="T74" fmla="*/ 142109 w 13"/>
                  <a:gd name="T75" fmla="*/ 369205 h 13"/>
                  <a:gd name="T76" fmla="*/ 172253 w 13"/>
                  <a:gd name="T77" fmla="*/ 369205 h 13"/>
                  <a:gd name="T78" fmla="*/ 196402 w 13"/>
                  <a:gd name="T79" fmla="*/ 338875 h 13"/>
                  <a:gd name="T80" fmla="*/ 244743 w 13"/>
                  <a:gd name="T81" fmla="*/ 338875 h 13"/>
                  <a:gd name="T82" fmla="*/ 266641 w 13"/>
                  <a:gd name="T83" fmla="*/ 296773 h 13"/>
                  <a:gd name="T84" fmla="*/ 266641 w 13"/>
                  <a:gd name="T85" fmla="*/ 296773 h 13"/>
                  <a:gd name="T86" fmla="*/ 266641 w 13"/>
                  <a:gd name="T87" fmla="*/ 266641 h 13"/>
                  <a:gd name="T88" fmla="*/ 196402 w 13"/>
                  <a:gd name="T89" fmla="*/ 172253 h 13"/>
                  <a:gd name="T90" fmla="*/ 244743 w 13"/>
                  <a:gd name="T91" fmla="*/ 172253 h 13"/>
                  <a:gd name="T92" fmla="*/ 266641 w 13"/>
                  <a:gd name="T93" fmla="*/ 172253 h 13"/>
                  <a:gd name="T94" fmla="*/ 369205 w 13"/>
                  <a:gd name="T95" fmla="*/ 142109 h 13"/>
                  <a:gd name="T96" fmla="*/ 369205 w 13"/>
                  <a:gd name="T97" fmla="*/ 72235 h 13"/>
                  <a:gd name="T98" fmla="*/ 369205 w 13"/>
                  <a:gd name="T99" fmla="*/ 72235 h 13"/>
                  <a:gd name="T100" fmla="*/ 196402 w 13"/>
                  <a:gd name="T101" fmla="*/ 142109 h 13"/>
                  <a:gd name="T102" fmla="*/ 142109 w 13"/>
                  <a:gd name="T103" fmla="*/ 142109 h 13"/>
                  <a:gd name="T104" fmla="*/ 142109 w 13"/>
                  <a:gd name="T105" fmla="*/ 102634 h 13"/>
                  <a:gd name="T106" fmla="*/ 142109 w 13"/>
                  <a:gd name="T107" fmla="*/ 142109 h 13"/>
                  <a:gd name="T108" fmla="*/ 142109 w 13"/>
                  <a:gd name="T109" fmla="*/ 172253 h 13"/>
                  <a:gd name="T110" fmla="*/ 102634 w 13"/>
                  <a:gd name="T111" fmla="*/ 142109 h 13"/>
                  <a:gd name="T112" fmla="*/ 102634 w 13"/>
                  <a:gd name="T113" fmla="*/ 142109 h 13"/>
                  <a:gd name="T114" fmla="*/ 102634 w 13"/>
                  <a:gd name="T115" fmla="*/ 142109 h 13"/>
                  <a:gd name="T116" fmla="*/ 102634 w 13"/>
                  <a:gd name="T117" fmla="*/ 172253 h 13"/>
                  <a:gd name="T118" fmla="*/ 142109 w 13"/>
                  <a:gd name="T119" fmla="*/ 172253 h 13"/>
                  <a:gd name="T120" fmla="*/ 102634 w 13"/>
                  <a:gd name="T121" fmla="*/ 172253 h 13"/>
                  <a:gd name="T122" fmla="*/ 142109 w 13"/>
                  <a:gd name="T123" fmla="*/ 172253 h 1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3" h="13">
                    <a:moveTo>
                      <a:pt x="4" y="13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3" y="13"/>
                      <a:pt x="3" y="13"/>
                    </a:cubicBezTo>
                    <a:cubicBezTo>
                      <a:pt x="3" y="13"/>
                      <a:pt x="2" y="12"/>
                      <a:pt x="2" y="12"/>
                    </a:cubicBezTo>
                    <a:cubicBezTo>
                      <a:pt x="1" y="11"/>
                      <a:pt x="2" y="9"/>
                      <a:pt x="2" y="7"/>
                    </a:cubicBezTo>
                    <a:cubicBezTo>
                      <a:pt x="2" y="7"/>
                      <a:pt x="2" y="7"/>
                      <a:pt x="3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1" y="4"/>
                      <a:pt x="2" y="4"/>
                    </a:cubicBezTo>
                    <a:cubicBezTo>
                      <a:pt x="2" y="3"/>
                      <a:pt x="2" y="3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4" y="2"/>
                      <a:pt x="4" y="2"/>
                    </a:cubicBezTo>
                    <a:cubicBezTo>
                      <a:pt x="4" y="2"/>
                      <a:pt x="5" y="2"/>
                      <a:pt x="5" y="3"/>
                    </a:cubicBezTo>
                    <a:cubicBezTo>
                      <a:pt x="5" y="3"/>
                      <a:pt x="6" y="3"/>
                      <a:pt x="6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2" y="1"/>
                      <a:pt x="12" y="1"/>
                      <a:pt x="12" y="2"/>
                    </a:cubicBezTo>
                    <a:cubicBezTo>
                      <a:pt x="12" y="3"/>
                      <a:pt x="13" y="4"/>
                      <a:pt x="12" y="5"/>
                    </a:cubicBezTo>
                    <a:cubicBezTo>
                      <a:pt x="11" y="6"/>
                      <a:pt x="10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9"/>
                      <a:pt x="9" y="9"/>
                      <a:pt x="9" y="10"/>
                    </a:cubicBezTo>
                    <a:cubicBezTo>
                      <a:pt x="9" y="10"/>
                      <a:pt x="9" y="10"/>
                      <a:pt x="8" y="10"/>
                    </a:cubicBezTo>
                    <a:cubicBezTo>
                      <a:pt x="8" y="11"/>
                      <a:pt x="8" y="11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6" y="11"/>
                      <a:pt x="6" y="11"/>
                      <a:pt x="6" y="12"/>
                    </a:cubicBezTo>
                    <a:cubicBezTo>
                      <a:pt x="5" y="12"/>
                      <a:pt x="5" y="13"/>
                      <a:pt x="4" y="13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7"/>
                      <a:pt x="4" y="7"/>
                    </a:cubicBezTo>
                    <a:cubicBezTo>
                      <a:pt x="3" y="9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4" y="11"/>
                      <a:pt x="4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1"/>
                      <a:pt x="4" y="11"/>
                      <a:pt x="5" y="11"/>
                    </a:cubicBezTo>
                    <a:cubicBezTo>
                      <a:pt x="5" y="11"/>
                      <a:pt x="5" y="10"/>
                      <a:pt x="6" y="10"/>
                    </a:cubicBezTo>
                    <a:cubicBezTo>
                      <a:pt x="6" y="10"/>
                      <a:pt x="7" y="10"/>
                      <a:pt x="7" y="10"/>
                    </a:cubicBezTo>
                    <a:cubicBezTo>
                      <a:pt x="7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8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7" y="5"/>
                      <a:pt x="8" y="5"/>
                    </a:cubicBezTo>
                    <a:cubicBezTo>
                      <a:pt x="9" y="5"/>
                      <a:pt x="10" y="5"/>
                      <a:pt x="11" y="4"/>
                    </a:cubicBezTo>
                    <a:cubicBezTo>
                      <a:pt x="11" y="4"/>
                      <a:pt x="11" y="3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5"/>
                      <a:pt x="3" y="5"/>
                      <a:pt x="3" y="5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6" name="Freeform 430"/>
              <p:cNvSpPr/>
              <p:nvPr/>
            </p:nvSpPr>
            <p:spPr bwMode="auto">
              <a:xfrm>
                <a:off x="3071" y="1631"/>
                <a:ext cx="12" cy="9"/>
              </a:xfrm>
              <a:custGeom>
                <a:avLst/>
                <a:gdLst>
                  <a:gd name="T0" fmla="*/ 153278 w 5"/>
                  <a:gd name="T1" fmla="*/ 66330 h 4"/>
                  <a:gd name="T2" fmla="*/ 0 w 5"/>
                  <a:gd name="T3" fmla="*/ 36860 h 4"/>
                  <a:gd name="T4" fmla="*/ 76999 w 5"/>
                  <a:gd name="T5" fmla="*/ 0 h 4"/>
                  <a:gd name="T6" fmla="*/ 107827 w 5"/>
                  <a:gd name="T7" fmla="*/ 36860 h 4"/>
                  <a:gd name="T8" fmla="*/ 153278 w 5"/>
                  <a:gd name="T9" fmla="*/ 6633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4" y="4"/>
                    </a:moveTo>
                    <a:cubicBezTo>
                      <a:pt x="3" y="4"/>
                      <a:pt x="2" y="2"/>
                      <a:pt x="0" y="2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4" y="0"/>
                      <a:pt x="5" y="1"/>
                      <a:pt x="3" y="2"/>
                    </a:cubicBezTo>
                    <a:cubicBezTo>
                      <a:pt x="4" y="2"/>
                      <a:pt x="4" y="3"/>
                      <a:pt x="4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7" name="Freeform 431"/>
              <p:cNvSpPr>
                <a:spLocks noEditPoints="1"/>
              </p:cNvSpPr>
              <p:nvPr/>
            </p:nvSpPr>
            <p:spPr bwMode="auto">
              <a:xfrm>
                <a:off x="3069" y="1628"/>
                <a:ext cx="14" cy="12"/>
              </a:xfrm>
              <a:custGeom>
                <a:avLst/>
                <a:gdLst>
                  <a:gd name="T0" fmla="*/ 133628 w 6"/>
                  <a:gd name="T1" fmla="*/ 184798 h 5"/>
                  <a:gd name="T2" fmla="*/ 75677 w 6"/>
                  <a:gd name="T3" fmla="*/ 184798 h 5"/>
                  <a:gd name="T4" fmla="*/ 24544 w 6"/>
                  <a:gd name="T5" fmla="*/ 153278 h 5"/>
                  <a:gd name="T6" fmla="*/ 0 w 6"/>
                  <a:gd name="T7" fmla="*/ 153278 h 5"/>
                  <a:gd name="T8" fmla="*/ 24544 w 6"/>
                  <a:gd name="T9" fmla="*/ 107827 h 5"/>
                  <a:gd name="T10" fmla="*/ 24544 w 6"/>
                  <a:gd name="T11" fmla="*/ 76999 h 5"/>
                  <a:gd name="T12" fmla="*/ 75677 w 6"/>
                  <a:gd name="T13" fmla="*/ 0 h 5"/>
                  <a:gd name="T14" fmla="*/ 133628 w 6"/>
                  <a:gd name="T15" fmla="*/ 76999 h 5"/>
                  <a:gd name="T16" fmla="*/ 133628 w 6"/>
                  <a:gd name="T17" fmla="*/ 107827 h 5"/>
                  <a:gd name="T18" fmla="*/ 158172 w 6"/>
                  <a:gd name="T19" fmla="*/ 184798 h 5"/>
                  <a:gd name="T20" fmla="*/ 158172 w 6"/>
                  <a:gd name="T21" fmla="*/ 184798 h 5"/>
                  <a:gd name="T22" fmla="*/ 133628 w 6"/>
                  <a:gd name="T23" fmla="*/ 184798 h 5"/>
                  <a:gd name="T24" fmla="*/ 133628 w 6"/>
                  <a:gd name="T25" fmla="*/ 184798 h 5"/>
                  <a:gd name="T26" fmla="*/ 75677 w 6"/>
                  <a:gd name="T27" fmla="*/ 107827 h 5"/>
                  <a:gd name="T28" fmla="*/ 75677 w 6"/>
                  <a:gd name="T29" fmla="*/ 153278 h 5"/>
                  <a:gd name="T30" fmla="*/ 133628 w 6"/>
                  <a:gd name="T31" fmla="*/ 153278 h 5"/>
                  <a:gd name="T32" fmla="*/ 100221 w 6"/>
                  <a:gd name="T33" fmla="*/ 107827 h 5"/>
                  <a:gd name="T34" fmla="*/ 75677 w 6"/>
                  <a:gd name="T35" fmla="*/ 107827 h 5"/>
                  <a:gd name="T36" fmla="*/ 57269 w 6"/>
                  <a:gd name="T37" fmla="*/ 107827 h 5"/>
                  <a:gd name="T38" fmla="*/ 57269 w 6"/>
                  <a:gd name="T39" fmla="*/ 107827 h 5"/>
                  <a:gd name="T40" fmla="*/ 100221 w 6"/>
                  <a:gd name="T41" fmla="*/ 76999 h 5"/>
                  <a:gd name="T42" fmla="*/ 100221 w 6"/>
                  <a:gd name="T43" fmla="*/ 76999 h 5"/>
                  <a:gd name="T44" fmla="*/ 75677 w 6"/>
                  <a:gd name="T45" fmla="*/ 32083 h 5"/>
                  <a:gd name="T46" fmla="*/ 57269 w 6"/>
                  <a:gd name="T47" fmla="*/ 107827 h 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6" h="5">
                    <a:moveTo>
                      <a:pt x="5" y="5"/>
                    </a:moveTo>
                    <a:cubicBezTo>
                      <a:pt x="4" y="5"/>
                      <a:pt x="3" y="5"/>
                      <a:pt x="3" y="5"/>
                    </a:cubicBezTo>
                    <a:cubicBezTo>
                      <a:pt x="2" y="4"/>
                      <a:pt x="2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2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3"/>
                      <a:pt x="6" y="4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lose/>
                    <a:moveTo>
                      <a:pt x="3" y="3"/>
                    </a:moveTo>
                    <a:cubicBezTo>
                      <a:pt x="3" y="3"/>
                      <a:pt x="3" y="3"/>
                      <a:pt x="3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4" y="3"/>
                      <a:pt x="4" y="3"/>
                      <a:pt x="4" y="3"/>
                    </a:cubicBezTo>
                    <a:lnTo>
                      <a:pt x="3" y="3"/>
                    </a:lnTo>
                    <a:close/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1"/>
                      <a:pt x="3" y="1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8" name="Freeform 432"/>
              <p:cNvSpPr/>
              <p:nvPr/>
            </p:nvSpPr>
            <p:spPr bwMode="auto">
              <a:xfrm>
                <a:off x="3008" y="1600"/>
                <a:ext cx="9" cy="12"/>
              </a:xfrm>
              <a:custGeom>
                <a:avLst/>
                <a:gdLst>
                  <a:gd name="T0" fmla="*/ 36860 w 4"/>
                  <a:gd name="T1" fmla="*/ 153278 h 5"/>
                  <a:gd name="T2" fmla="*/ 0 w 4"/>
                  <a:gd name="T3" fmla="*/ 153278 h 5"/>
                  <a:gd name="T4" fmla="*/ 66330 w 4"/>
                  <a:gd name="T5" fmla="*/ 0 h 5"/>
                  <a:gd name="T6" fmla="*/ 36860 w 4"/>
                  <a:gd name="T7" fmla="*/ 153278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5">
                    <a:moveTo>
                      <a:pt x="2" y="4"/>
                    </a:moveTo>
                    <a:cubicBezTo>
                      <a:pt x="1" y="4"/>
                      <a:pt x="1" y="5"/>
                      <a:pt x="0" y="4"/>
                    </a:cubicBezTo>
                    <a:cubicBezTo>
                      <a:pt x="1" y="3"/>
                      <a:pt x="2" y="0"/>
                      <a:pt x="4" y="0"/>
                    </a:cubicBezTo>
                    <a:cubicBezTo>
                      <a:pt x="4" y="2"/>
                      <a:pt x="3" y="3"/>
                      <a:pt x="2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9" name="Freeform 433"/>
              <p:cNvSpPr>
                <a:spLocks noEditPoints="1"/>
              </p:cNvSpPr>
              <p:nvPr/>
            </p:nvSpPr>
            <p:spPr bwMode="auto">
              <a:xfrm>
                <a:off x="3008" y="1598"/>
                <a:ext cx="11" cy="14"/>
              </a:xfrm>
              <a:custGeom>
                <a:avLst/>
                <a:gdLst>
                  <a:gd name="T0" fmla="*/ 10987 w 5"/>
                  <a:gd name="T1" fmla="*/ 158172 h 6"/>
                  <a:gd name="T2" fmla="*/ 0 w 5"/>
                  <a:gd name="T3" fmla="*/ 158172 h 6"/>
                  <a:gd name="T4" fmla="*/ 0 w 5"/>
                  <a:gd name="T5" fmla="*/ 158172 h 6"/>
                  <a:gd name="T6" fmla="*/ 0 w 5"/>
                  <a:gd name="T7" fmla="*/ 133628 h 6"/>
                  <a:gd name="T8" fmla="*/ 0 w 5"/>
                  <a:gd name="T9" fmla="*/ 100221 h 6"/>
                  <a:gd name="T10" fmla="*/ 53176 w 5"/>
                  <a:gd name="T11" fmla="*/ 0 h 6"/>
                  <a:gd name="T12" fmla="*/ 53176 w 5"/>
                  <a:gd name="T13" fmla="*/ 0 h 6"/>
                  <a:gd name="T14" fmla="*/ 53176 w 5"/>
                  <a:gd name="T15" fmla="*/ 24544 h 6"/>
                  <a:gd name="T16" fmla="*/ 53176 w 5"/>
                  <a:gd name="T17" fmla="*/ 24544 h 6"/>
                  <a:gd name="T18" fmla="*/ 24171 w 5"/>
                  <a:gd name="T19" fmla="*/ 158172 h 6"/>
                  <a:gd name="T20" fmla="*/ 24171 w 5"/>
                  <a:gd name="T21" fmla="*/ 158172 h 6"/>
                  <a:gd name="T22" fmla="*/ 10987 w 5"/>
                  <a:gd name="T23" fmla="*/ 158172 h 6"/>
                  <a:gd name="T24" fmla="*/ 40152 w 5"/>
                  <a:gd name="T25" fmla="*/ 57269 h 6"/>
                  <a:gd name="T26" fmla="*/ 10987 w 5"/>
                  <a:gd name="T27" fmla="*/ 133628 h 6"/>
                  <a:gd name="T28" fmla="*/ 10987 w 5"/>
                  <a:gd name="T29" fmla="*/ 133628 h 6"/>
                  <a:gd name="T30" fmla="*/ 10987 w 5"/>
                  <a:gd name="T31" fmla="*/ 133628 h 6"/>
                  <a:gd name="T32" fmla="*/ 40152 w 5"/>
                  <a:gd name="T33" fmla="*/ 57269 h 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" h="6">
                    <a:moveTo>
                      <a:pt x="1" y="6"/>
                    </a:moveTo>
                    <a:cubicBezTo>
                      <a:pt x="1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1" y="3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3"/>
                      <a:pt x="4" y="4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1" y="6"/>
                      <a:pt x="1" y="6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2" y="3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3" y="4"/>
                      <a:pt x="3" y="3"/>
                      <a:pt x="3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0" name="Freeform 434"/>
              <p:cNvSpPr/>
              <p:nvPr/>
            </p:nvSpPr>
            <p:spPr bwMode="auto">
              <a:xfrm>
                <a:off x="3102" y="1661"/>
                <a:ext cx="43" cy="50"/>
              </a:xfrm>
              <a:custGeom>
                <a:avLst/>
                <a:gdLst>
                  <a:gd name="T0" fmla="*/ 73208 w 18"/>
                  <a:gd name="T1" fmla="*/ 696145 h 21"/>
                  <a:gd name="T2" fmla="*/ 248103 w 18"/>
                  <a:gd name="T3" fmla="*/ 666236 h 21"/>
                  <a:gd name="T4" fmla="*/ 273533 w 18"/>
                  <a:gd name="T5" fmla="*/ 598129 h 21"/>
                  <a:gd name="T6" fmla="*/ 344559 w 18"/>
                  <a:gd name="T7" fmla="*/ 555652 h 21"/>
                  <a:gd name="T8" fmla="*/ 448851 w 18"/>
                  <a:gd name="T9" fmla="*/ 462771 h 21"/>
                  <a:gd name="T10" fmla="*/ 519877 w 18"/>
                  <a:gd name="T11" fmla="*/ 363476 h 21"/>
                  <a:gd name="T12" fmla="*/ 592691 w 18"/>
                  <a:gd name="T13" fmla="*/ 263202 h 21"/>
                  <a:gd name="T14" fmla="*/ 549186 w 18"/>
                  <a:gd name="T15" fmla="*/ 169257 h 21"/>
                  <a:gd name="T16" fmla="*/ 417783 w 18"/>
                  <a:gd name="T17" fmla="*/ 71088 h 21"/>
                  <a:gd name="T18" fmla="*/ 273533 w 18"/>
                  <a:gd name="T19" fmla="*/ 0 h 21"/>
                  <a:gd name="T20" fmla="*/ 273533 w 18"/>
                  <a:gd name="T21" fmla="*/ 98017 h 21"/>
                  <a:gd name="T22" fmla="*/ 248103 w 18"/>
                  <a:gd name="T23" fmla="*/ 194364 h 21"/>
                  <a:gd name="T24" fmla="*/ 273533 w 18"/>
                  <a:gd name="T25" fmla="*/ 263202 h 21"/>
                  <a:gd name="T26" fmla="*/ 200719 w 18"/>
                  <a:gd name="T27" fmla="*/ 432852 h 21"/>
                  <a:gd name="T28" fmla="*/ 0 w 18"/>
                  <a:gd name="T29" fmla="*/ 504105 h 21"/>
                  <a:gd name="T30" fmla="*/ 73208 w 18"/>
                  <a:gd name="T31" fmla="*/ 696145 h 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8" h="21">
                    <a:moveTo>
                      <a:pt x="2" y="21"/>
                    </a:moveTo>
                    <a:cubicBezTo>
                      <a:pt x="3" y="20"/>
                      <a:pt x="6" y="20"/>
                      <a:pt x="7" y="20"/>
                    </a:cubicBezTo>
                    <a:cubicBezTo>
                      <a:pt x="7" y="19"/>
                      <a:pt x="7" y="18"/>
                      <a:pt x="8" y="18"/>
                    </a:cubicBezTo>
                    <a:cubicBezTo>
                      <a:pt x="9" y="17"/>
                      <a:pt x="10" y="18"/>
                      <a:pt x="10" y="17"/>
                    </a:cubicBezTo>
                    <a:cubicBezTo>
                      <a:pt x="11" y="15"/>
                      <a:pt x="13" y="15"/>
                      <a:pt x="13" y="14"/>
                    </a:cubicBezTo>
                    <a:cubicBezTo>
                      <a:pt x="13" y="13"/>
                      <a:pt x="13" y="10"/>
                      <a:pt x="15" y="11"/>
                    </a:cubicBezTo>
                    <a:cubicBezTo>
                      <a:pt x="15" y="10"/>
                      <a:pt x="17" y="9"/>
                      <a:pt x="17" y="8"/>
                    </a:cubicBezTo>
                    <a:cubicBezTo>
                      <a:pt x="18" y="6"/>
                      <a:pt x="17" y="6"/>
                      <a:pt x="16" y="5"/>
                    </a:cubicBezTo>
                    <a:cubicBezTo>
                      <a:pt x="15" y="3"/>
                      <a:pt x="13" y="3"/>
                      <a:pt x="12" y="2"/>
                    </a:cubicBezTo>
                    <a:cubicBezTo>
                      <a:pt x="10" y="2"/>
                      <a:pt x="10" y="0"/>
                      <a:pt x="8" y="0"/>
                    </a:cubicBezTo>
                    <a:cubicBezTo>
                      <a:pt x="10" y="3"/>
                      <a:pt x="8" y="2"/>
                      <a:pt x="8" y="3"/>
                    </a:cubicBezTo>
                    <a:cubicBezTo>
                      <a:pt x="7" y="4"/>
                      <a:pt x="7" y="5"/>
                      <a:pt x="7" y="6"/>
                    </a:cubicBezTo>
                    <a:cubicBezTo>
                      <a:pt x="8" y="7"/>
                      <a:pt x="9" y="7"/>
                      <a:pt x="8" y="8"/>
                    </a:cubicBezTo>
                    <a:cubicBezTo>
                      <a:pt x="8" y="9"/>
                      <a:pt x="7" y="12"/>
                      <a:pt x="6" y="13"/>
                    </a:cubicBezTo>
                    <a:cubicBezTo>
                      <a:pt x="4" y="13"/>
                      <a:pt x="2" y="14"/>
                      <a:pt x="0" y="15"/>
                    </a:cubicBezTo>
                    <a:cubicBezTo>
                      <a:pt x="0" y="17"/>
                      <a:pt x="1" y="19"/>
                      <a:pt x="2" y="2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1" name="Freeform 435"/>
              <p:cNvSpPr>
                <a:spLocks noEditPoints="1"/>
              </p:cNvSpPr>
              <p:nvPr/>
            </p:nvSpPr>
            <p:spPr bwMode="auto">
              <a:xfrm>
                <a:off x="3100" y="1661"/>
                <a:ext cx="45" cy="50"/>
              </a:xfrm>
              <a:custGeom>
                <a:avLst/>
                <a:gdLst>
                  <a:gd name="T0" fmla="*/ 65136 w 19"/>
                  <a:gd name="T1" fmla="*/ 666236 h 21"/>
                  <a:gd name="T2" fmla="*/ 0 w 19"/>
                  <a:gd name="T3" fmla="*/ 462771 h 21"/>
                  <a:gd name="T4" fmla="*/ 222745 w 19"/>
                  <a:gd name="T5" fmla="*/ 402993 h 21"/>
                  <a:gd name="T6" fmla="*/ 276392 w 19"/>
                  <a:gd name="T7" fmla="*/ 263202 h 21"/>
                  <a:gd name="T8" fmla="*/ 250472 w 19"/>
                  <a:gd name="T9" fmla="*/ 194364 h 21"/>
                  <a:gd name="T10" fmla="*/ 250472 w 19"/>
                  <a:gd name="T11" fmla="*/ 98017 h 21"/>
                  <a:gd name="T12" fmla="*/ 276392 w 19"/>
                  <a:gd name="T13" fmla="*/ 29857 h 21"/>
                  <a:gd name="T14" fmla="*/ 276392 w 19"/>
                  <a:gd name="T15" fmla="*/ 0 h 21"/>
                  <a:gd name="T16" fmla="*/ 365374 w 19"/>
                  <a:gd name="T17" fmla="*/ 29857 h 21"/>
                  <a:gd name="T18" fmla="*/ 433506 w 19"/>
                  <a:gd name="T19" fmla="*/ 71088 h 21"/>
                  <a:gd name="T20" fmla="*/ 567263 w 19"/>
                  <a:gd name="T21" fmla="*/ 169257 h 21"/>
                  <a:gd name="T22" fmla="*/ 527554 w 19"/>
                  <a:gd name="T23" fmla="*/ 363476 h 21"/>
                  <a:gd name="T24" fmla="*/ 499176 w 19"/>
                  <a:gd name="T25" fmla="*/ 402993 h 21"/>
                  <a:gd name="T26" fmla="*/ 471074 w 19"/>
                  <a:gd name="T27" fmla="*/ 402993 h 21"/>
                  <a:gd name="T28" fmla="*/ 405938 w 19"/>
                  <a:gd name="T29" fmla="*/ 526498 h 21"/>
                  <a:gd name="T30" fmla="*/ 316793 w 19"/>
                  <a:gd name="T31" fmla="*/ 598129 h 21"/>
                  <a:gd name="T32" fmla="*/ 276392 w 19"/>
                  <a:gd name="T33" fmla="*/ 626671 h 21"/>
                  <a:gd name="T34" fmla="*/ 154269 w 19"/>
                  <a:gd name="T35" fmla="*/ 696145 h 21"/>
                  <a:gd name="T36" fmla="*/ 27502 w 19"/>
                  <a:gd name="T37" fmla="*/ 504105 h 21"/>
                  <a:gd name="T38" fmla="*/ 94048 w 19"/>
                  <a:gd name="T39" fmla="*/ 666236 h 21"/>
                  <a:gd name="T40" fmla="*/ 222745 w 19"/>
                  <a:gd name="T41" fmla="*/ 626671 h 21"/>
                  <a:gd name="T42" fmla="*/ 276392 w 19"/>
                  <a:gd name="T43" fmla="*/ 555652 h 21"/>
                  <a:gd name="T44" fmla="*/ 316793 w 19"/>
                  <a:gd name="T45" fmla="*/ 555652 h 21"/>
                  <a:gd name="T46" fmla="*/ 405938 w 19"/>
                  <a:gd name="T47" fmla="*/ 462771 h 21"/>
                  <a:gd name="T48" fmla="*/ 499176 w 19"/>
                  <a:gd name="T49" fmla="*/ 363476 h 21"/>
                  <a:gd name="T50" fmla="*/ 567263 w 19"/>
                  <a:gd name="T51" fmla="*/ 263202 h 21"/>
                  <a:gd name="T52" fmla="*/ 499176 w 19"/>
                  <a:gd name="T53" fmla="*/ 169257 h 21"/>
                  <a:gd name="T54" fmla="*/ 365374 w 19"/>
                  <a:gd name="T55" fmla="*/ 98017 h 21"/>
                  <a:gd name="T56" fmla="*/ 316793 w 19"/>
                  <a:gd name="T57" fmla="*/ 29857 h 21"/>
                  <a:gd name="T58" fmla="*/ 276392 w 19"/>
                  <a:gd name="T59" fmla="*/ 140471 h 21"/>
                  <a:gd name="T60" fmla="*/ 276392 w 19"/>
                  <a:gd name="T61" fmla="*/ 194364 h 21"/>
                  <a:gd name="T62" fmla="*/ 316793 w 19"/>
                  <a:gd name="T63" fmla="*/ 263202 h 21"/>
                  <a:gd name="T64" fmla="*/ 222745 w 19"/>
                  <a:gd name="T65" fmla="*/ 432852 h 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9" h="21">
                    <a:moveTo>
                      <a:pt x="3" y="21"/>
                    </a:moveTo>
                    <a:cubicBezTo>
                      <a:pt x="2" y="20"/>
                      <a:pt x="2" y="20"/>
                      <a:pt x="2" y="20"/>
                    </a:cubicBezTo>
                    <a:cubicBezTo>
                      <a:pt x="1" y="18"/>
                      <a:pt x="1" y="17"/>
                      <a:pt x="0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14"/>
                      <a:pt x="5" y="13"/>
                      <a:pt x="7" y="12"/>
                    </a:cubicBezTo>
                    <a:cubicBezTo>
                      <a:pt x="8" y="12"/>
                      <a:pt x="8" y="10"/>
                      <a:pt x="8" y="9"/>
                    </a:cubicBezTo>
                    <a:cubicBezTo>
                      <a:pt x="8" y="9"/>
                      <a:pt x="9" y="8"/>
                      <a:pt x="9" y="8"/>
                    </a:cubicBezTo>
                    <a:cubicBezTo>
                      <a:pt x="9" y="8"/>
                      <a:pt x="9" y="7"/>
                      <a:pt x="8" y="7"/>
                    </a:cubicBezTo>
                    <a:cubicBezTo>
                      <a:pt x="8" y="7"/>
                      <a:pt x="8" y="6"/>
                      <a:pt x="8" y="6"/>
                    </a:cubicBezTo>
                    <a:cubicBezTo>
                      <a:pt x="7" y="6"/>
                      <a:pt x="8" y="5"/>
                      <a:pt x="8" y="4"/>
                    </a:cubicBezTo>
                    <a:cubicBezTo>
                      <a:pt x="8" y="4"/>
                      <a:pt x="8" y="3"/>
                      <a:pt x="8" y="3"/>
                    </a:cubicBezTo>
                    <a:cubicBezTo>
                      <a:pt x="8" y="2"/>
                      <a:pt x="9" y="2"/>
                      <a:pt x="9" y="2"/>
                    </a:cubicBezTo>
                    <a:cubicBezTo>
                      <a:pt x="9" y="2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2" y="1"/>
                    </a:cubicBezTo>
                    <a:cubicBezTo>
                      <a:pt x="12" y="1"/>
                      <a:pt x="12" y="1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5" y="2"/>
                      <a:pt x="16" y="3"/>
                      <a:pt x="17" y="4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9" y="6"/>
                      <a:pt x="19" y="6"/>
                      <a:pt x="19" y="8"/>
                    </a:cubicBezTo>
                    <a:cubicBezTo>
                      <a:pt x="19" y="9"/>
                      <a:pt x="18" y="10"/>
                      <a:pt x="17" y="11"/>
                    </a:cubicBezTo>
                    <a:cubicBezTo>
                      <a:pt x="17" y="11"/>
                      <a:pt x="16" y="11"/>
                      <a:pt x="16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2"/>
                      <a:pt x="15" y="13"/>
                      <a:pt x="15" y="14"/>
                    </a:cubicBezTo>
                    <a:cubicBezTo>
                      <a:pt x="15" y="15"/>
                      <a:pt x="14" y="15"/>
                      <a:pt x="13" y="16"/>
                    </a:cubicBezTo>
                    <a:cubicBezTo>
                      <a:pt x="12" y="16"/>
                      <a:pt x="12" y="17"/>
                      <a:pt x="11" y="17"/>
                    </a:cubicBezTo>
                    <a:cubicBezTo>
                      <a:pt x="11" y="18"/>
                      <a:pt x="10" y="18"/>
                      <a:pt x="10" y="18"/>
                    </a:cubicBezTo>
                    <a:cubicBezTo>
                      <a:pt x="10" y="18"/>
                      <a:pt x="9" y="18"/>
                      <a:pt x="9" y="18"/>
                    </a:cubicBezTo>
                    <a:cubicBezTo>
                      <a:pt x="9" y="18"/>
                      <a:pt x="9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7" y="21"/>
                      <a:pt x="7" y="21"/>
                      <a:pt x="5" y="21"/>
                    </a:cubicBezTo>
                    <a:cubicBezTo>
                      <a:pt x="4" y="21"/>
                      <a:pt x="4" y="21"/>
                      <a:pt x="3" y="21"/>
                    </a:cubicBezTo>
                    <a:close/>
                    <a:moveTo>
                      <a:pt x="1" y="15"/>
                    </a:moveTo>
                    <a:cubicBezTo>
                      <a:pt x="2" y="17"/>
                      <a:pt x="3" y="18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4" y="20"/>
                      <a:pt x="4" y="20"/>
                      <a:pt x="5" y="20"/>
                    </a:cubicBezTo>
                    <a:cubicBezTo>
                      <a:pt x="6" y="20"/>
                      <a:pt x="7" y="19"/>
                      <a:pt x="7" y="19"/>
                    </a:cubicBezTo>
                    <a:cubicBezTo>
                      <a:pt x="7" y="19"/>
                      <a:pt x="8" y="19"/>
                      <a:pt x="8" y="18"/>
                    </a:cubicBezTo>
                    <a:cubicBezTo>
                      <a:pt x="8" y="18"/>
                      <a:pt x="8" y="18"/>
                      <a:pt x="9" y="17"/>
                    </a:cubicBezTo>
                    <a:cubicBezTo>
                      <a:pt x="9" y="17"/>
                      <a:pt x="9" y="17"/>
                      <a:pt x="10" y="17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1" y="16"/>
                      <a:pt x="12" y="15"/>
                      <a:pt x="12" y="15"/>
                    </a:cubicBezTo>
                    <a:cubicBezTo>
                      <a:pt x="13" y="15"/>
                      <a:pt x="13" y="14"/>
                      <a:pt x="13" y="14"/>
                    </a:cubicBezTo>
                    <a:cubicBezTo>
                      <a:pt x="13" y="14"/>
                      <a:pt x="13" y="12"/>
                      <a:pt x="14" y="11"/>
                    </a:cubicBezTo>
                    <a:cubicBezTo>
                      <a:pt x="15" y="10"/>
                      <a:pt x="15" y="10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7" y="9"/>
                      <a:pt x="18" y="8"/>
                      <a:pt x="18" y="8"/>
                    </a:cubicBezTo>
                    <a:cubicBezTo>
                      <a:pt x="18" y="7"/>
                      <a:pt x="18" y="7"/>
                      <a:pt x="17" y="6"/>
                    </a:cubicBezTo>
                    <a:cubicBezTo>
                      <a:pt x="17" y="6"/>
                      <a:pt x="17" y="5"/>
                      <a:pt x="16" y="5"/>
                    </a:cubicBezTo>
                    <a:cubicBezTo>
                      <a:pt x="16" y="4"/>
                      <a:pt x="15" y="4"/>
                      <a:pt x="13" y="3"/>
                    </a:cubicBezTo>
                    <a:cubicBezTo>
                      <a:pt x="13" y="3"/>
                      <a:pt x="13" y="3"/>
                      <a:pt x="12" y="3"/>
                    </a:cubicBezTo>
                    <a:cubicBezTo>
                      <a:pt x="12" y="2"/>
                      <a:pt x="11" y="2"/>
                      <a:pt x="11" y="1"/>
                    </a:cubicBezTo>
                    <a:cubicBezTo>
                      <a:pt x="11" y="1"/>
                      <a:pt x="10" y="1"/>
                      <a:pt x="10" y="1"/>
                    </a:cubicBezTo>
                    <a:cubicBezTo>
                      <a:pt x="11" y="2"/>
                      <a:pt x="10" y="2"/>
                      <a:pt x="10" y="3"/>
                    </a:cubicBezTo>
                    <a:cubicBezTo>
                      <a:pt x="9" y="3"/>
                      <a:pt x="9" y="3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9" y="5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0" y="7"/>
                      <a:pt x="10" y="8"/>
                    </a:cubicBezTo>
                    <a:cubicBezTo>
                      <a:pt x="10" y="9"/>
                      <a:pt x="10" y="9"/>
                      <a:pt x="9" y="9"/>
                    </a:cubicBezTo>
                    <a:cubicBezTo>
                      <a:pt x="9" y="11"/>
                      <a:pt x="9" y="13"/>
                      <a:pt x="7" y="13"/>
                    </a:cubicBezTo>
                    <a:cubicBezTo>
                      <a:pt x="5" y="14"/>
                      <a:pt x="3" y="15"/>
                      <a:pt x="1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2" name="Freeform 436"/>
              <p:cNvSpPr/>
              <p:nvPr/>
            </p:nvSpPr>
            <p:spPr bwMode="auto">
              <a:xfrm>
                <a:off x="3123" y="1654"/>
                <a:ext cx="3" cy="3"/>
              </a:xfrm>
              <a:custGeom>
                <a:avLst/>
                <a:gdLst>
                  <a:gd name="T0" fmla="*/ 531441 w 1"/>
                  <a:gd name="T1" fmla="*/ 531441 h 1"/>
                  <a:gd name="T2" fmla="*/ 531441 w 1"/>
                  <a:gd name="T3" fmla="*/ 0 h 1"/>
                  <a:gd name="T4" fmla="*/ 531441 w 1"/>
                  <a:gd name="T5" fmla="*/ 531441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0"/>
                      <a:pt x="1" y="0"/>
                    </a:cubicBezTo>
                    <a:cubicBezTo>
                      <a:pt x="0" y="0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3" name="Freeform 437"/>
              <p:cNvSpPr/>
              <p:nvPr/>
            </p:nvSpPr>
            <p:spPr bwMode="auto">
              <a:xfrm>
                <a:off x="3121" y="1649"/>
                <a:ext cx="7" cy="10"/>
              </a:xfrm>
              <a:custGeom>
                <a:avLst/>
                <a:gdLst>
                  <a:gd name="T0" fmla="*/ 57269 w 3"/>
                  <a:gd name="T1" fmla="*/ 241220 h 4"/>
                  <a:gd name="T2" fmla="*/ 24544 w 3"/>
                  <a:gd name="T3" fmla="*/ 241220 h 4"/>
                  <a:gd name="T4" fmla="*/ 0 w 3"/>
                  <a:gd name="T5" fmla="*/ 191220 h 4"/>
                  <a:gd name="T6" fmla="*/ 24544 w 3"/>
                  <a:gd name="T7" fmla="*/ 76488 h 4"/>
                  <a:gd name="T8" fmla="*/ 75677 w 3"/>
                  <a:gd name="T9" fmla="*/ 0 h 4"/>
                  <a:gd name="T10" fmla="*/ 57269 w 3"/>
                  <a:gd name="T11" fmla="*/ 126958 h 4"/>
                  <a:gd name="T12" fmla="*/ 57269 w 3"/>
                  <a:gd name="T13" fmla="*/ 126958 h 4"/>
                  <a:gd name="T14" fmla="*/ 57269 w 3"/>
                  <a:gd name="T15" fmla="*/ 191220 h 4"/>
                  <a:gd name="T16" fmla="*/ 57269 w 3"/>
                  <a:gd name="T17" fmla="*/ 241220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1" y="3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4" name="Freeform 438"/>
              <p:cNvSpPr/>
              <p:nvPr/>
            </p:nvSpPr>
            <p:spPr bwMode="auto">
              <a:xfrm>
                <a:off x="3149" y="1583"/>
                <a:ext cx="92" cy="85"/>
              </a:xfrm>
              <a:custGeom>
                <a:avLst/>
                <a:gdLst>
                  <a:gd name="T0" fmla="*/ 502492 w 39"/>
                  <a:gd name="T1" fmla="*/ 1083750 h 36"/>
                  <a:gd name="T2" fmla="*/ 389427 w 39"/>
                  <a:gd name="T3" fmla="*/ 965033 h 36"/>
                  <a:gd name="T4" fmla="*/ 302791 w 39"/>
                  <a:gd name="T5" fmla="*/ 965033 h 36"/>
                  <a:gd name="T6" fmla="*/ 266557 w 39"/>
                  <a:gd name="T7" fmla="*/ 989993 h 36"/>
                  <a:gd name="T8" fmla="*/ 213013 w 39"/>
                  <a:gd name="T9" fmla="*/ 965033 h 36"/>
                  <a:gd name="T10" fmla="*/ 63416 w 39"/>
                  <a:gd name="T11" fmla="*/ 965033 h 36"/>
                  <a:gd name="T12" fmla="*/ 176482 w 39"/>
                  <a:gd name="T13" fmla="*/ 814173 h 36"/>
                  <a:gd name="T14" fmla="*/ 90299 w 39"/>
                  <a:gd name="T15" fmla="*/ 727338 h 36"/>
                  <a:gd name="T16" fmla="*/ 0 w 39"/>
                  <a:gd name="T17" fmla="*/ 598119 h 36"/>
                  <a:gd name="T18" fmla="*/ 302791 w 39"/>
                  <a:gd name="T19" fmla="*/ 636591 h 36"/>
                  <a:gd name="T20" fmla="*/ 389427 w 39"/>
                  <a:gd name="T21" fmla="*/ 569861 h 36"/>
                  <a:gd name="T22" fmla="*/ 479204 w 39"/>
                  <a:gd name="T23" fmla="*/ 486009 h 36"/>
                  <a:gd name="T24" fmla="*/ 592636 w 39"/>
                  <a:gd name="T25" fmla="*/ 447192 h 36"/>
                  <a:gd name="T26" fmla="*/ 592636 w 39"/>
                  <a:gd name="T27" fmla="*/ 392308 h 36"/>
                  <a:gd name="T28" fmla="*/ 656052 w 39"/>
                  <a:gd name="T29" fmla="*/ 328532 h 36"/>
                  <a:gd name="T30" fmla="*/ 628801 w 39"/>
                  <a:gd name="T31" fmla="*/ 269615 h 36"/>
                  <a:gd name="T32" fmla="*/ 714276 w 39"/>
                  <a:gd name="T33" fmla="*/ 241353 h 36"/>
                  <a:gd name="T34" fmla="*/ 742183 w 39"/>
                  <a:gd name="T35" fmla="*/ 150582 h 36"/>
                  <a:gd name="T36" fmla="*/ 742183 w 39"/>
                  <a:gd name="T37" fmla="*/ 90787 h 36"/>
                  <a:gd name="T38" fmla="*/ 832470 w 39"/>
                  <a:gd name="T39" fmla="*/ 27011 h 36"/>
                  <a:gd name="T40" fmla="*/ 1045118 w 39"/>
                  <a:gd name="T41" fmla="*/ 27011 h 36"/>
                  <a:gd name="T42" fmla="*/ 1072001 w 39"/>
                  <a:gd name="T43" fmla="*/ 114190 h 36"/>
                  <a:gd name="T44" fmla="*/ 1158495 w 39"/>
                  <a:gd name="T45" fmla="*/ 150582 h 36"/>
                  <a:gd name="T46" fmla="*/ 1095067 w 39"/>
                  <a:gd name="T47" fmla="*/ 214358 h 36"/>
                  <a:gd name="T48" fmla="*/ 982081 w 39"/>
                  <a:gd name="T49" fmla="*/ 214358 h 36"/>
                  <a:gd name="T50" fmla="*/ 918648 w 39"/>
                  <a:gd name="T51" fmla="*/ 269615 h 36"/>
                  <a:gd name="T52" fmla="*/ 945559 w 39"/>
                  <a:gd name="T53" fmla="*/ 392308 h 36"/>
                  <a:gd name="T54" fmla="*/ 982081 w 39"/>
                  <a:gd name="T55" fmla="*/ 447192 h 36"/>
                  <a:gd name="T56" fmla="*/ 945559 w 39"/>
                  <a:gd name="T57" fmla="*/ 506123 h 36"/>
                  <a:gd name="T58" fmla="*/ 982081 w 39"/>
                  <a:gd name="T59" fmla="*/ 506123 h 36"/>
                  <a:gd name="T60" fmla="*/ 678790 w 39"/>
                  <a:gd name="T61" fmla="*/ 747821 h 36"/>
                  <a:gd name="T62" fmla="*/ 592636 w 39"/>
                  <a:gd name="T63" fmla="*/ 866481 h 36"/>
                  <a:gd name="T64" fmla="*/ 656052 w 39"/>
                  <a:gd name="T65" fmla="*/ 904919 h 36"/>
                  <a:gd name="T66" fmla="*/ 678790 w 39"/>
                  <a:gd name="T67" fmla="*/ 926283 h 36"/>
                  <a:gd name="T68" fmla="*/ 678790 w 39"/>
                  <a:gd name="T69" fmla="*/ 1055870 h 36"/>
                  <a:gd name="T70" fmla="*/ 565909 w 39"/>
                  <a:gd name="T71" fmla="*/ 1017053 h 36"/>
                  <a:gd name="T72" fmla="*/ 502492 w 39"/>
                  <a:gd name="T73" fmla="*/ 1083750 h 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39" h="36">
                    <a:moveTo>
                      <a:pt x="17" y="36"/>
                    </a:moveTo>
                    <a:cubicBezTo>
                      <a:pt x="15" y="36"/>
                      <a:pt x="15" y="32"/>
                      <a:pt x="13" y="32"/>
                    </a:cubicBezTo>
                    <a:cubicBezTo>
                      <a:pt x="12" y="32"/>
                      <a:pt x="11" y="32"/>
                      <a:pt x="10" y="32"/>
                    </a:cubicBezTo>
                    <a:cubicBezTo>
                      <a:pt x="9" y="32"/>
                      <a:pt x="9" y="33"/>
                      <a:pt x="9" y="33"/>
                    </a:cubicBezTo>
                    <a:cubicBezTo>
                      <a:pt x="8" y="33"/>
                      <a:pt x="8" y="32"/>
                      <a:pt x="7" y="32"/>
                    </a:cubicBezTo>
                    <a:cubicBezTo>
                      <a:pt x="6" y="32"/>
                      <a:pt x="2" y="34"/>
                      <a:pt x="2" y="32"/>
                    </a:cubicBezTo>
                    <a:cubicBezTo>
                      <a:pt x="3" y="29"/>
                      <a:pt x="5" y="29"/>
                      <a:pt x="6" y="27"/>
                    </a:cubicBezTo>
                    <a:cubicBezTo>
                      <a:pt x="4" y="27"/>
                      <a:pt x="5" y="25"/>
                      <a:pt x="3" y="24"/>
                    </a:cubicBezTo>
                    <a:cubicBezTo>
                      <a:pt x="2" y="23"/>
                      <a:pt x="1" y="22"/>
                      <a:pt x="0" y="20"/>
                    </a:cubicBezTo>
                    <a:cubicBezTo>
                      <a:pt x="4" y="21"/>
                      <a:pt x="7" y="22"/>
                      <a:pt x="10" y="21"/>
                    </a:cubicBezTo>
                    <a:cubicBezTo>
                      <a:pt x="12" y="21"/>
                      <a:pt x="13" y="21"/>
                      <a:pt x="13" y="19"/>
                    </a:cubicBezTo>
                    <a:cubicBezTo>
                      <a:pt x="13" y="17"/>
                      <a:pt x="14" y="17"/>
                      <a:pt x="16" y="16"/>
                    </a:cubicBezTo>
                    <a:cubicBezTo>
                      <a:pt x="16" y="15"/>
                      <a:pt x="19" y="16"/>
                      <a:pt x="20" y="15"/>
                    </a:cubicBezTo>
                    <a:cubicBezTo>
                      <a:pt x="20" y="15"/>
                      <a:pt x="20" y="13"/>
                      <a:pt x="20" y="13"/>
                    </a:cubicBezTo>
                    <a:cubicBezTo>
                      <a:pt x="20" y="11"/>
                      <a:pt x="21" y="11"/>
                      <a:pt x="22" y="11"/>
                    </a:cubicBezTo>
                    <a:cubicBezTo>
                      <a:pt x="22" y="10"/>
                      <a:pt x="22" y="9"/>
                      <a:pt x="21" y="9"/>
                    </a:cubicBezTo>
                    <a:cubicBezTo>
                      <a:pt x="22" y="9"/>
                      <a:pt x="25" y="9"/>
                      <a:pt x="24" y="8"/>
                    </a:cubicBezTo>
                    <a:cubicBezTo>
                      <a:pt x="24" y="8"/>
                      <a:pt x="25" y="6"/>
                      <a:pt x="25" y="5"/>
                    </a:cubicBezTo>
                    <a:cubicBezTo>
                      <a:pt x="25" y="4"/>
                      <a:pt x="24" y="4"/>
                      <a:pt x="25" y="3"/>
                    </a:cubicBezTo>
                    <a:cubicBezTo>
                      <a:pt x="26" y="2"/>
                      <a:pt x="27" y="1"/>
                      <a:pt x="28" y="1"/>
                    </a:cubicBezTo>
                    <a:cubicBezTo>
                      <a:pt x="31" y="1"/>
                      <a:pt x="34" y="0"/>
                      <a:pt x="35" y="1"/>
                    </a:cubicBezTo>
                    <a:cubicBezTo>
                      <a:pt x="35" y="2"/>
                      <a:pt x="35" y="4"/>
                      <a:pt x="36" y="4"/>
                    </a:cubicBezTo>
                    <a:cubicBezTo>
                      <a:pt x="37" y="4"/>
                      <a:pt x="38" y="5"/>
                      <a:pt x="39" y="5"/>
                    </a:cubicBezTo>
                    <a:cubicBezTo>
                      <a:pt x="38" y="5"/>
                      <a:pt x="37" y="7"/>
                      <a:pt x="37" y="7"/>
                    </a:cubicBezTo>
                    <a:cubicBezTo>
                      <a:pt x="35" y="7"/>
                      <a:pt x="35" y="8"/>
                      <a:pt x="33" y="7"/>
                    </a:cubicBezTo>
                    <a:cubicBezTo>
                      <a:pt x="31" y="7"/>
                      <a:pt x="29" y="8"/>
                      <a:pt x="31" y="9"/>
                    </a:cubicBezTo>
                    <a:cubicBezTo>
                      <a:pt x="30" y="11"/>
                      <a:pt x="31" y="12"/>
                      <a:pt x="32" y="13"/>
                    </a:cubicBezTo>
                    <a:cubicBezTo>
                      <a:pt x="33" y="14"/>
                      <a:pt x="35" y="13"/>
                      <a:pt x="33" y="15"/>
                    </a:cubicBezTo>
                    <a:cubicBezTo>
                      <a:pt x="32" y="15"/>
                      <a:pt x="32" y="16"/>
                      <a:pt x="32" y="17"/>
                    </a:cubicBezTo>
                    <a:cubicBezTo>
                      <a:pt x="32" y="17"/>
                      <a:pt x="32" y="17"/>
                      <a:pt x="33" y="17"/>
                    </a:cubicBezTo>
                    <a:cubicBezTo>
                      <a:pt x="31" y="18"/>
                      <a:pt x="25" y="29"/>
                      <a:pt x="23" y="25"/>
                    </a:cubicBezTo>
                    <a:cubicBezTo>
                      <a:pt x="22" y="26"/>
                      <a:pt x="20" y="27"/>
                      <a:pt x="20" y="29"/>
                    </a:cubicBezTo>
                    <a:cubicBezTo>
                      <a:pt x="20" y="29"/>
                      <a:pt x="22" y="29"/>
                      <a:pt x="22" y="30"/>
                    </a:cubicBezTo>
                    <a:cubicBezTo>
                      <a:pt x="22" y="31"/>
                      <a:pt x="22" y="30"/>
                      <a:pt x="23" y="31"/>
                    </a:cubicBezTo>
                    <a:cubicBezTo>
                      <a:pt x="23" y="32"/>
                      <a:pt x="25" y="36"/>
                      <a:pt x="23" y="35"/>
                    </a:cubicBezTo>
                    <a:cubicBezTo>
                      <a:pt x="23" y="35"/>
                      <a:pt x="19" y="35"/>
                      <a:pt x="19" y="34"/>
                    </a:cubicBezTo>
                    <a:cubicBezTo>
                      <a:pt x="19" y="36"/>
                      <a:pt x="18" y="36"/>
                      <a:pt x="17" y="36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5" name="Freeform 439"/>
              <p:cNvSpPr>
                <a:spLocks noEditPoints="1"/>
              </p:cNvSpPr>
              <p:nvPr/>
            </p:nvSpPr>
            <p:spPr bwMode="auto">
              <a:xfrm>
                <a:off x="3147" y="1583"/>
                <a:ext cx="99" cy="88"/>
              </a:xfrm>
              <a:custGeom>
                <a:avLst/>
                <a:gdLst>
                  <a:gd name="T0" fmla="*/ 440307 w 42"/>
                  <a:gd name="T1" fmla="*/ 1118042 h 37"/>
                  <a:gd name="T2" fmla="*/ 322999 w 42"/>
                  <a:gd name="T3" fmla="*/ 1076257 h 37"/>
                  <a:gd name="T4" fmla="*/ 238107 w 42"/>
                  <a:gd name="T5" fmla="*/ 1076257 h 37"/>
                  <a:gd name="T6" fmla="*/ 89708 w 42"/>
                  <a:gd name="T7" fmla="*/ 1076257 h 37"/>
                  <a:gd name="T8" fmla="*/ 175440 w 42"/>
                  <a:gd name="T9" fmla="*/ 920399 h 37"/>
                  <a:gd name="T10" fmla="*/ 26770 w 42"/>
                  <a:gd name="T11" fmla="*/ 689273 h 37"/>
                  <a:gd name="T12" fmla="*/ 322999 w 42"/>
                  <a:gd name="T13" fmla="*/ 689273 h 37"/>
                  <a:gd name="T14" fmla="*/ 498430 w 42"/>
                  <a:gd name="T15" fmla="*/ 521319 h 37"/>
                  <a:gd name="T16" fmla="*/ 588977 w 42"/>
                  <a:gd name="T17" fmla="*/ 499778 h 37"/>
                  <a:gd name="T18" fmla="*/ 588977 w 42"/>
                  <a:gd name="T19" fmla="*/ 399470 h 37"/>
                  <a:gd name="T20" fmla="*/ 651767 w 42"/>
                  <a:gd name="T21" fmla="*/ 289808 h 37"/>
                  <a:gd name="T22" fmla="*/ 736697 w 42"/>
                  <a:gd name="T23" fmla="*/ 260116 h 37"/>
                  <a:gd name="T24" fmla="*/ 736697 w 42"/>
                  <a:gd name="T25" fmla="*/ 139030 h 37"/>
                  <a:gd name="T26" fmla="*/ 761355 w 42"/>
                  <a:gd name="T27" fmla="*/ 70619 h 37"/>
                  <a:gd name="T28" fmla="*/ 974766 w 42"/>
                  <a:gd name="T29" fmla="*/ 0 h 37"/>
                  <a:gd name="T30" fmla="*/ 1085540 w 42"/>
                  <a:gd name="T31" fmla="*/ 97402 h 37"/>
                  <a:gd name="T32" fmla="*/ 1174871 w 42"/>
                  <a:gd name="T33" fmla="*/ 139030 h 37"/>
                  <a:gd name="T34" fmla="*/ 1150206 w 42"/>
                  <a:gd name="T35" fmla="*/ 190263 h 37"/>
                  <a:gd name="T36" fmla="*/ 1057586 w 42"/>
                  <a:gd name="T37" fmla="*/ 260116 h 37"/>
                  <a:gd name="T38" fmla="*/ 936863 w 42"/>
                  <a:gd name="T39" fmla="*/ 260116 h 37"/>
                  <a:gd name="T40" fmla="*/ 974766 w 42"/>
                  <a:gd name="T41" fmla="*/ 289808 h 37"/>
                  <a:gd name="T42" fmla="*/ 1037867 w 42"/>
                  <a:gd name="T43" fmla="*/ 452517 h 37"/>
                  <a:gd name="T44" fmla="*/ 1001470 w 42"/>
                  <a:gd name="T45" fmla="*/ 521319 h 37"/>
                  <a:gd name="T46" fmla="*/ 1001470 w 42"/>
                  <a:gd name="T47" fmla="*/ 591869 h 37"/>
                  <a:gd name="T48" fmla="*/ 709901 w 42"/>
                  <a:gd name="T49" fmla="*/ 851987 h 37"/>
                  <a:gd name="T50" fmla="*/ 671986 w 42"/>
                  <a:gd name="T51" fmla="*/ 950091 h 37"/>
                  <a:gd name="T52" fmla="*/ 709901 w 42"/>
                  <a:gd name="T53" fmla="*/ 1020710 h 37"/>
                  <a:gd name="T54" fmla="*/ 709901 w 42"/>
                  <a:gd name="T55" fmla="*/ 1188661 h 37"/>
                  <a:gd name="T56" fmla="*/ 523130 w 42"/>
                  <a:gd name="T57" fmla="*/ 1188661 h 37"/>
                  <a:gd name="T58" fmla="*/ 476704 w 42"/>
                  <a:gd name="T59" fmla="*/ 1118042 h 37"/>
                  <a:gd name="T60" fmla="*/ 561252 w 42"/>
                  <a:gd name="T61" fmla="*/ 1141565 h 37"/>
                  <a:gd name="T62" fmla="*/ 709901 w 42"/>
                  <a:gd name="T63" fmla="*/ 1118042 h 37"/>
                  <a:gd name="T64" fmla="*/ 671986 w 42"/>
                  <a:gd name="T65" fmla="*/ 1020710 h 37"/>
                  <a:gd name="T66" fmla="*/ 651767 w 42"/>
                  <a:gd name="T67" fmla="*/ 978855 h 37"/>
                  <a:gd name="T68" fmla="*/ 671986 w 42"/>
                  <a:gd name="T69" fmla="*/ 811122 h 37"/>
                  <a:gd name="T70" fmla="*/ 736697 w 42"/>
                  <a:gd name="T71" fmla="*/ 811122 h 37"/>
                  <a:gd name="T72" fmla="*/ 974766 w 42"/>
                  <a:gd name="T73" fmla="*/ 550973 h 37"/>
                  <a:gd name="T74" fmla="*/ 936863 w 42"/>
                  <a:gd name="T75" fmla="*/ 521319 h 37"/>
                  <a:gd name="T76" fmla="*/ 974766 w 42"/>
                  <a:gd name="T77" fmla="*/ 452517 h 37"/>
                  <a:gd name="T78" fmla="*/ 1001470 w 42"/>
                  <a:gd name="T79" fmla="*/ 231659 h 37"/>
                  <a:gd name="T80" fmla="*/ 1150206 w 42"/>
                  <a:gd name="T81" fmla="*/ 190263 h 37"/>
                  <a:gd name="T82" fmla="*/ 1085540 w 42"/>
                  <a:gd name="T83" fmla="*/ 139030 h 37"/>
                  <a:gd name="T84" fmla="*/ 974766 w 42"/>
                  <a:gd name="T85" fmla="*/ 29692 h 37"/>
                  <a:gd name="T86" fmla="*/ 799637 w 42"/>
                  <a:gd name="T87" fmla="*/ 97402 h 37"/>
                  <a:gd name="T88" fmla="*/ 761355 w 42"/>
                  <a:gd name="T89" fmla="*/ 139030 h 37"/>
                  <a:gd name="T90" fmla="*/ 761355 w 42"/>
                  <a:gd name="T91" fmla="*/ 260116 h 37"/>
                  <a:gd name="T92" fmla="*/ 671986 w 42"/>
                  <a:gd name="T93" fmla="*/ 330666 h 37"/>
                  <a:gd name="T94" fmla="*/ 671986 w 42"/>
                  <a:gd name="T95" fmla="*/ 358222 h 37"/>
                  <a:gd name="T96" fmla="*/ 624197 w 42"/>
                  <a:gd name="T97" fmla="*/ 521319 h 37"/>
                  <a:gd name="T98" fmla="*/ 523130 w 42"/>
                  <a:gd name="T99" fmla="*/ 521319 h 37"/>
                  <a:gd name="T100" fmla="*/ 498430 w 42"/>
                  <a:gd name="T101" fmla="*/ 550973 h 37"/>
                  <a:gd name="T102" fmla="*/ 322999 w 42"/>
                  <a:gd name="T103" fmla="*/ 718970 h 37"/>
                  <a:gd name="T104" fmla="*/ 175440 w 42"/>
                  <a:gd name="T105" fmla="*/ 851987 h 37"/>
                  <a:gd name="T106" fmla="*/ 211455 w 42"/>
                  <a:gd name="T107" fmla="*/ 920399 h 37"/>
                  <a:gd name="T108" fmla="*/ 112344 w 42"/>
                  <a:gd name="T109" fmla="*/ 1047493 h 37"/>
                  <a:gd name="T110" fmla="*/ 211455 w 42"/>
                  <a:gd name="T111" fmla="*/ 1047493 h 37"/>
                  <a:gd name="T112" fmla="*/ 264811 w 42"/>
                  <a:gd name="T113" fmla="*/ 1047493 h 37"/>
                  <a:gd name="T114" fmla="*/ 322999 w 42"/>
                  <a:gd name="T115" fmla="*/ 1020710 h 3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42" h="37">
                    <a:moveTo>
                      <a:pt x="18" y="37"/>
                    </a:moveTo>
                    <a:cubicBezTo>
                      <a:pt x="18" y="37"/>
                      <a:pt x="18" y="37"/>
                      <a:pt x="18" y="37"/>
                    </a:cubicBezTo>
                    <a:cubicBezTo>
                      <a:pt x="16" y="37"/>
                      <a:pt x="16" y="35"/>
                      <a:pt x="15" y="34"/>
                    </a:cubicBezTo>
                    <a:cubicBezTo>
                      <a:pt x="15" y="33"/>
                      <a:pt x="14" y="33"/>
                      <a:pt x="14" y="33"/>
                    </a:cubicBezTo>
                    <a:cubicBezTo>
                      <a:pt x="14" y="33"/>
                      <a:pt x="13" y="33"/>
                      <a:pt x="13" y="33"/>
                    </a:cubicBezTo>
                    <a:cubicBezTo>
                      <a:pt x="12" y="33"/>
                      <a:pt x="11" y="33"/>
                      <a:pt x="11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9" y="33"/>
                      <a:pt x="8" y="33"/>
                      <a:pt x="8" y="33"/>
                    </a:cubicBezTo>
                    <a:cubicBezTo>
                      <a:pt x="8" y="33"/>
                      <a:pt x="7" y="33"/>
                      <a:pt x="7" y="33"/>
                    </a:cubicBezTo>
                    <a:cubicBezTo>
                      <a:pt x="6" y="33"/>
                      <a:pt x="5" y="33"/>
                      <a:pt x="4" y="33"/>
                    </a:cubicBezTo>
                    <a:cubicBezTo>
                      <a:pt x="4" y="33"/>
                      <a:pt x="3" y="33"/>
                      <a:pt x="3" y="33"/>
                    </a:cubicBezTo>
                    <a:cubicBezTo>
                      <a:pt x="3" y="33"/>
                      <a:pt x="3" y="32"/>
                      <a:pt x="3" y="32"/>
                    </a:cubicBezTo>
                    <a:cubicBezTo>
                      <a:pt x="3" y="30"/>
                      <a:pt x="4" y="29"/>
                      <a:pt x="5" y="29"/>
                    </a:cubicBezTo>
                    <a:cubicBezTo>
                      <a:pt x="5" y="28"/>
                      <a:pt x="6" y="28"/>
                      <a:pt x="6" y="28"/>
                    </a:cubicBezTo>
                    <a:cubicBezTo>
                      <a:pt x="5" y="27"/>
                      <a:pt x="5" y="27"/>
                      <a:pt x="5" y="26"/>
                    </a:cubicBezTo>
                    <a:cubicBezTo>
                      <a:pt x="5" y="25"/>
                      <a:pt x="5" y="25"/>
                      <a:pt x="4" y="25"/>
                    </a:cubicBezTo>
                    <a:cubicBezTo>
                      <a:pt x="2" y="24"/>
                      <a:pt x="2" y="23"/>
                      <a:pt x="1" y="2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5" y="21"/>
                      <a:pt x="8" y="21"/>
                      <a:pt x="11" y="21"/>
                    </a:cubicBezTo>
                    <a:cubicBezTo>
                      <a:pt x="11" y="20"/>
                      <a:pt x="12" y="20"/>
                      <a:pt x="12" y="20"/>
                    </a:cubicBezTo>
                    <a:cubicBezTo>
                      <a:pt x="13" y="20"/>
                      <a:pt x="13" y="20"/>
                      <a:pt x="14" y="19"/>
                    </a:cubicBezTo>
                    <a:cubicBezTo>
                      <a:pt x="14" y="17"/>
                      <a:pt x="15" y="16"/>
                      <a:pt x="17" y="16"/>
                    </a:cubicBezTo>
                    <a:cubicBezTo>
                      <a:pt x="17" y="16"/>
                      <a:pt x="17" y="15"/>
                      <a:pt x="17" y="15"/>
                    </a:cubicBezTo>
                    <a:cubicBezTo>
                      <a:pt x="17" y="15"/>
                      <a:pt x="18" y="15"/>
                      <a:pt x="19" y="15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0" y="15"/>
                      <a:pt x="20" y="14"/>
                      <a:pt x="20" y="14"/>
                    </a:cubicBezTo>
                    <a:cubicBezTo>
                      <a:pt x="20" y="13"/>
                      <a:pt x="20" y="13"/>
                      <a:pt x="20" y="12"/>
                    </a:cubicBezTo>
                    <a:cubicBezTo>
                      <a:pt x="21" y="11"/>
                      <a:pt x="22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10"/>
                      <a:pt x="22" y="9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4" y="8"/>
                      <a:pt x="24" y="8"/>
                      <a:pt x="25" y="8"/>
                    </a:cubicBezTo>
                    <a:cubicBezTo>
                      <a:pt x="24" y="8"/>
                      <a:pt x="25" y="7"/>
                      <a:pt x="25" y="6"/>
                    </a:cubicBezTo>
                    <a:cubicBezTo>
                      <a:pt x="25" y="6"/>
                      <a:pt x="26" y="5"/>
                      <a:pt x="26" y="5"/>
                    </a:cubicBezTo>
                    <a:cubicBezTo>
                      <a:pt x="26" y="5"/>
                      <a:pt x="26" y="5"/>
                      <a:pt x="25" y="4"/>
                    </a:cubicBezTo>
                    <a:cubicBezTo>
                      <a:pt x="25" y="4"/>
                      <a:pt x="25" y="4"/>
                      <a:pt x="25" y="3"/>
                    </a:cubicBezTo>
                    <a:cubicBezTo>
                      <a:pt x="25" y="3"/>
                      <a:pt x="25" y="3"/>
                      <a:pt x="25" y="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7" y="1"/>
                      <a:pt x="28" y="0"/>
                      <a:pt x="29" y="0"/>
                    </a:cubicBezTo>
                    <a:cubicBezTo>
                      <a:pt x="30" y="0"/>
                      <a:pt x="31" y="0"/>
                      <a:pt x="31" y="0"/>
                    </a:cubicBezTo>
                    <a:cubicBezTo>
                      <a:pt x="32" y="0"/>
                      <a:pt x="33" y="0"/>
                      <a:pt x="33" y="0"/>
                    </a:cubicBezTo>
                    <a:cubicBezTo>
                      <a:pt x="35" y="0"/>
                      <a:pt x="36" y="0"/>
                      <a:pt x="36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8" y="3"/>
                      <a:pt x="38" y="3"/>
                      <a:pt x="39" y="4"/>
                    </a:cubicBezTo>
                    <a:cubicBezTo>
                      <a:pt x="39" y="4"/>
                      <a:pt x="40" y="4"/>
                      <a:pt x="40" y="4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0" y="6"/>
                      <a:pt x="40" y="6"/>
                      <a:pt x="39" y="6"/>
                    </a:cubicBezTo>
                    <a:cubicBezTo>
                      <a:pt x="39" y="7"/>
                      <a:pt x="38" y="8"/>
                      <a:pt x="38" y="8"/>
                    </a:cubicBezTo>
                    <a:cubicBezTo>
                      <a:pt x="38" y="7"/>
                      <a:pt x="37" y="7"/>
                      <a:pt x="37" y="7"/>
                    </a:cubicBezTo>
                    <a:cubicBezTo>
                      <a:pt x="37" y="7"/>
                      <a:pt x="37" y="8"/>
                      <a:pt x="36" y="8"/>
                    </a:cubicBezTo>
                    <a:cubicBezTo>
                      <a:pt x="36" y="8"/>
                      <a:pt x="35" y="8"/>
                      <a:pt x="34" y="8"/>
                    </a:cubicBezTo>
                    <a:cubicBezTo>
                      <a:pt x="34" y="8"/>
                      <a:pt x="33" y="8"/>
                      <a:pt x="33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2" y="8"/>
                      <a:pt x="32" y="8"/>
                      <a:pt x="33" y="9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2" y="11"/>
                      <a:pt x="33" y="11"/>
                      <a:pt x="34" y="13"/>
                    </a:cubicBezTo>
                    <a:cubicBezTo>
                      <a:pt x="34" y="13"/>
                      <a:pt x="34" y="13"/>
                      <a:pt x="35" y="13"/>
                    </a:cubicBezTo>
                    <a:cubicBezTo>
                      <a:pt x="35" y="13"/>
                      <a:pt x="35" y="13"/>
                      <a:pt x="35" y="14"/>
                    </a:cubicBezTo>
                    <a:cubicBezTo>
                      <a:pt x="35" y="14"/>
                      <a:pt x="35" y="15"/>
                      <a:pt x="34" y="15"/>
                    </a:cubicBezTo>
                    <a:cubicBezTo>
                      <a:pt x="34" y="15"/>
                      <a:pt x="34" y="15"/>
                      <a:pt x="34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17"/>
                      <a:pt x="34" y="17"/>
                      <a:pt x="34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3" y="18"/>
                      <a:pt x="32" y="20"/>
                      <a:pt x="31" y="21"/>
                    </a:cubicBezTo>
                    <a:cubicBezTo>
                      <a:pt x="29" y="24"/>
                      <a:pt x="27" y="26"/>
                      <a:pt x="25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7"/>
                      <a:pt x="22" y="28"/>
                      <a:pt x="22" y="28"/>
                    </a:cubicBezTo>
                    <a:cubicBezTo>
                      <a:pt x="22" y="28"/>
                      <a:pt x="23" y="28"/>
                      <a:pt x="23" y="29"/>
                    </a:cubicBezTo>
                    <a:cubicBezTo>
                      <a:pt x="23" y="29"/>
                      <a:pt x="24" y="29"/>
                      <a:pt x="23" y="30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24" y="30"/>
                      <a:pt x="24" y="30"/>
                      <a:pt x="24" y="31"/>
                    </a:cubicBezTo>
                    <a:cubicBezTo>
                      <a:pt x="24" y="31"/>
                      <a:pt x="26" y="34"/>
                      <a:pt x="25" y="35"/>
                    </a:cubicBezTo>
                    <a:cubicBezTo>
                      <a:pt x="25" y="35"/>
                      <a:pt x="25" y="36"/>
                      <a:pt x="24" y="36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36"/>
                      <a:pt x="24" y="35"/>
                      <a:pt x="24" y="35"/>
                    </a:cubicBezTo>
                    <a:cubicBezTo>
                      <a:pt x="23" y="35"/>
                      <a:pt x="21" y="35"/>
                      <a:pt x="20" y="35"/>
                    </a:cubicBezTo>
                    <a:cubicBezTo>
                      <a:pt x="20" y="36"/>
                      <a:pt x="19" y="36"/>
                      <a:pt x="18" y="36"/>
                    </a:cubicBezTo>
                    <a:cubicBezTo>
                      <a:pt x="18" y="36"/>
                      <a:pt x="18" y="37"/>
                      <a:pt x="18" y="37"/>
                    </a:cubicBezTo>
                    <a:close/>
                    <a:moveTo>
                      <a:pt x="14" y="31"/>
                    </a:moveTo>
                    <a:cubicBezTo>
                      <a:pt x="15" y="31"/>
                      <a:pt x="16" y="33"/>
                      <a:pt x="16" y="34"/>
                    </a:cubicBezTo>
                    <a:cubicBezTo>
                      <a:pt x="17" y="34"/>
                      <a:pt x="17" y="35"/>
                      <a:pt x="18" y="35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0" y="34"/>
                      <a:pt x="23" y="34"/>
                      <a:pt x="24" y="34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3"/>
                      <a:pt x="24" y="32"/>
                      <a:pt x="23" y="32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23" y="31"/>
                      <a:pt x="23" y="31"/>
                      <a:pt x="22" y="31"/>
                    </a:cubicBezTo>
                    <a:cubicBezTo>
                      <a:pt x="22" y="31"/>
                      <a:pt x="22" y="30"/>
                      <a:pt x="22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22" y="30"/>
                      <a:pt x="21" y="30"/>
                      <a:pt x="21" y="29"/>
                    </a:cubicBezTo>
                    <a:cubicBezTo>
                      <a:pt x="21" y="28"/>
                      <a:pt x="22" y="26"/>
                      <a:pt x="23" y="25"/>
                    </a:cubicBezTo>
                    <a:cubicBezTo>
                      <a:pt x="23" y="25"/>
                      <a:pt x="23" y="25"/>
                      <a:pt x="23" y="25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5" y="25"/>
                      <a:pt x="25" y="25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6" y="25"/>
                      <a:pt x="28" y="23"/>
                      <a:pt x="30" y="20"/>
                    </a:cubicBezTo>
                    <a:cubicBezTo>
                      <a:pt x="31" y="19"/>
                      <a:pt x="32" y="18"/>
                      <a:pt x="33" y="17"/>
                    </a:cubicBezTo>
                    <a:cubicBezTo>
                      <a:pt x="32" y="17"/>
                      <a:pt x="32" y="17"/>
                      <a:pt x="32" y="17"/>
                    </a:cubicBezTo>
                    <a:cubicBezTo>
                      <a:pt x="32" y="17"/>
                      <a:pt x="32" y="17"/>
                      <a:pt x="32" y="17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15"/>
                      <a:pt x="33" y="15"/>
                      <a:pt x="33" y="14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2" y="13"/>
                      <a:pt x="31" y="11"/>
                      <a:pt x="31" y="9"/>
                    </a:cubicBezTo>
                    <a:cubicBezTo>
                      <a:pt x="31" y="9"/>
                      <a:pt x="31" y="8"/>
                      <a:pt x="31" y="8"/>
                    </a:cubicBezTo>
                    <a:cubicBezTo>
                      <a:pt x="31" y="7"/>
                      <a:pt x="33" y="6"/>
                      <a:pt x="34" y="7"/>
                    </a:cubicBezTo>
                    <a:cubicBezTo>
                      <a:pt x="35" y="7"/>
                      <a:pt x="35" y="7"/>
                      <a:pt x="36" y="7"/>
                    </a:cubicBezTo>
                    <a:cubicBezTo>
                      <a:pt x="37" y="6"/>
                      <a:pt x="37" y="6"/>
                      <a:pt x="38" y="6"/>
                    </a:cubicBezTo>
                    <a:cubicBezTo>
                      <a:pt x="38" y="6"/>
                      <a:pt x="38" y="6"/>
                      <a:pt x="39" y="6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9" y="5"/>
                      <a:pt x="39" y="5"/>
                      <a:pt x="38" y="5"/>
                    </a:cubicBezTo>
                    <a:cubicBezTo>
                      <a:pt x="38" y="5"/>
                      <a:pt x="38" y="4"/>
                      <a:pt x="37" y="4"/>
                    </a:cubicBezTo>
                    <a:cubicBezTo>
                      <a:pt x="36" y="5"/>
                      <a:pt x="36" y="3"/>
                      <a:pt x="36" y="3"/>
                    </a:cubicBezTo>
                    <a:cubicBezTo>
                      <a:pt x="36" y="2"/>
                      <a:pt x="36" y="2"/>
                      <a:pt x="35" y="2"/>
                    </a:cubicBezTo>
                    <a:cubicBezTo>
                      <a:pt x="35" y="1"/>
                      <a:pt x="34" y="1"/>
                      <a:pt x="33" y="1"/>
                    </a:cubicBezTo>
                    <a:cubicBezTo>
                      <a:pt x="33" y="1"/>
                      <a:pt x="32" y="1"/>
                      <a:pt x="31" y="1"/>
                    </a:cubicBezTo>
                    <a:cubicBezTo>
                      <a:pt x="31" y="1"/>
                      <a:pt x="30" y="2"/>
                      <a:pt x="29" y="2"/>
                    </a:cubicBezTo>
                    <a:cubicBezTo>
                      <a:pt x="29" y="2"/>
                      <a:pt x="28" y="2"/>
                      <a:pt x="27" y="3"/>
                    </a:cubicBezTo>
                    <a:cubicBezTo>
                      <a:pt x="27" y="3"/>
                      <a:pt x="26" y="3"/>
                      <a:pt x="26" y="3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3"/>
                      <a:pt x="26" y="3"/>
                      <a:pt x="26" y="4"/>
                    </a:cubicBezTo>
                    <a:cubicBezTo>
                      <a:pt x="27" y="4"/>
                      <a:pt x="27" y="4"/>
                      <a:pt x="27" y="5"/>
                    </a:cubicBezTo>
                    <a:cubicBezTo>
                      <a:pt x="27" y="5"/>
                      <a:pt x="26" y="6"/>
                      <a:pt x="26" y="7"/>
                    </a:cubicBezTo>
                    <a:cubicBezTo>
                      <a:pt x="26" y="7"/>
                      <a:pt x="26" y="7"/>
                      <a:pt x="26" y="8"/>
                    </a:cubicBezTo>
                    <a:cubicBezTo>
                      <a:pt x="26" y="8"/>
                      <a:pt x="26" y="8"/>
                      <a:pt x="26" y="9"/>
                    </a:cubicBezTo>
                    <a:cubicBezTo>
                      <a:pt x="26" y="9"/>
                      <a:pt x="25" y="9"/>
                      <a:pt x="23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2" y="12"/>
                      <a:pt x="22" y="12"/>
                      <a:pt x="22" y="13"/>
                    </a:cubicBezTo>
                    <a:cubicBezTo>
                      <a:pt x="21" y="13"/>
                      <a:pt x="21" y="13"/>
                      <a:pt x="21" y="14"/>
                    </a:cubicBezTo>
                    <a:cubicBezTo>
                      <a:pt x="21" y="15"/>
                      <a:pt x="21" y="15"/>
                      <a:pt x="21" y="16"/>
                    </a:cubicBezTo>
                    <a:cubicBezTo>
                      <a:pt x="21" y="16"/>
                      <a:pt x="20" y="16"/>
                      <a:pt x="20" y="16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5" y="17"/>
                      <a:pt x="15" y="17"/>
                      <a:pt x="15" y="19"/>
                    </a:cubicBezTo>
                    <a:cubicBezTo>
                      <a:pt x="15" y="21"/>
                      <a:pt x="13" y="21"/>
                      <a:pt x="12" y="21"/>
                    </a:cubicBezTo>
                    <a:cubicBezTo>
                      <a:pt x="12" y="22"/>
                      <a:pt x="12" y="22"/>
                      <a:pt x="11" y="22"/>
                    </a:cubicBezTo>
                    <a:cubicBezTo>
                      <a:pt x="9" y="22"/>
                      <a:pt x="6" y="22"/>
                      <a:pt x="3" y="21"/>
                    </a:cubicBezTo>
                    <a:cubicBezTo>
                      <a:pt x="3" y="22"/>
                      <a:pt x="4" y="23"/>
                      <a:pt x="5" y="24"/>
                    </a:cubicBezTo>
                    <a:cubicBezTo>
                      <a:pt x="6" y="24"/>
                      <a:pt x="6" y="25"/>
                      <a:pt x="6" y="26"/>
                    </a:cubicBezTo>
                    <a:cubicBezTo>
                      <a:pt x="6" y="26"/>
                      <a:pt x="6" y="27"/>
                      <a:pt x="7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7" y="29"/>
                      <a:pt x="6" y="29"/>
                      <a:pt x="6" y="30"/>
                    </a:cubicBezTo>
                    <a:cubicBezTo>
                      <a:pt x="5" y="30"/>
                      <a:pt x="4" y="31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2"/>
                      <a:pt x="6" y="32"/>
                      <a:pt x="7" y="32"/>
                    </a:cubicBezTo>
                    <a:cubicBezTo>
                      <a:pt x="7" y="32"/>
                      <a:pt x="8" y="32"/>
                      <a:pt x="8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9" y="31"/>
                      <a:pt x="9" y="32"/>
                      <a:pt x="9" y="32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32"/>
                      <a:pt x="10" y="31"/>
                      <a:pt x="10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2"/>
                      <a:pt x="12" y="32"/>
                      <a:pt x="13" y="31"/>
                    </a:cubicBezTo>
                    <a:cubicBezTo>
                      <a:pt x="13" y="31"/>
                      <a:pt x="14" y="31"/>
                      <a:pt x="14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6" name="Freeform 440"/>
              <p:cNvSpPr/>
              <p:nvPr/>
            </p:nvSpPr>
            <p:spPr bwMode="auto">
              <a:xfrm>
                <a:off x="3093" y="1654"/>
                <a:ext cx="7" cy="12"/>
              </a:xfrm>
              <a:custGeom>
                <a:avLst/>
                <a:gdLst>
                  <a:gd name="T0" fmla="*/ 57269 w 3"/>
                  <a:gd name="T1" fmla="*/ 153278 h 5"/>
                  <a:gd name="T2" fmla="*/ 57269 w 3"/>
                  <a:gd name="T3" fmla="*/ 0 h 5"/>
                  <a:gd name="T4" fmla="*/ 57269 w 3"/>
                  <a:gd name="T5" fmla="*/ 153278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2" y="4"/>
                    </a:moveTo>
                    <a:cubicBezTo>
                      <a:pt x="3" y="2"/>
                      <a:pt x="3" y="1"/>
                      <a:pt x="2" y="0"/>
                    </a:cubicBezTo>
                    <a:cubicBezTo>
                      <a:pt x="1" y="1"/>
                      <a:pt x="0" y="5"/>
                      <a:pt x="2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7" name="Freeform 441"/>
              <p:cNvSpPr>
                <a:spLocks noEditPoints="1"/>
              </p:cNvSpPr>
              <p:nvPr/>
            </p:nvSpPr>
            <p:spPr bwMode="auto">
              <a:xfrm>
                <a:off x="3093" y="1652"/>
                <a:ext cx="9" cy="12"/>
              </a:xfrm>
              <a:custGeom>
                <a:avLst/>
                <a:gdLst>
                  <a:gd name="T0" fmla="*/ 36860 w 4"/>
                  <a:gd name="T1" fmla="*/ 184798 h 5"/>
                  <a:gd name="T2" fmla="*/ 36860 w 4"/>
                  <a:gd name="T3" fmla="*/ 184798 h 5"/>
                  <a:gd name="T4" fmla="*/ 0 w 4"/>
                  <a:gd name="T5" fmla="*/ 184798 h 5"/>
                  <a:gd name="T6" fmla="*/ 16382 w 4"/>
                  <a:gd name="T7" fmla="*/ 32083 h 5"/>
                  <a:gd name="T8" fmla="*/ 36860 w 4"/>
                  <a:gd name="T9" fmla="*/ 0 h 5"/>
                  <a:gd name="T10" fmla="*/ 36860 w 4"/>
                  <a:gd name="T11" fmla="*/ 0 h 5"/>
                  <a:gd name="T12" fmla="*/ 53228 w 4"/>
                  <a:gd name="T13" fmla="*/ 153278 h 5"/>
                  <a:gd name="T14" fmla="*/ 53228 w 4"/>
                  <a:gd name="T15" fmla="*/ 184798 h 5"/>
                  <a:gd name="T16" fmla="*/ 53228 w 4"/>
                  <a:gd name="T17" fmla="*/ 184798 h 5"/>
                  <a:gd name="T18" fmla="*/ 53228 w 4"/>
                  <a:gd name="T19" fmla="*/ 184798 h 5"/>
                  <a:gd name="T20" fmla="*/ 36860 w 4"/>
                  <a:gd name="T21" fmla="*/ 184798 h 5"/>
                  <a:gd name="T22" fmla="*/ 36860 w 4"/>
                  <a:gd name="T23" fmla="*/ 76999 h 5"/>
                  <a:gd name="T24" fmla="*/ 16382 w 4"/>
                  <a:gd name="T25" fmla="*/ 153278 h 5"/>
                  <a:gd name="T26" fmla="*/ 36860 w 4"/>
                  <a:gd name="T27" fmla="*/ 153278 h 5"/>
                  <a:gd name="T28" fmla="*/ 36860 w 4"/>
                  <a:gd name="T29" fmla="*/ 153278 h 5"/>
                  <a:gd name="T30" fmla="*/ 36860 w 4"/>
                  <a:gd name="T31" fmla="*/ 153278 h 5"/>
                  <a:gd name="T32" fmla="*/ 36860 w 4"/>
                  <a:gd name="T33" fmla="*/ 153278 h 5"/>
                  <a:gd name="T34" fmla="*/ 36860 w 4"/>
                  <a:gd name="T35" fmla="*/ 76999 h 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0" y="5"/>
                    </a:cubicBezTo>
                    <a:cubicBezTo>
                      <a:pt x="0" y="4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3" y="3"/>
                      <a:pt x="3" y="4"/>
                    </a:cubicBezTo>
                    <a:cubicBezTo>
                      <a:pt x="3" y="4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  <a:moveTo>
                      <a:pt x="2" y="2"/>
                    </a:moveTo>
                    <a:cubicBezTo>
                      <a:pt x="2" y="3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8" name="Freeform 442"/>
              <p:cNvSpPr/>
              <p:nvPr/>
            </p:nvSpPr>
            <p:spPr bwMode="auto">
              <a:xfrm>
                <a:off x="3008" y="1616"/>
                <a:ext cx="115" cy="100"/>
              </a:xfrm>
              <a:custGeom>
                <a:avLst/>
                <a:gdLst>
                  <a:gd name="T0" fmla="*/ 500837 w 49"/>
                  <a:gd name="T1" fmla="*/ 1322981 h 42"/>
                  <a:gd name="T2" fmla="*/ 451870 w 49"/>
                  <a:gd name="T3" fmla="*/ 1200250 h 42"/>
                  <a:gd name="T4" fmla="*/ 391049 w 49"/>
                  <a:gd name="T5" fmla="*/ 1059738 h 42"/>
                  <a:gd name="T6" fmla="*/ 274212 w 49"/>
                  <a:gd name="T7" fmla="*/ 988526 h 42"/>
                  <a:gd name="T8" fmla="*/ 274212 w 49"/>
                  <a:gd name="T9" fmla="*/ 865419 h 42"/>
                  <a:gd name="T10" fmla="*/ 142694 w 49"/>
                  <a:gd name="T11" fmla="*/ 598129 h 42"/>
                  <a:gd name="T12" fmla="*/ 0 w 49"/>
                  <a:gd name="T13" fmla="*/ 363476 h 42"/>
                  <a:gd name="T14" fmla="*/ 0 w 49"/>
                  <a:gd name="T15" fmla="*/ 233374 h 42"/>
                  <a:gd name="T16" fmla="*/ 192536 w 49"/>
                  <a:gd name="T17" fmla="*/ 140471 h 42"/>
                  <a:gd name="T18" fmla="*/ 142694 w 49"/>
                  <a:gd name="T19" fmla="*/ 71088 h 42"/>
                  <a:gd name="T20" fmla="*/ 334894 w 49"/>
                  <a:gd name="T21" fmla="*/ 0 h 42"/>
                  <a:gd name="T22" fmla="*/ 500837 w 49"/>
                  <a:gd name="T23" fmla="*/ 140471 h 42"/>
                  <a:gd name="T24" fmla="*/ 557670 w 49"/>
                  <a:gd name="T25" fmla="*/ 169257 h 42"/>
                  <a:gd name="T26" fmla="*/ 643559 w 49"/>
                  <a:gd name="T27" fmla="*/ 263202 h 42"/>
                  <a:gd name="T28" fmla="*/ 726422 w 49"/>
                  <a:gd name="T29" fmla="*/ 292381 h 42"/>
                  <a:gd name="T30" fmla="*/ 811792 w 49"/>
                  <a:gd name="T31" fmla="*/ 292381 h 42"/>
                  <a:gd name="T32" fmla="*/ 832243 w 49"/>
                  <a:gd name="T33" fmla="*/ 334455 h 42"/>
                  <a:gd name="T34" fmla="*/ 865981 w 49"/>
                  <a:gd name="T35" fmla="*/ 334455 h 42"/>
                  <a:gd name="T36" fmla="*/ 917768 w 49"/>
                  <a:gd name="T37" fmla="*/ 432852 h 42"/>
                  <a:gd name="T38" fmla="*/ 973808 w 49"/>
                  <a:gd name="T39" fmla="*/ 504105 h 42"/>
                  <a:gd name="T40" fmla="*/ 997867 w 49"/>
                  <a:gd name="T41" fmla="*/ 598129 h 42"/>
                  <a:gd name="T42" fmla="*/ 1060511 w 49"/>
                  <a:gd name="T43" fmla="*/ 666236 h 42"/>
                  <a:gd name="T44" fmla="*/ 1121349 w 49"/>
                  <a:gd name="T45" fmla="*/ 796321 h 42"/>
                  <a:gd name="T46" fmla="*/ 1308817 w 49"/>
                  <a:gd name="T47" fmla="*/ 836774 h 42"/>
                  <a:gd name="T48" fmla="*/ 1308817 w 49"/>
                  <a:gd name="T49" fmla="*/ 1030600 h 42"/>
                  <a:gd name="T50" fmla="*/ 1121349 w 49"/>
                  <a:gd name="T51" fmla="*/ 1130833 h 42"/>
                  <a:gd name="T52" fmla="*/ 891914 w 49"/>
                  <a:gd name="T53" fmla="*/ 1200250 h 42"/>
                  <a:gd name="T54" fmla="*/ 749143 w 49"/>
                  <a:gd name="T55" fmla="*/ 1394060 h 42"/>
                  <a:gd name="T56" fmla="*/ 643559 w 49"/>
                  <a:gd name="T57" fmla="*/ 1253567 h 42"/>
                  <a:gd name="T58" fmla="*/ 500837 w 49"/>
                  <a:gd name="T59" fmla="*/ 1322981 h 4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49" h="42">
                    <a:moveTo>
                      <a:pt x="18" y="40"/>
                    </a:moveTo>
                    <a:cubicBezTo>
                      <a:pt x="17" y="38"/>
                      <a:pt x="17" y="38"/>
                      <a:pt x="16" y="36"/>
                    </a:cubicBezTo>
                    <a:cubicBezTo>
                      <a:pt x="15" y="35"/>
                      <a:pt x="15" y="33"/>
                      <a:pt x="14" y="32"/>
                    </a:cubicBezTo>
                    <a:cubicBezTo>
                      <a:pt x="13" y="32"/>
                      <a:pt x="11" y="31"/>
                      <a:pt x="10" y="30"/>
                    </a:cubicBezTo>
                    <a:cubicBezTo>
                      <a:pt x="10" y="29"/>
                      <a:pt x="10" y="27"/>
                      <a:pt x="10" y="26"/>
                    </a:cubicBezTo>
                    <a:cubicBezTo>
                      <a:pt x="9" y="22"/>
                      <a:pt x="6" y="21"/>
                      <a:pt x="5" y="18"/>
                    </a:cubicBezTo>
                    <a:cubicBezTo>
                      <a:pt x="5" y="16"/>
                      <a:pt x="2" y="11"/>
                      <a:pt x="0" y="11"/>
                    </a:cubicBezTo>
                    <a:cubicBezTo>
                      <a:pt x="0" y="10"/>
                      <a:pt x="0" y="9"/>
                      <a:pt x="0" y="7"/>
                    </a:cubicBezTo>
                    <a:cubicBezTo>
                      <a:pt x="1" y="10"/>
                      <a:pt x="6" y="5"/>
                      <a:pt x="7" y="4"/>
                    </a:cubicBezTo>
                    <a:cubicBezTo>
                      <a:pt x="6" y="3"/>
                      <a:pt x="6" y="3"/>
                      <a:pt x="5" y="2"/>
                    </a:cubicBezTo>
                    <a:cubicBezTo>
                      <a:pt x="7" y="1"/>
                      <a:pt x="10" y="0"/>
                      <a:pt x="12" y="0"/>
                    </a:cubicBezTo>
                    <a:cubicBezTo>
                      <a:pt x="14" y="1"/>
                      <a:pt x="16" y="3"/>
                      <a:pt x="18" y="4"/>
                    </a:cubicBezTo>
                    <a:cubicBezTo>
                      <a:pt x="18" y="4"/>
                      <a:pt x="20" y="5"/>
                      <a:pt x="20" y="5"/>
                    </a:cubicBezTo>
                    <a:cubicBezTo>
                      <a:pt x="20" y="7"/>
                      <a:pt x="21" y="7"/>
                      <a:pt x="23" y="8"/>
                    </a:cubicBezTo>
                    <a:cubicBezTo>
                      <a:pt x="24" y="8"/>
                      <a:pt x="24" y="9"/>
                      <a:pt x="26" y="9"/>
                    </a:cubicBezTo>
                    <a:cubicBezTo>
                      <a:pt x="27" y="8"/>
                      <a:pt x="28" y="8"/>
                      <a:pt x="29" y="9"/>
                    </a:cubicBezTo>
                    <a:cubicBezTo>
                      <a:pt x="29" y="9"/>
                      <a:pt x="30" y="10"/>
                      <a:pt x="30" y="10"/>
                    </a:cubicBezTo>
                    <a:cubicBezTo>
                      <a:pt x="30" y="10"/>
                      <a:pt x="31" y="10"/>
                      <a:pt x="31" y="10"/>
                    </a:cubicBezTo>
                    <a:cubicBezTo>
                      <a:pt x="32" y="10"/>
                      <a:pt x="33" y="12"/>
                      <a:pt x="33" y="13"/>
                    </a:cubicBezTo>
                    <a:cubicBezTo>
                      <a:pt x="34" y="13"/>
                      <a:pt x="35" y="14"/>
                      <a:pt x="35" y="15"/>
                    </a:cubicBezTo>
                    <a:cubicBezTo>
                      <a:pt x="36" y="16"/>
                      <a:pt x="35" y="17"/>
                      <a:pt x="36" y="18"/>
                    </a:cubicBezTo>
                    <a:cubicBezTo>
                      <a:pt x="37" y="19"/>
                      <a:pt x="37" y="20"/>
                      <a:pt x="38" y="20"/>
                    </a:cubicBezTo>
                    <a:cubicBezTo>
                      <a:pt x="38" y="21"/>
                      <a:pt x="39" y="24"/>
                      <a:pt x="40" y="24"/>
                    </a:cubicBezTo>
                    <a:cubicBezTo>
                      <a:pt x="41" y="25"/>
                      <a:pt x="46" y="26"/>
                      <a:pt x="47" y="25"/>
                    </a:cubicBezTo>
                    <a:cubicBezTo>
                      <a:pt x="49" y="26"/>
                      <a:pt x="48" y="30"/>
                      <a:pt x="47" y="31"/>
                    </a:cubicBezTo>
                    <a:cubicBezTo>
                      <a:pt x="45" y="33"/>
                      <a:pt x="41" y="33"/>
                      <a:pt x="40" y="34"/>
                    </a:cubicBezTo>
                    <a:cubicBezTo>
                      <a:pt x="38" y="34"/>
                      <a:pt x="33" y="34"/>
                      <a:pt x="32" y="36"/>
                    </a:cubicBezTo>
                    <a:cubicBezTo>
                      <a:pt x="30" y="38"/>
                      <a:pt x="28" y="40"/>
                      <a:pt x="27" y="42"/>
                    </a:cubicBezTo>
                    <a:cubicBezTo>
                      <a:pt x="27" y="39"/>
                      <a:pt x="26" y="39"/>
                      <a:pt x="23" y="38"/>
                    </a:cubicBezTo>
                    <a:cubicBezTo>
                      <a:pt x="21" y="37"/>
                      <a:pt x="19" y="39"/>
                      <a:pt x="18" y="4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9" name="Freeform 443"/>
              <p:cNvSpPr>
                <a:spLocks noEditPoints="1"/>
              </p:cNvSpPr>
              <p:nvPr/>
            </p:nvSpPr>
            <p:spPr bwMode="auto">
              <a:xfrm>
                <a:off x="3005" y="1614"/>
                <a:ext cx="118" cy="106"/>
              </a:xfrm>
              <a:custGeom>
                <a:avLst/>
                <a:gdLst>
                  <a:gd name="T0" fmla="*/ 808199 w 50"/>
                  <a:gd name="T1" fmla="*/ 1252157 h 45"/>
                  <a:gd name="T2" fmla="*/ 724605 w 50"/>
                  <a:gd name="T3" fmla="*/ 1163018 h 45"/>
                  <a:gd name="T4" fmla="*/ 567582 w 50"/>
                  <a:gd name="T5" fmla="*/ 1225678 h 45"/>
                  <a:gd name="T6" fmla="*/ 504332 w 50"/>
                  <a:gd name="T7" fmla="*/ 1141139 h 45"/>
                  <a:gd name="T8" fmla="*/ 445551 w 50"/>
                  <a:gd name="T9" fmla="*/ 1051112 h 45"/>
                  <a:gd name="T10" fmla="*/ 390634 w 50"/>
                  <a:gd name="T11" fmla="*/ 966852 h 45"/>
                  <a:gd name="T12" fmla="*/ 307036 w 50"/>
                  <a:gd name="T13" fmla="*/ 815222 h 45"/>
                  <a:gd name="T14" fmla="*/ 240501 w 50"/>
                  <a:gd name="T15" fmla="*/ 667258 h 45"/>
                  <a:gd name="T16" fmla="*/ 26918 w 50"/>
                  <a:gd name="T17" fmla="*/ 383854 h 45"/>
                  <a:gd name="T18" fmla="*/ 0 w 50"/>
                  <a:gd name="T19" fmla="*/ 346085 h 45"/>
                  <a:gd name="T20" fmla="*/ 63526 w 50"/>
                  <a:gd name="T21" fmla="*/ 236938 h 45"/>
                  <a:gd name="T22" fmla="*/ 213700 w 50"/>
                  <a:gd name="T23" fmla="*/ 146923 h 45"/>
                  <a:gd name="T24" fmla="*/ 149921 w 50"/>
                  <a:gd name="T25" fmla="*/ 62373 h 45"/>
                  <a:gd name="T26" fmla="*/ 240501 w 50"/>
                  <a:gd name="T27" fmla="*/ 26479 h 45"/>
                  <a:gd name="T28" fmla="*/ 504332 w 50"/>
                  <a:gd name="T29" fmla="*/ 85217 h 45"/>
                  <a:gd name="T30" fmla="*/ 631147 w 50"/>
                  <a:gd name="T31" fmla="*/ 146923 h 45"/>
                  <a:gd name="T32" fmla="*/ 658065 w 50"/>
                  <a:gd name="T33" fmla="*/ 174250 h 45"/>
                  <a:gd name="T34" fmla="*/ 681424 w 50"/>
                  <a:gd name="T35" fmla="*/ 236938 h 45"/>
                  <a:gd name="T36" fmla="*/ 744951 w 50"/>
                  <a:gd name="T37" fmla="*/ 256737 h 45"/>
                  <a:gd name="T38" fmla="*/ 899936 w 50"/>
                  <a:gd name="T39" fmla="*/ 256737 h 45"/>
                  <a:gd name="T40" fmla="*/ 921896 w 50"/>
                  <a:gd name="T41" fmla="*/ 299438 h 45"/>
                  <a:gd name="T42" fmla="*/ 985451 w 50"/>
                  <a:gd name="T43" fmla="*/ 299438 h 45"/>
                  <a:gd name="T44" fmla="*/ 1051500 w 50"/>
                  <a:gd name="T45" fmla="*/ 383854 h 45"/>
                  <a:gd name="T46" fmla="*/ 1098870 w 50"/>
                  <a:gd name="T47" fmla="*/ 472838 h 45"/>
                  <a:gd name="T48" fmla="*/ 1135597 w 50"/>
                  <a:gd name="T49" fmla="*/ 558121 h 45"/>
                  <a:gd name="T50" fmla="*/ 1162397 w 50"/>
                  <a:gd name="T51" fmla="*/ 604758 h 45"/>
                  <a:gd name="T52" fmla="*/ 1226176 w 50"/>
                  <a:gd name="T53" fmla="*/ 729940 h 45"/>
                  <a:gd name="T54" fmla="*/ 1430703 w 50"/>
                  <a:gd name="T55" fmla="*/ 729940 h 45"/>
                  <a:gd name="T56" fmla="*/ 1469433 w 50"/>
                  <a:gd name="T57" fmla="*/ 729940 h 45"/>
                  <a:gd name="T58" fmla="*/ 1226176 w 50"/>
                  <a:gd name="T59" fmla="*/ 1016111 h 45"/>
                  <a:gd name="T60" fmla="*/ 1162397 w 50"/>
                  <a:gd name="T61" fmla="*/ 1051112 h 45"/>
                  <a:gd name="T62" fmla="*/ 808199 w 50"/>
                  <a:gd name="T63" fmla="*/ 1314685 h 45"/>
                  <a:gd name="T64" fmla="*/ 724605 w 50"/>
                  <a:gd name="T65" fmla="*/ 1141139 h 45"/>
                  <a:gd name="T66" fmla="*/ 835001 w 50"/>
                  <a:gd name="T67" fmla="*/ 1225678 h 45"/>
                  <a:gd name="T68" fmla="*/ 1162397 w 50"/>
                  <a:gd name="T69" fmla="*/ 1016111 h 45"/>
                  <a:gd name="T70" fmla="*/ 1226176 w 50"/>
                  <a:gd name="T71" fmla="*/ 989411 h 45"/>
                  <a:gd name="T72" fmla="*/ 1430703 w 50"/>
                  <a:gd name="T73" fmla="*/ 757285 h 45"/>
                  <a:gd name="T74" fmla="*/ 1190224 w 50"/>
                  <a:gd name="T75" fmla="*/ 729940 h 45"/>
                  <a:gd name="T76" fmla="*/ 1135597 w 50"/>
                  <a:gd name="T77" fmla="*/ 640591 h 45"/>
                  <a:gd name="T78" fmla="*/ 1098870 w 50"/>
                  <a:gd name="T79" fmla="*/ 558121 h 45"/>
                  <a:gd name="T80" fmla="*/ 1076910 w 50"/>
                  <a:gd name="T81" fmla="*/ 472838 h 45"/>
                  <a:gd name="T82" fmla="*/ 1013278 w 50"/>
                  <a:gd name="T83" fmla="*/ 410456 h 45"/>
                  <a:gd name="T84" fmla="*/ 958507 w 50"/>
                  <a:gd name="T85" fmla="*/ 321489 h 45"/>
                  <a:gd name="T86" fmla="*/ 921896 w 50"/>
                  <a:gd name="T87" fmla="*/ 321489 h 45"/>
                  <a:gd name="T88" fmla="*/ 899936 w 50"/>
                  <a:gd name="T89" fmla="*/ 299438 h 45"/>
                  <a:gd name="T90" fmla="*/ 744951 w 50"/>
                  <a:gd name="T91" fmla="*/ 299438 h 45"/>
                  <a:gd name="T92" fmla="*/ 681424 w 50"/>
                  <a:gd name="T93" fmla="*/ 256737 h 45"/>
                  <a:gd name="T94" fmla="*/ 594543 w 50"/>
                  <a:gd name="T95" fmla="*/ 174250 h 45"/>
                  <a:gd name="T96" fmla="*/ 481185 w 50"/>
                  <a:gd name="T97" fmla="*/ 108992 h 45"/>
                  <a:gd name="T98" fmla="*/ 240501 w 50"/>
                  <a:gd name="T99" fmla="*/ 85217 h 45"/>
                  <a:gd name="T100" fmla="*/ 267435 w 50"/>
                  <a:gd name="T101" fmla="*/ 146923 h 45"/>
                  <a:gd name="T102" fmla="*/ 240501 w 50"/>
                  <a:gd name="T103" fmla="*/ 174250 h 45"/>
                  <a:gd name="T104" fmla="*/ 63526 w 50"/>
                  <a:gd name="T105" fmla="*/ 299438 h 45"/>
                  <a:gd name="T106" fmla="*/ 213700 w 50"/>
                  <a:gd name="T107" fmla="*/ 558121 h 45"/>
                  <a:gd name="T108" fmla="*/ 327013 w 50"/>
                  <a:gd name="T109" fmla="*/ 757285 h 45"/>
                  <a:gd name="T110" fmla="*/ 353814 w 50"/>
                  <a:gd name="T111" fmla="*/ 877501 h 45"/>
                  <a:gd name="T112" fmla="*/ 445551 w 50"/>
                  <a:gd name="T113" fmla="*/ 966852 h 45"/>
                  <a:gd name="T114" fmla="*/ 504332 w 50"/>
                  <a:gd name="T115" fmla="*/ 1078755 h 45"/>
                  <a:gd name="T116" fmla="*/ 567582 w 50"/>
                  <a:gd name="T117" fmla="*/ 1163018 h 4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0" h="45">
                    <a:moveTo>
                      <a:pt x="27" y="45"/>
                    </a:moveTo>
                    <a:cubicBezTo>
                      <a:pt x="27" y="43"/>
                      <a:pt x="27" y="43"/>
                      <a:pt x="27" y="43"/>
                    </a:cubicBezTo>
                    <a:cubicBezTo>
                      <a:pt x="27" y="41"/>
                      <a:pt x="27" y="41"/>
                      <a:pt x="25" y="40"/>
                    </a:cubicBezTo>
                    <a:cubicBezTo>
                      <a:pt x="25" y="40"/>
                      <a:pt x="24" y="40"/>
                      <a:pt x="24" y="40"/>
                    </a:cubicBezTo>
                    <a:cubicBezTo>
                      <a:pt x="22" y="39"/>
                      <a:pt x="21" y="40"/>
                      <a:pt x="20" y="41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8" y="40"/>
                      <a:pt x="18" y="39"/>
                      <a:pt x="17" y="39"/>
                    </a:cubicBezTo>
                    <a:cubicBezTo>
                      <a:pt x="17" y="38"/>
                      <a:pt x="17" y="38"/>
                      <a:pt x="16" y="38"/>
                    </a:cubicBezTo>
                    <a:cubicBezTo>
                      <a:pt x="16" y="37"/>
                      <a:pt x="16" y="36"/>
                      <a:pt x="15" y="36"/>
                    </a:cubicBezTo>
                    <a:cubicBezTo>
                      <a:pt x="15" y="35"/>
                      <a:pt x="15" y="34"/>
                      <a:pt x="14" y="34"/>
                    </a:cubicBezTo>
                    <a:cubicBezTo>
                      <a:pt x="14" y="34"/>
                      <a:pt x="14" y="33"/>
                      <a:pt x="13" y="33"/>
                    </a:cubicBezTo>
                    <a:cubicBezTo>
                      <a:pt x="12" y="32"/>
                      <a:pt x="11" y="32"/>
                      <a:pt x="11" y="31"/>
                    </a:cubicBezTo>
                    <a:cubicBezTo>
                      <a:pt x="10" y="30"/>
                      <a:pt x="10" y="29"/>
                      <a:pt x="10" y="28"/>
                    </a:cubicBezTo>
                    <a:cubicBezTo>
                      <a:pt x="10" y="28"/>
                      <a:pt x="10" y="27"/>
                      <a:pt x="10" y="27"/>
                    </a:cubicBezTo>
                    <a:cubicBezTo>
                      <a:pt x="10" y="25"/>
                      <a:pt x="9" y="24"/>
                      <a:pt x="8" y="23"/>
                    </a:cubicBezTo>
                    <a:cubicBezTo>
                      <a:pt x="7" y="22"/>
                      <a:pt x="6" y="21"/>
                      <a:pt x="6" y="19"/>
                    </a:cubicBezTo>
                    <a:cubicBezTo>
                      <a:pt x="5" y="17"/>
                      <a:pt x="2" y="13"/>
                      <a:pt x="1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9"/>
                      <a:pt x="2" y="9"/>
                    </a:cubicBezTo>
                    <a:cubicBezTo>
                      <a:pt x="4" y="9"/>
                      <a:pt x="6" y="6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7" y="2"/>
                      <a:pt x="8" y="1"/>
                    </a:cubicBezTo>
                    <a:cubicBezTo>
                      <a:pt x="10" y="1"/>
                      <a:pt x="11" y="0"/>
                      <a:pt x="13" y="1"/>
                    </a:cubicBezTo>
                    <a:cubicBezTo>
                      <a:pt x="14" y="1"/>
                      <a:pt x="15" y="2"/>
                      <a:pt x="17" y="3"/>
                    </a:cubicBezTo>
                    <a:cubicBezTo>
                      <a:pt x="17" y="3"/>
                      <a:pt x="18" y="4"/>
                      <a:pt x="19" y="4"/>
                    </a:cubicBezTo>
                    <a:cubicBezTo>
                      <a:pt x="20" y="4"/>
                      <a:pt x="20" y="4"/>
                      <a:pt x="21" y="5"/>
                    </a:cubicBezTo>
                    <a:cubicBezTo>
                      <a:pt x="21" y="5"/>
                      <a:pt x="21" y="6"/>
                      <a:pt x="21" y="6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2" y="8"/>
                      <a:pt x="22" y="8"/>
                      <a:pt x="23" y="8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9"/>
                      <a:pt x="26" y="10"/>
                      <a:pt x="26" y="9"/>
                    </a:cubicBezTo>
                    <a:cubicBezTo>
                      <a:pt x="28" y="9"/>
                      <a:pt x="29" y="9"/>
                      <a:pt x="30" y="9"/>
                    </a:cubicBezTo>
                    <a:cubicBezTo>
                      <a:pt x="31" y="9"/>
                      <a:pt x="31" y="10"/>
                      <a:pt x="31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2" y="10"/>
                      <a:pt x="32" y="10"/>
                      <a:pt x="33" y="10"/>
                    </a:cubicBezTo>
                    <a:cubicBezTo>
                      <a:pt x="33" y="11"/>
                      <a:pt x="33" y="11"/>
                      <a:pt x="34" y="12"/>
                    </a:cubicBezTo>
                    <a:cubicBezTo>
                      <a:pt x="34" y="12"/>
                      <a:pt x="35" y="13"/>
                      <a:pt x="35" y="13"/>
                    </a:cubicBezTo>
                    <a:cubicBezTo>
                      <a:pt x="35" y="13"/>
                      <a:pt x="35" y="14"/>
                      <a:pt x="35" y="14"/>
                    </a:cubicBezTo>
                    <a:cubicBezTo>
                      <a:pt x="36" y="15"/>
                      <a:pt x="37" y="15"/>
                      <a:pt x="37" y="16"/>
                    </a:cubicBezTo>
                    <a:cubicBezTo>
                      <a:pt x="37" y="16"/>
                      <a:pt x="37" y="17"/>
                      <a:pt x="37" y="17"/>
                    </a:cubicBezTo>
                    <a:cubicBezTo>
                      <a:pt x="37" y="18"/>
                      <a:pt x="37" y="18"/>
                      <a:pt x="38" y="19"/>
                    </a:cubicBezTo>
                    <a:cubicBezTo>
                      <a:pt x="38" y="19"/>
                      <a:pt x="38" y="20"/>
                      <a:pt x="39" y="20"/>
                    </a:cubicBezTo>
                    <a:cubicBezTo>
                      <a:pt x="39" y="20"/>
                      <a:pt x="39" y="21"/>
                      <a:pt x="39" y="21"/>
                    </a:cubicBezTo>
                    <a:cubicBezTo>
                      <a:pt x="40" y="21"/>
                      <a:pt x="40" y="22"/>
                      <a:pt x="40" y="23"/>
                    </a:cubicBezTo>
                    <a:cubicBezTo>
                      <a:pt x="40" y="23"/>
                      <a:pt x="41" y="24"/>
                      <a:pt x="41" y="25"/>
                    </a:cubicBezTo>
                    <a:cubicBezTo>
                      <a:pt x="42" y="25"/>
                      <a:pt x="44" y="25"/>
                      <a:pt x="46" y="25"/>
                    </a:cubicBezTo>
                    <a:cubicBezTo>
                      <a:pt x="48" y="25"/>
                      <a:pt x="48" y="25"/>
                      <a:pt x="48" y="25"/>
                    </a:cubicBezTo>
                    <a:cubicBezTo>
                      <a:pt x="48" y="25"/>
                      <a:pt x="48" y="25"/>
                      <a:pt x="48" y="25"/>
                    </a:cubicBezTo>
                    <a:cubicBezTo>
                      <a:pt x="49" y="25"/>
                      <a:pt x="49" y="25"/>
                      <a:pt x="49" y="25"/>
                    </a:cubicBezTo>
                    <a:cubicBezTo>
                      <a:pt x="50" y="27"/>
                      <a:pt x="50" y="31"/>
                      <a:pt x="48" y="33"/>
                    </a:cubicBezTo>
                    <a:cubicBezTo>
                      <a:pt x="47" y="34"/>
                      <a:pt x="43" y="35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0" y="36"/>
                      <a:pt x="40" y="36"/>
                      <a:pt x="39" y="36"/>
                    </a:cubicBezTo>
                    <a:cubicBezTo>
                      <a:pt x="37" y="36"/>
                      <a:pt x="34" y="36"/>
                      <a:pt x="34" y="37"/>
                    </a:cubicBezTo>
                    <a:lnTo>
                      <a:pt x="27" y="45"/>
                    </a:lnTo>
                    <a:close/>
                    <a:moveTo>
                      <a:pt x="23" y="38"/>
                    </a:moveTo>
                    <a:cubicBezTo>
                      <a:pt x="23" y="38"/>
                      <a:pt x="24" y="39"/>
                      <a:pt x="24" y="39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7" y="40"/>
                      <a:pt x="28" y="40"/>
                      <a:pt x="28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4" y="35"/>
                      <a:pt x="36" y="35"/>
                      <a:pt x="39" y="35"/>
                    </a:cubicBezTo>
                    <a:cubicBezTo>
                      <a:pt x="39" y="35"/>
                      <a:pt x="40" y="34"/>
                      <a:pt x="40" y="34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43" y="34"/>
                      <a:pt x="46" y="33"/>
                      <a:pt x="47" y="32"/>
                    </a:cubicBezTo>
                    <a:cubicBezTo>
                      <a:pt x="49" y="31"/>
                      <a:pt x="49" y="28"/>
                      <a:pt x="48" y="26"/>
                    </a:cubicBezTo>
                    <a:cubicBezTo>
                      <a:pt x="48" y="27"/>
                      <a:pt x="47" y="27"/>
                      <a:pt x="46" y="27"/>
                    </a:cubicBezTo>
                    <a:cubicBezTo>
                      <a:pt x="44" y="27"/>
                      <a:pt x="41" y="26"/>
                      <a:pt x="40" y="25"/>
                    </a:cubicBezTo>
                    <a:cubicBezTo>
                      <a:pt x="40" y="25"/>
                      <a:pt x="40" y="24"/>
                      <a:pt x="39" y="23"/>
                    </a:cubicBezTo>
                    <a:cubicBezTo>
                      <a:pt x="39" y="23"/>
                      <a:pt x="39" y="22"/>
                      <a:pt x="38" y="22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37" y="20"/>
                      <a:pt x="37" y="20"/>
                      <a:pt x="37" y="19"/>
                    </a:cubicBezTo>
                    <a:cubicBezTo>
                      <a:pt x="36" y="19"/>
                      <a:pt x="36" y="18"/>
                      <a:pt x="36" y="17"/>
                    </a:cubicBezTo>
                    <a:cubicBezTo>
                      <a:pt x="36" y="17"/>
                      <a:pt x="36" y="16"/>
                      <a:pt x="36" y="16"/>
                    </a:cubicBezTo>
                    <a:cubicBezTo>
                      <a:pt x="36" y="16"/>
                      <a:pt x="35" y="15"/>
                      <a:pt x="34" y="15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4" y="14"/>
                      <a:pt x="33" y="13"/>
                      <a:pt x="33" y="13"/>
                    </a:cubicBezTo>
                    <a:cubicBezTo>
                      <a:pt x="33" y="12"/>
                      <a:pt x="32" y="12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30" y="11"/>
                      <a:pt x="30" y="11"/>
                      <a:pt x="30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8" y="10"/>
                      <a:pt x="28" y="10"/>
                      <a:pt x="27" y="10"/>
                    </a:cubicBezTo>
                    <a:cubicBezTo>
                      <a:pt x="26" y="11"/>
                      <a:pt x="25" y="10"/>
                      <a:pt x="25" y="10"/>
                    </a:cubicBezTo>
                    <a:cubicBezTo>
                      <a:pt x="24" y="10"/>
                      <a:pt x="24" y="10"/>
                      <a:pt x="24" y="9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8"/>
                      <a:pt x="21" y="7"/>
                    </a:cubicBezTo>
                    <a:cubicBezTo>
                      <a:pt x="21" y="6"/>
                      <a:pt x="20" y="6"/>
                      <a:pt x="20" y="6"/>
                    </a:cubicBezTo>
                    <a:cubicBezTo>
                      <a:pt x="20" y="6"/>
                      <a:pt x="19" y="5"/>
                      <a:pt x="19" y="5"/>
                    </a:cubicBezTo>
                    <a:cubicBezTo>
                      <a:pt x="18" y="5"/>
                      <a:pt x="17" y="4"/>
                      <a:pt x="16" y="4"/>
                    </a:cubicBezTo>
                    <a:cubicBezTo>
                      <a:pt x="15" y="3"/>
                      <a:pt x="14" y="2"/>
                      <a:pt x="12" y="2"/>
                    </a:cubicBezTo>
                    <a:cubicBezTo>
                      <a:pt x="11" y="2"/>
                      <a:pt x="10" y="2"/>
                      <a:pt x="8" y="3"/>
                    </a:cubicBezTo>
                    <a:cubicBezTo>
                      <a:pt x="8" y="3"/>
                      <a:pt x="7" y="3"/>
                      <a:pt x="7" y="3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8" y="6"/>
                      <a:pt x="8" y="6"/>
                    </a:cubicBezTo>
                    <a:cubicBezTo>
                      <a:pt x="6" y="8"/>
                      <a:pt x="4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2"/>
                      <a:pt x="6" y="18"/>
                      <a:pt x="7" y="19"/>
                    </a:cubicBezTo>
                    <a:cubicBezTo>
                      <a:pt x="7" y="20"/>
                      <a:pt x="8" y="21"/>
                      <a:pt x="9" y="22"/>
                    </a:cubicBezTo>
                    <a:cubicBezTo>
                      <a:pt x="10" y="23"/>
                      <a:pt x="11" y="24"/>
                      <a:pt x="11" y="26"/>
                    </a:cubicBezTo>
                    <a:cubicBezTo>
                      <a:pt x="11" y="27"/>
                      <a:pt x="11" y="28"/>
                      <a:pt x="11" y="28"/>
                    </a:cubicBezTo>
                    <a:cubicBezTo>
                      <a:pt x="11" y="29"/>
                      <a:pt x="11" y="30"/>
                      <a:pt x="12" y="30"/>
                    </a:cubicBezTo>
                    <a:cubicBezTo>
                      <a:pt x="12" y="31"/>
                      <a:pt x="13" y="31"/>
                      <a:pt x="14" y="32"/>
                    </a:cubicBezTo>
                    <a:cubicBezTo>
                      <a:pt x="14" y="32"/>
                      <a:pt x="15" y="33"/>
                      <a:pt x="15" y="33"/>
                    </a:cubicBezTo>
                    <a:cubicBezTo>
                      <a:pt x="16" y="34"/>
                      <a:pt x="16" y="34"/>
                      <a:pt x="16" y="35"/>
                    </a:cubicBezTo>
                    <a:cubicBezTo>
                      <a:pt x="17" y="36"/>
                      <a:pt x="17" y="37"/>
                      <a:pt x="17" y="37"/>
                    </a:cubicBezTo>
                    <a:cubicBezTo>
                      <a:pt x="17" y="37"/>
                      <a:pt x="18" y="38"/>
                      <a:pt x="18" y="38"/>
                    </a:cubicBezTo>
                    <a:cubicBezTo>
                      <a:pt x="18" y="39"/>
                      <a:pt x="19" y="39"/>
                      <a:pt x="19" y="40"/>
                    </a:cubicBezTo>
                    <a:cubicBezTo>
                      <a:pt x="20" y="39"/>
                      <a:pt x="22" y="38"/>
                      <a:pt x="2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0" name="Freeform 444"/>
              <p:cNvSpPr/>
              <p:nvPr/>
            </p:nvSpPr>
            <p:spPr bwMode="auto">
              <a:xfrm>
                <a:off x="3010" y="1583"/>
                <a:ext cx="40" cy="33"/>
              </a:xfrm>
              <a:custGeom>
                <a:avLst/>
                <a:gdLst>
                  <a:gd name="T0" fmla="*/ 234026 w 17"/>
                  <a:gd name="T1" fmla="*/ 322999 h 14"/>
                  <a:gd name="T2" fmla="*/ 83527 w 17"/>
                  <a:gd name="T3" fmla="*/ 386100 h 14"/>
                  <a:gd name="T4" fmla="*/ 26325 w 17"/>
                  <a:gd name="T5" fmla="*/ 386100 h 14"/>
                  <a:gd name="T6" fmla="*/ 61941 w 17"/>
                  <a:gd name="T7" fmla="*/ 301170 h 14"/>
                  <a:gd name="T8" fmla="*/ 83527 w 17"/>
                  <a:gd name="T9" fmla="*/ 211455 h 14"/>
                  <a:gd name="T10" fmla="*/ 61941 w 17"/>
                  <a:gd name="T11" fmla="*/ 89708 h 14"/>
                  <a:gd name="T12" fmla="*/ 61941 w 17"/>
                  <a:gd name="T13" fmla="*/ 112344 h 14"/>
                  <a:gd name="T14" fmla="*/ 83527 w 17"/>
                  <a:gd name="T15" fmla="*/ 89708 h 14"/>
                  <a:gd name="T16" fmla="*/ 145744 w 17"/>
                  <a:gd name="T17" fmla="*/ 26770 h 14"/>
                  <a:gd name="T18" fmla="*/ 254739 w 17"/>
                  <a:gd name="T19" fmla="*/ 26770 h 14"/>
                  <a:gd name="T20" fmla="*/ 380445 w 17"/>
                  <a:gd name="T21" fmla="*/ 0 h 14"/>
                  <a:gd name="T22" fmla="*/ 488696 w 17"/>
                  <a:gd name="T23" fmla="*/ 0 h 14"/>
                  <a:gd name="T24" fmla="*/ 406887 w 17"/>
                  <a:gd name="T25" fmla="*/ 63101 h 14"/>
                  <a:gd name="T26" fmla="*/ 406887 w 17"/>
                  <a:gd name="T27" fmla="*/ 175440 h 14"/>
                  <a:gd name="T28" fmla="*/ 234026 w 17"/>
                  <a:gd name="T29" fmla="*/ 322999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7" h="14">
                    <a:moveTo>
                      <a:pt x="8" y="11"/>
                    </a:moveTo>
                    <a:cubicBezTo>
                      <a:pt x="6" y="12"/>
                      <a:pt x="5" y="13"/>
                      <a:pt x="3" y="13"/>
                    </a:cubicBezTo>
                    <a:cubicBezTo>
                      <a:pt x="2" y="14"/>
                      <a:pt x="2" y="13"/>
                      <a:pt x="1" y="13"/>
                    </a:cubicBezTo>
                    <a:cubicBezTo>
                      <a:pt x="0" y="11"/>
                      <a:pt x="1" y="10"/>
                      <a:pt x="2" y="10"/>
                    </a:cubicBezTo>
                    <a:cubicBezTo>
                      <a:pt x="3" y="8"/>
                      <a:pt x="3" y="9"/>
                      <a:pt x="3" y="7"/>
                    </a:cubicBezTo>
                    <a:cubicBezTo>
                      <a:pt x="1" y="8"/>
                      <a:pt x="2" y="5"/>
                      <a:pt x="2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1"/>
                      <a:pt x="4" y="1"/>
                      <a:pt x="5" y="1"/>
                    </a:cubicBezTo>
                    <a:cubicBezTo>
                      <a:pt x="6" y="2"/>
                      <a:pt x="7" y="1"/>
                      <a:pt x="9" y="1"/>
                    </a:cubicBezTo>
                    <a:cubicBezTo>
                      <a:pt x="10" y="2"/>
                      <a:pt x="12" y="0"/>
                      <a:pt x="13" y="0"/>
                    </a:cubicBezTo>
                    <a:cubicBezTo>
                      <a:pt x="14" y="0"/>
                      <a:pt x="16" y="0"/>
                      <a:pt x="17" y="0"/>
                    </a:cubicBezTo>
                    <a:cubicBezTo>
                      <a:pt x="16" y="1"/>
                      <a:pt x="14" y="1"/>
                      <a:pt x="14" y="2"/>
                    </a:cubicBezTo>
                    <a:cubicBezTo>
                      <a:pt x="14" y="3"/>
                      <a:pt x="14" y="5"/>
                      <a:pt x="14" y="6"/>
                    </a:cubicBezTo>
                    <a:cubicBezTo>
                      <a:pt x="14" y="9"/>
                      <a:pt x="10" y="10"/>
                      <a:pt x="8" y="1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1" name="Freeform 445"/>
              <p:cNvSpPr>
                <a:spLocks noEditPoints="1"/>
              </p:cNvSpPr>
              <p:nvPr/>
            </p:nvSpPr>
            <p:spPr bwMode="auto">
              <a:xfrm>
                <a:off x="3010" y="1581"/>
                <a:ext cx="42" cy="35"/>
              </a:xfrm>
              <a:custGeom>
                <a:avLst/>
                <a:gdLst>
                  <a:gd name="T0" fmla="*/ 75677 w 18"/>
                  <a:gd name="T1" fmla="*/ 392012 h 15"/>
                  <a:gd name="T2" fmla="*/ 57269 w 18"/>
                  <a:gd name="T3" fmla="*/ 392012 h 15"/>
                  <a:gd name="T4" fmla="*/ 24544 w 18"/>
                  <a:gd name="T5" fmla="*/ 369068 h 15"/>
                  <a:gd name="T6" fmla="*/ 0 w 18"/>
                  <a:gd name="T7" fmla="*/ 369068 h 15"/>
                  <a:gd name="T8" fmla="*/ 0 w 18"/>
                  <a:gd name="T9" fmla="*/ 369068 h 15"/>
                  <a:gd name="T10" fmla="*/ 24544 w 18"/>
                  <a:gd name="T11" fmla="*/ 290635 h 15"/>
                  <a:gd name="T12" fmla="*/ 24544 w 18"/>
                  <a:gd name="T13" fmla="*/ 258393 h 15"/>
                  <a:gd name="T14" fmla="*/ 57269 w 18"/>
                  <a:gd name="T15" fmla="*/ 233849 h 15"/>
                  <a:gd name="T16" fmla="*/ 57269 w 18"/>
                  <a:gd name="T17" fmla="*/ 233849 h 15"/>
                  <a:gd name="T18" fmla="*/ 24544 w 18"/>
                  <a:gd name="T19" fmla="*/ 210957 h 15"/>
                  <a:gd name="T20" fmla="*/ 24544 w 18"/>
                  <a:gd name="T21" fmla="*/ 133628 h 15"/>
                  <a:gd name="T22" fmla="*/ 24544 w 18"/>
                  <a:gd name="T23" fmla="*/ 100221 h 15"/>
                  <a:gd name="T24" fmla="*/ 24544 w 18"/>
                  <a:gd name="T25" fmla="*/ 75677 h 15"/>
                  <a:gd name="T26" fmla="*/ 57269 w 18"/>
                  <a:gd name="T27" fmla="*/ 100221 h 15"/>
                  <a:gd name="T28" fmla="*/ 75677 w 18"/>
                  <a:gd name="T29" fmla="*/ 75677 h 15"/>
                  <a:gd name="T30" fmla="*/ 75677 w 18"/>
                  <a:gd name="T31" fmla="*/ 57269 h 15"/>
                  <a:gd name="T32" fmla="*/ 133628 w 18"/>
                  <a:gd name="T33" fmla="*/ 57269 h 15"/>
                  <a:gd name="T34" fmla="*/ 176580 w 18"/>
                  <a:gd name="T35" fmla="*/ 57269 h 15"/>
                  <a:gd name="T36" fmla="*/ 233849 w 18"/>
                  <a:gd name="T37" fmla="*/ 57269 h 15"/>
                  <a:gd name="T38" fmla="*/ 290635 w 18"/>
                  <a:gd name="T39" fmla="*/ 24544 h 15"/>
                  <a:gd name="T40" fmla="*/ 334070 w 18"/>
                  <a:gd name="T41" fmla="*/ 0 h 15"/>
                  <a:gd name="T42" fmla="*/ 392012 w 18"/>
                  <a:gd name="T43" fmla="*/ 0 h 15"/>
                  <a:gd name="T44" fmla="*/ 444806 w 18"/>
                  <a:gd name="T45" fmla="*/ 0 h 15"/>
                  <a:gd name="T46" fmla="*/ 469147 w 18"/>
                  <a:gd name="T47" fmla="*/ 24544 h 15"/>
                  <a:gd name="T48" fmla="*/ 444806 w 18"/>
                  <a:gd name="T49" fmla="*/ 24544 h 15"/>
                  <a:gd name="T50" fmla="*/ 392012 w 18"/>
                  <a:gd name="T51" fmla="*/ 75677 h 15"/>
                  <a:gd name="T52" fmla="*/ 392012 w 18"/>
                  <a:gd name="T53" fmla="*/ 75677 h 15"/>
                  <a:gd name="T54" fmla="*/ 369068 w 18"/>
                  <a:gd name="T55" fmla="*/ 158172 h 15"/>
                  <a:gd name="T56" fmla="*/ 369068 w 18"/>
                  <a:gd name="T57" fmla="*/ 176580 h 15"/>
                  <a:gd name="T58" fmla="*/ 258393 w 18"/>
                  <a:gd name="T59" fmla="*/ 311799 h 15"/>
                  <a:gd name="T60" fmla="*/ 210957 w 18"/>
                  <a:gd name="T61" fmla="*/ 311799 h 15"/>
                  <a:gd name="T62" fmla="*/ 100221 w 18"/>
                  <a:gd name="T63" fmla="*/ 392012 h 15"/>
                  <a:gd name="T64" fmla="*/ 75677 w 18"/>
                  <a:gd name="T65" fmla="*/ 392012 h 15"/>
                  <a:gd name="T66" fmla="*/ 24544 w 18"/>
                  <a:gd name="T67" fmla="*/ 334070 h 15"/>
                  <a:gd name="T68" fmla="*/ 57269 w 18"/>
                  <a:gd name="T69" fmla="*/ 369068 h 15"/>
                  <a:gd name="T70" fmla="*/ 75677 w 18"/>
                  <a:gd name="T71" fmla="*/ 369068 h 15"/>
                  <a:gd name="T72" fmla="*/ 210957 w 18"/>
                  <a:gd name="T73" fmla="*/ 290635 h 15"/>
                  <a:gd name="T74" fmla="*/ 233849 w 18"/>
                  <a:gd name="T75" fmla="*/ 290635 h 15"/>
                  <a:gd name="T76" fmla="*/ 334070 w 18"/>
                  <a:gd name="T77" fmla="*/ 176580 h 15"/>
                  <a:gd name="T78" fmla="*/ 334070 w 18"/>
                  <a:gd name="T79" fmla="*/ 158172 h 15"/>
                  <a:gd name="T80" fmla="*/ 369068 w 18"/>
                  <a:gd name="T81" fmla="*/ 75677 h 15"/>
                  <a:gd name="T82" fmla="*/ 392012 w 18"/>
                  <a:gd name="T83" fmla="*/ 57269 h 15"/>
                  <a:gd name="T84" fmla="*/ 392012 w 18"/>
                  <a:gd name="T85" fmla="*/ 24544 h 15"/>
                  <a:gd name="T86" fmla="*/ 334070 w 18"/>
                  <a:gd name="T87" fmla="*/ 57269 h 15"/>
                  <a:gd name="T88" fmla="*/ 311799 w 18"/>
                  <a:gd name="T89" fmla="*/ 57269 h 15"/>
                  <a:gd name="T90" fmla="*/ 233849 w 18"/>
                  <a:gd name="T91" fmla="*/ 75677 h 15"/>
                  <a:gd name="T92" fmla="*/ 176580 w 18"/>
                  <a:gd name="T93" fmla="*/ 75677 h 15"/>
                  <a:gd name="T94" fmla="*/ 133628 w 18"/>
                  <a:gd name="T95" fmla="*/ 75677 h 15"/>
                  <a:gd name="T96" fmla="*/ 100221 w 18"/>
                  <a:gd name="T97" fmla="*/ 75677 h 15"/>
                  <a:gd name="T98" fmla="*/ 100221 w 18"/>
                  <a:gd name="T99" fmla="*/ 75677 h 15"/>
                  <a:gd name="T100" fmla="*/ 100221 w 18"/>
                  <a:gd name="T101" fmla="*/ 100221 h 15"/>
                  <a:gd name="T102" fmla="*/ 100221 w 18"/>
                  <a:gd name="T103" fmla="*/ 100221 h 15"/>
                  <a:gd name="T104" fmla="*/ 75677 w 18"/>
                  <a:gd name="T105" fmla="*/ 133628 h 15"/>
                  <a:gd name="T106" fmla="*/ 57269 w 18"/>
                  <a:gd name="T107" fmla="*/ 158172 h 15"/>
                  <a:gd name="T108" fmla="*/ 57269 w 18"/>
                  <a:gd name="T109" fmla="*/ 158172 h 15"/>
                  <a:gd name="T110" fmla="*/ 57269 w 18"/>
                  <a:gd name="T111" fmla="*/ 176580 h 15"/>
                  <a:gd name="T112" fmla="*/ 75677 w 18"/>
                  <a:gd name="T113" fmla="*/ 176580 h 15"/>
                  <a:gd name="T114" fmla="*/ 75677 w 18"/>
                  <a:gd name="T115" fmla="*/ 176580 h 15"/>
                  <a:gd name="T116" fmla="*/ 75677 w 18"/>
                  <a:gd name="T117" fmla="*/ 210957 h 15"/>
                  <a:gd name="T118" fmla="*/ 75677 w 18"/>
                  <a:gd name="T119" fmla="*/ 258393 h 15"/>
                  <a:gd name="T120" fmla="*/ 57269 w 18"/>
                  <a:gd name="T121" fmla="*/ 290635 h 15"/>
                  <a:gd name="T122" fmla="*/ 57269 w 18"/>
                  <a:gd name="T123" fmla="*/ 290635 h 15"/>
                  <a:gd name="T124" fmla="*/ 24544 w 18"/>
                  <a:gd name="T125" fmla="*/ 334070 h 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8" h="15">
                    <a:moveTo>
                      <a:pt x="3" y="15"/>
                    </a:moveTo>
                    <a:cubicBezTo>
                      <a:pt x="2" y="15"/>
                      <a:pt x="2" y="15"/>
                      <a:pt x="2" y="1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1"/>
                      <a:pt x="1" y="11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2" y="10"/>
                      <a:pt x="2" y="10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8"/>
                      <a:pt x="1" y="8"/>
                    </a:cubicBezTo>
                    <a:cubicBezTo>
                      <a:pt x="1" y="8"/>
                      <a:pt x="1" y="6"/>
                      <a:pt x="1" y="5"/>
                    </a:cubicBezTo>
                    <a:cubicBezTo>
                      <a:pt x="1" y="5"/>
                      <a:pt x="1" y="5"/>
                      <a:pt x="1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3" y="3"/>
                    </a:cubicBezTo>
                    <a:cubicBezTo>
                      <a:pt x="2" y="3"/>
                      <a:pt x="2" y="2"/>
                      <a:pt x="3" y="2"/>
                    </a:cubicBezTo>
                    <a:cubicBezTo>
                      <a:pt x="3" y="2"/>
                      <a:pt x="3" y="1"/>
                      <a:pt x="5" y="2"/>
                    </a:cubicBezTo>
                    <a:cubicBezTo>
                      <a:pt x="6" y="2"/>
                      <a:pt x="6" y="2"/>
                      <a:pt x="7" y="2"/>
                    </a:cubicBezTo>
                    <a:cubicBezTo>
                      <a:pt x="7" y="2"/>
                      <a:pt x="8" y="1"/>
                      <a:pt x="9" y="2"/>
                    </a:cubicBezTo>
                    <a:cubicBezTo>
                      <a:pt x="10" y="2"/>
                      <a:pt x="10" y="1"/>
                      <a:pt x="11" y="1"/>
                    </a:cubicBezTo>
                    <a:cubicBezTo>
                      <a:pt x="12" y="1"/>
                      <a:pt x="12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6" y="0"/>
                      <a:pt x="17" y="0"/>
                      <a:pt x="17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2"/>
                      <a:pt x="16" y="2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4" y="4"/>
                      <a:pt x="14" y="5"/>
                      <a:pt x="14" y="6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0"/>
                      <a:pt x="12" y="11"/>
                      <a:pt x="10" y="12"/>
                    </a:cubicBezTo>
                    <a:cubicBezTo>
                      <a:pt x="9" y="12"/>
                      <a:pt x="9" y="12"/>
                      <a:pt x="8" y="12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3" y="15"/>
                      <a:pt x="3" y="15"/>
                      <a:pt x="3" y="15"/>
                    </a:cubicBezTo>
                    <a:close/>
                    <a:moveTo>
                      <a:pt x="1" y="13"/>
                    </a:moveTo>
                    <a:cubicBezTo>
                      <a:pt x="1" y="13"/>
                      <a:pt x="2" y="13"/>
                      <a:pt x="2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9" y="11"/>
                      <a:pt x="9" y="11"/>
                    </a:cubicBezTo>
                    <a:cubicBezTo>
                      <a:pt x="11" y="10"/>
                      <a:pt x="13" y="9"/>
                      <a:pt x="13" y="7"/>
                    </a:cubicBezTo>
                    <a:cubicBezTo>
                      <a:pt x="13" y="7"/>
                      <a:pt x="13" y="7"/>
                      <a:pt x="13" y="6"/>
                    </a:cubicBezTo>
                    <a:cubicBezTo>
                      <a:pt x="13" y="5"/>
                      <a:pt x="13" y="4"/>
                      <a:pt x="14" y="3"/>
                    </a:cubicBezTo>
                    <a:cubicBezTo>
                      <a:pt x="14" y="2"/>
                      <a:pt x="14" y="2"/>
                      <a:pt x="15" y="2"/>
                    </a:cubicBezTo>
                    <a:cubicBezTo>
                      <a:pt x="15" y="2"/>
                      <a:pt x="15" y="1"/>
                      <a:pt x="15" y="1"/>
                    </a:cubicBezTo>
                    <a:cubicBezTo>
                      <a:pt x="15" y="1"/>
                      <a:pt x="13" y="1"/>
                      <a:pt x="13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1" y="3"/>
                      <a:pt x="10" y="3"/>
                      <a:pt x="9" y="3"/>
                    </a:cubicBezTo>
                    <a:cubicBezTo>
                      <a:pt x="8" y="3"/>
                      <a:pt x="7" y="3"/>
                      <a:pt x="7" y="3"/>
                    </a:cubicBezTo>
                    <a:cubicBezTo>
                      <a:pt x="6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7"/>
                      <a:pt x="2" y="7"/>
                    </a:cubicBezTo>
                    <a:cubicBezTo>
                      <a:pt x="2" y="7"/>
                      <a:pt x="2" y="8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4" y="9"/>
                      <a:pt x="4" y="10"/>
                      <a:pt x="3" y="10"/>
                    </a:cubicBezTo>
                    <a:cubicBezTo>
                      <a:pt x="3" y="10"/>
                      <a:pt x="3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2"/>
                      <a:pt x="1" y="12"/>
                      <a:pt x="1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2" name="Freeform 446"/>
              <p:cNvSpPr/>
              <p:nvPr/>
            </p:nvSpPr>
            <p:spPr bwMode="auto">
              <a:xfrm>
                <a:off x="3097" y="1654"/>
                <a:ext cx="29" cy="21"/>
              </a:xfrm>
              <a:custGeom>
                <a:avLst/>
                <a:gdLst>
                  <a:gd name="T0" fmla="*/ 474728 w 12"/>
                  <a:gd name="T1" fmla="*/ 75677 h 9"/>
                  <a:gd name="T2" fmla="*/ 441092 w 12"/>
                  <a:gd name="T3" fmla="*/ 0 h 9"/>
                  <a:gd name="T4" fmla="*/ 243977 w 12"/>
                  <a:gd name="T5" fmla="*/ 133628 h 9"/>
                  <a:gd name="T6" fmla="*/ 0 w 12"/>
                  <a:gd name="T7" fmla="*/ 100221 h 9"/>
                  <a:gd name="T8" fmla="*/ 0 w 12"/>
                  <a:gd name="T9" fmla="*/ 100221 h 9"/>
                  <a:gd name="T10" fmla="*/ 81285 w 12"/>
                  <a:gd name="T11" fmla="*/ 210957 h 9"/>
                  <a:gd name="T12" fmla="*/ 311917 w 12"/>
                  <a:gd name="T13" fmla="*/ 233849 h 9"/>
                  <a:gd name="T14" fmla="*/ 393274 w 12"/>
                  <a:gd name="T15" fmla="*/ 158172 h 9"/>
                  <a:gd name="T16" fmla="*/ 393274 w 12"/>
                  <a:gd name="T17" fmla="*/ 75677 h 9"/>
                  <a:gd name="T18" fmla="*/ 474728 w 12"/>
                  <a:gd name="T19" fmla="*/ 75677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2" h="9">
                    <a:moveTo>
                      <a:pt x="12" y="3"/>
                    </a:moveTo>
                    <a:cubicBezTo>
                      <a:pt x="12" y="2"/>
                      <a:pt x="11" y="1"/>
                      <a:pt x="11" y="0"/>
                    </a:cubicBezTo>
                    <a:cubicBezTo>
                      <a:pt x="10" y="1"/>
                      <a:pt x="8" y="5"/>
                      <a:pt x="6" y="5"/>
                    </a:cubicBezTo>
                    <a:cubicBezTo>
                      <a:pt x="4" y="5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1" y="7"/>
                      <a:pt x="2" y="8"/>
                    </a:cubicBezTo>
                    <a:cubicBezTo>
                      <a:pt x="3" y="9"/>
                      <a:pt x="6" y="9"/>
                      <a:pt x="8" y="9"/>
                    </a:cubicBezTo>
                    <a:cubicBezTo>
                      <a:pt x="10" y="9"/>
                      <a:pt x="9" y="8"/>
                      <a:pt x="10" y="6"/>
                    </a:cubicBezTo>
                    <a:cubicBezTo>
                      <a:pt x="10" y="5"/>
                      <a:pt x="12" y="6"/>
                      <a:pt x="10" y="3"/>
                    </a:cubicBezTo>
                    <a:cubicBezTo>
                      <a:pt x="11" y="3"/>
                      <a:pt x="11" y="3"/>
                      <a:pt x="12" y="3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3" name="Freeform 447"/>
              <p:cNvSpPr>
                <a:spLocks noEditPoints="1"/>
              </p:cNvSpPr>
              <p:nvPr/>
            </p:nvSpPr>
            <p:spPr bwMode="auto">
              <a:xfrm>
                <a:off x="3095" y="1652"/>
                <a:ext cx="31" cy="26"/>
              </a:xfrm>
              <a:custGeom>
                <a:avLst/>
                <a:gdLst>
                  <a:gd name="T0" fmla="*/ 296773 w 13"/>
                  <a:gd name="T1" fmla="*/ 331318 h 11"/>
                  <a:gd name="T2" fmla="*/ 296773 w 13"/>
                  <a:gd name="T3" fmla="*/ 331318 h 11"/>
                  <a:gd name="T4" fmla="*/ 296773 w 13"/>
                  <a:gd name="T5" fmla="*/ 331318 h 11"/>
                  <a:gd name="T6" fmla="*/ 244743 w 13"/>
                  <a:gd name="T7" fmla="*/ 310743 h 11"/>
                  <a:gd name="T8" fmla="*/ 72235 w 13"/>
                  <a:gd name="T9" fmla="*/ 271695 h 11"/>
                  <a:gd name="T10" fmla="*/ 30292 w 13"/>
                  <a:gd name="T11" fmla="*/ 219163 h 11"/>
                  <a:gd name="T12" fmla="*/ 0 w 13"/>
                  <a:gd name="T13" fmla="*/ 152034 h 11"/>
                  <a:gd name="T14" fmla="*/ 0 w 13"/>
                  <a:gd name="T15" fmla="*/ 152034 h 11"/>
                  <a:gd name="T16" fmla="*/ 0 w 13"/>
                  <a:gd name="T17" fmla="*/ 114948 h 11"/>
                  <a:gd name="T18" fmla="*/ 30292 w 13"/>
                  <a:gd name="T19" fmla="*/ 114948 h 11"/>
                  <a:gd name="T20" fmla="*/ 72235 w 13"/>
                  <a:gd name="T21" fmla="*/ 114948 h 11"/>
                  <a:gd name="T22" fmla="*/ 72235 w 13"/>
                  <a:gd name="T23" fmla="*/ 152034 h 11"/>
                  <a:gd name="T24" fmla="*/ 142109 w 13"/>
                  <a:gd name="T25" fmla="*/ 179284 h 11"/>
                  <a:gd name="T26" fmla="*/ 172253 w 13"/>
                  <a:gd name="T27" fmla="*/ 179284 h 11"/>
                  <a:gd name="T28" fmla="*/ 244743 w 13"/>
                  <a:gd name="T29" fmla="*/ 179284 h 11"/>
                  <a:gd name="T30" fmla="*/ 244743 w 13"/>
                  <a:gd name="T31" fmla="*/ 179284 h 11"/>
                  <a:gd name="T32" fmla="*/ 369205 w 13"/>
                  <a:gd name="T33" fmla="*/ 64322 h 11"/>
                  <a:gd name="T34" fmla="*/ 410757 w 13"/>
                  <a:gd name="T35" fmla="*/ 27213 h 11"/>
                  <a:gd name="T36" fmla="*/ 410757 w 13"/>
                  <a:gd name="T37" fmla="*/ 0 h 11"/>
                  <a:gd name="T38" fmla="*/ 439275 w 13"/>
                  <a:gd name="T39" fmla="*/ 27213 h 11"/>
                  <a:gd name="T40" fmla="*/ 439275 w 13"/>
                  <a:gd name="T41" fmla="*/ 64322 h 11"/>
                  <a:gd name="T42" fmla="*/ 439275 w 13"/>
                  <a:gd name="T43" fmla="*/ 114948 h 11"/>
                  <a:gd name="T44" fmla="*/ 439275 w 13"/>
                  <a:gd name="T45" fmla="*/ 152034 h 11"/>
                  <a:gd name="T46" fmla="*/ 439275 w 13"/>
                  <a:gd name="T47" fmla="*/ 152034 h 11"/>
                  <a:gd name="T48" fmla="*/ 410757 w 13"/>
                  <a:gd name="T49" fmla="*/ 152034 h 11"/>
                  <a:gd name="T50" fmla="*/ 410757 w 13"/>
                  <a:gd name="T51" fmla="*/ 219163 h 11"/>
                  <a:gd name="T52" fmla="*/ 369205 w 13"/>
                  <a:gd name="T53" fmla="*/ 244478 h 11"/>
                  <a:gd name="T54" fmla="*/ 369205 w 13"/>
                  <a:gd name="T55" fmla="*/ 244478 h 11"/>
                  <a:gd name="T56" fmla="*/ 296773 w 13"/>
                  <a:gd name="T57" fmla="*/ 331318 h 11"/>
                  <a:gd name="T58" fmla="*/ 72235 w 13"/>
                  <a:gd name="T59" fmla="*/ 219163 h 11"/>
                  <a:gd name="T60" fmla="*/ 102634 w 13"/>
                  <a:gd name="T61" fmla="*/ 271695 h 11"/>
                  <a:gd name="T62" fmla="*/ 244743 w 13"/>
                  <a:gd name="T63" fmla="*/ 271695 h 11"/>
                  <a:gd name="T64" fmla="*/ 296773 w 13"/>
                  <a:gd name="T65" fmla="*/ 271695 h 11"/>
                  <a:gd name="T66" fmla="*/ 296773 w 13"/>
                  <a:gd name="T67" fmla="*/ 271695 h 11"/>
                  <a:gd name="T68" fmla="*/ 296773 w 13"/>
                  <a:gd name="T69" fmla="*/ 271695 h 11"/>
                  <a:gd name="T70" fmla="*/ 338875 w 13"/>
                  <a:gd name="T71" fmla="*/ 244478 h 11"/>
                  <a:gd name="T72" fmla="*/ 338875 w 13"/>
                  <a:gd name="T73" fmla="*/ 219163 h 11"/>
                  <a:gd name="T74" fmla="*/ 369205 w 13"/>
                  <a:gd name="T75" fmla="*/ 179284 h 11"/>
                  <a:gd name="T76" fmla="*/ 369205 w 13"/>
                  <a:gd name="T77" fmla="*/ 152034 h 11"/>
                  <a:gd name="T78" fmla="*/ 369205 w 13"/>
                  <a:gd name="T79" fmla="*/ 114948 h 11"/>
                  <a:gd name="T80" fmla="*/ 244743 w 13"/>
                  <a:gd name="T81" fmla="*/ 219163 h 11"/>
                  <a:gd name="T82" fmla="*/ 244743 w 13"/>
                  <a:gd name="T83" fmla="*/ 219163 h 11"/>
                  <a:gd name="T84" fmla="*/ 172253 w 13"/>
                  <a:gd name="T85" fmla="*/ 219163 h 11"/>
                  <a:gd name="T86" fmla="*/ 72235 w 13"/>
                  <a:gd name="T87" fmla="*/ 219163 h 11"/>
                  <a:gd name="T88" fmla="*/ 410757 w 13"/>
                  <a:gd name="T89" fmla="*/ 64322 h 11"/>
                  <a:gd name="T90" fmla="*/ 410757 w 13"/>
                  <a:gd name="T91" fmla="*/ 92723 h 11"/>
                  <a:gd name="T92" fmla="*/ 369205 w 13"/>
                  <a:gd name="T93" fmla="*/ 114948 h 11"/>
                  <a:gd name="T94" fmla="*/ 369205 w 13"/>
                  <a:gd name="T95" fmla="*/ 114948 h 11"/>
                  <a:gd name="T96" fmla="*/ 410757 w 13"/>
                  <a:gd name="T97" fmla="*/ 114948 h 11"/>
                  <a:gd name="T98" fmla="*/ 410757 w 13"/>
                  <a:gd name="T99" fmla="*/ 114948 h 11"/>
                  <a:gd name="T100" fmla="*/ 410757 w 13"/>
                  <a:gd name="T101" fmla="*/ 64322 h 1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3" h="11">
                    <a:moveTo>
                      <a:pt x="9" y="11"/>
                    </a:moveTo>
                    <a:cubicBezTo>
                      <a:pt x="9" y="11"/>
                      <a:pt x="9" y="11"/>
                      <a:pt x="9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0"/>
                      <a:pt x="8" y="10"/>
                      <a:pt x="7" y="10"/>
                    </a:cubicBezTo>
                    <a:cubicBezTo>
                      <a:pt x="5" y="10"/>
                      <a:pt x="3" y="10"/>
                      <a:pt x="2" y="9"/>
                    </a:cubicBezTo>
                    <a:cubicBezTo>
                      <a:pt x="2" y="9"/>
                      <a:pt x="2" y="8"/>
                      <a:pt x="1" y="7"/>
                    </a:cubicBezTo>
                    <a:cubicBezTo>
                      <a:pt x="1" y="6"/>
                      <a:pt x="0" y="6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6"/>
                      <a:pt x="4" y="6"/>
                    </a:cubicBezTo>
                    <a:cubicBezTo>
                      <a:pt x="4" y="6"/>
                      <a:pt x="5" y="6"/>
                      <a:pt x="5" y="6"/>
                    </a:cubicBezTo>
                    <a:cubicBezTo>
                      <a:pt x="6" y="6"/>
                      <a:pt x="6" y="6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8" y="6"/>
                      <a:pt x="10" y="3"/>
                      <a:pt x="11" y="2"/>
                    </a:cubicBezTo>
                    <a:cubicBezTo>
                      <a:pt x="11" y="2"/>
                      <a:pt x="11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2"/>
                      <a:pt x="13" y="2"/>
                    </a:cubicBezTo>
                    <a:cubicBezTo>
                      <a:pt x="13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3" y="6"/>
                      <a:pt x="12" y="6"/>
                      <a:pt x="12" y="7"/>
                    </a:cubicBezTo>
                    <a:cubicBezTo>
                      <a:pt x="11" y="7"/>
                      <a:pt x="11" y="7"/>
                      <a:pt x="11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9"/>
                      <a:pt x="11" y="11"/>
                      <a:pt x="9" y="11"/>
                    </a:cubicBezTo>
                    <a:close/>
                    <a:moveTo>
                      <a:pt x="2" y="7"/>
                    </a:moveTo>
                    <a:cubicBezTo>
                      <a:pt x="2" y="7"/>
                      <a:pt x="3" y="8"/>
                      <a:pt x="3" y="9"/>
                    </a:cubicBezTo>
                    <a:cubicBezTo>
                      <a:pt x="4" y="9"/>
                      <a:pt x="6" y="9"/>
                      <a:pt x="7" y="9"/>
                    </a:cubicBezTo>
                    <a:cubicBezTo>
                      <a:pt x="8" y="9"/>
                      <a:pt x="8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0" y="9"/>
                      <a:pt x="10" y="9"/>
                      <a:pt x="10" y="8"/>
                    </a:cubicBezTo>
                    <a:cubicBezTo>
                      <a:pt x="10" y="8"/>
                      <a:pt x="10" y="8"/>
                      <a:pt x="10" y="7"/>
                    </a:cubicBezTo>
                    <a:cubicBezTo>
                      <a:pt x="10" y="6"/>
                      <a:pt x="11" y="6"/>
                      <a:pt x="11" y="6"/>
                    </a:cubicBezTo>
                    <a:cubicBezTo>
                      <a:pt x="11" y="6"/>
                      <a:pt x="11" y="5"/>
                      <a:pt x="11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9" y="6"/>
                      <a:pt x="8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6" y="7"/>
                      <a:pt x="6" y="7"/>
                      <a:pt x="5" y="7"/>
                    </a:cubicBezTo>
                    <a:cubicBezTo>
                      <a:pt x="4" y="7"/>
                      <a:pt x="3" y="7"/>
                      <a:pt x="2" y="7"/>
                    </a:cubicBezTo>
                    <a:close/>
                    <a:moveTo>
                      <a:pt x="12" y="2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1" y="3"/>
                      <a:pt x="11" y="3"/>
                      <a:pt x="1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4" name="Freeform 448"/>
              <p:cNvSpPr/>
              <p:nvPr/>
            </p:nvSpPr>
            <p:spPr bwMode="auto">
              <a:xfrm>
                <a:off x="2960" y="1548"/>
                <a:ext cx="17" cy="14"/>
              </a:xfrm>
              <a:custGeom>
                <a:avLst/>
                <a:gdLst>
                  <a:gd name="T0" fmla="*/ 170481 w 7"/>
                  <a:gd name="T1" fmla="*/ 24544 h 6"/>
                  <a:gd name="T2" fmla="*/ 0 w 7"/>
                  <a:gd name="T3" fmla="*/ 24544 h 6"/>
                  <a:gd name="T4" fmla="*/ 0 w 7"/>
                  <a:gd name="T5" fmla="*/ 100221 h 6"/>
                  <a:gd name="T6" fmla="*/ 34891 w 7"/>
                  <a:gd name="T7" fmla="*/ 133628 h 6"/>
                  <a:gd name="T8" fmla="*/ 0 w 7"/>
                  <a:gd name="T9" fmla="*/ 158172 h 6"/>
                  <a:gd name="T10" fmla="*/ 121050 w 7"/>
                  <a:gd name="T11" fmla="*/ 100221 h 6"/>
                  <a:gd name="T12" fmla="*/ 293979 w 7"/>
                  <a:gd name="T13" fmla="*/ 75677 h 6"/>
                  <a:gd name="T14" fmla="*/ 170481 w 7"/>
                  <a:gd name="T15" fmla="*/ 24544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" h="6">
                    <a:moveTo>
                      <a:pt x="4" y="1"/>
                    </a:moveTo>
                    <a:cubicBezTo>
                      <a:pt x="3" y="0"/>
                      <a:pt x="2" y="0"/>
                      <a:pt x="0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1" y="5"/>
                      <a:pt x="1" y="5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1" y="5"/>
                      <a:pt x="2" y="4"/>
                      <a:pt x="3" y="4"/>
                    </a:cubicBezTo>
                    <a:cubicBezTo>
                      <a:pt x="5" y="3"/>
                      <a:pt x="6" y="4"/>
                      <a:pt x="7" y="3"/>
                    </a:cubicBezTo>
                    <a:cubicBezTo>
                      <a:pt x="6" y="2"/>
                      <a:pt x="4" y="2"/>
                      <a:pt x="4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5" name="Freeform 449"/>
              <p:cNvSpPr>
                <a:spLocks noEditPoints="1"/>
              </p:cNvSpPr>
              <p:nvPr/>
            </p:nvSpPr>
            <p:spPr bwMode="auto">
              <a:xfrm>
                <a:off x="2958" y="1548"/>
                <a:ext cx="21" cy="19"/>
              </a:xfrm>
              <a:custGeom>
                <a:avLst/>
                <a:gdLst>
                  <a:gd name="T0" fmla="*/ 0 w 9"/>
                  <a:gd name="T1" fmla="*/ 256987 h 8"/>
                  <a:gd name="T2" fmla="*/ 24544 w 9"/>
                  <a:gd name="T3" fmla="*/ 187179 h 8"/>
                  <a:gd name="T4" fmla="*/ 24544 w 9"/>
                  <a:gd name="T5" fmla="*/ 187179 h 8"/>
                  <a:gd name="T6" fmla="*/ 24544 w 9"/>
                  <a:gd name="T7" fmla="*/ 166184 h 8"/>
                  <a:gd name="T8" fmla="*/ 24544 w 9"/>
                  <a:gd name="T9" fmla="*/ 166184 h 8"/>
                  <a:gd name="T10" fmla="*/ 0 w 9"/>
                  <a:gd name="T11" fmla="*/ 166184 h 8"/>
                  <a:gd name="T12" fmla="*/ 0 w 9"/>
                  <a:gd name="T13" fmla="*/ 136779 h 8"/>
                  <a:gd name="T14" fmla="*/ 24544 w 9"/>
                  <a:gd name="T15" fmla="*/ 96347 h 8"/>
                  <a:gd name="T16" fmla="*/ 24544 w 9"/>
                  <a:gd name="T17" fmla="*/ 29462 h 8"/>
                  <a:gd name="T18" fmla="*/ 24544 w 9"/>
                  <a:gd name="T19" fmla="*/ 29462 h 8"/>
                  <a:gd name="T20" fmla="*/ 24544 w 9"/>
                  <a:gd name="T21" fmla="*/ 29462 h 8"/>
                  <a:gd name="T22" fmla="*/ 158172 w 9"/>
                  <a:gd name="T23" fmla="*/ 0 h 8"/>
                  <a:gd name="T24" fmla="*/ 158172 w 9"/>
                  <a:gd name="T25" fmla="*/ 0 h 8"/>
                  <a:gd name="T26" fmla="*/ 158172 w 9"/>
                  <a:gd name="T27" fmla="*/ 29462 h 8"/>
                  <a:gd name="T28" fmla="*/ 210957 w 9"/>
                  <a:gd name="T29" fmla="*/ 69972 h 8"/>
                  <a:gd name="T30" fmla="*/ 233849 w 9"/>
                  <a:gd name="T31" fmla="*/ 69972 h 8"/>
                  <a:gd name="T32" fmla="*/ 210957 w 9"/>
                  <a:gd name="T33" fmla="*/ 96347 h 8"/>
                  <a:gd name="T34" fmla="*/ 158172 w 9"/>
                  <a:gd name="T35" fmla="*/ 136779 h 8"/>
                  <a:gd name="T36" fmla="*/ 158172 w 9"/>
                  <a:gd name="T37" fmla="*/ 136779 h 8"/>
                  <a:gd name="T38" fmla="*/ 158172 w 9"/>
                  <a:gd name="T39" fmla="*/ 136779 h 8"/>
                  <a:gd name="T40" fmla="*/ 133628 w 9"/>
                  <a:gd name="T41" fmla="*/ 136779 h 8"/>
                  <a:gd name="T42" fmla="*/ 75677 w 9"/>
                  <a:gd name="T43" fmla="*/ 187179 h 8"/>
                  <a:gd name="T44" fmla="*/ 57269 w 9"/>
                  <a:gd name="T45" fmla="*/ 228824 h 8"/>
                  <a:gd name="T46" fmla="*/ 0 w 9"/>
                  <a:gd name="T47" fmla="*/ 256987 h 8"/>
                  <a:gd name="T48" fmla="*/ 57269 w 9"/>
                  <a:gd name="T49" fmla="*/ 136779 h 8"/>
                  <a:gd name="T50" fmla="*/ 57269 w 9"/>
                  <a:gd name="T51" fmla="*/ 136779 h 8"/>
                  <a:gd name="T52" fmla="*/ 57269 w 9"/>
                  <a:gd name="T53" fmla="*/ 136779 h 8"/>
                  <a:gd name="T54" fmla="*/ 75677 w 9"/>
                  <a:gd name="T55" fmla="*/ 136779 h 8"/>
                  <a:gd name="T56" fmla="*/ 100221 w 9"/>
                  <a:gd name="T57" fmla="*/ 96347 h 8"/>
                  <a:gd name="T58" fmla="*/ 158172 w 9"/>
                  <a:gd name="T59" fmla="*/ 96347 h 8"/>
                  <a:gd name="T60" fmla="*/ 158172 w 9"/>
                  <a:gd name="T61" fmla="*/ 96347 h 8"/>
                  <a:gd name="T62" fmla="*/ 158172 w 9"/>
                  <a:gd name="T63" fmla="*/ 96347 h 8"/>
                  <a:gd name="T64" fmla="*/ 158172 w 9"/>
                  <a:gd name="T65" fmla="*/ 96347 h 8"/>
                  <a:gd name="T66" fmla="*/ 133628 w 9"/>
                  <a:gd name="T67" fmla="*/ 29462 h 8"/>
                  <a:gd name="T68" fmla="*/ 57269 w 9"/>
                  <a:gd name="T69" fmla="*/ 29462 h 8"/>
                  <a:gd name="T70" fmla="*/ 57269 w 9"/>
                  <a:gd name="T71" fmla="*/ 136779 h 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" h="8">
                    <a:moveTo>
                      <a:pt x="0" y="8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4"/>
                      <a:pt x="1" y="3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" y="0"/>
                      <a:pt x="4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7" y="2"/>
                      <a:pt x="8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7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3" y="5"/>
                      <a:pt x="3" y="6"/>
                    </a:cubicBezTo>
                    <a:cubicBezTo>
                      <a:pt x="2" y="6"/>
                      <a:pt x="2" y="6"/>
                      <a:pt x="2" y="7"/>
                    </a:cubicBezTo>
                    <a:lnTo>
                      <a:pt x="0" y="8"/>
                    </a:lnTo>
                    <a:close/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3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1"/>
                    </a:cubicBezTo>
                    <a:cubicBezTo>
                      <a:pt x="3" y="2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6" name="Freeform 450"/>
              <p:cNvSpPr/>
              <p:nvPr/>
            </p:nvSpPr>
            <p:spPr bwMode="auto">
              <a:xfrm>
                <a:off x="2960" y="1546"/>
                <a:ext cx="102" cy="47"/>
              </a:xfrm>
              <a:custGeom>
                <a:avLst/>
                <a:gdLst>
                  <a:gd name="T0" fmla="*/ 27920 w 43"/>
                  <a:gd name="T1" fmla="*/ 194371 h 20"/>
                  <a:gd name="T2" fmla="*/ 119205 w 43"/>
                  <a:gd name="T3" fmla="*/ 170297 h 20"/>
                  <a:gd name="T4" fmla="*/ 225676 w 43"/>
                  <a:gd name="T5" fmla="*/ 170297 h 20"/>
                  <a:gd name="T6" fmla="*/ 185431 w 43"/>
                  <a:gd name="T7" fmla="*/ 170297 h 20"/>
                  <a:gd name="T8" fmla="*/ 282765 w 43"/>
                  <a:gd name="T9" fmla="*/ 143977 h 20"/>
                  <a:gd name="T10" fmla="*/ 282765 w 43"/>
                  <a:gd name="T11" fmla="*/ 106927 h 20"/>
                  <a:gd name="T12" fmla="*/ 439860 w 43"/>
                  <a:gd name="T13" fmla="*/ 61267 h 20"/>
                  <a:gd name="T14" fmla="*/ 604288 w 43"/>
                  <a:gd name="T15" fmla="*/ 26071 h 20"/>
                  <a:gd name="T16" fmla="*/ 694772 w 43"/>
                  <a:gd name="T17" fmla="*/ 61267 h 20"/>
                  <a:gd name="T18" fmla="*/ 732702 w 43"/>
                  <a:gd name="T19" fmla="*/ 61267 h 20"/>
                  <a:gd name="T20" fmla="*/ 760718 w 43"/>
                  <a:gd name="T21" fmla="*/ 106927 h 20"/>
                  <a:gd name="T22" fmla="*/ 1110645 w 43"/>
                  <a:gd name="T23" fmla="*/ 82711 h 20"/>
                  <a:gd name="T24" fmla="*/ 1365393 w 43"/>
                  <a:gd name="T25" fmla="*/ 231576 h 20"/>
                  <a:gd name="T26" fmla="*/ 1336326 w 43"/>
                  <a:gd name="T27" fmla="*/ 312757 h 20"/>
                  <a:gd name="T28" fmla="*/ 1336326 w 43"/>
                  <a:gd name="T29" fmla="*/ 400198 h 20"/>
                  <a:gd name="T30" fmla="*/ 1365393 w 43"/>
                  <a:gd name="T31" fmla="*/ 422213 h 20"/>
                  <a:gd name="T32" fmla="*/ 1336326 w 43"/>
                  <a:gd name="T33" fmla="*/ 422213 h 20"/>
                  <a:gd name="T34" fmla="*/ 1246191 w 43"/>
                  <a:gd name="T35" fmla="*/ 422213 h 20"/>
                  <a:gd name="T36" fmla="*/ 1200901 w 43"/>
                  <a:gd name="T37" fmla="*/ 456772 h 20"/>
                  <a:gd name="T38" fmla="*/ 1081413 w 43"/>
                  <a:gd name="T39" fmla="*/ 456772 h 20"/>
                  <a:gd name="T40" fmla="*/ 948318 w 43"/>
                  <a:gd name="T41" fmla="*/ 482843 h 20"/>
                  <a:gd name="T42" fmla="*/ 830031 w 43"/>
                  <a:gd name="T43" fmla="*/ 482843 h 20"/>
                  <a:gd name="T44" fmla="*/ 760718 w 43"/>
                  <a:gd name="T45" fmla="*/ 544204 h 20"/>
                  <a:gd name="T46" fmla="*/ 732702 w 43"/>
                  <a:gd name="T47" fmla="*/ 566404 h 20"/>
                  <a:gd name="T48" fmla="*/ 732702 w 43"/>
                  <a:gd name="T49" fmla="*/ 482843 h 20"/>
                  <a:gd name="T50" fmla="*/ 670745 w 43"/>
                  <a:gd name="T51" fmla="*/ 482843 h 20"/>
                  <a:gd name="T52" fmla="*/ 480142 w 43"/>
                  <a:gd name="T53" fmla="*/ 544204 h 20"/>
                  <a:gd name="T54" fmla="*/ 349915 w 43"/>
                  <a:gd name="T55" fmla="*/ 482843 h 20"/>
                  <a:gd name="T56" fmla="*/ 282765 w 43"/>
                  <a:gd name="T57" fmla="*/ 544204 h 20"/>
                  <a:gd name="T58" fmla="*/ 157101 w 43"/>
                  <a:gd name="T59" fmla="*/ 509809 h 20"/>
                  <a:gd name="T60" fmla="*/ 95138 w 43"/>
                  <a:gd name="T61" fmla="*/ 482843 h 20"/>
                  <a:gd name="T62" fmla="*/ 157101 w 43"/>
                  <a:gd name="T63" fmla="*/ 456772 h 20"/>
                  <a:gd name="T64" fmla="*/ 95138 w 43"/>
                  <a:gd name="T65" fmla="*/ 456772 h 20"/>
                  <a:gd name="T66" fmla="*/ 95138 w 43"/>
                  <a:gd name="T67" fmla="*/ 422213 h 20"/>
                  <a:gd name="T68" fmla="*/ 66229 w 43"/>
                  <a:gd name="T69" fmla="*/ 375619 h 20"/>
                  <a:gd name="T70" fmla="*/ 27920 w 43"/>
                  <a:gd name="T71" fmla="*/ 338346 h 20"/>
                  <a:gd name="T72" fmla="*/ 66229 w 43"/>
                  <a:gd name="T73" fmla="*/ 338346 h 20"/>
                  <a:gd name="T74" fmla="*/ 27920 w 43"/>
                  <a:gd name="T75" fmla="*/ 338346 h 20"/>
                  <a:gd name="T76" fmla="*/ 66229 w 43"/>
                  <a:gd name="T77" fmla="*/ 251278 h 20"/>
                  <a:gd name="T78" fmla="*/ 0 w 43"/>
                  <a:gd name="T79" fmla="*/ 251278 h 20"/>
                  <a:gd name="T80" fmla="*/ 27920 w 43"/>
                  <a:gd name="T81" fmla="*/ 194371 h 2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43" h="20">
                    <a:moveTo>
                      <a:pt x="1" y="7"/>
                    </a:moveTo>
                    <a:cubicBezTo>
                      <a:pt x="1" y="7"/>
                      <a:pt x="4" y="7"/>
                      <a:pt x="4" y="6"/>
                    </a:cubicBezTo>
                    <a:cubicBezTo>
                      <a:pt x="5" y="6"/>
                      <a:pt x="6" y="6"/>
                      <a:pt x="7" y="6"/>
                    </a:cubicBezTo>
                    <a:cubicBezTo>
                      <a:pt x="7" y="6"/>
                      <a:pt x="6" y="6"/>
                      <a:pt x="6" y="6"/>
                    </a:cubicBezTo>
                    <a:cubicBezTo>
                      <a:pt x="7" y="6"/>
                      <a:pt x="8" y="5"/>
                      <a:pt x="9" y="5"/>
                    </a:cubicBezTo>
                    <a:cubicBezTo>
                      <a:pt x="7" y="5"/>
                      <a:pt x="6" y="4"/>
                      <a:pt x="9" y="4"/>
                    </a:cubicBezTo>
                    <a:cubicBezTo>
                      <a:pt x="12" y="5"/>
                      <a:pt x="12" y="4"/>
                      <a:pt x="14" y="2"/>
                    </a:cubicBezTo>
                    <a:cubicBezTo>
                      <a:pt x="16" y="1"/>
                      <a:pt x="18" y="1"/>
                      <a:pt x="19" y="1"/>
                    </a:cubicBezTo>
                    <a:cubicBezTo>
                      <a:pt x="21" y="1"/>
                      <a:pt x="21" y="1"/>
                      <a:pt x="22" y="2"/>
                    </a:cubicBezTo>
                    <a:cubicBezTo>
                      <a:pt x="22" y="3"/>
                      <a:pt x="23" y="2"/>
                      <a:pt x="23" y="2"/>
                    </a:cubicBezTo>
                    <a:cubicBezTo>
                      <a:pt x="23" y="3"/>
                      <a:pt x="23" y="4"/>
                      <a:pt x="24" y="4"/>
                    </a:cubicBezTo>
                    <a:cubicBezTo>
                      <a:pt x="27" y="5"/>
                      <a:pt x="32" y="5"/>
                      <a:pt x="35" y="3"/>
                    </a:cubicBezTo>
                    <a:cubicBezTo>
                      <a:pt x="39" y="0"/>
                      <a:pt x="40" y="7"/>
                      <a:pt x="43" y="8"/>
                    </a:cubicBezTo>
                    <a:cubicBezTo>
                      <a:pt x="41" y="9"/>
                      <a:pt x="42" y="10"/>
                      <a:pt x="42" y="11"/>
                    </a:cubicBezTo>
                    <a:cubicBezTo>
                      <a:pt x="42" y="12"/>
                      <a:pt x="42" y="13"/>
                      <a:pt x="42" y="14"/>
                    </a:cubicBezTo>
                    <a:cubicBezTo>
                      <a:pt x="42" y="14"/>
                      <a:pt x="43" y="15"/>
                      <a:pt x="43" y="15"/>
                    </a:cubicBezTo>
                    <a:cubicBezTo>
                      <a:pt x="43" y="16"/>
                      <a:pt x="42" y="16"/>
                      <a:pt x="42" y="15"/>
                    </a:cubicBezTo>
                    <a:cubicBezTo>
                      <a:pt x="41" y="15"/>
                      <a:pt x="40" y="15"/>
                      <a:pt x="39" y="15"/>
                    </a:cubicBezTo>
                    <a:cubicBezTo>
                      <a:pt x="38" y="15"/>
                      <a:pt x="38" y="16"/>
                      <a:pt x="38" y="16"/>
                    </a:cubicBezTo>
                    <a:cubicBezTo>
                      <a:pt x="37" y="16"/>
                      <a:pt x="34" y="16"/>
                      <a:pt x="34" y="16"/>
                    </a:cubicBezTo>
                    <a:cubicBezTo>
                      <a:pt x="33" y="16"/>
                      <a:pt x="31" y="18"/>
                      <a:pt x="30" y="17"/>
                    </a:cubicBezTo>
                    <a:cubicBezTo>
                      <a:pt x="28" y="17"/>
                      <a:pt x="28" y="17"/>
                      <a:pt x="26" y="17"/>
                    </a:cubicBezTo>
                    <a:cubicBezTo>
                      <a:pt x="25" y="18"/>
                      <a:pt x="23" y="16"/>
                      <a:pt x="24" y="19"/>
                    </a:cubicBezTo>
                    <a:cubicBezTo>
                      <a:pt x="24" y="19"/>
                      <a:pt x="24" y="19"/>
                      <a:pt x="23" y="20"/>
                    </a:cubicBezTo>
                    <a:cubicBezTo>
                      <a:pt x="22" y="19"/>
                      <a:pt x="24" y="18"/>
                      <a:pt x="23" y="17"/>
                    </a:cubicBezTo>
                    <a:cubicBezTo>
                      <a:pt x="23" y="17"/>
                      <a:pt x="22" y="18"/>
                      <a:pt x="21" y="17"/>
                    </a:cubicBezTo>
                    <a:cubicBezTo>
                      <a:pt x="19" y="16"/>
                      <a:pt x="17" y="20"/>
                      <a:pt x="15" y="19"/>
                    </a:cubicBezTo>
                    <a:cubicBezTo>
                      <a:pt x="14" y="19"/>
                      <a:pt x="12" y="17"/>
                      <a:pt x="11" y="17"/>
                    </a:cubicBezTo>
                    <a:cubicBezTo>
                      <a:pt x="10" y="17"/>
                      <a:pt x="11" y="18"/>
                      <a:pt x="9" y="19"/>
                    </a:cubicBezTo>
                    <a:cubicBezTo>
                      <a:pt x="7" y="20"/>
                      <a:pt x="7" y="16"/>
                      <a:pt x="5" y="18"/>
                    </a:cubicBezTo>
                    <a:cubicBezTo>
                      <a:pt x="4" y="17"/>
                      <a:pt x="4" y="17"/>
                      <a:pt x="3" y="17"/>
                    </a:cubicBezTo>
                    <a:cubicBezTo>
                      <a:pt x="4" y="17"/>
                      <a:pt x="4" y="17"/>
                      <a:pt x="5" y="16"/>
                    </a:cubicBezTo>
                    <a:cubicBezTo>
                      <a:pt x="4" y="16"/>
                      <a:pt x="4" y="16"/>
                      <a:pt x="3" y="16"/>
                    </a:cubicBezTo>
                    <a:cubicBezTo>
                      <a:pt x="3" y="16"/>
                      <a:pt x="3" y="15"/>
                      <a:pt x="3" y="15"/>
                    </a:cubicBezTo>
                    <a:cubicBezTo>
                      <a:pt x="3" y="15"/>
                      <a:pt x="2" y="13"/>
                      <a:pt x="2" y="13"/>
                    </a:cubicBezTo>
                    <a:cubicBezTo>
                      <a:pt x="1" y="13"/>
                      <a:pt x="0" y="13"/>
                      <a:pt x="1" y="12"/>
                    </a:cubicBezTo>
                    <a:cubicBezTo>
                      <a:pt x="2" y="12"/>
                      <a:pt x="1" y="12"/>
                      <a:pt x="2" y="12"/>
                    </a:cubicBezTo>
                    <a:cubicBezTo>
                      <a:pt x="2" y="12"/>
                      <a:pt x="2" y="12"/>
                      <a:pt x="1" y="12"/>
                    </a:cubicBezTo>
                    <a:cubicBezTo>
                      <a:pt x="2" y="11"/>
                      <a:pt x="1" y="10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9"/>
                      <a:pt x="0" y="8"/>
                      <a:pt x="1" y="7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7" name="Freeform 451"/>
              <p:cNvSpPr>
                <a:spLocks noEditPoints="1"/>
              </p:cNvSpPr>
              <p:nvPr/>
            </p:nvSpPr>
            <p:spPr bwMode="auto">
              <a:xfrm>
                <a:off x="2956" y="1548"/>
                <a:ext cx="108" cy="47"/>
              </a:xfrm>
              <a:custGeom>
                <a:avLst/>
                <a:gdLst>
                  <a:gd name="T0" fmla="*/ 706343 w 46"/>
                  <a:gd name="T1" fmla="*/ 482843 h 20"/>
                  <a:gd name="T2" fmla="*/ 585555 w 46"/>
                  <a:gd name="T3" fmla="*/ 509809 h 20"/>
                  <a:gd name="T4" fmla="*/ 453447 w 46"/>
                  <a:gd name="T5" fmla="*/ 509809 h 20"/>
                  <a:gd name="T6" fmla="*/ 310176 w 46"/>
                  <a:gd name="T7" fmla="*/ 509809 h 20"/>
                  <a:gd name="T8" fmla="*/ 193135 w 46"/>
                  <a:gd name="T9" fmla="*/ 482843 h 20"/>
                  <a:gd name="T10" fmla="*/ 167144 w 46"/>
                  <a:gd name="T11" fmla="*/ 482843 h 20"/>
                  <a:gd name="T12" fmla="*/ 143175 w 46"/>
                  <a:gd name="T13" fmla="*/ 456772 h 20"/>
                  <a:gd name="T14" fmla="*/ 106227 w 46"/>
                  <a:gd name="T15" fmla="*/ 400198 h 20"/>
                  <a:gd name="T16" fmla="*/ 82261 w 46"/>
                  <a:gd name="T17" fmla="*/ 375619 h 20"/>
                  <a:gd name="T18" fmla="*/ 82261 w 46"/>
                  <a:gd name="T19" fmla="*/ 288540 h 20"/>
                  <a:gd name="T20" fmla="*/ 82261 w 46"/>
                  <a:gd name="T21" fmla="*/ 251278 h 20"/>
                  <a:gd name="T22" fmla="*/ 25974 w 46"/>
                  <a:gd name="T23" fmla="*/ 231576 h 20"/>
                  <a:gd name="T24" fmla="*/ 106227 w 46"/>
                  <a:gd name="T25" fmla="*/ 143977 h 20"/>
                  <a:gd name="T26" fmla="*/ 167144 w 46"/>
                  <a:gd name="T27" fmla="*/ 143977 h 20"/>
                  <a:gd name="T28" fmla="*/ 229988 w 46"/>
                  <a:gd name="T29" fmla="*/ 106927 h 20"/>
                  <a:gd name="T30" fmla="*/ 249403 w 46"/>
                  <a:gd name="T31" fmla="*/ 82711 h 20"/>
                  <a:gd name="T32" fmla="*/ 453447 w 46"/>
                  <a:gd name="T33" fmla="*/ 26071 h 20"/>
                  <a:gd name="T34" fmla="*/ 619371 w 46"/>
                  <a:gd name="T35" fmla="*/ 0 h 20"/>
                  <a:gd name="T36" fmla="*/ 706343 w 46"/>
                  <a:gd name="T37" fmla="*/ 26071 h 20"/>
                  <a:gd name="T38" fmla="*/ 868621 w 46"/>
                  <a:gd name="T39" fmla="*/ 82711 h 20"/>
                  <a:gd name="T40" fmla="*/ 1204930 w 46"/>
                  <a:gd name="T41" fmla="*/ 106927 h 20"/>
                  <a:gd name="T42" fmla="*/ 1267760 w 46"/>
                  <a:gd name="T43" fmla="*/ 231576 h 20"/>
                  <a:gd name="T44" fmla="*/ 1267760 w 46"/>
                  <a:gd name="T45" fmla="*/ 375619 h 20"/>
                  <a:gd name="T46" fmla="*/ 1267760 w 46"/>
                  <a:gd name="T47" fmla="*/ 422213 h 20"/>
                  <a:gd name="T48" fmla="*/ 1204930 w 46"/>
                  <a:gd name="T49" fmla="*/ 422213 h 20"/>
                  <a:gd name="T50" fmla="*/ 1098764 w 46"/>
                  <a:gd name="T51" fmla="*/ 422213 h 20"/>
                  <a:gd name="T52" fmla="*/ 895400 w 46"/>
                  <a:gd name="T53" fmla="*/ 482843 h 20"/>
                  <a:gd name="T54" fmla="*/ 752185 w 46"/>
                  <a:gd name="T55" fmla="*/ 482843 h 20"/>
                  <a:gd name="T56" fmla="*/ 752185 w 46"/>
                  <a:gd name="T57" fmla="*/ 509809 h 20"/>
                  <a:gd name="T58" fmla="*/ 706343 w 46"/>
                  <a:gd name="T59" fmla="*/ 566404 h 20"/>
                  <a:gd name="T60" fmla="*/ 479327 w 46"/>
                  <a:gd name="T61" fmla="*/ 482843 h 20"/>
                  <a:gd name="T62" fmla="*/ 646047 w 46"/>
                  <a:gd name="T63" fmla="*/ 456772 h 20"/>
                  <a:gd name="T64" fmla="*/ 752185 w 46"/>
                  <a:gd name="T65" fmla="*/ 456772 h 20"/>
                  <a:gd name="T66" fmla="*/ 895400 w 46"/>
                  <a:gd name="T67" fmla="*/ 456772 h 20"/>
                  <a:gd name="T68" fmla="*/ 1098764 w 46"/>
                  <a:gd name="T69" fmla="*/ 400198 h 20"/>
                  <a:gd name="T70" fmla="*/ 1144802 w 46"/>
                  <a:gd name="T71" fmla="*/ 400198 h 20"/>
                  <a:gd name="T72" fmla="*/ 1231604 w 46"/>
                  <a:gd name="T73" fmla="*/ 400198 h 20"/>
                  <a:gd name="T74" fmla="*/ 1231604 w 46"/>
                  <a:gd name="T75" fmla="*/ 400198 h 20"/>
                  <a:gd name="T76" fmla="*/ 1204930 w 46"/>
                  <a:gd name="T77" fmla="*/ 251278 h 20"/>
                  <a:gd name="T78" fmla="*/ 1098764 w 46"/>
                  <a:gd name="T79" fmla="*/ 61267 h 20"/>
                  <a:gd name="T80" fmla="*/ 706343 w 46"/>
                  <a:gd name="T81" fmla="*/ 82711 h 20"/>
                  <a:gd name="T82" fmla="*/ 646047 w 46"/>
                  <a:gd name="T83" fmla="*/ 61267 h 20"/>
                  <a:gd name="T84" fmla="*/ 585555 w 46"/>
                  <a:gd name="T85" fmla="*/ 26071 h 20"/>
                  <a:gd name="T86" fmla="*/ 275168 w 46"/>
                  <a:gd name="T87" fmla="*/ 106927 h 20"/>
                  <a:gd name="T88" fmla="*/ 310176 w 46"/>
                  <a:gd name="T89" fmla="*/ 106927 h 20"/>
                  <a:gd name="T90" fmla="*/ 275168 w 46"/>
                  <a:gd name="T91" fmla="*/ 170297 h 20"/>
                  <a:gd name="T92" fmla="*/ 106227 w 46"/>
                  <a:gd name="T93" fmla="*/ 170297 h 20"/>
                  <a:gd name="T94" fmla="*/ 82261 w 46"/>
                  <a:gd name="T95" fmla="*/ 194371 h 20"/>
                  <a:gd name="T96" fmla="*/ 106227 w 46"/>
                  <a:gd name="T97" fmla="*/ 251278 h 20"/>
                  <a:gd name="T98" fmla="*/ 193135 w 46"/>
                  <a:gd name="T99" fmla="*/ 375619 h 20"/>
                  <a:gd name="T100" fmla="*/ 143175 w 46"/>
                  <a:gd name="T101" fmla="*/ 375619 h 20"/>
                  <a:gd name="T102" fmla="*/ 193135 w 46"/>
                  <a:gd name="T103" fmla="*/ 422213 h 20"/>
                  <a:gd name="T104" fmla="*/ 249403 w 46"/>
                  <a:gd name="T105" fmla="*/ 482843 h 20"/>
                  <a:gd name="T106" fmla="*/ 369968 w 46"/>
                  <a:gd name="T107" fmla="*/ 422213 h 2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6" h="20">
                    <a:moveTo>
                      <a:pt x="25" y="20"/>
                    </a:moveTo>
                    <a:cubicBezTo>
                      <a:pt x="25" y="19"/>
                      <a:pt x="25" y="19"/>
                      <a:pt x="25" y="19"/>
                    </a:cubicBezTo>
                    <a:cubicBezTo>
                      <a:pt x="24" y="18"/>
                      <a:pt x="24" y="17"/>
                      <a:pt x="25" y="17"/>
                    </a:cubicBezTo>
                    <a:cubicBezTo>
                      <a:pt x="25" y="17"/>
                      <a:pt x="24" y="17"/>
                      <a:pt x="24" y="17"/>
                    </a:cubicBezTo>
                    <a:cubicBezTo>
                      <a:pt x="24" y="17"/>
                      <a:pt x="23" y="17"/>
                      <a:pt x="22" y="17"/>
                    </a:cubicBezTo>
                    <a:cubicBezTo>
                      <a:pt x="22" y="17"/>
                      <a:pt x="21" y="17"/>
                      <a:pt x="21" y="18"/>
                    </a:cubicBezTo>
                    <a:cubicBezTo>
                      <a:pt x="20" y="18"/>
                      <a:pt x="19" y="19"/>
                      <a:pt x="18" y="19"/>
                    </a:cubicBezTo>
                    <a:cubicBezTo>
                      <a:pt x="17" y="19"/>
                      <a:pt x="17" y="19"/>
                      <a:pt x="17" y="18"/>
                    </a:cubicBezTo>
                    <a:cubicBezTo>
                      <a:pt x="17" y="18"/>
                      <a:pt x="16" y="18"/>
                      <a:pt x="16" y="18"/>
                    </a:cubicBezTo>
                    <a:cubicBezTo>
                      <a:pt x="15" y="17"/>
                      <a:pt x="14" y="16"/>
                      <a:pt x="13" y="16"/>
                    </a:cubicBezTo>
                    <a:cubicBezTo>
                      <a:pt x="13" y="16"/>
                      <a:pt x="13" y="17"/>
                      <a:pt x="13" y="17"/>
                    </a:cubicBezTo>
                    <a:cubicBezTo>
                      <a:pt x="13" y="17"/>
                      <a:pt x="12" y="18"/>
                      <a:pt x="11" y="18"/>
                    </a:cubicBezTo>
                    <a:cubicBezTo>
                      <a:pt x="11" y="19"/>
                      <a:pt x="11" y="19"/>
                      <a:pt x="10" y="19"/>
                    </a:cubicBezTo>
                    <a:cubicBezTo>
                      <a:pt x="10" y="19"/>
                      <a:pt x="9" y="18"/>
                      <a:pt x="9" y="17"/>
                    </a:cubicBezTo>
                    <a:cubicBezTo>
                      <a:pt x="8" y="17"/>
                      <a:pt x="8" y="17"/>
                      <a:pt x="7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7"/>
                      <a:pt x="6" y="17"/>
                      <a:pt x="5" y="17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5" y="15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3" y="13"/>
                      <a:pt x="3" y="13"/>
                    </a:cubicBezTo>
                    <a:cubicBezTo>
                      <a:pt x="3" y="13"/>
                      <a:pt x="2" y="12"/>
                      <a:pt x="2" y="12"/>
                    </a:cubicBezTo>
                    <a:cubicBezTo>
                      <a:pt x="2" y="11"/>
                      <a:pt x="2" y="11"/>
                      <a:pt x="2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2" y="9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2" y="8"/>
                      <a:pt x="2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ubicBezTo>
                      <a:pt x="3" y="5"/>
                      <a:pt x="4" y="5"/>
                      <a:pt x="4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3"/>
                      <a:pt x="9" y="3"/>
                    </a:cubicBezTo>
                    <a:cubicBezTo>
                      <a:pt x="9" y="3"/>
                      <a:pt x="9" y="2"/>
                      <a:pt x="11" y="2"/>
                    </a:cubicBezTo>
                    <a:cubicBezTo>
                      <a:pt x="12" y="3"/>
                      <a:pt x="12" y="3"/>
                      <a:pt x="13" y="3"/>
                    </a:cubicBezTo>
                    <a:cubicBezTo>
                      <a:pt x="14" y="3"/>
                      <a:pt x="14" y="2"/>
                      <a:pt x="16" y="1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3" y="0"/>
                      <a:pt x="23" y="0"/>
                      <a:pt x="24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6" y="1"/>
                      <a:pt x="26" y="2"/>
                      <a:pt x="26" y="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7" y="3"/>
                      <a:pt x="29" y="3"/>
                      <a:pt x="31" y="3"/>
                    </a:cubicBezTo>
                    <a:cubicBezTo>
                      <a:pt x="33" y="3"/>
                      <a:pt x="35" y="3"/>
                      <a:pt x="36" y="2"/>
                    </a:cubicBezTo>
                    <a:cubicBezTo>
                      <a:pt x="37" y="1"/>
                      <a:pt x="38" y="1"/>
                      <a:pt x="39" y="1"/>
                    </a:cubicBezTo>
                    <a:cubicBezTo>
                      <a:pt x="41" y="1"/>
                      <a:pt x="42" y="3"/>
                      <a:pt x="43" y="4"/>
                    </a:cubicBezTo>
                    <a:cubicBezTo>
                      <a:pt x="43" y="5"/>
                      <a:pt x="44" y="6"/>
                      <a:pt x="45" y="7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45" y="8"/>
                      <a:pt x="45" y="8"/>
                      <a:pt x="45" y="8"/>
                    </a:cubicBezTo>
                    <a:cubicBezTo>
                      <a:pt x="44" y="8"/>
                      <a:pt x="44" y="8"/>
                      <a:pt x="44" y="9"/>
                    </a:cubicBezTo>
                    <a:cubicBezTo>
                      <a:pt x="44" y="10"/>
                      <a:pt x="45" y="10"/>
                      <a:pt x="45" y="10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5" y="13"/>
                      <a:pt x="46" y="14"/>
                      <a:pt x="46" y="14"/>
                    </a:cubicBezTo>
                    <a:cubicBezTo>
                      <a:pt x="46" y="14"/>
                      <a:pt x="46" y="15"/>
                      <a:pt x="45" y="15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5"/>
                      <a:pt x="44" y="15"/>
                      <a:pt x="43" y="15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2" y="15"/>
                      <a:pt x="41" y="15"/>
                      <a:pt x="41" y="15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41" y="15"/>
                      <a:pt x="40" y="16"/>
                      <a:pt x="39" y="15"/>
                    </a:cubicBezTo>
                    <a:cubicBezTo>
                      <a:pt x="39" y="15"/>
                      <a:pt x="36" y="15"/>
                      <a:pt x="36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4" y="17"/>
                      <a:pt x="33" y="17"/>
                      <a:pt x="32" y="17"/>
                    </a:cubicBezTo>
                    <a:cubicBezTo>
                      <a:pt x="31" y="16"/>
                      <a:pt x="30" y="16"/>
                      <a:pt x="30" y="17"/>
                    </a:cubicBezTo>
                    <a:cubicBezTo>
                      <a:pt x="29" y="17"/>
                      <a:pt x="29" y="17"/>
                      <a:pt x="28" y="17"/>
                    </a:cubicBezTo>
                    <a:cubicBezTo>
                      <a:pt x="28" y="17"/>
                      <a:pt x="27" y="17"/>
                      <a:pt x="27" y="17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26" y="18"/>
                      <a:pt x="26" y="18"/>
                      <a:pt x="26" y="19"/>
                    </a:cubicBezTo>
                    <a:lnTo>
                      <a:pt x="25" y="20"/>
                    </a:lnTo>
                    <a:close/>
                    <a:moveTo>
                      <a:pt x="13" y="15"/>
                    </a:moveTo>
                    <a:cubicBezTo>
                      <a:pt x="14" y="15"/>
                      <a:pt x="15" y="16"/>
                      <a:pt x="16" y="17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8" y="18"/>
                      <a:pt x="19" y="17"/>
                      <a:pt x="20" y="17"/>
                    </a:cubicBezTo>
                    <a:cubicBezTo>
                      <a:pt x="21" y="16"/>
                      <a:pt x="21" y="16"/>
                      <a:pt x="22" y="16"/>
                    </a:cubicBezTo>
                    <a:cubicBezTo>
                      <a:pt x="22" y="16"/>
                      <a:pt x="23" y="16"/>
                      <a:pt x="23" y="16"/>
                    </a:cubicBezTo>
                    <a:cubicBezTo>
                      <a:pt x="23" y="16"/>
                      <a:pt x="24" y="16"/>
                      <a:pt x="24" y="16"/>
                    </a:cubicBezTo>
                    <a:cubicBezTo>
                      <a:pt x="25" y="16"/>
                      <a:pt x="25" y="15"/>
                      <a:pt x="26" y="16"/>
                    </a:cubicBezTo>
                    <a:cubicBezTo>
                      <a:pt x="26" y="16"/>
                      <a:pt x="27" y="16"/>
                      <a:pt x="27" y="16"/>
                    </a:cubicBezTo>
                    <a:cubicBezTo>
                      <a:pt x="27" y="16"/>
                      <a:pt x="28" y="16"/>
                      <a:pt x="28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30" y="15"/>
                      <a:pt x="31" y="15"/>
                      <a:pt x="32" y="16"/>
                    </a:cubicBezTo>
                    <a:cubicBezTo>
                      <a:pt x="33" y="16"/>
                      <a:pt x="33" y="15"/>
                      <a:pt x="34" y="15"/>
                    </a:cubicBezTo>
                    <a:cubicBezTo>
                      <a:pt x="35" y="15"/>
                      <a:pt x="35" y="14"/>
                      <a:pt x="36" y="14"/>
                    </a:cubicBezTo>
                    <a:cubicBezTo>
                      <a:pt x="36" y="14"/>
                      <a:pt x="38" y="14"/>
                      <a:pt x="39" y="14"/>
                    </a:cubicBezTo>
                    <a:cubicBezTo>
                      <a:pt x="39" y="14"/>
                      <a:pt x="40" y="14"/>
                      <a:pt x="40" y="14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0" y="14"/>
                      <a:pt x="40" y="14"/>
                      <a:pt x="41" y="14"/>
                    </a:cubicBezTo>
                    <a:cubicBezTo>
                      <a:pt x="41" y="13"/>
                      <a:pt x="42" y="14"/>
                      <a:pt x="43" y="14"/>
                    </a:cubicBezTo>
                    <a:cubicBezTo>
                      <a:pt x="43" y="14"/>
                      <a:pt x="43" y="14"/>
                      <a:pt x="44" y="14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14"/>
                      <a:pt x="44" y="14"/>
                      <a:pt x="45" y="14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14"/>
                      <a:pt x="43" y="13"/>
                      <a:pt x="43" y="13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43" y="10"/>
                      <a:pt x="43" y="10"/>
                      <a:pt x="43" y="9"/>
                    </a:cubicBezTo>
                    <a:cubicBezTo>
                      <a:pt x="43" y="9"/>
                      <a:pt x="43" y="8"/>
                      <a:pt x="44" y="7"/>
                    </a:cubicBezTo>
                    <a:cubicBezTo>
                      <a:pt x="43" y="7"/>
                      <a:pt x="42" y="6"/>
                      <a:pt x="42" y="5"/>
                    </a:cubicBezTo>
                    <a:cubicBezTo>
                      <a:pt x="41" y="3"/>
                      <a:pt x="40" y="2"/>
                      <a:pt x="39" y="2"/>
                    </a:cubicBezTo>
                    <a:cubicBezTo>
                      <a:pt x="38" y="2"/>
                      <a:pt x="38" y="2"/>
                      <a:pt x="37" y="3"/>
                    </a:cubicBezTo>
                    <a:cubicBezTo>
                      <a:pt x="36" y="4"/>
                      <a:pt x="33" y="4"/>
                      <a:pt x="31" y="4"/>
                    </a:cubicBezTo>
                    <a:cubicBezTo>
                      <a:pt x="29" y="4"/>
                      <a:pt x="27" y="4"/>
                      <a:pt x="25" y="3"/>
                    </a:cubicBezTo>
                    <a:cubicBezTo>
                      <a:pt x="25" y="3"/>
                      <a:pt x="25" y="3"/>
                      <a:pt x="25" y="2"/>
                    </a:cubicBezTo>
                    <a:cubicBezTo>
                      <a:pt x="25" y="2"/>
                      <a:pt x="25" y="2"/>
                      <a:pt x="25" y="2"/>
                    </a:cubicBezTo>
                    <a:cubicBezTo>
                      <a:pt x="24" y="2"/>
                      <a:pt x="24" y="2"/>
                      <a:pt x="23" y="2"/>
                    </a:cubicBezTo>
                    <a:cubicBezTo>
                      <a:pt x="23" y="1"/>
                      <a:pt x="23" y="1"/>
                      <a:pt x="22" y="1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8" y="1"/>
                      <a:pt x="17" y="2"/>
                    </a:cubicBezTo>
                    <a:cubicBezTo>
                      <a:pt x="14" y="4"/>
                      <a:pt x="14" y="4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0" y="4"/>
                      <a:pt x="1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0" y="5"/>
                      <a:pt x="10" y="5"/>
                      <a:pt x="9" y="5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6"/>
                      <a:pt x="7" y="6"/>
                      <a:pt x="6" y="6"/>
                    </a:cubicBezTo>
                    <a:cubicBezTo>
                      <a:pt x="6" y="6"/>
                      <a:pt x="5" y="6"/>
                      <a:pt x="4" y="6"/>
                    </a:cubicBezTo>
                    <a:cubicBezTo>
                      <a:pt x="4" y="6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10"/>
                      <a:pt x="4" y="10"/>
                    </a:cubicBezTo>
                    <a:cubicBezTo>
                      <a:pt x="4" y="11"/>
                      <a:pt x="4" y="11"/>
                      <a:pt x="5" y="11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4"/>
                      <a:pt x="6" y="14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9" y="16"/>
                      <a:pt x="9" y="16"/>
                      <a:pt x="9" y="17"/>
                    </a:cubicBezTo>
                    <a:cubicBezTo>
                      <a:pt x="10" y="17"/>
                      <a:pt x="10" y="18"/>
                      <a:pt x="11" y="17"/>
                    </a:cubicBezTo>
                    <a:cubicBezTo>
                      <a:pt x="11" y="17"/>
                      <a:pt x="12" y="17"/>
                      <a:pt x="12" y="17"/>
                    </a:cubicBezTo>
                    <a:cubicBezTo>
                      <a:pt x="12" y="16"/>
                      <a:pt x="12" y="15"/>
                      <a:pt x="13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8" name="Freeform 452"/>
              <p:cNvSpPr/>
              <p:nvPr/>
            </p:nvSpPr>
            <p:spPr bwMode="auto">
              <a:xfrm>
                <a:off x="3109" y="1732"/>
                <a:ext cx="5" cy="3"/>
              </a:xfrm>
              <a:custGeom>
                <a:avLst/>
                <a:gdLst>
                  <a:gd name="T0" fmla="*/ 126958 w 2"/>
                  <a:gd name="T1" fmla="*/ 0 h 1"/>
                  <a:gd name="T2" fmla="*/ 0 w 2"/>
                  <a:gd name="T3" fmla="*/ 531441 h 1"/>
                  <a:gd name="T4" fmla="*/ 126958 w 2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1"/>
                      <a:pt x="1" y="1"/>
                      <a:pt x="0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9" name="Freeform 453"/>
              <p:cNvSpPr/>
              <p:nvPr/>
            </p:nvSpPr>
            <p:spPr bwMode="auto">
              <a:xfrm>
                <a:off x="3107" y="1730"/>
                <a:ext cx="9" cy="7"/>
              </a:xfrm>
              <a:custGeom>
                <a:avLst/>
                <a:gdLst>
                  <a:gd name="T0" fmla="*/ 36860 w 4"/>
                  <a:gd name="T1" fmla="*/ 75677 h 3"/>
                  <a:gd name="T2" fmla="*/ 16382 w 4"/>
                  <a:gd name="T3" fmla="*/ 57269 h 3"/>
                  <a:gd name="T4" fmla="*/ 0 w 4"/>
                  <a:gd name="T5" fmla="*/ 57269 h 3"/>
                  <a:gd name="T6" fmla="*/ 16382 w 4"/>
                  <a:gd name="T7" fmla="*/ 24544 h 3"/>
                  <a:gd name="T8" fmla="*/ 66330 w 4"/>
                  <a:gd name="T9" fmla="*/ 24544 h 3"/>
                  <a:gd name="T10" fmla="*/ 66330 w 4"/>
                  <a:gd name="T11" fmla="*/ 24544 h 3"/>
                  <a:gd name="T12" fmla="*/ 66330 w 4"/>
                  <a:gd name="T13" fmla="*/ 24544 h 3"/>
                  <a:gd name="T14" fmla="*/ 36860 w 4"/>
                  <a:gd name="T15" fmla="*/ 75677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cubicBezTo>
                      <a:pt x="2" y="3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0" name="Freeform 454"/>
              <p:cNvSpPr/>
              <p:nvPr/>
            </p:nvSpPr>
            <p:spPr bwMode="auto">
              <a:xfrm>
                <a:off x="3048" y="1694"/>
                <a:ext cx="59" cy="43"/>
              </a:xfrm>
              <a:custGeom>
                <a:avLst/>
                <a:gdLst>
                  <a:gd name="T0" fmla="*/ 307036 w 25"/>
                  <a:gd name="T1" fmla="*/ 321544 h 18"/>
                  <a:gd name="T2" fmla="*/ 445551 w 25"/>
                  <a:gd name="T3" fmla="*/ 103857 h 18"/>
                  <a:gd name="T4" fmla="*/ 681424 w 25"/>
                  <a:gd name="T5" fmla="*/ 73208 h 18"/>
                  <a:gd name="T6" fmla="*/ 744951 w 25"/>
                  <a:gd name="T7" fmla="*/ 248103 h 18"/>
                  <a:gd name="T8" fmla="*/ 681424 w 25"/>
                  <a:gd name="T9" fmla="*/ 321544 h 18"/>
                  <a:gd name="T10" fmla="*/ 504332 w 25"/>
                  <a:gd name="T11" fmla="*/ 375627 h 18"/>
                  <a:gd name="T12" fmla="*/ 445551 w 25"/>
                  <a:gd name="T13" fmla="*/ 448851 h 18"/>
                  <a:gd name="T14" fmla="*/ 327013 w 25"/>
                  <a:gd name="T15" fmla="*/ 479495 h 18"/>
                  <a:gd name="T16" fmla="*/ 213700 w 25"/>
                  <a:gd name="T17" fmla="*/ 519877 h 18"/>
                  <a:gd name="T18" fmla="*/ 63526 w 25"/>
                  <a:gd name="T19" fmla="*/ 417783 h 18"/>
                  <a:gd name="T20" fmla="*/ 90551 w 25"/>
                  <a:gd name="T21" fmla="*/ 174886 h 18"/>
                  <a:gd name="T22" fmla="*/ 240501 w 25"/>
                  <a:gd name="T23" fmla="*/ 200719 h 18"/>
                  <a:gd name="T24" fmla="*/ 307036 w 25"/>
                  <a:gd name="T25" fmla="*/ 321544 h 1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5" h="18">
                    <a:moveTo>
                      <a:pt x="10" y="9"/>
                    </a:moveTo>
                    <a:cubicBezTo>
                      <a:pt x="11" y="7"/>
                      <a:pt x="13" y="4"/>
                      <a:pt x="15" y="3"/>
                    </a:cubicBezTo>
                    <a:cubicBezTo>
                      <a:pt x="17" y="2"/>
                      <a:pt x="22" y="0"/>
                      <a:pt x="23" y="2"/>
                    </a:cubicBezTo>
                    <a:cubicBezTo>
                      <a:pt x="24" y="3"/>
                      <a:pt x="25" y="5"/>
                      <a:pt x="25" y="7"/>
                    </a:cubicBezTo>
                    <a:cubicBezTo>
                      <a:pt x="25" y="7"/>
                      <a:pt x="23" y="9"/>
                      <a:pt x="23" y="9"/>
                    </a:cubicBezTo>
                    <a:cubicBezTo>
                      <a:pt x="21" y="10"/>
                      <a:pt x="19" y="11"/>
                      <a:pt x="17" y="11"/>
                    </a:cubicBezTo>
                    <a:cubicBezTo>
                      <a:pt x="16" y="11"/>
                      <a:pt x="16" y="13"/>
                      <a:pt x="15" y="13"/>
                    </a:cubicBezTo>
                    <a:cubicBezTo>
                      <a:pt x="13" y="13"/>
                      <a:pt x="12" y="13"/>
                      <a:pt x="11" y="14"/>
                    </a:cubicBezTo>
                    <a:cubicBezTo>
                      <a:pt x="10" y="15"/>
                      <a:pt x="8" y="14"/>
                      <a:pt x="7" y="15"/>
                    </a:cubicBezTo>
                    <a:cubicBezTo>
                      <a:pt x="3" y="18"/>
                      <a:pt x="2" y="15"/>
                      <a:pt x="2" y="12"/>
                    </a:cubicBezTo>
                    <a:cubicBezTo>
                      <a:pt x="1" y="10"/>
                      <a:pt x="0" y="6"/>
                      <a:pt x="3" y="5"/>
                    </a:cubicBezTo>
                    <a:cubicBezTo>
                      <a:pt x="5" y="5"/>
                      <a:pt x="6" y="5"/>
                      <a:pt x="8" y="6"/>
                    </a:cubicBezTo>
                    <a:cubicBezTo>
                      <a:pt x="10" y="7"/>
                      <a:pt x="10" y="7"/>
                      <a:pt x="10" y="9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1" name="Freeform 455"/>
              <p:cNvSpPr>
                <a:spLocks noEditPoints="1"/>
              </p:cNvSpPr>
              <p:nvPr/>
            </p:nvSpPr>
            <p:spPr bwMode="auto">
              <a:xfrm>
                <a:off x="3050" y="1694"/>
                <a:ext cx="59" cy="41"/>
              </a:xfrm>
              <a:custGeom>
                <a:avLst/>
                <a:gdLst>
                  <a:gd name="T0" fmla="*/ 113320 w 25"/>
                  <a:gd name="T1" fmla="*/ 659232 h 17"/>
                  <a:gd name="T2" fmla="*/ 0 w 25"/>
                  <a:gd name="T3" fmla="*/ 467004 h 17"/>
                  <a:gd name="T4" fmla="*/ 0 w 25"/>
                  <a:gd name="T5" fmla="*/ 433768 h 17"/>
                  <a:gd name="T6" fmla="*/ 0 w 25"/>
                  <a:gd name="T7" fmla="*/ 306629 h 17"/>
                  <a:gd name="T8" fmla="*/ 63526 w 25"/>
                  <a:gd name="T9" fmla="*/ 193636 h 17"/>
                  <a:gd name="T10" fmla="*/ 213700 w 25"/>
                  <a:gd name="T11" fmla="*/ 193636 h 17"/>
                  <a:gd name="T12" fmla="*/ 213700 w 25"/>
                  <a:gd name="T13" fmla="*/ 193636 h 17"/>
                  <a:gd name="T14" fmla="*/ 267435 w 25"/>
                  <a:gd name="T15" fmla="*/ 273340 h 17"/>
                  <a:gd name="T16" fmla="*/ 307036 w 25"/>
                  <a:gd name="T17" fmla="*/ 273340 h 17"/>
                  <a:gd name="T18" fmla="*/ 417564 w 25"/>
                  <a:gd name="T19" fmla="*/ 80288 h 17"/>
                  <a:gd name="T20" fmla="*/ 594543 w 25"/>
                  <a:gd name="T21" fmla="*/ 0 h 17"/>
                  <a:gd name="T22" fmla="*/ 681424 w 25"/>
                  <a:gd name="T23" fmla="*/ 80288 h 17"/>
                  <a:gd name="T24" fmla="*/ 681424 w 25"/>
                  <a:gd name="T25" fmla="*/ 113336 h 17"/>
                  <a:gd name="T26" fmla="*/ 744951 w 25"/>
                  <a:gd name="T27" fmla="*/ 273340 h 17"/>
                  <a:gd name="T28" fmla="*/ 658065 w 25"/>
                  <a:gd name="T29" fmla="*/ 386944 h 17"/>
                  <a:gd name="T30" fmla="*/ 631147 w 25"/>
                  <a:gd name="T31" fmla="*/ 386944 h 17"/>
                  <a:gd name="T32" fmla="*/ 504332 w 25"/>
                  <a:gd name="T33" fmla="*/ 467004 h 17"/>
                  <a:gd name="T34" fmla="*/ 445551 w 25"/>
                  <a:gd name="T35" fmla="*/ 467004 h 17"/>
                  <a:gd name="T36" fmla="*/ 417564 w 25"/>
                  <a:gd name="T37" fmla="*/ 500292 h 17"/>
                  <a:gd name="T38" fmla="*/ 307036 w 25"/>
                  <a:gd name="T39" fmla="*/ 578922 h 17"/>
                  <a:gd name="T40" fmla="*/ 240501 w 25"/>
                  <a:gd name="T41" fmla="*/ 578922 h 17"/>
                  <a:gd name="T42" fmla="*/ 176934 w 25"/>
                  <a:gd name="T43" fmla="*/ 626012 h 17"/>
                  <a:gd name="T44" fmla="*/ 113320 w 25"/>
                  <a:gd name="T45" fmla="*/ 659232 h 17"/>
                  <a:gd name="T46" fmla="*/ 113320 w 25"/>
                  <a:gd name="T47" fmla="*/ 226923 h 17"/>
                  <a:gd name="T48" fmla="*/ 63526 w 25"/>
                  <a:gd name="T49" fmla="*/ 226923 h 17"/>
                  <a:gd name="T50" fmla="*/ 26918 w 25"/>
                  <a:gd name="T51" fmla="*/ 306629 h 17"/>
                  <a:gd name="T52" fmla="*/ 26918 w 25"/>
                  <a:gd name="T53" fmla="*/ 433768 h 17"/>
                  <a:gd name="T54" fmla="*/ 26918 w 25"/>
                  <a:gd name="T55" fmla="*/ 467004 h 17"/>
                  <a:gd name="T56" fmla="*/ 113320 w 25"/>
                  <a:gd name="T57" fmla="*/ 626012 h 17"/>
                  <a:gd name="T58" fmla="*/ 176934 w 25"/>
                  <a:gd name="T59" fmla="*/ 578922 h 17"/>
                  <a:gd name="T60" fmla="*/ 240501 w 25"/>
                  <a:gd name="T61" fmla="*/ 547285 h 17"/>
                  <a:gd name="T62" fmla="*/ 307036 w 25"/>
                  <a:gd name="T63" fmla="*/ 547285 h 17"/>
                  <a:gd name="T64" fmla="*/ 417564 w 25"/>
                  <a:gd name="T65" fmla="*/ 467004 h 17"/>
                  <a:gd name="T66" fmla="*/ 445551 w 25"/>
                  <a:gd name="T67" fmla="*/ 467004 h 17"/>
                  <a:gd name="T68" fmla="*/ 481185 w 25"/>
                  <a:gd name="T69" fmla="*/ 433768 h 17"/>
                  <a:gd name="T70" fmla="*/ 594543 w 25"/>
                  <a:gd name="T71" fmla="*/ 353656 h 17"/>
                  <a:gd name="T72" fmla="*/ 631147 w 25"/>
                  <a:gd name="T73" fmla="*/ 353656 h 17"/>
                  <a:gd name="T74" fmla="*/ 681424 w 25"/>
                  <a:gd name="T75" fmla="*/ 226923 h 17"/>
                  <a:gd name="T76" fmla="*/ 658065 w 25"/>
                  <a:gd name="T77" fmla="*/ 113336 h 17"/>
                  <a:gd name="T78" fmla="*/ 658065 w 25"/>
                  <a:gd name="T79" fmla="*/ 80288 h 17"/>
                  <a:gd name="T80" fmla="*/ 594543 w 25"/>
                  <a:gd name="T81" fmla="*/ 80288 h 17"/>
                  <a:gd name="T82" fmla="*/ 445551 w 25"/>
                  <a:gd name="T83" fmla="*/ 113336 h 17"/>
                  <a:gd name="T84" fmla="*/ 327013 w 25"/>
                  <a:gd name="T85" fmla="*/ 273340 h 17"/>
                  <a:gd name="T86" fmla="*/ 267435 w 25"/>
                  <a:gd name="T87" fmla="*/ 353656 h 17"/>
                  <a:gd name="T88" fmla="*/ 240501 w 25"/>
                  <a:gd name="T89" fmla="*/ 433768 h 17"/>
                  <a:gd name="T90" fmla="*/ 240501 w 25"/>
                  <a:gd name="T91" fmla="*/ 353656 h 17"/>
                  <a:gd name="T92" fmla="*/ 240501 w 25"/>
                  <a:gd name="T93" fmla="*/ 306629 h 17"/>
                  <a:gd name="T94" fmla="*/ 213700 w 25"/>
                  <a:gd name="T95" fmla="*/ 273340 h 17"/>
                  <a:gd name="T96" fmla="*/ 213700 w 25"/>
                  <a:gd name="T97" fmla="*/ 226923 h 17"/>
                  <a:gd name="T98" fmla="*/ 113320 w 25"/>
                  <a:gd name="T99" fmla="*/ 226923 h 1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5" h="17">
                    <a:moveTo>
                      <a:pt x="4" y="17"/>
                    </a:moveTo>
                    <a:cubicBezTo>
                      <a:pt x="1" y="17"/>
                      <a:pt x="1" y="14"/>
                      <a:pt x="0" y="12"/>
                    </a:cubicBezTo>
                    <a:cubicBezTo>
                      <a:pt x="0" y="12"/>
                      <a:pt x="0" y="11"/>
                      <a:pt x="0" y="11"/>
                    </a:cubicBezTo>
                    <a:cubicBezTo>
                      <a:pt x="0" y="10"/>
                      <a:pt x="0" y="9"/>
                      <a:pt x="0" y="8"/>
                    </a:cubicBezTo>
                    <a:cubicBezTo>
                      <a:pt x="0" y="6"/>
                      <a:pt x="1" y="5"/>
                      <a:pt x="2" y="5"/>
                    </a:cubicBezTo>
                    <a:cubicBezTo>
                      <a:pt x="4" y="4"/>
                      <a:pt x="5" y="5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9" y="6"/>
                      <a:pt x="9" y="7"/>
                      <a:pt x="9" y="7"/>
                    </a:cubicBezTo>
                    <a:cubicBezTo>
                      <a:pt x="9" y="7"/>
                      <a:pt x="10" y="7"/>
                      <a:pt x="10" y="7"/>
                    </a:cubicBezTo>
                    <a:cubicBezTo>
                      <a:pt x="11" y="5"/>
                      <a:pt x="13" y="3"/>
                      <a:pt x="14" y="2"/>
                    </a:cubicBezTo>
                    <a:cubicBezTo>
                      <a:pt x="15" y="1"/>
                      <a:pt x="18" y="0"/>
                      <a:pt x="20" y="0"/>
                    </a:cubicBezTo>
                    <a:cubicBezTo>
                      <a:pt x="21" y="0"/>
                      <a:pt x="22" y="1"/>
                      <a:pt x="23" y="2"/>
                    </a:cubicBezTo>
                    <a:cubicBezTo>
                      <a:pt x="23" y="2"/>
                      <a:pt x="23" y="2"/>
                      <a:pt x="23" y="3"/>
                    </a:cubicBezTo>
                    <a:cubicBezTo>
                      <a:pt x="24" y="4"/>
                      <a:pt x="25" y="6"/>
                      <a:pt x="25" y="7"/>
                    </a:cubicBezTo>
                    <a:cubicBezTo>
                      <a:pt x="25" y="7"/>
                      <a:pt x="22" y="10"/>
                      <a:pt x="22" y="1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19" y="11"/>
                      <a:pt x="18" y="11"/>
                      <a:pt x="17" y="12"/>
                    </a:cubicBezTo>
                    <a:cubicBezTo>
                      <a:pt x="16" y="12"/>
                      <a:pt x="16" y="12"/>
                      <a:pt x="15" y="12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4"/>
                      <a:pt x="12" y="14"/>
                      <a:pt x="10" y="15"/>
                    </a:cubicBezTo>
                    <a:cubicBezTo>
                      <a:pt x="10" y="15"/>
                      <a:pt x="9" y="15"/>
                      <a:pt x="8" y="15"/>
                    </a:cubicBezTo>
                    <a:cubicBezTo>
                      <a:pt x="8" y="15"/>
                      <a:pt x="7" y="15"/>
                      <a:pt x="6" y="16"/>
                    </a:cubicBezTo>
                    <a:cubicBezTo>
                      <a:pt x="5" y="17"/>
                      <a:pt x="5" y="17"/>
                      <a:pt x="4" y="17"/>
                    </a:cubicBezTo>
                    <a:close/>
                    <a:moveTo>
                      <a:pt x="4" y="6"/>
                    </a:moveTo>
                    <a:cubicBezTo>
                      <a:pt x="4" y="6"/>
                      <a:pt x="3" y="6"/>
                      <a:pt x="2" y="6"/>
                    </a:cubicBezTo>
                    <a:cubicBezTo>
                      <a:pt x="1" y="6"/>
                      <a:pt x="1" y="7"/>
                      <a:pt x="1" y="8"/>
                    </a:cubicBezTo>
                    <a:cubicBezTo>
                      <a:pt x="1" y="9"/>
                      <a:pt x="1" y="10"/>
                      <a:pt x="1" y="11"/>
                    </a:cubicBezTo>
                    <a:cubicBezTo>
                      <a:pt x="1" y="11"/>
                      <a:pt x="1" y="11"/>
                      <a:pt x="1" y="12"/>
                    </a:cubicBezTo>
                    <a:cubicBezTo>
                      <a:pt x="2" y="14"/>
                      <a:pt x="2" y="16"/>
                      <a:pt x="4" y="16"/>
                    </a:cubicBezTo>
                    <a:cubicBezTo>
                      <a:pt x="4" y="16"/>
                      <a:pt x="5" y="15"/>
                      <a:pt x="6" y="15"/>
                    </a:cubicBezTo>
                    <a:cubicBezTo>
                      <a:pt x="7" y="14"/>
                      <a:pt x="7" y="14"/>
                      <a:pt x="8" y="14"/>
                    </a:cubicBezTo>
                    <a:cubicBezTo>
                      <a:pt x="9" y="14"/>
                      <a:pt x="9" y="14"/>
                      <a:pt x="10" y="14"/>
                    </a:cubicBezTo>
                    <a:cubicBezTo>
                      <a:pt x="11" y="13"/>
                      <a:pt x="12" y="12"/>
                      <a:pt x="14" y="12"/>
                    </a:cubicBezTo>
                    <a:cubicBezTo>
                      <a:pt x="14" y="12"/>
                      <a:pt x="14" y="12"/>
                      <a:pt x="15" y="12"/>
                    </a:cubicBezTo>
                    <a:cubicBezTo>
                      <a:pt x="15" y="11"/>
                      <a:pt x="16" y="11"/>
                      <a:pt x="16" y="11"/>
                    </a:cubicBezTo>
                    <a:cubicBezTo>
                      <a:pt x="17" y="10"/>
                      <a:pt x="19" y="10"/>
                      <a:pt x="20" y="9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2" y="8"/>
                      <a:pt x="23" y="7"/>
                      <a:pt x="23" y="6"/>
                    </a:cubicBezTo>
                    <a:cubicBezTo>
                      <a:pt x="23" y="6"/>
                      <a:pt x="23" y="4"/>
                      <a:pt x="22" y="3"/>
                    </a:cubicBezTo>
                    <a:cubicBezTo>
                      <a:pt x="22" y="3"/>
                      <a:pt x="22" y="2"/>
                      <a:pt x="22" y="2"/>
                    </a:cubicBezTo>
                    <a:cubicBezTo>
                      <a:pt x="21" y="2"/>
                      <a:pt x="21" y="2"/>
                      <a:pt x="20" y="2"/>
                    </a:cubicBezTo>
                    <a:cubicBezTo>
                      <a:pt x="18" y="2"/>
                      <a:pt x="16" y="3"/>
                      <a:pt x="15" y="3"/>
                    </a:cubicBezTo>
                    <a:cubicBezTo>
                      <a:pt x="13" y="4"/>
                      <a:pt x="12" y="6"/>
                      <a:pt x="11" y="7"/>
                    </a:cubicBezTo>
                    <a:cubicBezTo>
                      <a:pt x="10" y="8"/>
                      <a:pt x="10" y="9"/>
                      <a:pt x="9" y="9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8"/>
                      <a:pt x="8" y="8"/>
                    </a:cubicBezTo>
                    <a:cubicBezTo>
                      <a:pt x="8" y="7"/>
                      <a:pt x="8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6" y="6"/>
                      <a:pt x="5" y="6"/>
                      <a:pt x="4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2" name="Freeform 456"/>
              <p:cNvSpPr/>
              <p:nvPr/>
            </p:nvSpPr>
            <p:spPr bwMode="auto">
              <a:xfrm>
                <a:off x="3119" y="1649"/>
                <a:ext cx="7" cy="3"/>
              </a:xfrm>
              <a:custGeom>
                <a:avLst/>
                <a:gdLst>
                  <a:gd name="T0" fmla="*/ 75677 w 3"/>
                  <a:gd name="T1" fmla="*/ 0 h 1"/>
                  <a:gd name="T2" fmla="*/ 0 w 3"/>
                  <a:gd name="T3" fmla="*/ 531441 h 1"/>
                  <a:gd name="T4" fmla="*/ 75677 w 3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2" y="0"/>
                      <a:pt x="1" y="0"/>
                      <a:pt x="0" y="1"/>
                    </a:cubicBezTo>
                    <a:cubicBezTo>
                      <a:pt x="1" y="1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3" name="Freeform 457"/>
              <p:cNvSpPr/>
              <p:nvPr/>
            </p:nvSpPr>
            <p:spPr bwMode="auto">
              <a:xfrm>
                <a:off x="3116" y="1647"/>
                <a:ext cx="14" cy="10"/>
              </a:xfrm>
              <a:custGeom>
                <a:avLst/>
                <a:gdLst>
                  <a:gd name="T0" fmla="*/ 0 w 6"/>
                  <a:gd name="T1" fmla="*/ 241220 h 4"/>
                  <a:gd name="T2" fmla="*/ 24544 w 6"/>
                  <a:gd name="T3" fmla="*/ 126958 h 4"/>
                  <a:gd name="T4" fmla="*/ 100221 w 6"/>
                  <a:gd name="T5" fmla="*/ 76488 h 4"/>
                  <a:gd name="T6" fmla="*/ 158172 w 6"/>
                  <a:gd name="T7" fmla="*/ 76488 h 4"/>
                  <a:gd name="T8" fmla="*/ 0 w 6"/>
                  <a:gd name="T9" fmla="*/ 24122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3" y="0"/>
                      <a:pt x="4" y="1"/>
                    </a:cubicBezTo>
                    <a:cubicBezTo>
                      <a:pt x="6" y="1"/>
                      <a:pt x="6" y="1"/>
                      <a:pt x="6" y="1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4" name="Freeform 458"/>
              <p:cNvSpPr/>
              <p:nvPr/>
            </p:nvSpPr>
            <p:spPr bwMode="auto">
              <a:xfrm>
                <a:off x="3057" y="1564"/>
                <a:ext cx="106" cy="97"/>
              </a:xfrm>
              <a:custGeom>
                <a:avLst/>
                <a:gdLst>
                  <a:gd name="T0" fmla="*/ 640591 w 45"/>
                  <a:gd name="T1" fmla="*/ 273717 h 41"/>
                  <a:gd name="T2" fmla="*/ 705343 w 45"/>
                  <a:gd name="T3" fmla="*/ 273717 h 41"/>
                  <a:gd name="T4" fmla="*/ 795214 w 45"/>
                  <a:gd name="T5" fmla="*/ 153040 h 41"/>
                  <a:gd name="T6" fmla="*/ 904189 w 45"/>
                  <a:gd name="T7" fmla="*/ 115695 h 41"/>
                  <a:gd name="T8" fmla="*/ 904189 w 45"/>
                  <a:gd name="T9" fmla="*/ 153040 h 41"/>
                  <a:gd name="T10" fmla="*/ 989411 w 45"/>
                  <a:gd name="T11" fmla="*/ 181688 h 41"/>
                  <a:gd name="T12" fmla="*/ 1141139 w 45"/>
                  <a:gd name="T13" fmla="*/ 313168 h 41"/>
                  <a:gd name="T14" fmla="*/ 1163018 w 45"/>
                  <a:gd name="T15" fmla="*/ 362070 h 41"/>
                  <a:gd name="T16" fmla="*/ 1141139 w 45"/>
                  <a:gd name="T17" fmla="*/ 494534 h 41"/>
                  <a:gd name="T18" fmla="*/ 1113796 w 45"/>
                  <a:gd name="T19" fmla="*/ 522421 h 41"/>
                  <a:gd name="T20" fmla="*/ 1141139 w 45"/>
                  <a:gd name="T21" fmla="*/ 559766 h 41"/>
                  <a:gd name="T22" fmla="*/ 1141139 w 45"/>
                  <a:gd name="T23" fmla="*/ 610762 h 41"/>
                  <a:gd name="T24" fmla="*/ 1141139 w 45"/>
                  <a:gd name="T25" fmla="*/ 703565 h 41"/>
                  <a:gd name="T26" fmla="*/ 1199199 w 45"/>
                  <a:gd name="T27" fmla="*/ 768408 h 41"/>
                  <a:gd name="T28" fmla="*/ 1163018 w 45"/>
                  <a:gd name="T29" fmla="*/ 856605 h 41"/>
                  <a:gd name="T30" fmla="*/ 1199199 w 45"/>
                  <a:gd name="T31" fmla="*/ 950096 h 41"/>
                  <a:gd name="T32" fmla="*/ 1288051 w 45"/>
                  <a:gd name="T33" fmla="*/ 1016955 h 41"/>
                  <a:gd name="T34" fmla="*/ 1314685 w 45"/>
                  <a:gd name="T35" fmla="*/ 1077793 h 41"/>
                  <a:gd name="T36" fmla="*/ 1225678 w 45"/>
                  <a:gd name="T37" fmla="*/ 1169995 h 41"/>
                  <a:gd name="T38" fmla="*/ 1141139 w 45"/>
                  <a:gd name="T39" fmla="*/ 1235972 h 41"/>
                  <a:gd name="T40" fmla="*/ 904189 w 45"/>
                  <a:gd name="T41" fmla="*/ 1198603 h 41"/>
                  <a:gd name="T42" fmla="*/ 841824 w 45"/>
                  <a:gd name="T43" fmla="*/ 1077793 h 41"/>
                  <a:gd name="T44" fmla="*/ 667258 w 45"/>
                  <a:gd name="T45" fmla="*/ 1142636 h 41"/>
                  <a:gd name="T46" fmla="*/ 558121 w 45"/>
                  <a:gd name="T47" fmla="*/ 1038499 h 41"/>
                  <a:gd name="T48" fmla="*/ 431368 w 45"/>
                  <a:gd name="T49" fmla="*/ 921836 h 41"/>
                  <a:gd name="T50" fmla="*/ 346085 w 45"/>
                  <a:gd name="T51" fmla="*/ 807702 h 41"/>
                  <a:gd name="T52" fmla="*/ 321489 w 45"/>
                  <a:gd name="T53" fmla="*/ 856605 h 41"/>
                  <a:gd name="T54" fmla="*/ 174250 w 45"/>
                  <a:gd name="T55" fmla="*/ 610762 h 41"/>
                  <a:gd name="T56" fmla="*/ 108992 w 45"/>
                  <a:gd name="T57" fmla="*/ 522421 h 41"/>
                  <a:gd name="T58" fmla="*/ 174250 w 45"/>
                  <a:gd name="T59" fmla="*/ 362070 h 41"/>
                  <a:gd name="T60" fmla="*/ 62373 w 45"/>
                  <a:gd name="T61" fmla="*/ 220817 h 41"/>
                  <a:gd name="T62" fmla="*/ 26479 w 45"/>
                  <a:gd name="T63" fmla="*/ 181688 h 41"/>
                  <a:gd name="T64" fmla="*/ 26479 w 45"/>
                  <a:gd name="T65" fmla="*/ 93335 h 41"/>
                  <a:gd name="T66" fmla="*/ 62373 w 45"/>
                  <a:gd name="T67" fmla="*/ 0 h 41"/>
                  <a:gd name="T68" fmla="*/ 174250 w 45"/>
                  <a:gd name="T69" fmla="*/ 93335 h 41"/>
                  <a:gd name="T70" fmla="*/ 256737 w 45"/>
                  <a:gd name="T71" fmla="*/ 27342 h 41"/>
                  <a:gd name="T72" fmla="*/ 299438 w 45"/>
                  <a:gd name="T73" fmla="*/ 93335 h 41"/>
                  <a:gd name="T74" fmla="*/ 346085 w 45"/>
                  <a:gd name="T75" fmla="*/ 181688 h 41"/>
                  <a:gd name="T76" fmla="*/ 431368 w 45"/>
                  <a:gd name="T77" fmla="*/ 220817 h 41"/>
                  <a:gd name="T78" fmla="*/ 640591 w 45"/>
                  <a:gd name="T79" fmla="*/ 273717 h 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45" h="41">
                    <a:moveTo>
                      <a:pt x="22" y="9"/>
                    </a:moveTo>
                    <a:cubicBezTo>
                      <a:pt x="22" y="9"/>
                      <a:pt x="23" y="9"/>
                      <a:pt x="24" y="9"/>
                    </a:cubicBezTo>
                    <a:cubicBezTo>
                      <a:pt x="23" y="7"/>
                      <a:pt x="25" y="6"/>
                      <a:pt x="27" y="5"/>
                    </a:cubicBezTo>
                    <a:cubicBezTo>
                      <a:pt x="28" y="5"/>
                      <a:pt x="30" y="4"/>
                      <a:pt x="31" y="4"/>
                    </a:cubicBezTo>
                    <a:cubicBezTo>
                      <a:pt x="31" y="4"/>
                      <a:pt x="31" y="5"/>
                      <a:pt x="31" y="5"/>
                    </a:cubicBezTo>
                    <a:cubicBezTo>
                      <a:pt x="32" y="6"/>
                      <a:pt x="33" y="6"/>
                      <a:pt x="34" y="6"/>
                    </a:cubicBezTo>
                    <a:cubicBezTo>
                      <a:pt x="36" y="7"/>
                      <a:pt x="37" y="8"/>
                      <a:pt x="39" y="10"/>
                    </a:cubicBezTo>
                    <a:cubicBezTo>
                      <a:pt x="40" y="10"/>
                      <a:pt x="40" y="10"/>
                      <a:pt x="40" y="12"/>
                    </a:cubicBezTo>
                    <a:cubicBezTo>
                      <a:pt x="40" y="13"/>
                      <a:pt x="40" y="14"/>
                      <a:pt x="39" y="16"/>
                    </a:cubicBezTo>
                    <a:cubicBezTo>
                      <a:pt x="39" y="17"/>
                      <a:pt x="38" y="16"/>
                      <a:pt x="38" y="17"/>
                    </a:cubicBezTo>
                    <a:cubicBezTo>
                      <a:pt x="38" y="18"/>
                      <a:pt x="39" y="18"/>
                      <a:pt x="39" y="18"/>
                    </a:cubicBezTo>
                    <a:cubicBezTo>
                      <a:pt x="39" y="19"/>
                      <a:pt x="38" y="19"/>
                      <a:pt x="39" y="20"/>
                    </a:cubicBezTo>
                    <a:cubicBezTo>
                      <a:pt x="39" y="21"/>
                      <a:pt x="39" y="22"/>
                      <a:pt x="39" y="23"/>
                    </a:cubicBezTo>
                    <a:cubicBezTo>
                      <a:pt x="39" y="24"/>
                      <a:pt x="42" y="24"/>
                      <a:pt x="41" y="25"/>
                    </a:cubicBezTo>
                    <a:cubicBezTo>
                      <a:pt x="41" y="26"/>
                      <a:pt x="40" y="27"/>
                      <a:pt x="40" y="28"/>
                    </a:cubicBezTo>
                    <a:cubicBezTo>
                      <a:pt x="39" y="29"/>
                      <a:pt x="41" y="31"/>
                      <a:pt x="41" y="31"/>
                    </a:cubicBezTo>
                    <a:cubicBezTo>
                      <a:pt x="41" y="32"/>
                      <a:pt x="43" y="32"/>
                      <a:pt x="44" y="33"/>
                    </a:cubicBezTo>
                    <a:cubicBezTo>
                      <a:pt x="45" y="33"/>
                      <a:pt x="43" y="35"/>
                      <a:pt x="45" y="35"/>
                    </a:cubicBezTo>
                    <a:cubicBezTo>
                      <a:pt x="45" y="37"/>
                      <a:pt x="43" y="37"/>
                      <a:pt x="42" y="38"/>
                    </a:cubicBezTo>
                    <a:cubicBezTo>
                      <a:pt x="40" y="40"/>
                      <a:pt x="42" y="41"/>
                      <a:pt x="39" y="40"/>
                    </a:cubicBezTo>
                    <a:cubicBezTo>
                      <a:pt x="36" y="40"/>
                      <a:pt x="34" y="40"/>
                      <a:pt x="31" y="39"/>
                    </a:cubicBezTo>
                    <a:cubicBezTo>
                      <a:pt x="31" y="39"/>
                      <a:pt x="31" y="35"/>
                      <a:pt x="29" y="35"/>
                    </a:cubicBezTo>
                    <a:cubicBezTo>
                      <a:pt x="27" y="36"/>
                      <a:pt x="25" y="37"/>
                      <a:pt x="23" y="37"/>
                    </a:cubicBezTo>
                    <a:cubicBezTo>
                      <a:pt x="22" y="36"/>
                      <a:pt x="20" y="35"/>
                      <a:pt x="19" y="34"/>
                    </a:cubicBezTo>
                    <a:cubicBezTo>
                      <a:pt x="17" y="33"/>
                      <a:pt x="16" y="31"/>
                      <a:pt x="15" y="30"/>
                    </a:cubicBezTo>
                    <a:cubicBezTo>
                      <a:pt x="14" y="27"/>
                      <a:pt x="13" y="29"/>
                      <a:pt x="12" y="26"/>
                    </a:cubicBezTo>
                    <a:cubicBezTo>
                      <a:pt x="11" y="27"/>
                      <a:pt x="11" y="27"/>
                      <a:pt x="11" y="28"/>
                    </a:cubicBezTo>
                    <a:cubicBezTo>
                      <a:pt x="8" y="26"/>
                      <a:pt x="10" y="22"/>
                      <a:pt x="6" y="20"/>
                    </a:cubicBezTo>
                    <a:cubicBezTo>
                      <a:pt x="5" y="20"/>
                      <a:pt x="3" y="18"/>
                      <a:pt x="4" y="17"/>
                    </a:cubicBezTo>
                    <a:cubicBezTo>
                      <a:pt x="4" y="15"/>
                      <a:pt x="5" y="13"/>
                      <a:pt x="6" y="12"/>
                    </a:cubicBezTo>
                    <a:cubicBezTo>
                      <a:pt x="3" y="11"/>
                      <a:pt x="3" y="9"/>
                      <a:pt x="2" y="7"/>
                    </a:cubicBezTo>
                    <a:cubicBezTo>
                      <a:pt x="2" y="7"/>
                      <a:pt x="1" y="6"/>
                      <a:pt x="1" y="6"/>
                    </a:cubicBezTo>
                    <a:cubicBezTo>
                      <a:pt x="1" y="5"/>
                      <a:pt x="1" y="4"/>
                      <a:pt x="1" y="3"/>
                    </a:cubicBezTo>
                    <a:cubicBezTo>
                      <a:pt x="1" y="2"/>
                      <a:pt x="0" y="1"/>
                      <a:pt x="2" y="0"/>
                    </a:cubicBezTo>
                    <a:cubicBezTo>
                      <a:pt x="3" y="2"/>
                      <a:pt x="4" y="4"/>
                      <a:pt x="6" y="3"/>
                    </a:cubicBezTo>
                    <a:cubicBezTo>
                      <a:pt x="7" y="2"/>
                      <a:pt x="8" y="0"/>
                      <a:pt x="9" y="1"/>
                    </a:cubicBezTo>
                    <a:cubicBezTo>
                      <a:pt x="10" y="1"/>
                      <a:pt x="11" y="2"/>
                      <a:pt x="10" y="3"/>
                    </a:cubicBezTo>
                    <a:cubicBezTo>
                      <a:pt x="11" y="4"/>
                      <a:pt x="11" y="4"/>
                      <a:pt x="12" y="6"/>
                    </a:cubicBezTo>
                    <a:cubicBezTo>
                      <a:pt x="12" y="7"/>
                      <a:pt x="14" y="6"/>
                      <a:pt x="15" y="7"/>
                    </a:cubicBezTo>
                    <a:cubicBezTo>
                      <a:pt x="17" y="10"/>
                      <a:pt x="19" y="9"/>
                      <a:pt x="22" y="9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5" name="Freeform 459"/>
              <p:cNvSpPr>
                <a:spLocks noEditPoints="1"/>
              </p:cNvSpPr>
              <p:nvPr/>
            </p:nvSpPr>
            <p:spPr bwMode="auto">
              <a:xfrm>
                <a:off x="3057" y="1562"/>
                <a:ext cx="109" cy="99"/>
              </a:xfrm>
              <a:custGeom>
                <a:avLst/>
                <a:gdLst>
                  <a:gd name="T0" fmla="*/ 966005 w 46"/>
                  <a:gd name="T1" fmla="*/ 1213306 h 42"/>
                  <a:gd name="T2" fmla="*/ 916628 w 46"/>
                  <a:gd name="T3" fmla="*/ 1085540 h 42"/>
                  <a:gd name="T4" fmla="*/ 618992 w 46"/>
                  <a:gd name="T5" fmla="*/ 1085540 h 42"/>
                  <a:gd name="T6" fmla="*/ 473186 w 46"/>
                  <a:gd name="T7" fmla="*/ 910093 h 42"/>
                  <a:gd name="T8" fmla="*/ 367851 w 46"/>
                  <a:gd name="T9" fmla="*/ 847520 h 42"/>
                  <a:gd name="T10" fmla="*/ 252432 w 46"/>
                  <a:gd name="T11" fmla="*/ 736697 h 42"/>
                  <a:gd name="T12" fmla="*/ 117372 w 46"/>
                  <a:gd name="T13" fmla="*/ 440307 h 42"/>
                  <a:gd name="T14" fmla="*/ 65514 w 46"/>
                  <a:gd name="T15" fmla="*/ 238107 h 42"/>
                  <a:gd name="T16" fmla="*/ 0 w 46"/>
                  <a:gd name="T17" fmla="*/ 148738 h 42"/>
                  <a:gd name="T18" fmla="*/ 27648 w 46"/>
                  <a:gd name="T19" fmla="*/ 26770 h 42"/>
                  <a:gd name="T20" fmla="*/ 183762 w 46"/>
                  <a:gd name="T21" fmla="*/ 89708 h 42"/>
                  <a:gd name="T22" fmla="*/ 278121 w 46"/>
                  <a:gd name="T23" fmla="*/ 26770 h 42"/>
                  <a:gd name="T24" fmla="*/ 367851 w 46"/>
                  <a:gd name="T25" fmla="*/ 211455 h 42"/>
                  <a:gd name="T26" fmla="*/ 598154 w 46"/>
                  <a:gd name="T27" fmla="*/ 301170 h 42"/>
                  <a:gd name="T28" fmla="*/ 685790 w 46"/>
                  <a:gd name="T29" fmla="*/ 264811 h 42"/>
                  <a:gd name="T30" fmla="*/ 725611 w 46"/>
                  <a:gd name="T31" fmla="*/ 238107 h 42"/>
                  <a:gd name="T32" fmla="*/ 966005 w 46"/>
                  <a:gd name="T33" fmla="*/ 148738 h 42"/>
                  <a:gd name="T34" fmla="*/ 1031794 w 46"/>
                  <a:gd name="T35" fmla="*/ 175440 h 42"/>
                  <a:gd name="T36" fmla="*/ 1217672 w 46"/>
                  <a:gd name="T37" fmla="*/ 301170 h 42"/>
                  <a:gd name="T38" fmla="*/ 1255405 w 46"/>
                  <a:gd name="T39" fmla="*/ 498430 h 42"/>
                  <a:gd name="T40" fmla="*/ 1217672 w 46"/>
                  <a:gd name="T41" fmla="*/ 523130 h 42"/>
                  <a:gd name="T42" fmla="*/ 1217672 w 46"/>
                  <a:gd name="T43" fmla="*/ 624197 h 42"/>
                  <a:gd name="T44" fmla="*/ 1255405 w 46"/>
                  <a:gd name="T45" fmla="*/ 709901 h 42"/>
                  <a:gd name="T46" fmla="*/ 1255405 w 46"/>
                  <a:gd name="T47" fmla="*/ 847520 h 42"/>
                  <a:gd name="T48" fmla="*/ 1349740 w 46"/>
                  <a:gd name="T49" fmla="*/ 974766 h 42"/>
                  <a:gd name="T50" fmla="*/ 1417365 w 46"/>
                  <a:gd name="T51" fmla="*/ 1057586 h 42"/>
                  <a:gd name="T52" fmla="*/ 1349740 w 46"/>
                  <a:gd name="T53" fmla="*/ 1150206 h 42"/>
                  <a:gd name="T54" fmla="*/ 1255405 w 46"/>
                  <a:gd name="T55" fmla="*/ 1233092 h 42"/>
                  <a:gd name="T56" fmla="*/ 1005826 w 46"/>
                  <a:gd name="T57" fmla="*/ 1174871 h 42"/>
                  <a:gd name="T58" fmla="*/ 1255405 w 46"/>
                  <a:gd name="T59" fmla="*/ 1213306 h 42"/>
                  <a:gd name="T60" fmla="*/ 1372386 w 46"/>
                  <a:gd name="T61" fmla="*/ 1085540 h 42"/>
                  <a:gd name="T62" fmla="*/ 1349740 w 46"/>
                  <a:gd name="T63" fmla="*/ 1001470 h 42"/>
                  <a:gd name="T64" fmla="*/ 1217672 w 46"/>
                  <a:gd name="T65" fmla="*/ 847520 h 42"/>
                  <a:gd name="T66" fmla="*/ 1255405 w 46"/>
                  <a:gd name="T67" fmla="*/ 736697 h 42"/>
                  <a:gd name="T68" fmla="*/ 1189522 w 46"/>
                  <a:gd name="T69" fmla="*/ 624197 h 42"/>
                  <a:gd name="T70" fmla="*/ 1189522 w 46"/>
                  <a:gd name="T71" fmla="*/ 561252 h 42"/>
                  <a:gd name="T72" fmla="*/ 1217672 w 46"/>
                  <a:gd name="T73" fmla="*/ 476704 h 42"/>
                  <a:gd name="T74" fmla="*/ 1255405 w 46"/>
                  <a:gd name="T75" fmla="*/ 350597 h 42"/>
                  <a:gd name="T76" fmla="*/ 1165973 w 46"/>
                  <a:gd name="T77" fmla="*/ 301170 h 42"/>
                  <a:gd name="T78" fmla="*/ 966005 w 46"/>
                  <a:gd name="T79" fmla="*/ 211455 h 42"/>
                  <a:gd name="T80" fmla="*/ 871647 w 46"/>
                  <a:gd name="T81" fmla="*/ 175440 h 42"/>
                  <a:gd name="T82" fmla="*/ 753394 w 46"/>
                  <a:gd name="T83" fmla="*/ 264811 h 42"/>
                  <a:gd name="T84" fmla="*/ 725611 w 46"/>
                  <a:gd name="T85" fmla="*/ 301170 h 42"/>
                  <a:gd name="T86" fmla="*/ 598154 w 46"/>
                  <a:gd name="T87" fmla="*/ 322999 h 42"/>
                  <a:gd name="T88" fmla="*/ 407672 w 46"/>
                  <a:gd name="T89" fmla="*/ 238107 h 42"/>
                  <a:gd name="T90" fmla="*/ 252432 w 46"/>
                  <a:gd name="T91" fmla="*/ 112344 h 42"/>
                  <a:gd name="T92" fmla="*/ 278121 w 46"/>
                  <a:gd name="T93" fmla="*/ 63101 h 42"/>
                  <a:gd name="T94" fmla="*/ 155240 w 46"/>
                  <a:gd name="T95" fmla="*/ 148738 h 42"/>
                  <a:gd name="T96" fmla="*/ 65514 w 46"/>
                  <a:gd name="T97" fmla="*/ 112344 h 42"/>
                  <a:gd name="T98" fmla="*/ 65514 w 46"/>
                  <a:gd name="T99" fmla="*/ 211455 h 42"/>
                  <a:gd name="T100" fmla="*/ 183762 w 46"/>
                  <a:gd name="T101" fmla="*/ 350597 h 42"/>
                  <a:gd name="T102" fmla="*/ 155240 w 46"/>
                  <a:gd name="T103" fmla="*/ 476704 h 42"/>
                  <a:gd name="T104" fmla="*/ 278121 w 46"/>
                  <a:gd name="T105" fmla="*/ 736697 h 42"/>
                  <a:gd name="T106" fmla="*/ 346099 w 46"/>
                  <a:gd name="T107" fmla="*/ 799637 h 42"/>
                  <a:gd name="T108" fmla="*/ 435436 w 46"/>
                  <a:gd name="T109" fmla="*/ 826407 h 42"/>
                  <a:gd name="T110" fmla="*/ 598154 w 46"/>
                  <a:gd name="T111" fmla="*/ 1001470 h 42"/>
                  <a:gd name="T112" fmla="*/ 871647 w 46"/>
                  <a:gd name="T113" fmla="*/ 1057586 h 4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6" h="42">
                    <a:moveTo>
                      <a:pt x="40" y="42"/>
                    </a:moveTo>
                    <a:cubicBezTo>
                      <a:pt x="40" y="42"/>
                      <a:pt x="40" y="42"/>
                      <a:pt x="39" y="42"/>
                    </a:cubicBezTo>
                    <a:cubicBezTo>
                      <a:pt x="31" y="41"/>
                      <a:pt x="31" y="41"/>
                      <a:pt x="31" y="41"/>
                    </a:cubicBezTo>
                    <a:cubicBezTo>
                      <a:pt x="31" y="41"/>
                      <a:pt x="30" y="40"/>
                      <a:pt x="30" y="39"/>
                    </a:cubicBezTo>
                    <a:cubicBezTo>
                      <a:pt x="30" y="38"/>
                      <a:pt x="30" y="37"/>
                      <a:pt x="29" y="37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9" y="37"/>
                      <a:pt x="28" y="37"/>
                      <a:pt x="28" y="37"/>
                    </a:cubicBezTo>
                    <a:cubicBezTo>
                      <a:pt x="26" y="38"/>
                      <a:pt x="25" y="39"/>
                      <a:pt x="23" y="38"/>
                    </a:cubicBezTo>
                    <a:cubicBezTo>
                      <a:pt x="22" y="38"/>
                      <a:pt x="21" y="37"/>
                      <a:pt x="20" y="37"/>
                    </a:cubicBezTo>
                    <a:cubicBezTo>
                      <a:pt x="20" y="36"/>
                      <a:pt x="19" y="36"/>
                      <a:pt x="18" y="36"/>
                    </a:cubicBezTo>
                    <a:cubicBezTo>
                      <a:pt x="17" y="35"/>
                      <a:pt x="16" y="33"/>
                      <a:pt x="15" y="31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4" y="30"/>
                      <a:pt x="14" y="30"/>
                      <a:pt x="13" y="29"/>
                    </a:cubicBezTo>
                    <a:cubicBezTo>
                      <a:pt x="13" y="29"/>
                      <a:pt x="12" y="29"/>
                      <a:pt x="12" y="28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9" y="28"/>
                      <a:pt x="8" y="27"/>
                      <a:pt x="8" y="25"/>
                    </a:cubicBezTo>
                    <a:cubicBezTo>
                      <a:pt x="8" y="24"/>
                      <a:pt x="7" y="23"/>
                      <a:pt x="6" y="22"/>
                    </a:cubicBezTo>
                    <a:cubicBezTo>
                      <a:pt x="5" y="21"/>
                      <a:pt x="2" y="19"/>
                      <a:pt x="3" y="17"/>
                    </a:cubicBezTo>
                    <a:cubicBezTo>
                      <a:pt x="3" y="17"/>
                      <a:pt x="4" y="16"/>
                      <a:pt x="4" y="15"/>
                    </a:cubicBezTo>
                    <a:cubicBezTo>
                      <a:pt x="4" y="14"/>
                      <a:pt x="5" y="14"/>
                      <a:pt x="5" y="13"/>
                    </a:cubicBezTo>
                    <a:cubicBezTo>
                      <a:pt x="3" y="12"/>
                      <a:pt x="2" y="11"/>
                      <a:pt x="2" y="10"/>
                    </a:cubicBezTo>
                    <a:cubicBezTo>
                      <a:pt x="2" y="9"/>
                      <a:pt x="2" y="9"/>
                      <a:pt x="2" y="8"/>
                    </a:cubicBezTo>
                    <a:cubicBezTo>
                      <a:pt x="2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0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3"/>
                      <a:pt x="5" y="4"/>
                      <a:pt x="6" y="3"/>
                    </a:cubicBezTo>
                    <a:cubicBezTo>
                      <a:pt x="6" y="3"/>
                      <a:pt x="7" y="3"/>
                      <a:pt x="7" y="3"/>
                    </a:cubicBezTo>
                    <a:cubicBezTo>
                      <a:pt x="7" y="2"/>
                      <a:pt x="8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1"/>
                      <a:pt x="11" y="2"/>
                      <a:pt x="11" y="3"/>
                    </a:cubicBezTo>
                    <a:cubicBezTo>
                      <a:pt x="11" y="3"/>
                      <a:pt x="11" y="3"/>
                      <a:pt x="10" y="4"/>
                    </a:cubicBezTo>
                    <a:cubicBezTo>
                      <a:pt x="12" y="5"/>
                      <a:pt x="12" y="5"/>
                      <a:pt x="12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4" y="7"/>
                      <a:pt x="15" y="7"/>
                      <a:pt x="15" y="8"/>
                    </a:cubicBezTo>
                    <a:cubicBezTo>
                      <a:pt x="16" y="9"/>
                      <a:pt x="17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0"/>
                      <a:pt x="20" y="10"/>
                      <a:pt x="21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9"/>
                      <a:pt x="23" y="9"/>
                      <a:pt x="23" y="9"/>
                    </a:cubicBezTo>
                    <a:cubicBezTo>
                      <a:pt x="23" y="9"/>
                      <a:pt x="23" y="9"/>
                      <a:pt x="23" y="8"/>
                    </a:cubicBezTo>
                    <a:cubicBezTo>
                      <a:pt x="24" y="7"/>
                      <a:pt x="25" y="6"/>
                      <a:pt x="27" y="6"/>
                    </a:cubicBezTo>
                    <a:cubicBezTo>
                      <a:pt x="27" y="6"/>
                      <a:pt x="27" y="5"/>
                      <a:pt x="28" y="5"/>
                    </a:cubicBezTo>
                    <a:cubicBezTo>
                      <a:pt x="29" y="5"/>
                      <a:pt x="30" y="5"/>
                      <a:pt x="31" y="5"/>
                    </a:cubicBezTo>
                    <a:cubicBezTo>
                      <a:pt x="31" y="5"/>
                      <a:pt x="31" y="5"/>
                      <a:pt x="32" y="6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2" y="6"/>
                      <a:pt x="33" y="6"/>
                      <a:pt x="33" y="6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6" y="7"/>
                      <a:pt x="37" y="8"/>
                      <a:pt x="38" y="9"/>
                    </a:cubicBezTo>
                    <a:cubicBezTo>
                      <a:pt x="38" y="9"/>
                      <a:pt x="39" y="10"/>
                      <a:pt x="39" y="10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41" y="11"/>
                      <a:pt x="41" y="11"/>
                      <a:pt x="41" y="13"/>
                    </a:cubicBezTo>
                    <a:cubicBezTo>
                      <a:pt x="41" y="14"/>
                      <a:pt x="40" y="16"/>
                      <a:pt x="40" y="17"/>
                    </a:cubicBezTo>
                    <a:cubicBezTo>
                      <a:pt x="40" y="17"/>
                      <a:pt x="39" y="18"/>
                      <a:pt x="39" y="18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9"/>
                      <a:pt x="40" y="19"/>
                      <a:pt x="40" y="19"/>
                    </a:cubicBezTo>
                    <a:cubicBezTo>
                      <a:pt x="40" y="20"/>
                      <a:pt x="40" y="20"/>
                      <a:pt x="39" y="20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1"/>
                      <a:pt x="39" y="21"/>
                      <a:pt x="39" y="22"/>
                    </a:cubicBezTo>
                    <a:cubicBezTo>
                      <a:pt x="39" y="22"/>
                      <a:pt x="39" y="23"/>
                      <a:pt x="40" y="24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1" y="24"/>
                      <a:pt x="42" y="25"/>
                      <a:pt x="42" y="26"/>
                    </a:cubicBezTo>
                    <a:cubicBezTo>
                      <a:pt x="41" y="28"/>
                      <a:pt x="41" y="28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30"/>
                      <a:pt x="41" y="31"/>
                      <a:pt x="41" y="31"/>
                    </a:cubicBezTo>
                    <a:cubicBezTo>
                      <a:pt x="41" y="31"/>
                      <a:pt x="41" y="32"/>
                      <a:pt x="41" y="32"/>
                    </a:cubicBezTo>
                    <a:cubicBezTo>
                      <a:pt x="42" y="32"/>
                      <a:pt x="42" y="33"/>
                      <a:pt x="43" y="33"/>
                    </a:cubicBezTo>
                    <a:cubicBezTo>
                      <a:pt x="43" y="33"/>
                      <a:pt x="44" y="33"/>
                      <a:pt x="44" y="33"/>
                    </a:cubicBezTo>
                    <a:cubicBezTo>
                      <a:pt x="45" y="34"/>
                      <a:pt x="45" y="34"/>
                      <a:pt x="44" y="35"/>
                    </a:cubicBezTo>
                    <a:cubicBezTo>
                      <a:pt x="44" y="36"/>
                      <a:pt x="44" y="36"/>
                      <a:pt x="45" y="36"/>
                    </a:cubicBezTo>
                    <a:cubicBezTo>
                      <a:pt x="46" y="36"/>
                      <a:pt x="46" y="36"/>
                      <a:pt x="46" y="36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5" y="38"/>
                      <a:pt x="44" y="38"/>
                      <a:pt x="43" y="39"/>
                    </a:cubicBezTo>
                    <a:cubicBezTo>
                      <a:pt x="43" y="39"/>
                      <a:pt x="42" y="39"/>
                      <a:pt x="42" y="39"/>
                    </a:cubicBezTo>
                    <a:cubicBezTo>
                      <a:pt x="42" y="40"/>
                      <a:pt x="42" y="41"/>
                      <a:pt x="41" y="41"/>
                    </a:cubicBezTo>
                    <a:cubicBezTo>
                      <a:pt x="41" y="41"/>
                      <a:pt x="41" y="42"/>
                      <a:pt x="40" y="42"/>
                    </a:cubicBezTo>
                    <a:close/>
                    <a:moveTo>
                      <a:pt x="29" y="36"/>
                    </a:moveTo>
                    <a:cubicBezTo>
                      <a:pt x="31" y="36"/>
                      <a:pt x="31" y="37"/>
                      <a:pt x="31" y="39"/>
                    </a:cubicBezTo>
                    <a:cubicBezTo>
                      <a:pt x="31" y="39"/>
                      <a:pt x="32" y="40"/>
                      <a:pt x="32" y="40"/>
                    </a:cubicBezTo>
                    <a:cubicBezTo>
                      <a:pt x="39" y="41"/>
                      <a:pt x="39" y="41"/>
                      <a:pt x="39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40" y="40"/>
                      <a:pt x="40" y="40"/>
                      <a:pt x="41" y="39"/>
                    </a:cubicBezTo>
                    <a:cubicBezTo>
                      <a:pt x="42" y="38"/>
                      <a:pt x="42" y="38"/>
                      <a:pt x="43" y="37"/>
                    </a:cubicBezTo>
                    <a:cubicBezTo>
                      <a:pt x="44" y="37"/>
                      <a:pt x="44" y="37"/>
                      <a:pt x="44" y="37"/>
                    </a:cubicBezTo>
                    <a:cubicBezTo>
                      <a:pt x="43" y="36"/>
                      <a:pt x="43" y="35"/>
                      <a:pt x="43" y="35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42" y="34"/>
                      <a:pt x="41" y="33"/>
                      <a:pt x="40" y="32"/>
                    </a:cubicBezTo>
                    <a:cubicBezTo>
                      <a:pt x="40" y="32"/>
                      <a:pt x="40" y="32"/>
                      <a:pt x="40" y="32"/>
                    </a:cubicBezTo>
                    <a:cubicBezTo>
                      <a:pt x="39" y="31"/>
                      <a:pt x="39" y="30"/>
                      <a:pt x="39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0" y="28"/>
                      <a:pt x="40" y="27"/>
                      <a:pt x="41" y="26"/>
                    </a:cubicBezTo>
                    <a:cubicBezTo>
                      <a:pt x="41" y="26"/>
                      <a:pt x="41" y="26"/>
                      <a:pt x="40" y="25"/>
                    </a:cubicBezTo>
                    <a:cubicBezTo>
                      <a:pt x="39" y="25"/>
                      <a:pt x="39" y="25"/>
                      <a:pt x="39" y="24"/>
                    </a:cubicBezTo>
                    <a:cubicBezTo>
                      <a:pt x="38" y="24"/>
                      <a:pt x="38" y="23"/>
                      <a:pt x="38" y="22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38" y="21"/>
                      <a:pt x="38" y="20"/>
                      <a:pt x="38" y="20"/>
                    </a:cubicBezTo>
                    <a:cubicBezTo>
                      <a:pt x="38" y="20"/>
                      <a:pt x="38" y="20"/>
                      <a:pt x="39" y="19"/>
                    </a:cubicBezTo>
                    <a:cubicBezTo>
                      <a:pt x="39" y="19"/>
                      <a:pt x="38" y="19"/>
                      <a:pt x="38" y="19"/>
                    </a:cubicBezTo>
                    <a:cubicBezTo>
                      <a:pt x="38" y="19"/>
                      <a:pt x="38" y="19"/>
                      <a:pt x="38" y="18"/>
                    </a:cubicBezTo>
                    <a:cubicBezTo>
                      <a:pt x="38" y="17"/>
                      <a:pt x="38" y="17"/>
                      <a:pt x="39" y="17"/>
                    </a:cubicBezTo>
                    <a:cubicBezTo>
                      <a:pt x="39" y="17"/>
                      <a:pt x="39" y="17"/>
                      <a:pt x="39" y="16"/>
                    </a:cubicBezTo>
                    <a:cubicBezTo>
                      <a:pt x="39" y="15"/>
                      <a:pt x="40" y="14"/>
                      <a:pt x="40" y="13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0" y="12"/>
                      <a:pt x="40" y="12"/>
                      <a:pt x="39" y="12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38" y="11"/>
                      <a:pt x="38" y="10"/>
                      <a:pt x="37" y="10"/>
                    </a:cubicBezTo>
                    <a:cubicBezTo>
                      <a:pt x="36" y="9"/>
                      <a:pt x="35" y="8"/>
                      <a:pt x="34" y="8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2" y="7"/>
                      <a:pt x="32" y="7"/>
                      <a:pt x="31" y="7"/>
                    </a:cubicBezTo>
                    <a:cubicBezTo>
                      <a:pt x="31" y="7"/>
                      <a:pt x="31" y="7"/>
                      <a:pt x="31" y="6"/>
                    </a:cubicBezTo>
                    <a:cubicBezTo>
                      <a:pt x="31" y="6"/>
                      <a:pt x="30" y="6"/>
                      <a:pt x="30" y="6"/>
                    </a:cubicBezTo>
                    <a:cubicBezTo>
                      <a:pt x="30" y="6"/>
                      <a:pt x="29" y="6"/>
                      <a:pt x="28" y="6"/>
                    </a:cubicBezTo>
                    <a:cubicBezTo>
                      <a:pt x="28" y="7"/>
                      <a:pt x="27" y="7"/>
                      <a:pt x="27" y="7"/>
                    </a:cubicBezTo>
                    <a:cubicBezTo>
                      <a:pt x="26" y="7"/>
                      <a:pt x="25" y="8"/>
                      <a:pt x="24" y="9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3" y="10"/>
                      <a:pt x="22" y="11"/>
                      <a:pt x="22" y="10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0" y="11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7" y="11"/>
                      <a:pt x="16" y="10"/>
                      <a:pt x="14" y="9"/>
                    </a:cubicBezTo>
                    <a:cubicBezTo>
                      <a:pt x="14" y="9"/>
                      <a:pt x="14" y="8"/>
                      <a:pt x="13" y="8"/>
                    </a:cubicBezTo>
                    <a:cubicBezTo>
                      <a:pt x="13" y="8"/>
                      <a:pt x="12" y="8"/>
                      <a:pt x="11" y="7"/>
                    </a:cubicBezTo>
                    <a:cubicBezTo>
                      <a:pt x="11" y="5"/>
                      <a:pt x="11" y="5"/>
                      <a:pt x="10" y="5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3"/>
                      <a:pt x="9" y="2"/>
                      <a:pt x="9" y="2"/>
                    </a:cubicBezTo>
                    <a:cubicBezTo>
                      <a:pt x="8" y="2"/>
                      <a:pt x="8" y="2"/>
                      <a:pt x="8" y="3"/>
                    </a:cubicBezTo>
                    <a:cubicBezTo>
                      <a:pt x="8" y="4"/>
                      <a:pt x="7" y="4"/>
                      <a:pt x="7" y="4"/>
                    </a:cubicBezTo>
                    <a:cubicBezTo>
                      <a:pt x="6" y="5"/>
                      <a:pt x="6" y="5"/>
                      <a:pt x="5" y="5"/>
                    </a:cubicBezTo>
                    <a:cubicBezTo>
                      <a:pt x="4" y="5"/>
                      <a:pt x="2" y="3"/>
                      <a:pt x="2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1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3" y="7"/>
                      <a:pt x="3" y="8"/>
                    </a:cubicBezTo>
                    <a:cubicBezTo>
                      <a:pt x="3" y="8"/>
                      <a:pt x="3" y="9"/>
                      <a:pt x="3" y="9"/>
                    </a:cubicBezTo>
                    <a:cubicBezTo>
                      <a:pt x="3" y="11"/>
                      <a:pt x="4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4"/>
                      <a:pt x="5" y="15"/>
                      <a:pt x="5" y="16"/>
                    </a:cubicBezTo>
                    <a:cubicBezTo>
                      <a:pt x="5" y="16"/>
                      <a:pt x="4" y="17"/>
                      <a:pt x="4" y="18"/>
                    </a:cubicBezTo>
                    <a:cubicBezTo>
                      <a:pt x="4" y="19"/>
                      <a:pt x="5" y="20"/>
                      <a:pt x="7" y="21"/>
                    </a:cubicBezTo>
                    <a:cubicBezTo>
                      <a:pt x="9" y="22"/>
                      <a:pt x="9" y="24"/>
                      <a:pt x="9" y="25"/>
                    </a:cubicBezTo>
                    <a:cubicBezTo>
                      <a:pt x="9" y="26"/>
                      <a:pt x="10" y="27"/>
                      <a:pt x="11" y="2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11" y="28"/>
                      <a:pt x="11" y="28"/>
                      <a:pt x="11" y="27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3" y="28"/>
                      <a:pt x="13" y="28"/>
                      <a:pt x="14" y="28"/>
                    </a:cubicBezTo>
                    <a:cubicBezTo>
                      <a:pt x="14" y="29"/>
                      <a:pt x="15" y="29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7" y="32"/>
                      <a:pt x="18" y="34"/>
                      <a:pt x="19" y="34"/>
                    </a:cubicBezTo>
                    <a:cubicBezTo>
                      <a:pt x="20" y="35"/>
                      <a:pt x="20" y="35"/>
                      <a:pt x="21" y="36"/>
                    </a:cubicBezTo>
                    <a:cubicBezTo>
                      <a:pt x="22" y="36"/>
                      <a:pt x="23" y="37"/>
                      <a:pt x="23" y="37"/>
                    </a:cubicBezTo>
                    <a:cubicBezTo>
                      <a:pt x="25" y="37"/>
                      <a:pt x="26" y="37"/>
                      <a:pt x="28" y="36"/>
                    </a:cubicBezTo>
                    <a:cubicBezTo>
                      <a:pt x="28" y="36"/>
                      <a:pt x="28" y="36"/>
                      <a:pt x="29" y="36"/>
                    </a:cubicBezTo>
                    <a:cubicBezTo>
                      <a:pt x="29" y="36"/>
                      <a:pt x="29" y="36"/>
                      <a:pt x="29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6" name="Freeform 460"/>
              <p:cNvSpPr/>
              <p:nvPr/>
            </p:nvSpPr>
            <p:spPr bwMode="auto">
              <a:xfrm>
                <a:off x="2930" y="1258"/>
                <a:ext cx="61" cy="136"/>
              </a:xfrm>
              <a:custGeom>
                <a:avLst/>
                <a:gdLst>
                  <a:gd name="T0" fmla="*/ 0 w 26"/>
                  <a:gd name="T1" fmla="*/ 190965 h 58"/>
                  <a:gd name="T2" fmla="*/ 142473 w 26"/>
                  <a:gd name="T3" fmla="*/ 331591 h 58"/>
                  <a:gd name="T4" fmla="*/ 191791 w 26"/>
                  <a:gd name="T5" fmla="*/ 492667 h 58"/>
                  <a:gd name="T6" fmla="*/ 228478 w 26"/>
                  <a:gd name="T7" fmla="*/ 552978 h 58"/>
                  <a:gd name="T8" fmla="*/ 191791 w 26"/>
                  <a:gd name="T9" fmla="*/ 657872 h 58"/>
                  <a:gd name="T10" fmla="*/ 308381 w 26"/>
                  <a:gd name="T11" fmla="*/ 799804 h 58"/>
                  <a:gd name="T12" fmla="*/ 308381 w 26"/>
                  <a:gd name="T13" fmla="*/ 858992 h 58"/>
                  <a:gd name="T14" fmla="*/ 247655 w 26"/>
                  <a:gd name="T15" fmla="*/ 945127 h 58"/>
                  <a:gd name="T16" fmla="*/ 142473 w 26"/>
                  <a:gd name="T17" fmla="*/ 1069101 h 58"/>
                  <a:gd name="T18" fmla="*/ 25883 w 26"/>
                  <a:gd name="T19" fmla="*/ 1191705 h 58"/>
                  <a:gd name="T20" fmla="*/ 60726 w 26"/>
                  <a:gd name="T21" fmla="*/ 1356316 h 58"/>
                  <a:gd name="T22" fmla="*/ 142473 w 26"/>
                  <a:gd name="T23" fmla="*/ 1497730 h 58"/>
                  <a:gd name="T24" fmla="*/ 166284 w 26"/>
                  <a:gd name="T25" fmla="*/ 1542596 h 58"/>
                  <a:gd name="T26" fmla="*/ 166284 w 26"/>
                  <a:gd name="T27" fmla="*/ 1542596 h 58"/>
                  <a:gd name="T28" fmla="*/ 334264 w 26"/>
                  <a:gd name="T29" fmla="*/ 1497730 h 58"/>
                  <a:gd name="T30" fmla="*/ 555173 w 26"/>
                  <a:gd name="T31" fmla="*/ 1375396 h 58"/>
                  <a:gd name="T32" fmla="*/ 697627 w 26"/>
                  <a:gd name="T33" fmla="*/ 1191705 h 58"/>
                  <a:gd name="T34" fmla="*/ 660968 w 26"/>
                  <a:gd name="T35" fmla="*/ 1105675 h 58"/>
                  <a:gd name="T36" fmla="*/ 641762 w 26"/>
                  <a:gd name="T37" fmla="*/ 989618 h 58"/>
                  <a:gd name="T38" fmla="*/ 581037 w 26"/>
                  <a:gd name="T39" fmla="*/ 825112 h 58"/>
                  <a:gd name="T40" fmla="*/ 615879 w 26"/>
                  <a:gd name="T41" fmla="*/ 743941 h 58"/>
                  <a:gd name="T42" fmla="*/ 555173 w 26"/>
                  <a:gd name="T43" fmla="*/ 578429 h 58"/>
                  <a:gd name="T44" fmla="*/ 581037 w 26"/>
                  <a:gd name="T45" fmla="*/ 411189 h 58"/>
                  <a:gd name="T46" fmla="*/ 536045 w 26"/>
                  <a:gd name="T47" fmla="*/ 331591 h 58"/>
                  <a:gd name="T48" fmla="*/ 536045 w 26"/>
                  <a:gd name="T49" fmla="*/ 227549 h 58"/>
                  <a:gd name="T50" fmla="*/ 555173 w 26"/>
                  <a:gd name="T51" fmla="*/ 190965 h 58"/>
                  <a:gd name="T52" fmla="*/ 555173 w 26"/>
                  <a:gd name="T53" fmla="*/ 141414 h 58"/>
                  <a:gd name="T54" fmla="*/ 499292 w 26"/>
                  <a:gd name="T55" fmla="*/ 25720 h 58"/>
                  <a:gd name="T56" fmla="*/ 368224 w 26"/>
                  <a:gd name="T57" fmla="*/ 60309 h 58"/>
                  <a:gd name="T58" fmla="*/ 334264 w 26"/>
                  <a:gd name="T59" fmla="*/ 165242 h 58"/>
                  <a:gd name="T60" fmla="*/ 273538 w 26"/>
                  <a:gd name="T61" fmla="*/ 246683 h 58"/>
                  <a:gd name="T62" fmla="*/ 228478 w 26"/>
                  <a:gd name="T63" fmla="*/ 246683 h 58"/>
                  <a:gd name="T64" fmla="*/ 166284 w 26"/>
                  <a:gd name="T65" fmla="*/ 246683 h 58"/>
                  <a:gd name="T66" fmla="*/ 60726 w 26"/>
                  <a:gd name="T67" fmla="*/ 165242 h 58"/>
                  <a:gd name="T68" fmla="*/ 0 w 26"/>
                  <a:gd name="T69" fmla="*/ 190965 h 5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6" h="58">
                    <a:moveTo>
                      <a:pt x="0" y="7"/>
                    </a:moveTo>
                    <a:cubicBezTo>
                      <a:pt x="2" y="8"/>
                      <a:pt x="4" y="10"/>
                      <a:pt x="5" y="12"/>
                    </a:cubicBezTo>
                    <a:cubicBezTo>
                      <a:pt x="7" y="13"/>
                      <a:pt x="7" y="15"/>
                      <a:pt x="7" y="18"/>
                    </a:cubicBezTo>
                    <a:cubicBezTo>
                      <a:pt x="7" y="19"/>
                      <a:pt x="7" y="19"/>
                      <a:pt x="8" y="20"/>
                    </a:cubicBezTo>
                    <a:cubicBezTo>
                      <a:pt x="8" y="22"/>
                      <a:pt x="7" y="22"/>
                      <a:pt x="7" y="24"/>
                    </a:cubicBezTo>
                    <a:cubicBezTo>
                      <a:pt x="7" y="26"/>
                      <a:pt x="11" y="27"/>
                      <a:pt x="11" y="29"/>
                    </a:cubicBezTo>
                    <a:cubicBezTo>
                      <a:pt x="11" y="30"/>
                      <a:pt x="12" y="31"/>
                      <a:pt x="11" y="31"/>
                    </a:cubicBezTo>
                    <a:cubicBezTo>
                      <a:pt x="9" y="32"/>
                      <a:pt x="10" y="32"/>
                      <a:pt x="9" y="34"/>
                    </a:cubicBezTo>
                    <a:cubicBezTo>
                      <a:pt x="8" y="35"/>
                      <a:pt x="7" y="38"/>
                      <a:pt x="5" y="39"/>
                    </a:cubicBezTo>
                    <a:cubicBezTo>
                      <a:pt x="3" y="41"/>
                      <a:pt x="2" y="41"/>
                      <a:pt x="1" y="43"/>
                    </a:cubicBezTo>
                    <a:cubicBezTo>
                      <a:pt x="0" y="44"/>
                      <a:pt x="2" y="48"/>
                      <a:pt x="2" y="49"/>
                    </a:cubicBezTo>
                    <a:cubicBezTo>
                      <a:pt x="0" y="50"/>
                      <a:pt x="3" y="57"/>
                      <a:pt x="5" y="54"/>
                    </a:cubicBezTo>
                    <a:cubicBezTo>
                      <a:pt x="5" y="55"/>
                      <a:pt x="6" y="56"/>
                      <a:pt x="6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7" y="58"/>
                      <a:pt x="11" y="54"/>
                      <a:pt x="12" y="54"/>
                    </a:cubicBezTo>
                    <a:cubicBezTo>
                      <a:pt x="16" y="53"/>
                      <a:pt x="17" y="53"/>
                      <a:pt x="20" y="50"/>
                    </a:cubicBezTo>
                    <a:cubicBezTo>
                      <a:pt x="22" y="48"/>
                      <a:pt x="24" y="46"/>
                      <a:pt x="25" y="43"/>
                    </a:cubicBezTo>
                    <a:cubicBezTo>
                      <a:pt x="26" y="42"/>
                      <a:pt x="25" y="41"/>
                      <a:pt x="24" y="40"/>
                    </a:cubicBezTo>
                    <a:cubicBezTo>
                      <a:pt x="23" y="38"/>
                      <a:pt x="23" y="38"/>
                      <a:pt x="23" y="36"/>
                    </a:cubicBezTo>
                    <a:cubicBezTo>
                      <a:pt x="24" y="34"/>
                      <a:pt x="21" y="32"/>
                      <a:pt x="21" y="30"/>
                    </a:cubicBezTo>
                    <a:cubicBezTo>
                      <a:pt x="21" y="29"/>
                      <a:pt x="22" y="28"/>
                      <a:pt x="22" y="27"/>
                    </a:cubicBezTo>
                    <a:cubicBezTo>
                      <a:pt x="22" y="25"/>
                      <a:pt x="21" y="23"/>
                      <a:pt x="20" y="21"/>
                    </a:cubicBezTo>
                    <a:cubicBezTo>
                      <a:pt x="20" y="19"/>
                      <a:pt x="23" y="17"/>
                      <a:pt x="21" y="15"/>
                    </a:cubicBezTo>
                    <a:cubicBezTo>
                      <a:pt x="21" y="13"/>
                      <a:pt x="20" y="13"/>
                      <a:pt x="19" y="12"/>
                    </a:cubicBezTo>
                    <a:cubicBezTo>
                      <a:pt x="18" y="11"/>
                      <a:pt x="19" y="9"/>
                      <a:pt x="19" y="8"/>
                    </a:cubicBezTo>
                    <a:cubicBezTo>
                      <a:pt x="19" y="8"/>
                      <a:pt x="20" y="7"/>
                      <a:pt x="20" y="7"/>
                    </a:cubicBezTo>
                    <a:cubicBezTo>
                      <a:pt x="19" y="6"/>
                      <a:pt x="20" y="6"/>
                      <a:pt x="20" y="5"/>
                    </a:cubicBezTo>
                    <a:cubicBezTo>
                      <a:pt x="21" y="3"/>
                      <a:pt x="19" y="2"/>
                      <a:pt x="18" y="1"/>
                    </a:cubicBezTo>
                    <a:cubicBezTo>
                      <a:pt x="17" y="0"/>
                      <a:pt x="14" y="2"/>
                      <a:pt x="13" y="2"/>
                    </a:cubicBezTo>
                    <a:cubicBezTo>
                      <a:pt x="12" y="2"/>
                      <a:pt x="12" y="5"/>
                      <a:pt x="12" y="6"/>
                    </a:cubicBezTo>
                    <a:cubicBezTo>
                      <a:pt x="12" y="8"/>
                      <a:pt x="11" y="8"/>
                      <a:pt x="10" y="9"/>
                    </a:cubicBezTo>
                    <a:cubicBezTo>
                      <a:pt x="9" y="10"/>
                      <a:pt x="9" y="9"/>
                      <a:pt x="8" y="9"/>
                    </a:cubicBezTo>
                    <a:cubicBezTo>
                      <a:pt x="8" y="8"/>
                      <a:pt x="7" y="10"/>
                      <a:pt x="6" y="9"/>
                    </a:cubicBezTo>
                    <a:cubicBezTo>
                      <a:pt x="4" y="9"/>
                      <a:pt x="4" y="8"/>
                      <a:pt x="2" y="6"/>
                    </a:cubicBezTo>
                    <a:cubicBezTo>
                      <a:pt x="1" y="5"/>
                      <a:pt x="1" y="7"/>
                      <a:pt x="0" y="7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7" name="Freeform 461"/>
              <p:cNvSpPr>
                <a:spLocks noEditPoints="1"/>
              </p:cNvSpPr>
              <p:nvPr/>
            </p:nvSpPr>
            <p:spPr bwMode="auto">
              <a:xfrm>
                <a:off x="2927" y="1258"/>
                <a:ext cx="66" cy="134"/>
              </a:xfrm>
              <a:custGeom>
                <a:avLst/>
                <a:gdLst>
                  <a:gd name="T0" fmla="*/ 175440 w 28"/>
                  <a:gd name="T1" fmla="*/ 1598923 h 57"/>
                  <a:gd name="T2" fmla="*/ 89708 w 28"/>
                  <a:gd name="T3" fmla="*/ 1392942 h 57"/>
                  <a:gd name="T4" fmla="*/ 112344 w 28"/>
                  <a:gd name="T5" fmla="*/ 1140098 h 57"/>
                  <a:gd name="T6" fmla="*/ 301170 w 28"/>
                  <a:gd name="T7" fmla="*/ 943273 h 57"/>
                  <a:gd name="T8" fmla="*/ 350597 w 28"/>
                  <a:gd name="T9" fmla="*/ 861944 h 57"/>
                  <a:gd name="T10" fmla="*/ 238107 w 28"/>
                  <a:gd name="T11" fmla="*/ 680139 h 57"/>
                  <a:gd name="T12" fmla="*/ 211455 w 28"/>
                  <a:gd name="T13" fmla="*/ 511125 h 57"/>
                  <a:gd name="T14" fmla="*/ 26770 w 28"/>
                  <a:gd name="T15" fmla="*/ 194808 h 57"/>
                  <a:gd name="T16" fmla="*/ 63101 w 28"/>
                  <a:gd name="T17" fmla="*/ 170678 h 57"/>
                  <a:gd name="T18" fmla="*/ 112344 w 28"/>
                  <a:gd name="T19" fmla="*/ 170678 h 57"/>
                  <a:gd name="T20" fmla="*/ 264811 w 28"/>
                  <a:gd name="T21" fmla="*/ 232069 h 57"/>
                  <a:gd name="T22" fmla="*/ 301170 w 28"/>
                  <a:gd name="T23" fmla="*/ 252042 h 57"/>
                  <a:gd name="T24" fmla="*/ 386100 w 28"/>
                  <a:gd name="T25" fmla="*/ 144478 h 57"/>
                  <a:gd name="T26" fmla="*/ 561252 w 28"/>
                  <a:gd name="T27" fmla="*/ 0 h 57"/>
                  <a:gd name="T28" fmla="*/ 624197 w 28"/>
                  <a:gd name="T29" fmla="*/ 170678 h 57"/>
                  <a:gd name="T30" fmla="*/ 588977 w 28"/>
                  <a:gd name="T31" fmla="*/ 252042 h 57"/>
                  <a:gd name="T32" fmla="*/ 671986 w 28"/>
                  <a:gd name="T33" fmla="*/ 401243 h 57"/>
                  <a:gd name="T34" fmla="*/ 671986 w 28"/>
                  <a:gd name="T35" fmla="*/ 680139 h 57"/>
                  <a:gd name="T36" fmla="*/ 671986 w 28"/>
                  <a:gd name="T37" fmla="*/ 861944 h 57"/>
                  <a:gd name="T38" fmla="*/ 736697 w 28"/>
                  <a:gd name="T39" fmla="*/ 1140098 h 57"/>
                  <a:gd name="T40" fmla="*/ 761355 w 28"/>
                  <a:gd name="T41" fmla="*/ 1282559 h 57"/>
                  <a:gd name="T42" fmla="*/ 350597 w 28"/>
                  <a:gd name="T43" fmla="*/ 1561598 h 57"/>
                  <a:gd name="T44" fmla="*/ 211455 w 28"/>
                  <a:gd name="T45" fmla="*/ 1625065 h 57"/>
                  <a:gd name="T46" fmla="*/ 238107 w 28"/>
                  <a:gd name="T47" fmla="*/ 1598923 h 57"/>
                  <a:gd name="T48" fmla="*/ 624197 w 28"/>
                  <a:gd name="T49" fmla="*/ 1392942 h 57"/>
                  <a:gd name="T50" fmla="*/ 736697 w 28"/>
                  <a:gd name="T51" fmla="*/ 1164223 h 57"/>
                  <a:gd name="T52" fmla="*/ 671986 w 28"/>
                  <a:gd name="T53" fmla="*/ 943273 h 57"/>
                  <a:gd name="T54" fmla="*/ 671986 w 28"/>
                  <a:gd name="T55" fmla="*/ 763132 h 57"/>
                  <a:gd name="T56" fmla="*/ 624197 w 28"/>
                  <a:gd name="T57" fmla="*/ 511125 h 57"/>
                  <a:gd name="T58" fmla="*/ 561252 w 28"/>
                  <a:gd name="T59" fmla="*/ 289313 h 57"/>
                  <a:gd name="T60" fmla="*/ 561252 w 28"/>
                  <a:gd name="T61" fmla="*/ 232069 h 57"/>
                  <a:gd name="T62" fmla="*/ 624197 w 28"/>
                  <a:gd name="T63" fmla="*/ 144478 h 57"/>
                  <a:gd name="T64" fmla="*/ 440307 w 28"/>
                  <a:gd name="T65" fmla="*/ 61457 h 57"/>
                  <a:gd name="T66" fmla="*/ 413537 w 28"/>
                  <a:gd name="T67" fmla="*/ 170678 h 57"/>
                  <a:gd name="T68" fmla="*/ 322999 w 28"/>
                  <a:gd name="T69" fmla="*/ 289313 h 57"/>
                  <a:gd name="T70" fmla="*/ 264811 w 28"/>
                  <a:gd name="T71" fmla="*/ 252042 h 57"/>
                  <a:gd name="T72" fmla="*/ 89708 w 28"/>
                  <a:gd name="T73" fmla="*/ 194808 h 57"/>
                  <a:gd name="T74" fmla="*/ 211455 w 28"/>
                  <a:gd name="T75" fmla="*/ 313492 h 57"/>
                  <a:gd name="T76" fmla="*/ 264811 w 28"/>
                  <a:gd name="T77" fmla="*/ 568169 h 57"/>
                  <a:gd name="T78" fmla="*/ 322999 w 28"/>
                  <a:gd name="T79" fmla="*/ 736981 h 57"/>
                  <a:gd name="T80" fmla="*/ 350597 w 28"/>
                  <a:gd name="T81" fmla="*/ 907455 h 57"/>
                  <a:gd name="T82" fmla="*/ 301170 w 28"/>
                  <a:gd name="T83" fmla="*/ 1031024 h 57"/>
                  <a:gd name="T84" fmla="*/ 89708 w 28"/>
                  <a:gd name="T85" fmla="*/ 1221107 h 57"/>
                  <a:gd name="T86" fmla="*/ 112344 w 28"/>
                  <a:gd name="T87" fmla="*/ 1427401 h 57"/>
                  <a:gd name="T88" fmla="*/ 175440 w 28"/>
                  <a:gd name="T89" fmla="*/ 1542199 h 57"/>
                  <a:gd name="T90" fmla="*/ 211455 w 28"/>
                  <a:gd name="T91" fmla="*/ 1561598 h 5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8" h="57">
                    <a:moveTo>
                      <a:pt x="6" y="57"/>
                    </a:moveTo>
                    <a:cubicBezTo>
                      <a:pt x="6" y="56"/>
                      <a:pt x="6" y="56"/>
                      <a:pt x="6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4" y="56"/>
                      <a:pt x="3" y="55"/>
                      <a:pt x="2" y="53"/>
                    </a:cubicBezTo>
                    <a:cubicBezTo>
                      <a:pt x="2" y="51"/>
                      <a:pt x="2" y="50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7"/>
                      <a:pt x="1" y="44"/>
                      <a:pt x="2" y="43"/>
                    </a:cubicBezTo>
                    <a:cubicBezTo>
                      <a:pt x="2" y="41"/>
                      <a:pt x="3" y="41"/>
                      <a:pt x="4" y="40"/>
                    </a:cubicBezTo>
                    <a:cubicBezTo>
                      <a:pt x="5" y="40"/>
                      <a:pt x="5" y="39"/>
                      <a:pt x="6" y="39"/>
                    </a:cubicBezTo>
                    <a:cubicBezTo>
                      <a:pt x="7" y="38"/>
                      <a:pt x="8" y="36"/>
                      <a:pt x="9" y="35"/>
                    </a:cubicBezTo>
                    <a:cubicBezTo>
                      <a:pt x="9" y="34"/>
                      <a:pt x="9" y="34"/>
                      <a:pt x="10" y="33"/>
                    </a:cubicBezTo>
                    <a:cubicBezTo>
                      <a:pt x="10" y="33"/>
                      <a:pt x="10" y="33"/>
                      <a:pt x="10" y="32"/>
                    </a:cubicBezTo>
                    <a:cubicBezTo>
                      <a:pt x="10" y="32"/>
                      <a:pt x="11" y="31"/>
                      <a:pt x="12" y="31"/>
                    </a:cubicBezTo>
                    <a:cubicBezTo>
                      <a:pt x="12" y="31"/>
                      <a:pt x="12" y="30"/>
                      <a:pt x="12" y="30"/>
                    </a:cubicBezTo>
                    <a:cubicBezTo>
                      <a:pt x="12" y="29"/>
                      <a:pt x="11" y="29"/>
                      <a:pt x="11" y="29"/>
                    </a:cubicBezTo>
                    <a:cubicBezTo>
                      <a:pt x="11" y="28"/>
                      <a:pt x="11" y="28"/>
                      <a:pt x="10" y="27"/>
                    </a:cubicBezTo>
                    <a:cubicBezTo>
                      <a:pt x="9" y="26"/>
                      <a:pt x="8" y="25"/>
                      <a:pt x="8" y="24"/>
                    </a:cubicBezTo>
                    <a:cubicBezTo>
                      <a:pt x="8" y="23"/>
                      <a:pt x="8" y="23"/>
                      <a:pt x="8" y="22"/>
                    </a:cubicBezTo>
                    <a:cubicBezTo>
                      <a:pt x="8" y="22"/>
                      <a:pt x="8" y="21"/>
                      <a:pt x="8" y="21"/>
                    </a:cubicBezTo>
                    <a:cubicBezTo>
                      <a:pt x="7" y="20"/>
                      <a:pt x="7" y="19"/>
                      <a:pt x="7" y="18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5"/>
                      <a:pt x="7" y="13"/>
                      <a:pt x="6" y="12"/>
                    </a:cubicBezTo>
                    <a:cubicBezTo>
                      <a:pt x="4" y="10"/>
                      <a:pt x="3" y="9"/>
                      <a:pt x="1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2" y="6"/>
                    </a:cubicBezTo>
                    <a:cubicBezTo>
                      <a:pt x="2" y="5"/>
                      <a:pt x="2" y="5"/>
                      <a:pt x="3" y="5"/>
                    </a:cubicBezTo>
                    <a:cubicBezTo>
                      <a:pt x="3" y="5"/>
                      <a:pt x="3" y="5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8"/>
                      <a:pt x="6" y="8"/>
                      <a:pt x="7" y="9"/>
                    </a:cubicBezTo>
                    <a:cubicBezTo>
                      <a:pt x="8" y="9"/>
                      <a:pt x="8" y="9"/>
                      <a:pt x="8" y="8"/>
                    </a:cubicBezTo>
                    <a:cubicBezTo>
                      <a:pt x="8" y="8"/>
                      <a:pt x="9" y="8"/>
                      <a:pt x="9" y="8"/>
                    </a:cubicBezTo>
                    <a:cubicBezTo>
                      <a:pt x="9" y="8"/>
                      <a:pt x="9" y="8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10" y="9"/>
                      <a:pt x="10" y="9"/>
                    </a:cubicBezTo>
                    <a:cubicBezTo>
                      <a:pt x="11" y="9"/>
                      <a:pt x="11" y="9"/>
                      <a:pt x="11" y="8"/>
                    </a:cubicBezTo>
                    <a:cubicBezTo>
                      <a:pt x="12" y="8"/>
                      <a:pt x="12" y="7"/>
                      <a:pt x="13" y="6"/>
                    </a:cubicBezTo>
                    <a:cubicBezTo>
                      <a:pt x="13" y="6"/>
                      <a:pt x="13" y="6"/>
                      <a:pt x="13" y="5"/>
                    </a:cubicBezTo>
                    <a:cubicBezTo>
                      <a:pt x="13" y="4"/>
                      <a:pt x="13" y="2"/>
                      <a:pt x="14" y="1"/>
                    </a:cubicBezTo>
                    <a:cubicBezTo>
                      <a:pt x="14" y="1"/>
                      <a:pt x="15" y="1"/>
                      <a:pt x="15" y="1"/>
                    </a:cubicBezTo>
                    <a:cubicBezTo>
                      <a:pt x="17" y="0"/>
                      <a:pt x="18" y="0"/>
                      <a:pt x="19" y="0"/>
                    </a:cubicBezTo>
                    <a:cubicBezTo>
                      <a:pt x="19" y="0"/>
                      <a:pt x="19" y="1"/>
                      <a:pt x="20" y="1"/>
                    </a:cubicBezTo>
                    <a:cubicBezTo>
                      <a:pt x="21" y="2"/>
                      <a:pt x="22" y="3"/>
                      <a:pt x="22" y="5"/>
                    </a:cubicBezTo>
                    <a:cubicBezTo>
                      <a:pt x="22" y="5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1" y="7"/>
                      <a:pt x="21" y="8"/>
                      <a:pt x="20" y="9"/>
                    </a:cubicBezTo>
                    <a:cubicBezTo>
                      <a:pt x="20" y="9"/>
                      <a:pt x="20" y="10"/>
                      <a:pt x="20" y="10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1" y="12"/>
                      <a:pt x="22" y="13"/>
                      <a:pt x="23" y="14"/>
                    </a:cubicBezTo>
                    <a:cubicBezTo>
                      <a:pt x="24" y="16"/>
                      <a:pt x="23" y="17"/>
                      <a:pt x="22" y="18"/>
                    </a:cubicBezTo>
                    <a:cubicBezTo>
                      <a:pt x="22" y="19"/>
                      <a:pt x="22" y="20"/>
                      <a:pt x="22" y="21"/>
                    </a:cubicBezTo>
                    <a:cubicBezTo>
                      <a:pt x="22" y="22"/>
                      <a:pt x="23" y="23"/>
                      <a:pt x="23" y="24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7"/>
                      <a:pt x="24" y="28"/>
                      <a:pt x="23" y="29"/>
                    </a:cubicBezTo>
                    <a:cubicBezTo>
                      <a:pt x="23" y="29"/>
                      <a:pt x="23" y="30"/>
                      <a:pt x="23" y="30"/>
                    </a:cubicBezTo>
                    <a:cubicBezTo>
                      <a:pt x="23" y="31"/>
                      <a:pt x="23" y="32"/>
                      <a:pt x="24" y="33"/>
                    </a:cubicBezTo>
                    <a:cubicBezTo>
                      <a:pt x="24" y="34"/>
                      <a:pt x="25" y="35"/>
                      <a:pt x="25" y="36"/>
                    </a:cubicBezTo>
                    <a:cubicBezTo>
                      <a:pt x="24" y="38"/>
                      <a:pt x="24" y="38"/>
                      <a:pt x="25" y="40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1"/>
                      <a:pt x="28" y="42"/>
                      <a:pt x="27" y="44"/>
                    </a:cubicBezTo>
                    <a:cubicBezTo>
                      <a:pt x="26" y="44"/>
                      <a:pt x="26" y="44"/>
                      <a:pt x="26" y="45"/>
                    </a:cubicBezTo>
                    <a:cubicBezTo>
                      <a:pt x="25" y="47"/>
                      <a:pt x="23" y="49"/>
                      <a:pt x="22" y="50"/>
                    </a:cubicBezTo>
                    <a:cubicBezTo>
                      <a:pt x="19" y="53"/>
                      <a:pt x="18" y="54"/>
                      <a:pt x="14" y="55"/>
                    </a:cubicBezTo>
                    <a:cubicBezTo>
                      <a:pt x="13" y="55"/>
                      <a:pt x="13" y="55"/>
                      <a:pt x="12" y="55"/>
                    </a:cubicBezTo>
                    <a:cubicBezTo>
                      <a:pt x="11" y="56"/>
                      <a:pt x="9" y="57"/>
                      <a:pt x="8" y="57"/>
                    </a:cubicBezTo>
                    <a:cubicBezTo>
                      <a:pt x="8" y="57"/>
                      <a:pt x="8" y="57"/>
                      <a:pt x="7" y="57"/>
                    </a:cubicBezTo>
                    <a:cubicBezTo>
                      <a:pt x="7" y="57"/>
                      <a:pt x="7" y="57"/>
                      <a:pt x="7" y="57"/>
                    </a:cubicBezTo>
                    <a:lnTo>
                      <a:pt x="6" y="57"/>
                    </a:lnTo>
                    <a:close/>
                    <a:moveTo>
                      <a:pt x="8" y="55"/>
                    </a:moveTo>
                    <a:cubicBezTo>
                      <a:pt x="8" y="56"/>
                      <a:pt x="8" y="56"/>
                      <a:pt x="8" y="56"/>
                    </a:cubicBezTo>
                    <a:cubicBezTo>
                      <a:pt x="8" y="56"/>
                      <a:pt x="10" y="55"/>
                      <a:pt x="11" y="54"/>
                    </a:cubicBezTo>
                    <a:cubicBezTo>
                      <a:pt x="12" y="54"/>
                      <a:pt x="13" y="54"/>
                      <a:pt x="13" y="53"/>
                    </a:cubicBezTo>
                    <a:cubicBezTo>
                      <a:pt x="17" y="53"/>
                      <a:pt x="18" y="52"/>
                      <a:pt x="21" y="49"/>
                    </a:cubicBezTo>
                    <a:cubicBezTo>
                      <a:pt x="22" y="48"/>
                      <a:pt x="24" y="46"/>
                      <a:pt x="25" y="44"/>
                    </a:cubicBezTo>
                    <a:cubicBezTo>
                      <a:pt x="25" y="44"/>
                      <a:pt x="25" y="43"/>
                      <a:pt x="26" y="43"/>
                    </a:cubicBezTo>
                    <a:cubicBezTo>
                      <a:pt x="26" y="42"/>
                      <a:pt x="25" y="41"/>
                      <a:pt x="25" y="41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3" y="39"/>
                      <a:pt x="23" y="38"/>
                      <a:pt x="23" y="36"/>
                    </a:cubicBezTo>
                    <a:cubicBezTo>
                      <a:pt x="24" y="35"/>
                      <a:pt x="23" y="34"/>
                      <a:pt x="23" y="33"/>
                    </a:cubicBezTo>
                    <a:cubicBezTo>
                      <a:pt x="22" y="32"/>
                      <a:pt x="22" y="31"/>
                      <a:pt x="22" y="30"/>
                    </a:cubicBezTo>
                    <a:cubicBezTo>
                      <a:pt x="22" y="29"/>
                      <a:pt x="22" y="29"/>
                      <a:pt x="22" y="28"/>
                    </a:cubicBezTo>
                    <a:cubicBezTo>
                      <a:pt x="22" y="28"/>
                      <a:pt x="23" y="27"/>
                      <a:pt x="23" y="27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1" y="23"/>
                      <a:pt x="21" y="22"/>
                      <a:pt x="21" y="21"/>
                    </a:cubicBezTo>
                    <a:cubicBezTo>
                      <a:pt x="20" y="20"/>
                      <a:pt x="21" y="19"/>
                      <a:pt x="21" y="18"/>
                    </a:cubicBezTo>
                    <a:cubicBezTo>
                      <a:pt x="22" y="17"/>
                      <a:pt x="22" y="16"/>
                      <a:pt x="22" y="15"/>
                    </a:cubicBezTo>
                    <a:cubicBezTo>
                      <a:pt x="21" y="14"/>
                      <a:pt x="20" y="13"/>
                      <a:pt x="19" y="12"/>
                    </a:cubicBezTo>
                    <a:cubicBezTo>
                      <a:pt x="19" y="11"/>
                      <a:pt x="19" y="11"/>
                      <a:pt x="19" y="10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20" y="8"/>
                      <a:pt x="20" y="7"/>
                      <a:pt x="20" y="7"/>
                    </a:cubicBezTo>
                    <a:cubicBezTo>
                      <a:pt x="20" y="6"/>
                      <a:pt x="20" y="5"/>
                      <a:pt x="20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3"/>
                      <a:pt x="20" y="3"/>
                      <a:pt x="19" y="2"/>
                    </a:cubicBezTo>
                    <a:cubicBezTo>
                      <a:pt x="19" y="1"/>
                      <a:pt x="18" y="1"/>
                      <a:pt x="18" y="1"/>
                    </a:cubicBezTo>
                    <a:cubicBezTo>
                      <a:pt x="18" y="1"/>
                      <a:pt x="16" y="2"/>
                      <a:pt x="15" y="2"/>
                    </a:cubicBezTo>
                    <a:cubicBezTo>
                      <a:pt x="15" y="2"/>
                      <a:pt x="15" y="2"/>
                      <a:pt x="15" y="3"/>
                    </a:cubicBezTo>
                    <a:cubicBezTo>
                      <a:pt x="14" y="3"/>
                      <a:pt x="14" y="4"/>
                      <a:pt x="14" y="5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8"/>
                      <a:pt x="13" y="8"/>
                      <a:pt x="12" y="9"/>
                    </a:cubicBezTo>
                    <a:cubicBezTo>
                      <a:pt x="12" y="10"/>
                      <a:pt x="11" y="10"/>
                      <a:pt x="11" y="10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0" y="10"/>
                      <a:pt x="9" y="10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8" y="10"/>
                      <a:pt x="8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5" y="10"/>
                      <a:pt x="4" y="9"/>
                      <a:pt x="3" y="7"/>
                    </a:cubicBezTo>
                    <a:cubicBezTo>
                      <a:pt x="3" y="7"/>
                      <a:pt x="3" y="7"/>
                      <a:pt x="3" y="6"/>
                    </a:cubicBezTo>
                    <a:cubicBezTo>
                      <a:pt x="3" y="6"/>
                      <a:pt x="2" y="7"/>
                      <a:pt x="2" y="7"/>
                    </a:cubicBezTo>
                    <a:cubicBezTo>
                      <a:pt x="4" y="8"/>
                      <a:pt x="5" y="10"/>
                      <a:pt x="7" y="11"/>
                    </a:cubicBezTo>
                    <a:cubicBezTo>
                      <a:pt x="9" y="13"/>
                      <a:pt x="9" y="15"/>
                      <a:pt x="8" y="17"/>
                    </a:cubicBezTo>
                    <a:cubicBezTo>
                      <a:pt x="8" y="17"/>
                      <a:pt x="8" y="17"/>
                      <a:pt x="8" y="18"/>
                    </a:cubicBezTo>
                    <a:cubicBezTo>
                      <a:pt x="8" y="19"/>
                      <a:pt x="9" y="19"/>
                      <a:pt x="9" y="20"/>
                    </a:cubicBezTo>
                    <a:cubicBezTo>
                      <a:pt x="9" y="21"/>
                      <a:pt x="9" y="22"/>
                      <a:pt x="9" y="22"/>
                    </a:cubicBezTo>
                    <a:cubicBezTo>
                      <a:pt x="9" y="23"/>
                      <a:pt x="9" y="23"/>
                      <a:pt x="9" y="24"/>
                    </a:cubicBezTo>
                    <a:cubicBezTo>
                      <a:pt x="9" y="25"/>
                      <a:pt x="10" y="26"/>
                      <a:pt x="11" y="26"/>
                    </a:cubicBezTo>
                    <a:cubicBezTo>
                      <a:pt x="11" y="27"/>
                      <a:pt x="12" y="28"/>
                      <a:pt x="13" y="29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3" y="30"/>
                      <a:pt x="13" y="32"/>
                      <a:pt x="12" y="32"/>
                    </a:cubicBezTo>
                    <a:cubicBezTo>
                      <a:pt x="11" y="32"/>
                      <a:pt x="11" y="33"/>
                      <a:pt x="11" y="33"/>
                    </a:cubicBezTo>
                    <a:cubicBezTo>
                      <a:pt x="11" y="33"/>
                      <a:pt x="11" y="33"/>
                      <a:pt x="11" y="34"/>
                    </a:cubicBezTo>
                    <a:cubicBezTo>
                      <a:pt x="10" y="35"/>
                      <a:pt x="10" y="35"/>
                      <a:pt x="10" y="36"/>
                    </a:cubicBezTo>
                    <a:cubicBezTo>
                      <a:pt x="9" y="37"/>
                      <a:pt x="8" y="38"/>
                      <a:pt x="6" y="39"/>
                    </a:cubicBezTo>
                    <a:cubicBezTo>
                      <a:pt x="6" y="40"/>
                      <a:pt x="5" y="41"/>
                      <a:pt x="5" y="41"/>
                    </a:cubicBezTo>
                    <a:cubicBezTo>
                      <a:pt x="4" y="42"/>
                      <a:pt x="3" y="42"/>
                      <a:pt x="3" y="43"/>
                    </a:cubicBezTo>
                    <a:cubicBezTo>
                      <a:pt x="2" y="44"/>
                      <a:pt x="3" y="47"/>
                      <a:pt x="4" y="48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3" y="50"/>
                      <a:pt x="3" y="51"/>
                      <a:pt x="3" y="52"/>
                    </a:cubicBezTo>
                    <a:cubicBezTo>
                      <a:pt x="4" y="53"/>
                      <a:pt x="5" y="54"/>
                      <a:pt x="5" y="54"/>
                    </a:cubicBezTo>
                    <a:cubicBezTo>
                      <a:pt x="5" y="54"/>
                      <a:pt x="6" y="54"/>
                      <a:pt x="6" y="54"/>
                    </a:cubicBezTo>
                    <a:cubicBezTo>
                      <a:pt x="7" y="53"/>
                      <a:pt x="7" y="53"/>
                      <a:pt x="7" y="53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7" y="55"/>
                      <a:pt x="7" y="55"/>
                      <a:pt x="7" y="55"/>
                    </a:cubicBezTo>
                    <a:cubicBezTo>
                      <a:pt x="7" y="55"/>
                      <a:pt x="7" y="55"/>
                      <a:pt x="7" y="55"/>
                    </a:cubicBezTo>
                    <a:lnTo>
                      <a:pt x="8" y="5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8" name="Freeform 462"/>
              <p:cNvSpPr/>
              <p:nvPr/>
            </p:nvSpPr>
            <p:spPr bwMode="auto">
              <a:xfrm>
                <a:off x="2826" y="1546"/>
                <a:ext cx="0" cy="0"/>
              </a:xfrm>
              <a:custGeom>
                <a:avLst/>
                <a:gdLst>
                  <a:gd name="T0" fmla="*/ 0 60000 65536"/>
                  <a:gd name="T1" fmla="*/ 0 60000 65536"/>
                  <a:gd name="T2" fmla="*/ 0 60000 65536"/>
                  <a:gd name="T3" fmla="*/ 0 60000 65536"/>
                </a:gdLst>
                <a:ahLst/>
                <a:cxnLst>
                  <a:cxn ang="T0">
                    <a:pos x="0" y="0"/>
                  </a:cxn>
                  <a:cxn ang="T1">
                    <a:pos x="0" y="0"/>
                  </a:cxn>
                  <a:cxn ang="T2">
                    <a:pos x="0" y="0"/>
                  </a:cxn>
                  <a:cxn ang="T3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9" name="Freeform 463"/>
              <p:cNvSpPr/>
              <p:nvPr/>
            </p:nvSpPr>
            <p:spPr bwMode="auto">
              <a:xfrm>
                <a:off x="2821" y="1541"/>
                <a:ext cx="7" cy="7"/>
              </a:xfrm>
              <a:custGeom>
                <a:avLst/>
                <a:gdLst>
                  <a:gd name="T0" fmla="*/ 57269 w 3"/>
                  <a:gd name="T1" fmla="*/ 75677 h 3"/>
                  <a:gd name="T2" fmla="*/ 57269 w 3"/>
                  <a:gd name="T3" fmla="*/ 75677 h 3"/>
                  <a:gd name="T4" fmla="*/ 24544 w 3"/>
                  <a:gd name="T5" fmla="*/ 57269 h 3"/>
                  <a:gd name="T6" fmla="*/ 0 w 3"/>
                  <a:gd name="T7" fmla="*/ 0 h 3"/>
                  <a:gd name="T8" fmla="*/ 75677 w 3"/>
                  <a:gd name="T9" fmla="*/ 57269 h 3"/>
                  <a:gd name="T10" fmla="*/ 75677 w 3"/>
                  <a:gd name="T11" fmla="*/ 57269 h 3"/>
                  <a:gd name="T12" fmla="*/ 75677 w 3"/>
                  <a:gd name="T13" fmla="*/ 75677 h 3"/>
                  <a:gd name="T14" fmla="*/ 57269 w 3"/>
                  <a:gd name="T15" fmla="*/ 75677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0" name="Freeform 464"/>
              <p:cNvSpPr/>
              <p:nvPr/>
            </p:nvSpPr>
            <p:spPr bwMode="auto">
              <a:xfrm>
                <a:off x="2759" y="1439"/>
                <a:ext cx="26" cy="33"/>
              </a:xfrm>
              <a:custGeom>
                <a:avLst/>
                <a:gdLst>
                  <a:gd name="T0" fmla="*/ 219163 w 11"/>
                  <a:gd name="T1" fmla="*/ 26770 h 14"/>
                  <a:gd name="T2" fmla="*/ 219163 w 11"/>
                  <a:gd name="T3" fmla="*/ 0 h 14"/>
                  <a:gd name="T4" fmla="*/ 114948 w 11"/>
                  <a:gd name="T5" fmla="*/ 63101 h 14"/>
                  <a:gd name="T6" fmla="*/ 179284 w 11"/>
                  <a:gd name="T7" fmla="*/ 63101 h 14"/>
                  <a:gd name="T8" fmla="*/ 64322 w 11"/>
                  <a:gd name="T9" fmla="*/ 148738 h 14"/>
                  <a:gd name="T10" fmla="*/ 27213 w 11"/>
                  <a:gd name="T11" fmla="*/ 148738 h 14"/>
                  <a:gd name="T12" fmla="*/ 92723 w 11"/>
                  <a:gd name="T13" fmla="*/ 175440 h 14"/>
                  <a:gd name="T14" fmla="*/ 114948 w 11"/>
                  <a:gd name="T15" fmla="*/ 238107 h 14"/>
                  <a:gd name="T16" fmla="*/ 64322 w 11"/>
                  <a:gd name="T17" fmla="*/ 301170 h 14"/>
                  <a:gd name="T18" fmla="*/ 152034 w 11"/>
                  <a:gd name="T19" fmla="*/ 301170 h 14"/>
                  <a:gd name="T20" fmla="*/ 27213 w 11"/>
                  <a:gd name="T21" fmla="*/ 350597 h 14"/>
                  <a:gd name="T22" fmla="*/ 64322 w 11"/>
                  <a:gd name="T23" fmla="*/ 350597 h 14"/>
                  <a:gd name="T24" fmla="*/ 27213 w 11"/>
                  <a:gd name="T25" fmla="*/ 386100 h 14"/>
                  <a:gd name="T26" fmla="*/ 64322 w 11"/>
                  <a:gd name="T27" fmla="*/ 386100 h 14"/>
                  <a:gd name="T28" fmla="*/ 27213 w 11"/>
                  <a:gd name="T29" fmla="*/ 413537 h 14"/>
                  <a:gd name="T30" fmla="*/ 92723 w 11"/>
                  <a:gd name="T31" fmla="*/ 413537 h 14"/>
                  <a:gd name="T32" fmla="*/ 64322 w 11"/>
                  <a:gd name="T33" fmla="*/ 413537 h 14"/>
                  <a:gd name="T34" fmla="*/ 219163 w 11"/>
                  <a:gd name="T35" fmla="*/ 350597 h 14"/>
                  <a:gd name="T36" fmla="*/ 331318 w 11"/>
                  <a:gd name="T37" fmla="*/ 238107 h 14"/>
                  <a:gd name="T38" fmla="*/ 310743 w 11"/>
                  <a:gd name="T39" fmla="*/ 89708 h 14"/>
                  <a:gd name="T40" fmla="*/ 219163 w 11"/>
                  <a:gd name="T41" fmla="*/ 112344 h 14"/>
                  <a:gd name="T42" fmla="*/ 219163 w 11"/>
                  <a:gd name="T43" fmla="*/ 26770 h 1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1" h="14">
                    <a:moveTo>
                      <a:pt x="7" y="1"/>
                    </a:moveTo>
                    <a:cubicBezTo>
                      <a:pt x="7" y="1"/>
                      <a:pt x="7" y="0"/>
                      <a:pt x="7" y="0"/>
                    </a:cubicBezTo>
                    <a:cubicBezTo>
                      <a:pt x="6" y="0"/>
                      <a:pt x="5" y="1"/>
                      <a:pt x="4" y="2"/>
                    </a:cubicBezTo>
                    <a:cubicBezTo>
                      <a:pt x="5" y="2"/>
                      <a:pt x="5" y="2"/>
                      <a:pt x="6" y="2"/>
                    </a:cubicBezTo>
                    <a:cubicBezTo>
                      <a:pt x="5" y="5"/>
                      <a:pt x="1" y="2"/>
                      <a:pt x="2" y="5"/>
                    </a:cubicBezTo>
                    <a:cubicBezTo>
                      <a:pt x="2" y="5"/>
                      <a:pt x="2" y="5"/>
                      <a:pt x="1" y="5"/>
                    </a:cubicBezTo>
                    <a:cubicBezTo>
                      <a:pt x="2" y="5"/>
                      <a:pt x="2" y="5"/>
                      <a:pt x="3" y="6"/>
                    </a:cubicBezTo>
                    <a:cubicBezTo>
                      <a:pt x="0" y="7"/>
                      <a:pt x="3" y="8"/>
                      <a:pt x="4" y="8"/>
                    </a:cubicBezTo>
                    <a:cubicBezTo>
                      <a:pt x="3" y="9"/>
                      <a:pt x="3" y="10"/>
                      <a:pt x="2" y="10"/>
                    </a:cubicBezTo>
                    <a:cubicBezTo>
                      <a:pt x="3" y="10"/>
                      <a:pt x="4" y="9"/>
                      <a:pt x="5" y="10"/>
                    </a:cubicBezTo>
                    <a:cubicBezTo>
                      <a:pt x="2" y="10"/>
                      <a:pt x="2" y="12"/>
                      <a:pt x="1" y="12"/>
                    </a:cubicBezTo>
                    <a:cubicBezTo>
                      <a:pt x="1" y="12"/>
                      <a:pt x="1" y="12"/>
                      <a:pt x="2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2" y="13"/>
                      <a:pt x="2" y="13"/>
                    </a:cubicBezTo>
                    <a:cubicBezTo>
                      <a:pt x="2" y="13"/>
                      <a:pt x="2" y="14"/>
                      <a:pt x="1" y="14"/>
                    </a:cubicBezTo>
                    <a:cubicBezTo>
                      <a:pt x="2" y="14"/>
                      <a:pt x="2" y="14"/>
                      <a:pt x="3" y="14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4" y="14"/>
                      <a:pt x="6" y="12"/>
                      <a:pt x="7" y="12"/>
                    </a:cubicBezTo>
                    <a:cubicBezTo>
                      <a:pt x="10" y="12"/>
                      <a:pt x="11" y="11"/>
                      <a:pt x="11" y="8"/>
                    </a:cubicBezTo>
                    <a:cubicBezTo>
                      <a:pt x="11" y="7"/>
                      <a:pt x="10" y="3"/>
                      <a:pt x="10" y="3"/>
                    </a:cubicBezTo>
                    <a:cubicBezTo>
                      <a:pt x="9" y="3"/>
                      <a:pt x="7" y="5"/>
                      <a:pt x="7" y="4"/>
                    </a:cubicBezTo>
                    <a:cubicBezTo>
                      <a:pt x="6" y="3"/>
                      <a:pt x="6" y="2"/>
                      <a:pt x="7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1" name="Freeform 465"/>
              <p:cNvSpPr>
                <a:spLocks noEditPoints="1"/>
              </p:cNvSpPr>
              <p:nvPr/>
            </p:nvSpPr>
            <p:spPr bwMode="auto">
              <a:xfrm>
                <a:off x="2752" y="1437"/>
                <a:ext cx="33" cy="38"/>
              </a:xfrm>
              <a:custGeom>
                <a:avLst/>
                <a:gdLst>
                  <a:gd name="T0" fmla="*/ 148738 w 14"/>
                  <a:gd name="T1" fmla="*/ 491022 h 16"/>
                  <a:gd name="T2" fmla="*/ 112344 w 14"/>
                  <a:gd name="T3" fmla="*/ 491022 h 16"/>
                  <a:gd name="T4" fmla="*/ 112344 w 14"/>
                  <a:gd name="T5" fmla="*/ 444550 h 16"/>
                  <a:gd name="T6" fmla="*/ 26770 w 14"/>
                  <a:gd name="T7" fmla="*/ 394687 h 16"/>
                  <a:gd name="T8" fmla="*/ 175440 w 14"/>
                  <a:gd name="T9" fmla="*/ 286482 h 16"/>
                  <a:gd name="T10" fmla="*/ 112344 w 14"/>
                  <a:gd name="T11" fmla="*/ 228824 h 16"/>
                  <a:gd name="T12" fmla="*/ 0 w 14"/>
                  <a:gd name="T13" fmla="*/ 166184 h 16"/>
                  <a:gd name="T14" fmla="*/ 148738 w 14"/>
                  <a:gd name="T15" fmla="*/ 166184 h 16"/>
                  <a:gd name="T16" fmla="*/ 211455 w 14"/>
                  <a:gd name="T17" fmla="*/ 136779 h 16"/>
                  <a:gd name="T18" fmla="*/ 238107 w 14"/>
                  <a:gd name="T19" fmla="*/ 136779 h 16"/>
                  <a:gd name="T20" fmla="*/ 175440 w 14"/>
                  <a:gd name="T21" fmla="*/ 136779 h 16"/>
                  <a:gd name="T22" fmla="*/ 211455 w 14"/>
                  <a:gd name="T23" fmla="*/ 69972 h 16"/>
                  <a:gd name="T24" fmla="*/ 322999 w 14"/>
                  <a:gd name="T25" fmla="*/ 0 h 16"/>
                  <a:gd name="T26" fmla="*/ 322999 w 14"/>
                  <a:gd name="T27" fmla="*/ 69972 h 16"/>
                  <a:gd name="T28" fmla="*/ 301170 w 14"/>
                  <a:gd name="T29" fmla="*/ 136779 h 16"/>
                  <a:gd name="T30" fmla="*/ 386100 w 14"/>
                  <a:gd name="T31" fmla="*/ 136779 h 16"/>
                  <a:gd name="T32" fmla="*/ 322999 w 14"/>
                  <a:gd name="T33" fmla="*/ 444550 h 16"/>
                  <a:gd name="T34" fmla="*/ 148738 w 14"/>
                  <a:gd name="T35" fmla="*/ 514503 h 16"/>
                  <a:gd name="T36" fmla="*/ 211455 w 14"/>
                  <a:gd name="T37" fmla="*/ 444550 h 16"/>
                  <a:gd name="T38" fmla="*/ 238107 w 14"/>
                  <a:gd name="T39" fmla="*/ 444550 h 16"/>
                  <a:gd name="T40" fmla="*/ 386100 w 14"/>
                  <a:gd name="T41" fmla="*/ 286482 h 16"/>
                  <a:gd name="T42" fmla="*/ 350597 w 14"/>
                  <a:gd name="T43" fmla="*/ 166184 h 16"/>
                  <a:gd name="T44" fmla="*/ 264811 w 14"/>
                  <a:gd name="T45" fmla="*/ 166184 h 16"/>
                  <a:gd name="T46" fmla="*/ 211455 w 14"/>
                  <a:gd name="T47" fmla="*/ 166184 h 16"/>
                  <a:gd name="T48" fmla="*/ 148738 w 14"/>
                  <a:gd name="T49" fmla="*/ 166184 h 16"/>
                  <a:gd name="T50" fmla="*/ 175440 w 14"/>
                  <a:gd name="T51" fmla="*/ 187179 h 16"/>
                  <a:gd name="T52" fmla="*/ 211455 w 14"/>
                  <a:gd name="T53" fmla="*/ 228824 h 16"/>
                  <a:gd name="T54" fmla="*/ 148738 w 14"/>
                  <a:gd name="T55" fmla="*/ 256987 h 16"/>
                  <a:gd name="T56" fmla="*/ 238107 w 14"/>
                  <a:gd name="T57" fmla="*/ 256987 h 16"/>
                  <a:gd name="T58" fmla="*/ 238107 w 14"/>
                  <a:gd name="T59" fmla="*/ 353357 h 16"/>
                  <a:gd name="T60" fmla="*/ 211455 w 14"/>
                  <a:gd name="T61" fmla="*/ 394687 h 16"/>
                  <a:gd name="T62" fmla="*/ 175440 w 14"/>
                  <a:gd name="T63" fmla="*/ 394687 h 16"/>
                  <a:gd name="T64" fmla="*/ 175440 w 14"/>
                  <a:gd name="T65" fmla="*/ 423170 h 16"/>
                  <a:gd name="T66" fmla="*/ 238107 w 14"/>
                  <a:gd name="T67" fmla="*/ 423170 h 16"/>
                  <a:gd name="T68" fmla="*/ 238107 w 14"/>
                  <a:gd name="T69" fmla="*/ 96347 h 16"/>
                  <a:gd name="T70" fmla="*/ 264811 w 14"/>
                  <a:gd name="T71" fmla="*/ 96347 h 16"/>
                  <a:gd name="T72" fmla="*/ 301170 w 14"/>
                  <a:gd name="T73" fmla="*/ 69972 h 16"/>
                  <a:gd name="T74" fmla="*/ 238107 w 14"/>
                  <a:gd name="T75" fmla="*/ 96347 h 1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4" h="16">
                    <a:moveTo>
                      <a:pt x="4" y="16"/>
                    </a:moveTo>
                    <a:cubicBezTo>
                      <a:pt x="5" y="15"/>
                      <a:pt x="5" y="15"/>
                      <a:pt x="5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5" y="9"/>
                      <a:pt x="4" y="9"/>
                      <a:pt x="4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4" y="7"/>
                      <a:pt x="4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7" y="4"/>
                      <a:pt x="7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2"/>
                      <a:pt x="7" y="2"/>
                    </a:cubicBezTo>
                    <a:cubicBezTo>
                      <a:pt x="8" y="1"/>
                      <a:pt x="9" y="1"/>
                      <a:pt x="1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3"/>
                      <a:pt x="10" y="3"/>
                      <a:pt x="10" y="3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4"/>
                      <a:pt x="11" y="4"/>
                    </a:cubicBezTo>
                    <a:cubicBezTo>
                      <a:pt x="12" y="4"/>
                      <a:pt x="12" y="3"/>
                      <a:pt x="13" y="4"/>
                    </a:cubicBezTo>
                    <a:cubicBezTo>
                      <a:pt x="14" y="4"/>
                      <a:pt x="14" y="8"/>
                      <a:pt x="14" y="9"/>
                    </a:cubicBezTo>
                    <a:cubicBezTo>
                      <a:pt x="14" y="12"/>
                      <a:pt x="14" y="14"/>
                      <a:pt x="11" y="14"/>
                    </a:cubicBezTo>
                    <a:cubicBezTo>
                      <a:pt x="10" y="14"/>
                      <a:pt x="9" y="14"/>
                      <a:pt x="8" y="15"/>
                    </a:cubicBezTo>
                    <a:cubicBezTo>
                      <a:pt x="7" y="15"/>
                      <a:pt x="6" y="16"/>
                      <a:pt x="5" y="16"/>
                    </a:cubicBezTo>
                    <a:lnTo>
                      <a:pt x="4" y="16"/>
                    </a:lnTo>
                    <a:close/>
                    <a:moveTo>
                      <a:pt x="7" y="14"/>
                    </a:moveTo>
                    <a:cubicBezTo>
                      <a:pt x="6" y="15"/>
                      <a:pt x="6" y="15"/>
                      <a:pt x="6" y="15"/>
                    </a:cubicBezTo>
                    <a:cubicBezTo>
                      <a:pt x="7" y="14"/>
                      <a:pt x="7" y="14"/>
                      <a:pt x="8" y="14"/>
                    </a:cubicBezTo>
                    <a:cubicBezTo>
                      <a:pt x="8" y="13"/>
                      <a:pt x="9" y="13"/>
                      <a:pt x="10" y="13"/>
                    </a:cubicBezTo>
                    <a:cubicBezTo>
                      <a:pt x="13" y="12"/>
                      <a:pt x="13" y="12"/>
                      <a:pt x="13" y="9"/>
                    </a:cubicBezTo>
                    <a:cubicBezTo>
                      <a:pt x="13" y="7"/>
                      <a:pt x="13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1" y="5"/>
                      <a:pt x="11" y="6"/>
                      <a:pt x="10" y="6"/>
                    </a:cubicBezTo>
                    <a:cubicBezTo>
                      <a:pt x="10" y="6"/>
                      <a:pt x="9" y="5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" y="7"/>
                      <a:pt x="5" y="8"/>
                      <a:pt x="5" y="8"/>
                    </a:cubicBezTo>
                    <a:cubicBezTo>
                      <a:pt x="5" y="8"/>
                      <a:pt x="6" y="8"/>
                      <a:pt x="7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8" y="10"/>
                      <a:pt x="8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6" y="12"/>
                      <a:pt x="6" y="12"/>
                    </a:cubicBezTo>
                    <a:cubicBezTo>
                      <a:pt x="6" y="13"/>
                      <a:pt x="5" y="13"/>
                      <a:pt x="5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8" y="13"/>
                      <a:pt x="8" y="13"/>
                      <a:pt x="8" y="13"/>
                    </a:cubicBezTo>
                    <a:lnTo>
                      <a:pt x="7" y="14"/>
                    </a:lnTo>
                    <a:close/>
                    <a:moveTo>
                      <a:pt x="8" y="3"/>
                    </a:move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2"/>
                      <a:pt x="9" y="2"/>
                    </a:cubicBezTo>
                    <a:cubicBezTo>
                      <a:pt x="9" y="2"/>
                      <a:pt x="9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9" y="2"/>
                      <a:pt x="8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2" name="Freeform 466"/>
              <p:cNvSpPr/>
              <p:nvPr/>
            </p:nvSpPr>
            <p:spPr bwMode="auto">
              <a:xfrm>
                <a:off x="2788" y="1435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4096 w 1"/>
                  <a:gd name="T3" fmla="*/ 4096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3" name="Freeform 467"/>
              <p:cNvSpPr/>
              <p:nvPr/>
            </p:nvSpPr>
            <p:spPr bwMode="auto">
              <a:xfrm>
                <a:off x="2788" y="1435"/>
                <a:ext cx="2" cy="7"/>
              </a:xfrm>
              <a:custGeom>
                <a:avLst/>
                <a:gdLst>
                  <a:gd name="T0" fmla="*/ 0 w 1"/>
                  <a:gd name="T1" fmla="*/ 75677 h 3"/>
                  <a:gd name="T2" fmla="*/ 0 w 1"/>
                  <a:gd name="T3" fmla="*/ 0 h 3"/>
                  <a:gd name="T4" fmla="*/ 4096 w 1"/>
                  <a:gd name="T5" fmla="*/ 0 h 3"/>
                  <a:gd name="T6" fmla="*/ 4096 w 1"/>
                  <a:gd name="T7" fmla="*/ 24544 h 3"/>
                  <a:gd name="T8" fmla="*/ 0 w 1"/>
                  <a:gd name="T9" fmla="*/ 75677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4" name="Freeform 468"/>
              <p:cNvSpPr/>
              <p:nvPr/>
            </p:nvSpPr>
            <p:spPr bwMode="auto">
              <a:xfrm>
                <a:off x="2771" y="1439"/>
                <a:ext cx="17" cy="12"/>
              </a:xfrm>
              <a:custGeom>
                <a:avLst/>
                <a:gdLst>
                  <a:gd name="T0" fmla="*/ 84735 w 7"/>
                  <a:gd name="T1" fmla="*/ 32083 h 5"/>
                  <a:gd name="T2" fmla="*/ 84735 w 7"/>
                  <a:gd name="T3" fmla="*/ 153278 h 5"/>
                  <a:gd name="T4" fmla="*/ 205785 w 7"/>
                  <a:gd name="T5" fmla="*/ 184798 h 5"/>
                  <a:gd name="T6" fmla="*/ 255046 w 7"/>
                  <a:gd name="T7" fmla="*/ 107827 h 5"/>
                  <a:gd name="T8" fmla="*/ 293979 w 7"/>
                  <a:gd name="T9" fmla="*/ 107827 h 5"/>
                  <a:gd name="T10" fmla="*/ 121050 w 7"/>
                  <a:gd name="T11" fmla="*/ 32083 h 5"/>
                  <a:gd name="T12" fmla="*/ 121050 w 7"/>
                  <a:gd name="T13" fmla="*/ 0 h 5"/>
                  <a:gd name="T14" fmla="*/ 121050 w 7"/>
                  <a:gd name="T15" fmla="*/ 0 h 5"/>
                  <a:gd name="T16" fmla="*/ 84735 w 7"/>
                  <a:gd name="T17" fmla="*/ 32083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" h="5">
                    <a:moveTo>
                      <a:pt x="2" y="1"/>
                    </a:moveTo>
                    <a:cubicBezTo>
                      <a:pt x="2" y="1"/>
                      <a:pt x="0" y="5"/>
                      <a:pt x="2" y="4"/>
                    </a:cubicBezTo>
                    <a:cubicBezTo>
                      <a:pt x="4" y="3"/>
                      <a:pt x="5" y="2"/>
                      <a:pt x="5" y="5"/>
                    </a:cubicBezTo>
                    <a:cubicBezTo>
                      <a:pt x="6" y="4"/>
                      <a:pt x="7" y="4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1"/>
                      <a:pt x="6" y="0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5" name="Freeform 469"/>
              <p:cNvSpPr>
                <a:spLocks noEditPoints="1"/>
              </p:cNvSpPr>
              <p:nvPr/>
            </p:nvSpPr>
            <p:spPr bwMode="auto">
              <a:xfrm>
                <a:off x="2771" y="1437"/>
                <a:ext cx="17" cy="17"/>
              </a:xfrm>
              <a:custGeom>
                <a:avLst/>
                <a:gdLst>
                  <a:gd name="T0" fmla="*/ 205785 w 7"/>
                  <a:gd name="T1" fmla="*/ 293979 h 7"/>
                  <a:gd name="T2" fmla="*/ 205785 w 7"/>
                  <a:gd name="T3" fmla="*/ 255046 h 7"/>
                  <a:gd name="T4" fmla="*/ 170481 w 7"/>
                  <a:gd name="T5" fmla="*/ 205785 h 7"/>
                  <a:gd name="T6" fmla="*/ 121050 w 7"/>
                  <a:gd name="T7" fmla="*/ 205785 h 7"/>
                  <a:gd name="T8" fmla="*/ 84735 w 7"/>
                  <a:gd name="T9" fmla="*/ 255046 h 7"/>
                  <a:gd name="T10" fmla="*/ 84735 w 7"/>
                  <a:gd name="T11" fmla="*/ 255046 h 7"/>
                  <a:gd name="T12" fmla="*/ 84735 w 7"/>
                  <a:gd name="T13" fmla="*/ 255046 h 7"/>
                  <a:gd name="T14" fmla="*/ 34891 w 7"/>
                  <a:gd name="T15" fmla="*/ 205785 h 7"/>
                  <a:gd name="T16" fmla="*/ 84735 w 7"/>
                  <a:gd name="T17" fmla="*/ 84735 h 7"/>
                  <a:gd name="T18" fmla="*/ 84735 w 7"/>
                  <a:gd name="T19" fmla="*/ 34891 h 7"/>
                  <a:gd name="T20" fmla="*/ 84735 w 7"/>
                  <a:gd name="T21" fmla="*/ 0 h 7"/>
                  <a:gd name="T22" fmla="*/ 84735 w 7"/>
                  <a:gd name="T23" fmla="*/ 0 h 7"/>
                  <a:gd name="T24" fmla="*/ 121050 w 7"/>
                  <a:gd name="T25" fmla="*/ 0 h 7"/>
                  <a:gd name="T26" fmla="*/ 170481 w 7"/>
                  <a:gd name="T27" fmla="*/ 0 h 7"/>
                  <a:gd name="T28" fmla="*/ 170481 w 7"/>
                  <a:gd name="T29" fmla="*/ 34891 h 7"/>
                  <a:gd name="T30" fmla="*/ 170481 w 7"/>
                  <a:gd name="T31" fmla="*/ 34891 h 7"/>
                  <a:gd name="T32" fmla="*/ 293979 w 7"/>
                  <a:gd name="T33" fmla="*/ 121050 h 7"/>
                  <a:gd name="T34" fmla="*/ 293979 w 7"/>
                  <a:gd name="T35" fmla="*/ 121050 h 7"/>
                  <a:gd name="T36" fmla="*/ 293979 w 7"/>
                  <a:gd name="T37" fmla="*/ 121050 h 7"/>
                  <a:gd name="T38" fmla="*/ 293979 w 7"/>
                  <a:gd name="T39" fmla="*/ 121050 h 7"/>
                  <a:gd name="T40" fmla="*/ 293979 w 7"/>
                  <a:gd name="T41" fmla="*/ 121050 h 7"/>
                  <a:gd name="T42" fmla="*/ 293979 w 7"/>
                  <a:gd name="T43" fmla="*/ 121050 h 7"/>
                  <a:gd name="T44" fmla="*/ 293979 w 7"/>
                  <a:gd name="T45" fmla="*/ 121050 h 7"/>
                  <a:gd name="T46" fmla="*/ 293979 w 7"/>
                  <a:gd name="T47" fmla="*/ 121050 h 7"/>
                  <a:gd name="T48" fmla="*/ 293979 w 7"/>
                  <a:gd name="T49" fmla="*/ 121050 h 7"/>
                  <a:gd name="T50" fmla="*/ 293979 w 7"/>
                  <a:gd name="T51" fmla="*/ 170481 h 7"/>
                  <a:gd name="T52" fmla="*/ 293979 w 7"/>
                  <a:gd name="T53" fmla="*/ 170481 h 7"/>
                  <a:gd name="T54" fmla="*/ 255046 w 7"/>
                  <a:gd name="T55" fmla="*/ 255046 h 7"/>
                  <a:gd name="T56" fmla="*/ 205785 w 7"/>
                  <a:gd name="T57" fmla="*/ 293979 h 7"/>
                  <a:gd name="T58" fmla="*/ 170481 w 7"/>
                  <a:gd name="T59" fmla="*/ 170481 h 7"/>
                  <a:gd name="T60" fmla="*/ 255046 w 7"/>
                  <a:gd name="T61" fmla="*/ 205785 h 7"/>
                  <a:gd name="T62" fmla="*/ 255046 w 7"/>
                  <a:gd name="T63" fmla="*/ 170481 h 7"/>
                  <a:gd name="T64" fmla="*/ 205785 w 7"/>
                  <a:gd name="T65" fmla="*/ 121050 h 7"/>
                  <a:gd name="T66" fmla="*/ 205785 w 7"/>
                  <a:gd name="T67" fmla="*/ 84735 h 7"/>
                  <a:gd name="T68" fmla="*/ 121050 w 7"/>
                  <a:gd name="T69" fmla="*/ 84735 h 7"/>
                  <a:gd name="T70" fmla="*/ 121050 w 7"/>
                  <a:gd name="T71" fmla="*/ 84735 h 7"/>
                  <a:gd name="T72" fmla="*/ 84735 w 7"/>
                  <a:gd name="T73" fmla="*/ 170481 h 7"/>
                  <a:gd name="T74" fmla="*/ 84735 w 7"/>
                  <a:gd name="T75" fmla="*/ 170481 h 7"/>
                  <a:gd name="T76" fmla="*/ 121050 w 7"/>
                  <a:gd name="T77" fmla="*/ 170481 h 7"/>
                  <a:gd name="T78" fmla="*/ 170481 w 7"/>
                  <a:gd name="T79" fmla="*/ 170481 h 7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7" h="7">
                    <a:moveTo>
                      <a:pt x="5" y="7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3" y="5"/>
                    </a:cubicBezTo>
                    <a:cubicBezTo>
                      <a:pt x="3" y="5"/>
                      <a:pt x="3" y="5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1" y="5"/>
                    </a:cubicBezTo>
                    <a:cubicBezTo>
                      <a:pt x="0" y="4"/>
                      <a:pt x="1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6" y="1"/>
                      <a:pt x="6" y="2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5"/>
                      <a:pt x="7" y="6"/>
                      <a:pt x="6" y="6"/>
                    </a:cubicBezTo>
                    <a:lnTo>
                      <a:pt x="5" y="7"/>
                    </a:lnTo>
                    <a:close/>
                    <a:moveTo>
                      <a:pt x="4" y="4"/>
                    </a:moveTo>
                    <a:cubicBezTo>
                      <a:pt x="5" y="4"/>
                      <a:pt x="5" y="4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6" y="4"/>
                      <a:pt x="6" y="3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3" y="4"/>
                    </a:cubicBezTo>
                    <a:cubicBezTo>
                      <a:pt x="3" y="4"/>
                      <a:pt x="4" y="4"/>
                      <a:pt x="4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6" name="Freeform 470"/>
              <p:cNvSpPr/>
              <p:nvPr/>
            </p:nvSpPr>
            <p:spPr bwMode="auto">
              <a:xfrm>
                <a:off x="2785" y="1430"/>
                <a:ext cx="3" cy="5"/>
              </a:xfrm>
              <a:custGeom>
                <a:avLst/>
                <a:gdLst>
                  <a:gd name="T0" fmla="*/ 531441 w 1"/>
                  <a:gd name="T1" fmla="*/ 0 h 2"/>
                  <a:gd name="T2" fmla="*/ 0 w 1"/>
                  <a:gd name="T3" fmla="*/ 126958 h 2"/>
                  <a:gd name="T4" fmla="*/ 531441 w 1"/>
                  <a:gd name="T5" fmla="*/ 0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7" name="Freeform 471"/>
              <p:cNvSpPr/>
              <p:nvPr/>
            </p:nvSpPr>
            <p:spPr bwMode="auto">
              <a:xfrm>
                <a:off x="2783" y="1428"/>
                <a:ext cx="10" cy="9"/>
              </a:xfrm>
              <a:custGeom>
                <a:avLst/>
                <a:gdLst>
                  <a:gd name="T0" fmla="*/ 0 w 4"/>
                  <a:gd name="T1" fmla="*/ 66330 h 4"/>
                  <a:gd name="T2" fmla="*/ 0 w 4"/>
                  <a:gd name="T3" fmla="*/ 36860 h 4"/>
                  <a:gd name="T4" fmla="*/ 76488 w 4"/>
                  <a:gd name="T5" fmla="*/ 16382 h 4"/>
                  <a:gd name="T6" fmla="*/ 126958 w 4"/>
                  <a:gd name="T7" fmla="*/ 16382 h 4"/>
                  <a:gd name="T8" fmla="*/ 241220 w 4"/>
                  <a:gd name="T9" fmla="*/ 0 h 4"/>
                  <a:gd name="T10" fmla="*/ 126958 w 4"/>
                  <a:gd name="T11" fmla="*/ 36860 h 4"/>
                  <a:gd name="T12" fmla="*/ 126958 w 4"/>
                  <a:gd name="T13" fmla="*/ 53228 h 4"/>
                  <a:gd name="T14" fmla="*/ 0 w 4"/>
                  <a:gd name="T15" fmla="*/ 66330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3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8" name="Freeform 472"/>
              <p:cNvSpPr/>
              <p:nvPr/>
            </p:nvSpPr>
            <p:spPr bwMode="auto">
              <a:xfrm>
                <a:off x="2793" y="1456"/>
                <a:ext cx="2" cy="2"/>
              </a:xfrm>
              <a:custGeom>
                <a:avLst/>
                <a:gdLst>
                  <a:gd name="T0" fmla="*/ 4096 w 1"/>
                  <a:gd name="T1" fmla="*/ 4096 h 1"/>
                  <a:gd name="T2" fmla="*/ 0 w 1"/>
                  <a:gd name="T3" fmla="*/ 0 h 1"/>
                  <a:gd name="T4" fmla="*/ 4096 w 1"/>
                  <a:gd name="T5" fmla="*/ 4096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9" name="Freeform 473"/>
              <p:cNvSpPr/>
              <p:nvPr/>
            </p:nvSpPr>
            <p:spPr bwMode="auto">
              <a:xfrm>
                <a:off x="2790" y="1451"/>
                <a:ext cx="17" cy="14"/>
              </a:xfrm>
              <a:custGeom>
                <a:avLst/>
                <a:gdLst>
                  <a:gd name="T0" fmla="*/ 293979 w 7"/>
                  <a:gd name="T1" fmla="*/ 158172 h 6"/>
                  <a:gd name="T2" fmla="*/ 84735 w 7"/>
                  <a:gd name="T3" fmla="*/ 75677 h 6"/>
                  <a:gd name="T4" fmla="*/ 84735 w 7"/>
                  <a:gd name="T5" fmla="*/ 75677 h 6"/>
                  <a:gd name="T6" fmla="*/ 34891 w 7"/>
                  <a:gd name="T7" fmla="*/ 57269 h 6"/>
                  <a:gd name="T8" fmla="*/ 0 w 7"/>
                  <a:gd name="T9" fmla="*/ 0 h 6"/>
                  <a:gd name="T10" fmla="*/ 84735 w 7"/>
                  <a:gd name="T11" fmla="*/ 57269 h 6"/>
                  <a:gd name="T12" fmla="*/ 121050 w 7"/>
                  <a:gd name="T13" fmla="*/ 57269 h 6"/>
                  <a:gd name="T14" fmla="*/ 293979 w 7"/>
                  <a:gd name="T15" fmla="*/ 158172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3" y="2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0" name="Freeform 474"/>
              <p:cNvSpPr/>
              <p:nvPr/>
            </p:nvSpPr>
            <p:spPr bwMode="auto">
              <a:xfrm>
                <a:off x="2781" y="1404"/>
                <a:ext cx="49" cy="83"/>
              </a:xfrm>
              <a:custGeom>
                <a:avLst/>
                <a:gdLst>
                  <a:gd name="T0" fmla="*/ 258393 w 21"/>
                  <a:gd name="T1" fmla="*/ 1041342 h 35"/>
                  <a:gd name="T2" fmla="*/ 311799 w 21"/>
                  <a:gd name="T3" fmla="*/ 1013065 h 35"/>
                  <a:gd name="T4" fmla="*/ 311799 w 21"/>
                  <a:gd name="T5" fmla="*/ 1013065 h 35"/>
                  <a:gd name="T6" fmla="*/ 369068 w 21"/>
                  <a:gd name="T7" fmla="*/ 1013065 h 35"/>
                  <a:gd name="T8" fmla="*/ 492233 w 21"/>
                  <a:gd name="T9" fmla="*/ 944372 h 35"/>
                  <a:gd name="T10" fmla="*/ 492233 w 21"/>
                  <a:gd name="T11" fmla="*/ 854084 h 35"/>
                  <a:gd name="T12" fmla="*/ 412020 w 21"/>
                  <a:gd name="T13" fmla="*/ 759270 h 35"/>
                  <a:gd name="T14" fmla="*/ 392012 w 21"/>
                  <a:gd name="T15" fmla="*/ 668914 h 35"/>
                  <a:gd name="T16" fmla="*/ 412020 w 21"/>
                  <a:gd name="T17" fmla="*/ 668914 h 35"/>
                  <a:gd name="T18" fmla="*/ 334070 w 21"/>
                  <a:gd name="T19" fmla="*/ 533901 h 35"/>
                  <a:gd name="T20" fmla="*/ 210957 w 21"/>
                  <a:gd name="T21" fmla="*/ 372080 h 35"/>
                  <a:gd name="T22" fmla="*/ 233849 w 21"/>
                  <a:gd name="T23" fmla="*/ 349276 h 35"/>
                  <a:gd name="T24" fmla="*/ 233849 w 21"/>
                  <a:gd name="T25" fmla="*/ 320174 h 35"/>
                  <a:gd name="T26" fmla="*/ 290635 w 21"/>
                  <a:gd name="T27" fmla="*/ 156901 h 35"/>
                  <a:gd name="T28" fmla="*/ 176580 w 21"/>
                  <a:gd name="T29" fmla="*/ 118946 h 35"/>
                  <a:gd name="T30" fmla="*/ 158172 w 21"/>
                  <a:gd name="T31" fmla="*/ 118946 h 35"/>
                  <a:gd name="T32" fmla="*/ 158172 w 21"/>
                  <a:gd name="T33" fmla="*/ 27900 h 35"/>
                  <a:gd name="T34" fmla="*/ 75677 w 21"/>
                  <a:gd name="T35" fmla="*/ 94938 h 35"/>
                  <a:gd name="T36" fmla="*/ 24544 w 21"/>
                  <a:gd name="T37" fmla="*/ 282072 h 35"/>
                  <a:gd name="T38" fmla="*/ 75677 w 21"/>
                  <a:gd name="T39" fmla="*/ 282072 h 35"/>
                  <a:gd name="T40" fmla="*/ 57269 w 21"/>
                  <a:gd name="T41" fmla="*/ 479166 h 35"/>
                  <a:gd name="T42" fmla="*/ 100221 w 21"/>
                  <a:gd name="T43" fmla="*/ 349276 h 35"/>
                  <a:gd name="T44" fmla="*/ 75677 w 21"/>
                  <a:gd name="T45" fmla="*/ 372080 h 35"/>
                  <a:gd name="T46" fmla="*/ 100221 w 21"/>
                  <a:gd name="T47" fmla="*/ 505254 h 35"/>
                  <a:gd name="T48" fmla="*/ 100221 w 21"/>
                  <a:gd name="T49" fmla="*/ 533901 h 35"/>
                  <a:gd name="T50" fmla="*/ 100221 w 21"/>
                  <a:gd name="T51" fmla="*/ 505254 h 35"/>
                  <a:gd name="T52" fmla="*/ 133628 w 21"/>
                  <a:gd name="T53" fmla="*/ 533901 h 35"/>
                  <a:gd name="T54" fmla="*/ 210957 w 21"/>
                  <a:gd name="T55" fmla="*/ 505254 h 35"/>
                  <a:gd name="T56" fmla="*/ 176580 w 21"/>
                  <a:gd name="T57" fmla="*/ 574109 h 35"/>
                  <a:gd name="T58" fmla="*/ 233849 w 21"/>
                  <a:gd name="T59" fmla="*/ 602246 h 35"/>
                  <a:gd name="T60" fmla="*/ 233849 w 21"/>
                  <a:gd name="T61" fmla="*/ 692225 h 35"/>
                  <a:gd name="T62" fmla="*/ 133628 w 21"/>
                  <a:gd name="T63" fmla="*/ 759270 h 35"/>
                  <a:gd name="T64" fmla="*/ 176580 w 21"/>
                  <a:gd name="T65" fmla="*/ 787032 h 35"/>
                  <a:gd name="T66" fmla="*/ 75677 w 21"/>
                  <a:gd name="T67" fmla="*/ 882361 h 35"/>
                  <a:gd name="T68" fmla="*/ 133628 w 21"/>
                  <a:gd name="T69" fmla="*/ 882361 h 35"/>
                  <a:gd name="T70" fmla="*/ 158172 w 21"/>
                  <a:gd name="T71" fmla="*/ 921957 h 35"/>
                  <a:gd name="T72" fmla="*/ 210957 w 21"/>
                  <a:gd name="T73" fmla="*/ 944372 h 35"/>
                  <a:gd name="T74" fmla="*/ 258393 w 21"/>
                  <a:gd name="T75" fmla="*/ 921957 h 35"/>
                  <a:gd name="T76" fmla="*/ 158172 w 21"/>
                  <a:gd name="T77" fmla="*/ 984057 h 35"/>
                  <a:gd name="T78" fmla="*/ 75677 w 21"/>
                  <a:gd name="T79" fmla="*/ 1107128 h 35"/>
                  <a:gd name="T80" fmla="*/ 176580 w 21"/>
                  <a:gd name="T81" fmla="*/ 1079228 h 35"/>
                  <a:gd name="T82" fmla="*/ 258393 w 21"/>
                  <a:gd name="T83" fmla="*/ 1041342 h 3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21" h="35">
                    <a:moveTo>
                      <a:pt x="10" y="33"/>
                    </a:moveTo>
                    <a:cubicBezTo>
                      <a:pt x="11" y="33"/>
                      <a:pt x="11" y="32"/>
                      <a:pt x="12" y="32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3" y="31"/>
                      <a:pt x="13" y="32"/>
                      <a:pt x="14" y="32"/>
                    </a:cubicBezTo>
                    <a:cubicBezTo>
                      <a:pt x="16" y="32"/>
                      <a:pt x="18" y="32"/>
                      <a:pt x="19" y="30"/>
                    </a:cubicBezTo>
                    <a:cubicBezTo>
                      <a:pt x="15" y="31"/>
                      <a:pt x="19" y="28"/>
                      <a:pt x="19" y="27"/>
                    </a:cubicBezTo>
                    <a:cubicBezTo>
                      <a:pt x="21" y="24"/>
                      <a:pt x="18" y="24"/>
                      <a:pt x="16" y="24"/>
                    </a:cubicBezTo>
                    <a:cubicBezTo>
                      <a:pt x="17" y="23"/>
                      <a:pt x="16" y="22"/>
                      <a:pt x="15" y="21"/>
                    </a:cubicBezTo>
                    <a:cubicBezTo>
                      <a:pt x="15" y="21"/>
                      <a:pt x="16" y="21"/>
                      <a:pt x="16" y="21"/>
                    </a:cubicBezTo>
                    <a:cubicBezTo>
                      <a:pt x="16" y="19"/>
                      <a:pt x="13" y="18"/>
                      <a:pt x="13" y="17"/>
                    </a:cubicBezTo>
                    <a:cubicBezTo>
                      <a:pt x="12" y="14"/>
                      <a:pt x="11" y="11"/>
                      <a:pt x="8" y="12"/>
                    </a:cubicBezTo>
                    <a:cubicBezTo>
                      <a:pt x="9" y="12"/>
                      <a:pt x="9" y="11"/>
                      <a:pt x="9" y="11"/>
                    </a:cubicBezTo>
                    <a:cubicBezTo>
                      <a:pt x="9" y="11"/>
                      <a:pt x="9" y="10"/>
                      <a:pt x="9" y="10"/>
                    </a:cubicBezTo>
                    <a:cubicBezTo>
                      <a:pt x="10" y="10"/>
                      <a:pt x="12" y="6"/>
                      <a:pt x="11" y="5"/>
                    </a:cubicBezTo>
                    <a:cubicBezTo>
                      <a:pt x="11" y="4"/>
                      <a:pt x="3" y="6"/>
                      <a:pt x="7" y="4"/>
                    </a:cubicBezTo>
                    <a:cubicBezTo>
                      <a:pt x="7" y="4"/>
                      <a:pt x="6" y="4"/>
                      <a:pt x="6" y="4"/>
                    </a:cubicBezTo>
                    <a:cubicBezTo>
                      <a:pt x="8" y="2"/>
                      <a:pt x="10" y="0"/>
                      <a:pt x="6" y="1"/>
                    </a:cubicBezTo>
                    <a:cubicBezTo>
                      <a:pt x="5" y="1"/>
                      <a:pt x="2" y="2"/>
                      <a:pt x="3" y="3"/>
                    </a:cubicBezTo>
                    <a:cubicBezTo>
                      <a:pt x="0" y="4"/>
                      <a:pt x="5" y="8"/>
                      <a:pt x="1" y="9"/>
                    </a:cubicBezTo>
                    <a:cubicBezTo>
                      <a:pt x="2" y="10"/>
                      <a:pt x="3" y="10"/>
                      <a:pt x="3" y="9"/>
                    </a:cubicBezTo>
                    <a:cubicBezTo>
                      <a:pt x="3" y="11"/>
                      <a:pt x="3" y="13"/>
                      <a:pt x="2" y="15"/>
                    </a:cubicBezTo>
                    <a:cubicBezTo>
                      <a:pt x="4" y="13"/>
                      <a:pt x="3" y="12"/>
                      <a:pt x="4" y="11"/>
                    </a:cubicBezTo>
                    <a:cubicBezTo>
                      <a:pt x="4" y="11"/>
                      <a:pt x="4" y="12"/>
                      <a:pt x="3" y="12"/>
                    </a:cubicBezTo>
                    <a:cubicBezTo>
                      <a:pt x="5" y="10"/>
                      <a:pt x="5" y="16"/>
                      <a:pt x="4" y="16"/>
                    </a:cubicBezTo>
                    <a:cubicBezTo>
                      <a:pt x="4" y="16"/>
                      <a:pt x="4" y="17"/>
                      <a:pt x="4" y="17"/>
                    </a:cubicBezTo>
                    <a:cubicBezTo>
                      <a:pt x="4" y="17"/>
                      <a:pt x="4" y="17"/>
                      <a:pt x="4" y="16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6" y="16"/>
                      <a:pt x="7" y="16"/>
                      <a:pt x="8" y="16"/>
                    </a:cubicBezTo>
                    <a:cubicBezTo>
                      <a:pt x="8" y="17"/>
                      <a:pt x="7" y="18"/>
                      <a:pt x="7" y="18"/>
                    </a:cubicBezTo>
                    <a:cubicBezTo>
                      <a:pt x="8" y="19"/>
                      <a:pt x="8" y="20"/>
                      <a:pt x="9" y="19"/>
                    </a:cubicBezTo>
                    <a:cubicBezTo>
                      <a:pt x="8" y="20"/>
                      <a:pt x="9" y="21"/>
                      <a:pt x="9" y="22"/>
                    </a:cubicBezTo>
                    <a:cubicBezTo>
                      <a:pt x="7" y="22"/>
                      <a:pt x="6" y="23"/>
                      <a:pt x="5" y="24"/>
                    </a:cubicBezTo>
                    <a:cubicBezTo>
                      <a:pt x="6" y="24"/>
                      <a:pt x="7" y="24"/>
                      <a:pt x="7" y="25"/>
                    </a:cubicBezTo>
                    <a:cubicBezTo>
                      <a:pt x="6" y="27"/>
                      <a:pt x="4" y="27"/>
                      <a:pt x="3" y="28"/>
                    </a:cubicBezTo>
                    <a:cubicBezTo>
                      <a:pt x="4" y="29"/>
                      <a:pt x="4" y="29"/>
                      <a:pt x="5" y="28"/>
                    </a:cubicBezTo>
                    <a:cubicBezTo>
                      <a:pt x="6" y="28"/>
                      <a:pt x="5" y="29"/>
                      <a:pt x="6" y="29"/>
                    </a:cubicBezTo>
                    <a:cubicBezTo>
                      <a:pt x="7" y="29"/>
                      <a:pt x="7" y="30"/>
                      <a:pt x="8" y="30"/>
                    </a:cubicBezTo>
                    <a:cubicBezTo>
                      <a:pt x="8" y="30"/>
                      <a:pt x="9" y="29"/>
                      <a:pt x="10" y="29"/>
                    </a:cubicBezTo>
                    <a:cubicBezTo>
                      <a:pt x="9" y="31"/>
                      <a:pt x="8" y="30"/>
                      <a:pt x="6" y="31"/>
                    </a:cubicBezTo>
                    <a:cubicBezTo>
                      <a:pt x="5" y="31"/>
                      <a:pt x="4" y="34"/>
                      <a:pt x="3" y="35"/>
                    </a:cubicBezTo>
                    <a:cubicBezTo>
                      <a:pt x="4" y="35"/>
                      <a:pt x="5" y="34"/>
                      <a:pt x="7" y="34"/>
                    </a:cubicBezTo>
                    <a:cubicBezTo>
                      <a:pt x="8" y="34"/>
                      <a:pt x="8" y="31"/>
                      <a:pt x="10" y="33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1" name="Freeform 475"/>
              <p:cNvSpPr>
                <a:spLocks noEditPoints="1"/>
              </p:cNvSpPr>
              <p:nvPr/>
            </p:nvSpPr>
            <p:spPr bwMode="auto">
              <a:xfrm>
                <a:off x="2783" y="1404"/>
                <a:ext cx="45" cy="83"/>
              </a:xfrm>
              <a:custGeom>
                <a:avLst/>
                <a:gdLst>
                  <a:gd name="T0" fmla="*/ 27502 w 19"/>
                  <a:gd name="T1" fmla="*/ 1079228 h 35"/>
                  <a:gd name="T2" fmla="*/ 183036 w 19"/>
                  <a:gd name="T3" fmla="*/ 944372 h 35"/>
                  <a:gd name="T4" fmla="*/ 94048 w 19"/>
                  <a:gd name="T5" fmla="*/ 921957 h 35"/>
                  <a:gd name="T6" fmla="*/ 94048 w 19"/>
                  <a:gd name="T7" fmla="*/ 854084 h 35"/>
                  <a:gd name="T8" fmla="*/ 94048 w 19"/>
                  <a:gd name="T9" fmla="*/ 759270 h 35"/>
                  <a:gd name="T10" fmla="*/ 222745 w 19"/>
                  <a:gd name="T11" fmla="*/ 624290 h 35"/>
                  <a:gd name="T12" fmla="*/ 154269 w 19"/>
                  <a:gd name="T13" fmla="*/ 533901 h 35"/>
                  <a:gd name="T14" fmla="*/ 94048 w 19"/>
                  <a:gd name="T15" fmla="*/ 533901 h 35"/>
                  <a:gd name="T16" fmla="*/ 94048 w 19"/>
                  <a:gd name="T17" fmla="*/ 479166 h 35"/>
                  <a:gd name="T18" fmla="*/ 65136 w 19"/>
                  <a:gd name="T19" fmla="*/ 479166 h 35"/>
                  <a:gd name="T20" fmla="*/ 65136 w 19"/>
                  <a:gd name="T21" fmla="*/ 320174 h 35"/>
                  <a:gd name="T22" fmla="*/ 27502 w 19"/>
                  <a:gd name="T23" fmla="*/ 185171 h 35"/>
                  <a:gd name="T24" fmla="*/ 154269 w 19"/>
                  <a:gd name="T25" fmla="*/ 0 h 35"/>
                  <a:gd name="T26" fmla="*/ 183036 w 19"/>
                  <a:gd name="T27" fmla="*/ 118946 h 35"/>
                  <a:gd name="T28" fmla="*/ 316793 w 19"/>
                  <a:gd name="T29" fmla="*/ 118946 h 35"/>
                  <a:gd name="T30" fmla="*/ 276392 w 19"/>
                  <a:gd name="T31" fmla="*/ 320174 h 35"/>
                  <a:gd name="T32" fmla="*/ 365374 w 19"/>
                  <a:gd name="T33" fmla="*/ 505254 h 35"/>
                  <a:gd name="T34" fmla="*/ 499176 w 19"/>
                  <a:gd name="T35" fmla="*/ 759270 h 35"/>
                  <a:gd name="T36" fmla="*/ 567263 w 19"/>
                  <a:gd name="T37" fmla="*/ 882361 h 35"/>
                  <a:gd name="T38" fmla="*/ 567263 w 19"/>
                  <a:gd name="T39" fmla="*/ 944372 h 35"/>
                  <a:gd name="T40" fmla="*/ 365374 w 19"/>
                  <a:gd name="T41" fmla="*/ 1013065 h 35"/>
                  <a:gd name="T42" fmla="*/ 276392 w 19"/>
                  <a:gd name="T43" fmla="*/ 1041342 h 35"/>
                  <a:gd name="T44" fmla="*/ 222745 w 19"/>
                  <a:gd name="T45" fmla="*/ 1041342 h 35"/>
                  <a:gd name="T46" fmla="*/ 116699 w 19"/>
                  <a:gd name="T47" fmla="*/ 1107128 h 35"/>
                  <a:gd name="T48" fmla="*/ 222745 w 19"/>
                  <a:gd name="T49" fmla="*/ 984057 h 35"/>
                  <a:gd name="T50" fmla="*/ 94048 w 19"/>
                  <a:gd name="T51" fmla="*/ 1079228 h 35"/>
                  <a:gd name="T52" fmla="*/ 276392 w 19"/>
                  <a:gd name="T53" fmla="*/ 1013065 h 35"/>
                  <a:gd name="T54" fmla="*/ 344520 w 19"/>
                  <a:gd name="T55" fmla="*/ 984057 h 35"/>
                  <a:gd name="T56" fmla="*/ 499176 w 19"/>
                  <a:gd name="T57" fmla="*/ 984057 h 35"/>
                  <a:gd name="T58" fmla="*/ 567263 w 19"/>
                  <a:gd name="T59" fmla="*/ 787032 h 35"/>
                  <a:gd name="T60" fmla="*/ 433506 w 19"/>
                  <a:gd name="T61" fmla="*/ 759270 h 35"/>
                  <a:gd name="T62" fmla="*/ 433506 w 19"/>
                  <a:gd name="T63" fmla="*/ 668914 h 35"/>
                  <a:gd name="T64" fmla="*/ 222745 w 19"/>
                  <a:gd name="T65" fmla="*/ 372080 h 35"/>
                  <a:gd name="T66" fmla="*/ 250472 w 19"/>
                  <a:gd name="T67" fmla="*/ 349276 h 35"/>
                  <a:gd name="T68" fmla="*/ 316793 w 19"/>
                  <a:gd name="T69" fmla="*/ 185171 h 35"/>
                  <a:gd name="T70" fmla="*/ 183036 w 19"/>
                  <a:gd name="T71" fmla="*/ 185171 h 35"/>
                  <a:gd name="T72" fmla="*/ 154269 w 19"/>
                  <a:gd name="T73" fmla="*/ 94938 h 35"/>
                  <a:gd name="T74" fmla="*/ 94048 w 19"/>
                  <a:gd name="T75" fmla="*/ 94938 h 35"/>
                  <a:gd name="T76" fmla="*/ 65136 w 19"/>
                  <a:gd name="T77" fmla="*/ 185171 h 35"/>
                  <a:gd name="T78" fmla="*/ 94048 w 19"/>
                  <a:gd name="T79" fmla="*/ 320174 h 35"/>
                  <a:gd name="T80" fmla="*/ 116699 w 19"/>
                  <a:gd name="T81" fmla="*/ 414964 h 35"/>
                  <a:gd name="T82" fmla="*/ 222745 w 19"/>
                  <a:gd name="T83" fmla="*/ 479166 h 35"/>
                  <a:gd name="T84" fmla="*/ 222745 w 19"/>
                  <a:gd name="T85" fmla="*/ 574109 h 35"/>
                  <a:gd name="T86" fmla="*/ 276392 w 19"/>
                  <a:gd name="T87" fmla="*/ 602246 h 35"/>
                  <a:gd name="T88" fmla="*/ 250472 w 19"/>
                  <a:gd name="T89" fmla="*/ 730115 h 35"/>
                  <a:gd name="T90" fmla="*/ 183036 w 19"/>
                  <a:gd name="T91" fmla="*/ 787032 h 35"/>
                  <a:gd name="T92" fmla="*/ 222745 w 19"/>
                  <a:gd name="T93" fmla="*/ 921957 h 35"/>
                  <a:gd name="T94" fmla="*/ 316793 w 19"/>
                  <a:gd name="T95" fmla="*/ 854084 h 3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9" h="35">
                    <a:moveTo>
                      <a:pt x="2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2" y="34"/>
                      <a:pt x="2" y="34"/>
                      <a:pt x="2" y="33"/>
                    </a:cubicBezTo>
                    <a:cubicBezTo>
                      <a:pt x="3" y="32"/>
                      <a:pt x="4" y="31"/>
                      <a:pt x="5" y="30"/>
                    </a:cubicBezTo>
                    <a:cubicBezTo>
                      <a:pt x="5" y="30"/>
                      <a:pt x="5" y="30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29"/>
                      <a:pt x="6" y="29"/>
                      <a:pt x="5" y="29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5" y="29"/>
                      <a:pt x="4" y="29"/>
                      <a:pt x="4" y="29"/>
                    </a:cubicBezTo>
                    <a:cubicBezTo>
                      <a:pt x="4" y="29"/>
                      <a:pt x="3" y="29"/>
                      <a:pt x="3" y="29"/>
                    </a:cubicBezTo>
                    <a:cubicBezTo>
                      <a:pt x="2" y="29"/>
                      <a:pt x="2" y="29"/>
                      <a:pt x="2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27"/>
                      <a:pt x="3" y="27"/>
                      <a:pt x="3" y="27"/>
                    </a:cubicBezTo>
                    <a:cubicBezTo>
                      <a:pt x="4" y="27"/>
                      <a:pt x="5" y="26"/>
                      <a:pt x="5" y="25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5" y="25"/>
                      <a:pt x="4" y="25"/>
                      <a:pt x="4" y="25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5" y="22"/>
                      <a:pt x="6" y="22"/>
                      <a:pt x="7" y="22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0"/>
                      <a:pt x="7" y="20"/>
                    </a:cubicBezTo>
                    <a:cubicBezTo>
                      <a:pt x="7" y="20"/>
                      <a:pt x="6" y="19"/>
                      <a:pt x="6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18"/>
                      <a:pt x="6" y="17"/>
                      <a:pt x="6" y="17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4"/>
                      <a:pt x="3" y="13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4"/>
                      <a:pt x="2" y="14"/>
                      <a:pt x="2" y="1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3"/>
                      <a:pt x="1" y="12"/>
                      <a:pt x="2" y="11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0" y="10"/>
                      <a:pt x="0" y="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7"/>
                      <a:pt x="1" y="6"/>
                    </a:cubicBezTo>
                    <a:cubicBezTo>
                      <a:pt x="1" y="5"/>
                      <a:pt x="1" y="4"/>
                      <a:pt x="1" y="4"/>
                    </a:cubicBezTo>
                    <a:cubicBezTo>
                      <a:pt x="1" y="4"/>
                      <a:pt x="1" y="3"/>
                      <a:pt x="2" y="3"/>
                    </a:cubicBezTo>
                    <a:cubicBezTo>
                      <a:pt x="1" y="3"/>
                      <a:pt x="2" y="2"/>
                      <a:pt x="2" y="2"/>
                    </a:cubicBezTo>
                    <a:cubicBezTo>
                      <a:pt x="2" y="1"/>
                      <a:pt x="4" y="0"/>
                      <a:pt x="5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0"/>
                      <a:pt x="8" y="1"/>
                    </a:cubicBezTo>
                    <a:cubicBezTo>
                      <a:pt x="8" y="2"/>
                      <a:pt x="7" y="2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4"/>
                      <a:pt x="8" y="4"/>
                      <a:pt x="8" y="4"/>
                    </a:cubicBezTo>
                    <a:cubicBezTo>
                      <a:pt x="9" y="4"/>
                      <a:pt x="10" y="4"/>
                      <a:pt x="10" y="4"/>
                    </a:cubicBezTo>
                    <a:cubicBezTo>
                      <a:pt x="10" y="4"/>
                      <a:pt x="10" y="4"/>
                      <a:pt x="11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7"/>
                      <a:pt x="10" y="9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1" y="12"/>
                      <a:pt x="12" y="15"/>
                      <a:pt x="12" y="16"/>
                    </a:cubicBezTo>
                    <a:cubicBezTo>
                      <a:pt x="13" y="17"/>
                      <a:pt x="13" y="17"/>
                      <a:pt x="14" y="18"/>
                    </a:cubicBezTo>
                    <a:cubicBezTo>
                      <a:pt x="14" y="19"/>
                      <a:pt x="16" y="20"/>
                      <a:pt x="16" y="21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6" y="22"/>
                      <a:pt x="16" y="23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8" y="24"/>
                      <a:pt x="19" y="24"/>
                      <a:pt x="19" y="25"/>
                    </a:cubicBezTo>
                    <a:cubicBezTo>
                      <a:pt x="19" y="25"/>
                      <a:pt x="19" y="26"/>
                      <a:pt x="19" y="27"/>
                    </a:cubicBezTo>
                    <a:cubicBezTo>
                      <a:pt x="19" y="27"/>
                      <a:pt x="18" y="28"/>
                      <a:pt x="18" y="28"/>
                    </a:cubicBezTo>
                    <a:cubicBezTo>
                      <a:pt x="18" y="29"/>
                      <a:pt x="17" y="29"/>
                      <a:pt x="17" y="30"/>
                    </a:cubicBezTo>
                    <a:cubicBezTo>
                      <a:pt x="17" y="30"/>
                      <a:pt x="17" y="30"/>
                      <a:pt x="18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2"/>
                      <a:pt x="15" y="32"/>
                      <a:pt x="14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2" y="33"/>
                      <a:pt x="12" y="33"/>
                      <a:pt x="12" y="32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11" y="33"/>
                      <a:pt x="11" y="33"/>
                      <a:pt x="10" y="33"/>
                    </a:cubicBezTo>
                    <a:cubicBezTo>
                      <a:pt x="10" y="33"/>
                      <a:pt x="9" y="33"/>
                      <a:pt x="9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8" y="33"/>
                      <a:pt x="7" y="33"/>
                      <a:pt x="7" y="33"/>
                    </a:cubicBezTo>
                    <a:cubicBezTo>
                      <a:pt x="7" y="34"/>
                      <a:pt x="6" y="34"/>
                      <a:pt x="6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5" y="34"/>
                      <a:pt x="4" y="35"/>
                      <a:pt x="4" y="35"/>
                    </a:cubicBezTo>
                    <a:cubicBezTo>
                      <a:pt x="3" y="35"/>
                      <a:pt x="3" y="35"/>
                      <a:pt x="2" y="35"/>
                    </a:cubicBezTo>
                    <a:close/>
                    <a:moveTo>
                      <a:pt x="10" y="27"/>
                    </a:moveTo>
                    <a:cubicBezTo>
                      <a:pt x="9" y="29"/>
                      <a:pt x="9" y="29"/>
                      <a:pt x="9" y="29"/>
                    </a:cubicBezTo>
                    <a:cubicBezTo>
                      <a:pt x="9" y="31"/>
                      <a:pt x="8" y="31"/>
                      <a:pt x="7" y="31"/>
                    </a:cubicBezTo>
                    <a:cubicBezTo>
                      <a:pt x="6" y="31"/>
                      <a:pt x="6" y="31"/>
                      <a:pt x="5" y="31"/>
                    </a:cubicBezTo>
                    <a:cubicBezTo>
                      <a:pt x="5" y="31"/>
                      <a:pt x="4" y="33"/>
                      <a:pt x="3" y="3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4" y="33"/>
                      <a:pt x="5" y="33"/>
                      <a:pt x="6" y="33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7" y="32"/>
                      <a:pt x="7" y="32"/>
                      <a:pt x="8" y="32"/>
                    </a:cubicBezTo>
                    <a:cubicBezTo>
                      <a:pt x="8" y="32"/>
                      <a:pt x="9" y="32"/>
                      <a:pt x="9" y="32"/>
                    </a:cubicBezTo>
                    <a:cubicBezTo>
                      <a:pt x="9" y="32"/>
                      <a:pt x="10" y="32"/>
                      <a:pt x="10" y="32"/>
                    </a:cubicBezTo>
                    <a:cubicBezTo>
                      <a:pt x="10" y="32"/>
                      <a:pt x="10" y="32"/>
                      <a:pt x="11" y="32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3" y="31"/>
                      <a:pt x="13" y="32"/>
                      <a:pt x="13" y="32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1"/>
                      <a:pt x="16" y="31"/>
                      <a:pt x="16" y="31"/>
                    </a:cubicBezTo>
                    <a:cubicBezTo>
                      <a:pt x="16" y="31"/>
                      <a:pt x="16" y="30"/>
                      <a:pt x="16" y="30"/>
                    </a:cubicBezTo>
                    <a:cubicBezTo>
                      <a:pt x="15" y="29"/>
                      <a:pt x="16" y="28"/>
                      <a:pt x="17" y="28"/>
                    </a:cubicBezTo>
                    <a:cubicBezTo>
                      <a:pt x="17" y="27"/>
                      <a:pt x="18" y="27"/>
                      <a:pt x="18" y="27"/>
                    </a:cubicBezTo>
                    <a:cubicBezTo>
                      <a:pt x="18" y="26"/>
                      <a:pt x="18" y="25"/>
                      <a:pt x="18" y="25"/>
                    </a:cubicBezTo>
                    <a:cubicBezTo>
                      <a:pt x="18" y="25"/>
                      <a:pt x="17" y="25"/>
                      <a:pt x="16" y="25"/>
                    </a:cubicBezTo>
                    <a:cubicBezTo>
                      <a:pt x="16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5" y="23"/>
                      <a:pt x="15" y="23"/>
                      <a:pt x="14" y="22"/>
                    </a:cubicBezTo>
                    <a:cubicBezTo>
                      <a:pt x="14" y="22"/>
                      <a:pt x="14" y="22"/>
                      <a:pt x="13" y="21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20"/>
                      <a:pt x="13" y="19"/>
                      <a:pt x="13" y="19"/>
                    </a:cubicBezTo>
                    <a:cubicBezTo>
                      <a:pt x="12" y="18"/>
                      <a:pt x="11" y="18"/>
                      <a:pt x="11" y="17"/>
                    </a:cubicBezTo>
                    <a:cubicBezTo>
                      <a:pt x="11" y="14"/>
                      <a:pt x="9" y="12"/>
                      <a:pt x="7" y="12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7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0"/>
                      <a:pt x="7" y="10"/>
                      <a:pt x="7" y="10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10" y="7"/>
                      <a:pt x="10" y="6"/>
                    </a:cubicBezTo>
                    <a:cubicBezTo>
                      <a:pt x="10" y="6"/>
                      <a:pt x="10" y="5"/>
                      <a:pt x="10" y="5"/>
                    </a:cubicBezTo>
                    <a:cubicBezTo>
                      <a:pt x="10" y="5"/>
                      <a:pt x="9" y="5"/>
                      <a:pt x="8" y="5"/>
                    </a:cubicBezTo>
                    <a:cubicBezTo>
                      <a:pt x="7" y="5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5" y="6"/>
                      <a:pt x="4" y="6"/>
                      <a:pt x="4" y="5"/>
                    </a:cubicBezTo>
                    <a:cubicBezTo>
                      <a:pt x="4" y="5"/>
                      <a:pt x="4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2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4" y="1"/>
                      <a:pt x="3" y="2"/>
                      <a:pt x="3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6"/>
                    </a:cubicBezTo>
                    <a:cubicBezTo>
                      <a:pt x="2" y="7"/>
                      <a:pt x="3" y="8"/>
                      <a:pt x="1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4" y="11"/>
                      <a:pt x="4" y="12"/>
                      <a:pt x="4" y="13"/>
                    </a:cubicBezTo>
                    <a:cubicBezTo>
                      <a:pt x="4" y="14"/>
                      <a:pt x="4" y="15"/>
                      <a:pt x="4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6" y="16"/>
                      <a:pt x="7" y="16"/>
                    </a:cubicBezTo>
                    <a:cubicBezTo>
                      <a:pt x="7" y="16"/>
                      <a:pt x="7" y="16"/>
                      <a:pt x="7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7"/>
                      <a:pt x="7" y="18"/>
                      <a:pt x="7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7" y="19"/>
                      <a:pt x="7" y="19"/>
                    </a:cubicBezTo>
                    <a:cubicBezTo>
                      <a:pt x="7" y="19"/>
                      <a:pt x="8" y="19"/>
                      <a:pt x="8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8" y="20"/>
                      <a:pt x="8" y="20"/>
                      <a:pt x="8" y="21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23"/>
                      <a:pt x="6" y="23"/>
                      <a:pt x="5" y="24"/>
                    </a:cubicBezTo>
                    <a:cubicBezTo>
                      <a:pt x="5" y="24"/>
                      <a:pt x="6" y="24"/>
                      <a:pt x="6" y="24"/>
                    </a:cubicBezTo>
                    <a:cubicBezTo>
                      <a:pt x="6" y="24"/>
                      <a:pt x="6" y="25"/>
                      <a:pt x="6" y="25"/>
                    </a:cubicBezTo>
                    <a:cubicBezTo>
                      <a:pt x="6" y="27"/>
                      <a:pt x="5" y="27"/>
                      <a:pt x="4" y="28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8"/>
                      <a:pt x="6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7" y="29"/>
                      <a:pt x="7" y="29"/>
                      <a:pt x="8" y="29"/>
                    </a:cubicBezTo>
                    <a:cubicBezTo>
                      <a:pt x="8" y="28"/>
                      <a:pt x="8" y="28"/>
                      <a:pt x="9" y="28"/>
                    </a:cubicBezTo>
                    <a:lnTo>
                      <a:pt x="10" y="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2" name="Freeform 476"/>
              <p:cNvSpPr/>
              <p:nvPr/>
            </p:nvSpPr>
            <p:spPr bwMode="auto">
              <a:xfrm>
                <a:off x="3222" y="1208"/>
                <a:ext cx="5" cy="2"/>
              </a:xfrm>
              <a:custGeom>
                <a:avLst/>
                <a:gdLst>
                  <a:gd name="T0" fmla="*/ 0 w 2"/>
                  <a:gd name="T1" fmla="*/ 0 h 1"/>
                  <a:gd name="T2" fmla="*/ 126958 w 2"/>
                  <a:gd name="T3" fmla="*/ 0 h 1"/>
                  <a:gd name="T4" fmla="*/ 76488 w 2"/>
                  <a:gd name="T5" fmla="*/ 4096 h 1"/>
                  <a:gd name="T6" fmla="*/ 0 w 2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1" y="1"/>
                      <a:pt x="0" y="0"/>
                      <a:pt x="0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3" name="Freeform 477"/>
              <p:cNvSpPr/>
              <p:nvPr/>
            </p:nvSpPr>
            <p:spPr bwMode="auto">
              <a:xfrm>
                <a:off x="3220" y="1206"/>
                <a:ext cx="7" cy="7"/>
              </a:xfrm>
              <a:custGeom>
                <a:avLst/>
                <a:gdLst>
                  <a:gd name="T0" fmla="*/ 57269 w 3"/>
                  <a:gd name="T1" fmla="*/ 75677 h 3"/>
                  <a:gd name="T2" fmla="*/ 57269 w 3"/>
                  <a:gd name="T3" fmla="*/ 75677 h 3"/>
                  <a:gd name="T4" fmla="*/ 24544 w 3"/>
                  <a:gd name="T5" fmla="*/ 57269 h 3"/>
                  <a:gd name="T6" fmla="*/ 24544 w 3"/>
                  <a:gd name="T7" fmla="*/ 24544 h 3"/>
                  <a:gd name="T8" fmla="*/ 0 w 3"/>
                  <a:gd name="T9" fmla="*/ 24544 h 3"/>
                  <a:gd name="T10" fmla="*/ 24544 w 3"/>
                  <a:gd name="T11" fmla="*/ 0 h 3"/>
                  <a:gd name="T12" fmla="*/ 57269 w 3"/>
                  <a:gd name="T13" fmla="*/ 0 h 3"/>
                  <a:gd name="T14" fmla="*/ 75677 w 3"/>
                  <a:gd name="T15" fmla="*/ 0 h 3"/>
                  <a:gd name="T16" fmla="*/ 75677 w 3"/>
                  <a:gd name="T17" fmla="*/ 0 h 3"/>
                  <a:gd name="T18" fmla="*/ 75677 w 3"/>
                  <a:gd name="T19" fmla="*/ 24544 h 3"/>
                  <a:gd name="T20" fmla="*/ 75677 w 3"/>
                  <a:gd name="T21" fmla="*/ 75677 h 3"/>
                  <a:gd name="T22" fmla="*/ 57269 w 3"/>
                  <a:gd name="T23" fmla="*/ 75677 h 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3" y="2"/>
                      <a:pt x="3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4" name="Freeform 478"/>
              <p:cNvSpPr/>
              <p:nvPr/>
            </p:nvSpPr>
            <p:spPr bwMode="auto">
              <a:xfrm>
                <a:off x="3612" y="1531"/>
                <a:ext cx="5" cy="5"/>
              </a:xfrm>
              <a:custGeom>
                <a:avLst/>
                <a:gdLst>
                  <a:gd name="T0" fmla="*/ 126958 w 2"/>
                  <a:gd name="T1" fmla="*/ 0 h 2"/>
                  <a:gd name="T2" fmla="*/ 126958 w 2"/>
                  <a:gd name="T3" fmla="*/ 0 h 2"/>
                  <a:gd name="T4" fmla="*/ 0 w 2"/>
                  <a:gd name="T5" fmla="*/ 126958 h 2"/>
                  <a:gd name="T6" fmla="*/ 126958 w 2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1" y="2"/>
                      <a:pt x="0" y="2"/>
                    </a:cubicBezTo>
                    <a:cubicBezTo>
                      <a:pt x="1" y="1"/>
                      <a:pt x="1" y="1"/>
                      <a:pt x="2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5" name="Freeform 479"/>
              <p:cNvSpPr/>
              <p:nvPr/>
            </p:nvSpPr>
            <p:spPr bwMode="auto">
              <a:xfrm>
                <a:off x="3612" y="1529"/>
                <a:ext cx="7" cy="12"/>
              </a:xfrm>
              <a:custGeom>
                <a:avLst/>
                <a:gdLst>
                  <a:gd name="T0" fmla="*/ 0 w 3"/>
                  <a:gd name="T1" fmla="*/ 184798 h 5"/>
                  <a:gd name="T2" fmla="*/ 0 w 3"/>
                  <a:gd name="T3" fmla="*/ 107827 h 5"/>
                  <a:gd name="T4" fmla="*/ 24544 w 3"/>
                  <a:gd name="T5" fmla="*/ 32083 h 5"/>
                  <a:gd name="T6" fmla="*/ 57269 w 3"/>
                  <a:gd name="T7" fmla="*/ 0 h 5"/>
                  <a:gd name="T8" fmla="*/ 57269 w 3"/>
                  <a:gd name="T9" fmla="*/ 0 h 5"/>
                  <a:gd name="T10" fmla="*/ 75677 w 3"/>
                  <a:gd name="T11" fmla="*/ 32083 h 5"/>
                  <a:gd name="T12" fmla="*/ 0 w 3"/>
                  <a:gd name="T13" fmla="*/ 184798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1"/>
                      <a:pt x="3" y="1"/>
                      <a:pt x="3" y="1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6" name="Freeform 480"/>
              <p:cNvSpPr/>
              <p:nvPr/>
            </p:nvSpPr>
            <p:spPr bwMode="auto">
              <a:xfrm>
                <a:off x="3267" y="1250"/>
                <a:ext cx="5" cy="5"/>
              </a:xfrm>
              <a:custGeom>
                <a:avLst/>
                <a:gdLst>
                  <a:gd name="T0" fmla="*/ 0 w 2"/>
                  <a:gd name="T1" fmla="*/ 76488 h 2"/>
                  <a:gd name="T2" fmla="*/ 76488 w 2"/>
                  <a:gd name="T3" fmla="*/ 0 h 2"/>
                  <a:gd name="T4" fmla="*/ 126958 w 2"/>
                  <a:gd name="T5" fmla="*/ 126958 h 2"/>
                  <a:gd name="T6" fmla="*/ 76488 w 2"/>
                  <a:gd name="T7" fmla="*/ 126958 h 2"/>
                  <a:gd name="T8" fmla="*/ 0 w 2"/>
                  <a:gd name="T9" fmla="*/ 76488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1" y="1"/>
                      <a:pt x="1" y="1"/>
                      <a:pt x="1" y="0"/>
                    </a:cubicBezTo>
                    <a:cubicBezTo>
                      <a:pt x="1" y="1"/>
                      <a:pt x="1" y="2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7" name="Freeform 481"/>
              <p:cNvSpPr/>
              <p:nvPr/>
            </p:nvSpPr>
            <p:spPr bwMode="auto">
              <a:xfrm>
                <a:off x="3267" y="1248"/>
                <a:ext cx="5" cy="10"/>
              </a:xfrm>
              <a:custGeom>
                <a:avLst/>
                <a:gdLst>
                  <a:gd name="T0" fmla="*/ 0 w 2"/>
                  <a:gd name="T1" fmla="*/ 241220 h 4"/>
                  <a:gd name="T2" fmla="*/ 0 w 2"/>
                  <a:gd name="T3" fmla="*/ 191220 h 4"/>
                  <a:gd name="T4" fmla="*/ 0 w 2"/>
                  <a:gd name="T5" fmla="*/ 126958 h 4"/>
                  <a:gd name="T6" fmla="*/ 0 w 2"/>
                  <a:gd name="T7" fmla="*/ 126958 h 4"/>
                  <a:gd name="T8" fmla="*/ 0 w 2"/>
                  <a:gd name="T9" fmla="*/ 126958 h 4"/>
                  <a:gd name="T10" fmla="*/ 0 w 2"/>
                  <a:gd name="T11" fmla="*/ 76488 h 4"/>
                  <a:gd name="T12" fmla="*/ 76488 w 2"/>
                  <a:gd name="T13" fmla="*/ 0 h 4"/>
                  <a:gd name="T14" fmla="*/ 76488 w 2"/>
                  <a:gd name="T15" fmla="*/ 76488 h 4"/>
                  <a:gd name="T16" fmla="*/ 126958 w 2"/>
                  <a:gd name="T17" fmla="*/ 191220 h 4"/>
                  <a:gd name="T18" fmla="*/ 126958 w 2"/>
                  <a:gd name="T19" fmla="*/ 241220 h 4"/>
                  <a:gd name="T20" fmla="*/ 0 w 2"/>
                  <a:gd name="T21" fmla="*/ 241220 h 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4"/>
                      <a:pt x="2" y="4"/>
                      <a:pt x="2" y="4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8" name="Freeform 482"/>
              <p:cNvSpPr/>
              <p:nvPr/>
            </p:nvSpPr>
            <p:spPr bwMode="auto">
              <a:xfrm>
                <a:off x="3201" y="1307"/>
                <a:ext cx="10" cy="7"/>
              </a:xfrm>
              <a:custGeom>
                <a:avLst/>
                <a:gdLst>
                  <a:gd name="T0" fmla="*/ 0 w 4"/>
                  <a:gd name="T1" fmla="*/ 24544 h 3"/>
                  <a:gd name="T2" fmla="*/ 191220 w 4"/>
                  <a:gd name="T3" fmla="*/ 0 h 3"/>
                  <a:gd name="T4" fmla="*/ 0 w 4"/>
                  <a:gd name="T5" fmla="*/ 24544 h 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cubicBezTo>
                      <a:pt x="1" y="1"/>
                      <a:pt x="2" y="0"/>
                      <a:pt x="3" y="0"/>
                    </a:cubicBezTo>
                    <a:cubicBezTo>
                      <a:pt x="4" y="2"/>
                      <a:pt x="1" y="3"/>
                      <a:pt x="0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9" name="Freeform 483"/>
              <p:cNvSpPr/>
              <p:nvPr/>
            </p:nvSpPr>
            <p:spPr bwMode="auto">
              <a:xfrm>
                <a:off x="3199" y="1305"/>
                <a:ext cx="12" cy="7"/>
              </a:xfrm>
              <a:custGeom>
                <a:avLst/>
                <a:gdLst>
                  <a:gd name="T0" fmla="*/ 107827 w 5"/>
                  <a:gd name="T1" fmla="*/ 75677 h 3"/>
                  <a:gd name="T2" fmla="*/ 32083 w 5"/>
                  <a:gd name="T3" fmla="*/ 57269 h 3"/>
                  <a:gd name="T4" fmla="*/ 0 w 5"/>
                  <a:gd name="T5" fmla="*/ 57269 h 3"/>
                  <a:gd name="T6" fmla="*/ 153278 w 5"/>
                  <a:gd name="T7" fmla="*/ 0 h 3"/>
                  <a:gd name="T8" fmla="*/ 153278 w 5"/>
                  <a:gd name="T9" fmla="*/ 24544 h 3"/>
                  <a:gd name="T10" fmla="*/ 184798 w 5"/>
                  <a:gd name="T11" fmla="*/ 57269 h 3"/>
                  <a:gd name="T12" fmla="*/ 107827 w 5"/>
                  <a:gd name="T13" fmla="*/ 75677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3" y="3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3"/>
                      <a:pt x="3" y="3"/>
                      <a:pt x="3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0" name="Freeform 484"/>
              <p:cNvSpPr/>
              <p:nvPr/>
            </p:nvSpPr>
            <p:spPr bwMode="auto">
              <a:xfrm>
                <a:off x="3263" y="1158"/>
                <a:ext cx="4" cy="7"/>
              </a:xfrm>
              <a:custGeom>
                <a:avLst/>
                <a:gdLst>
                  <a:gd name="T0" fmla="*/ 8192 w 2"/>
                  <a:gd name="T1" fmla="*/ 24544 h 3"/>
                  <a:gd name="T2" fmla="*/ 4096 w 2"/>
                  <a:gd name="T3" fmla="*/ 75677 h 3"/>
                  <a:gd name="T4" fmla="*/ 4096 w 2"/>
                  <a:gd name="T5" fmla="*/ 0 h 3"/>
                  <a:gd name="T6" fmla="*/ 8192 w 2"/>
                  <a:gd name="T7" fmla="*/ 24544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cubicBezTo>
                      <a:pt x="2" y="1"/>
                      <a:pt x="1" y="2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1" name="Freeform 485"/>
              <p:cNvSpPr/>
              <p:nvPr/>
            </p:nvSpPr>
            <p:spPr bwMode="auto">
              <a:xfrm>
                <a:off x="3263" y="1156"/>
                <a:ext cx="4" cy="12"/>
              </a:xfrm>
              <a:custGeom>
                <a:avLst/>
                <a:gdLst>
                  <a:gd name="T0" fmla="*/ 8192 w 2"/>
                  <a:gd name="T1" fmla="*/ 184798 h 5"/>
                  <a:gd name="T2" fmla="*/ 4096 w 2"/>
                  <a:gd name="T3" fmla="*/ 153278 h 5"/>
                  <a:gd name="T4" fmla="*/ 0 w 2"/>
                  <a:gd name="T5" fmla="*/ 76999 h 5"/>
                  <a:gd name="T6" fmla="*/ 0 w 2"/>
                  <a:gd name="T7" fmla="*/ 0 h 5"/>
                  <a:gd name="T8" fmla="*/ 4096 w 2"/>
                  <a:gd name="T9" fmla="*/ 0 h 5"/>
                  <a:gd name="T10" fmla="*/ 4096 w 2"/>
                  <a:gd name="T11" fmla="*/ 0 h 5"/>
                  <a:gd name="T12" fmla="*/ 8192 w 2"/>
                  <a:gd name="T13" fmla="*/ 0 h 5"/>
                  <a:gd name="T14" fmla="*/ 8192 w 2"/>
                  <a:gd name="T15" fmla="*/ 32083 h 5"/>
                  <a:gd name="T16" fmla="*/ 8192 w 2"/>
                  <a:gd name="T17" fmla="*/ 32083 h 5"/>
                  <a:gd name="T18" fmla="*/ 8192 w 2"/>
                  <a:gd name="T19" fmla="*/ 76999 h 5"/>
                  <a:gd name="T20" fmla="*/ 8192 w 2"/>
                  <a:gd name="T21" fmla="*/ 107827 h 5"/>
                  <a:gd name="T22" fmla="*/ 8192 w 2"/>
                  <a:gd name="T23" fmla="*/ 153278 h 5"/>
                  <a:gd name="T24" fmla="*/ 8192 w 2"/>
                  <a:gd name="T25" fmla="*/ 184798 h 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2" name="Freeform 486"/>
              <p:cNvSpPr/>
              <p:nvPr/>
            </p:nvSpPr>
            <p:spPr bwMode="auto">
              <a:xfrm>
                <a:off x="3239" y="1217"/>
                <a:ext cx="7" cy="5"/>
              </a:xfrm>
              <a:custGeom>
                <a:avLst/>
                <a:gdLst>
                  <a:gd name="T0" fmla="*/ 24544 w 3"/>
                  <a:gd name="T1" fmla="*/ 0 h 2"/>
                  <a:gd name="T2" fmla="*/ 75677 w 3"/>
                  <a:gd name="T3" fmla="*/ 0 h 2"/>
                  <a:gd name="T4" fmla="*/ 0 w 3"/>
                  <a:gd name="T5" fmla="*/ 126958 h 2"/>
                  <a:gd name="T6" fmla="*/ 24544 w 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cubicBezTo>
                      <a:pt x="1" y="0"/>
                      <a:pt x="2" y="0"/>
                      <a:pt x="3" y="0"/>
                    </a:cubicBezTo>
                    <a:cubicBezTo>
                      <a:pt x="2" y="1"/>
                      <a:pt x="1" y="1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3" name="Freeform 487"/>
              <p:cNvSpPr/>
              <p:nvPr/>
            </p:nvSpPr>
            <p:spPr bwMode="auto">
              <a:xfrm>
                <a:off x="3234" y="1215"/>
                <a:ext cx="14" cy="9"/>
              </a:xfrm>
              <a:custGeom>
                <a:avLst/>
                <a:gdLst>
                  <a:gd name="T0" fmla="*/ 0 w 6"/>
                  <a:gd name="T1" fmla="*/ 66330 h 4"/>
                  <a:gd name="T2" fmla="*/ 24544 w 6"/>
                  <a:gd name="T3" fmla="*/ 53228 h 4"/>
                  <a:gd name="T4" fmla="*/ 57269 w 6"/>
                  <a:gd name="T5" fmla="*/ 16382 h 4"/>
                  <a:gd name="T6" fmla="*/ 57269 w 6"/>
                  <a:gd name="T7" fmla="*/ 0 h 4"/>
                  <a:gd name="T8" fmla="*/ 75677 w 6"/>
                  <a:gd name="T9" fmla="*/ 0 h 4"/>
                  <a:gd name="T10" fmla="*/ 100221 w 6"/>
                  <a:gd name="T11" fmla="*/ 0 h 4"/>
                  <a:gd name="T12" fmla="*/ 133628 w 6"/>
                  <a:gd name="T13" fmla="*/ 16382 h 4"/>
                  <a:gd name="T14" fmla="*/ 158172 w 6"/>
                  <a:gd name="T15" fmla="*/ 16382 h 4"/>
                  <a:gd name="T16" fmla="*/ 133628 w 6"/>
                  <a:gd name="T17" fmla="*/ 36860 h 4"/>
                  <a:gd name="T18" fmla="*/ 57269 w 6"/>
                  <a:gd name="T19" fmla="*/ 53228 h 4"/>
                  <a:gd name="T20" fmla="*/ 0 w 6"/>
                  <a:gd name="T21" fmla="*/ 66330 h 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2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2"/>
                      <a:pt x="3" y="3"/>
                      <a:pt x="2" y="3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4" name="Freeform 488"/>
              <p:cNvSpPr/>
              <p:nvPr/>
            </p:nvSpPr>
            <p:spPr bwMode="auto">
              <a:xfrm>
                <a:off x="3248" y="1208"/>
                <a:ext cx="5" cy="5"/>
              </a:xfrm>
              <a:custGeom>
                <a:avLst/>
                <a:gdLst>
                  <a:gd name="T0" fmla="*/ 76488 w 2"/>
                  <a:gd name="T1" fmla="*/ 0 h 2"/>
                  <a:gd name="T2" fmla="*/ 126958 w 2"/>
                  <a:gd name="T3" fmla="*/ 126958 h 2"/>
                  <a:gd name="T4" fmla="*/ 0 w 2"/>
                  <a:gd name="T5" fmla="*/ 76488 h 2"/>
                  <a:gd name="T6" fmla="*/ 76488 w 2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cubicBezTo>
                      <a:pt x="1" y="1"/>
                      <a:pt x="1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5" name="Freeform 489"/>
              <p:cNvSpPr/>
              <p:nvPr/>
            </p:nvSpPr>
            <p:spPr bwMode="auto">
              <a:xfrm>
                <a:off x="3246" y="1206"/>
                <a:ext cx="7" cy="9"/>
              </a:xfrm>
              <a:custGeom>
                <a:avLst/>
                <a:gdLst>
                  <a:gd name="T0" fmla="*/ 75677 w 3"/>
                  <a:gd name="T1" fmla="*/ 66330 h 4"/>
                  <a:gd name="T2" fmla="*/ 57269 w 3"/>
                  <a:gd name="T3" fmla="*/ 66330 h 4"/>
                  <a:gd name="T4" fmla="*/ 0 w 3"/>
                  <a:gd name="T5" fmla="*/ 53228 h 4"/>
                  <a:gd name="T6" fmla="*/ 0 w 3"/>
                  <a:gd name="T7" fmla="*/ 53228 h 4"/>
                  <a:gd name="T8" fmla="*/ 0 w 3"/>
                  <a:gd name="T9" fmla="*/ 36860 h 4"/>
                  <a:gd name="T10" fmla="*/ 24544 w 3"/>
                  <a:gd name="T11" fmla="*/ 36860 h 4"/>
                  <a:gd name="T12" fmla="*/ 57269 w 3"/>
                  <a:gd name="T13" fmla="*/ 16382 h 4"/>
                  <a:gd name="T14" fmla="*/ 57269 w 3"/>
                  <a:gd name="T15" fmla="*/ 0 h 4"/>
                  <a:gd name="T16" fmla="*/ 75677 w 3"/>
                  <a:gd name="T17" fmla="*/ 36860 h 4"/>
                  <a:gd name="T18" fmla="*/ 75677 w 3"/>
                  <a:gd name="T19" fmla="*/ 53228 h 4"/>
                  <a:gd name="T20" fmla="*/ 75677 w 3"/>
                  <a:gd name="T21" fmla="*/ 66330 h 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1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3"/>
                      <a:pt x="3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6" name="Freeform 490"/>
              <p:cNvSpPr/>
              <p:nvPr/>
            </p:nvSpPr>
            <p:spPr bwMode="auto">
              <a:xfrm>
                <a:off x="3201" y="1201"/>
                <a:ext cx="7" cy="7"/>
              </a:xfrm>
              <a:custGeom>
                <a:avLst/>
                <a:gdLst>
                  <a:gd name="T0" fmla="*/ 0 w 3"/>
                  <a:gd name="T1" fmla="*/ 75677 h 3"/>
                  <a:gd name="T2" fmla="*/ 24544 w 3"/>
                  <a:gd name="T3" fmla="*/ 0 h 3"/>
                  <a:gd name="T4" fmla="*/ 75677 w 3"/>
                  <a:gd name="T5" fmla="*/ 57269 h 3"/>
                  <a:gd name="T6" fmla="*/ 0 w 3"/>
                  <a:gd name="T7" fmla="*/ 75677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cubicBezTo>
                      <a:pt x="0" y="2"/>
                      <a:pt x="0" y="0"/>
                      <a:pt x="1" y="0"/>
                    </a:cubicBezTo>
                    <a:cubicBezTo>
                      <a:pt x="3" y="0"/>
                      <a:pt x="1" y="1"/>
                      <a:pt x="3" y="2"/>
                    </a:cubicBezTo>
                    <a:cubicBezTo>
                      <a:pt x="2" y="2"/>
                      <a:pt x="1" y="2"/>
                      <a:pt x="0" y="3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7" name="Freeform 491"/>
              <p:cNvSpPr>
                <a:spLocks noEditPoints="1"/>
              </p:cNvSpPr>
              <p:nvPr/>
            </p:nvSpPr>
            <p:spPr bwMode="auto">
              <a:xfrm>
                <a:off x="3199" y="1198"/>
                <a:ext cx="14" cy="12"/>
              </a:xfrm>
              <a:custGeom>
                <a:avLst/>
                <a:gdLst>
                  <a:gd name="T0" fmla="*/ 0 w 6"/>
                  <a:gd name="T1" fmla="*/ 184798 h 5"/>
                  <a:gd name="T2" fmla="*/ 0 w 6"/>
                  <a:gd name="T3" fmla="*/ 153278 h 5"/>
                  <a:gd name="T4" fmla="*/ 24544 w 6"/>
                  <a:gd name="T5" fmla="*/ 0 h 5"/>
                  <a:gd name="T6" fmla="*/ 57269 w 6"/>
                  <a:gd name="T7" fmla="*/ 0 h 5"/>
                  <a:gd name="T8" fmla="*/ 75677 w 6"/>
                  <a:gd name="T9" fmla="*/ 0 h 5"/>
                  <a:gd name="T10" fmla="*/ 100221 w 6"/>
                  <a:gd name="T11" fmla="*/ 32083 h 5"/>
                  <a:gd name="T12" fmla="*/ 100221 w 6"/>
                  <a:gd name="T13" fmla="*/ 76999 h 5"/>
                  <a:gd name="T14" fmla="*/ 100221 w 6"/>
                  <a:gd name="T15" fmla="*/ 76999 h 5"/>
                  <a:gd name="T16" fmla="*/ 158172 w 6"/>
                  <a:gd name="T17" fmla="*/ 76999 h 5"/>
                  <a:gd name="T18" fmla="*/ 0 w 6"/>
                  <a:gd name="T19" fmla="*/ 184798 h 5"/>
                  <a:gd name="T20" fmla="*/ 57269 w 6"/>
                  <a:gd name="T21" fmla="*/ 32083 h 5"/>
                  <a:gd name="T22" fmla="*/ 24544 w 6"/>
                  <a:gd name="T23" fmla="*/ 107827 h 5"/>
                  <a:gd name="T24" fmla="*/ 75677 w 6"/>
                  <a:gd name="T25" fmla="*/ 107827 h 5"/>
                  <a:gd name="T26" fmla="*/ 57269 w 6"/>
                  <a:gd name="T27" fmla="*/ 32083 h 5"/>
                  <a:gd name="T28" fmla="*/ 75677 w 6"/>
                  <a:gd name="T29" fmla="*/ 32083 h 5"/>
                  <a:gd name="T30" fmla="*/ 57269 w 6"/>
                  <a:gd name="T31" fmla="*/ 32083 h 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6" h="5">
                    <a:moveTo>
                      <a:pt x="0" y="5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6" y="2"/>
                      <a:pt x="6" y="2"/>
                      <a:pt x="6" y="2"/>
                    </a:cubicBezTo>
                    <a:lnTo>
                      <a:pt x="0" y="5"/>
                    </a:lnTo>
                    <a:close/>
                    <a:moveTo>
                      <a:pt x="2" y="1"/>
                    </a:moveTo>
                    <a:cubicBezTo>
                      <a:pt x="2" y="1"/>
                      <a:pt x="1" y="2"/>
                      <a:pt x="1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8" name="Freeform 492"/>
              <p:cNvSpPr/>
              <p:nvPr/>
            </p:nvSpPr>
            <p:spPr bwMode="auto">
              <a:xfrm>
                <a:off x="3137" y="1253"/>
                <a:ext cx="12" cy="14"/>
              </a:xfrm>
              <a:custGeom>
                <a:avLst/>
                <a:gdLst>
                  <a:gd name="T0" fmla="*/ 32083 w 5"/>
                  <a:gd name="T1" fmla="*/ 75677 h 6"/>
                  <a:gd name="T2" fmla="*/ 0 w 5"/>
                  <a:gd name="T3" fmla="*/ 57269 h 6"/>
                  <a:gd name="T4" fmla="*/ 32083 w 5"/>
                  <a:gd name="T5" fmla="*/ 57269 h 6"/>
                  <a:gd name="T6" fmla="*/ 32083 w 5"/>
                  <a:gd name="T7" fmla="*/ 0 h 6"/>
                  <a:gd name="T8" fmla="*/ 184798 w 5"/>
                  <a:gd name="T9" fmla="*/ 133628 h 6"/>
                  <a:gd name="T10" fmla="*/ 32083 w 5"/>
                  <a:gd name="T11" fmla="*/ 100221 h 6"/>
                  <a:gd name="T12" fmla="*/ 32083 w 5"/>
                  <a:gd name="T13" fmla="*/ 100221 h 6"/>
                  <a:gd name="T14" fmla="*/ 32083 w 5"/>
                  <a:gd name="T15" fmla="*/ 7567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" h="6">
                    <a:moveTo>
                      <a:pt x="1" y="3"/>
                    </a:moveTo>
                    <a:cubicBezTo>
                      <a:pt x="0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2"/>
                      <a:pt x="3" y="3"/>
                      <a:pt x="5" y="5"/>
                    </a:cubicBezTo>
                    <a:cubicBezTo>
                      <a:pt x="3" y="6"/>
                      <a:pt x="2" y="5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3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9" name="Freeform 493"/>
              <p:cNvSpPr>
                <a:spLocks noEditPoints="1"/>
              </p:cNvSpPr>
              <p:nvPr/>
            </p:nvSpPr>
            <p:spPr bwMode="auto">
              <a:xfrm>
                <a:off x="3135" y="1250"/>
                <a:ext cx="17" cy="22"/>
              </a:xfrm>
              <a:custGeom>
                <a:avLst/>
                <a:gdLst>
                  <a:gd name="T0" fmla="*/ 121050 w 7"/>
                  <a:gd name="T1" fmla="*/ 411955 h 9"/>
                  <a:gd name="T2" fmla="*/ 34891 w 7"/>
                  <a:gd name="T3" fmla="*/ 221696 h 9"/>
                  <a:gd name="T4" fmla="*/ 34891 w 7"/>
                  <a:gd name="T5" fmla="*/ 221696 h 9"/>
                  <a:gd name="T6" fmla="*/ 0 w 7"/>
                  <a:gd name="T7" fmla="*/ 131428 h 9"/>
                  <a:gd name="T8" fmla="*/ 0 w 7"/>
                  <a:gd name="T9" fmla="*/ 131428 h 9"/>
                  <a:gd name="T10" fmla="*/ 0 w 7"/>
                  <a:gd name="T11" fmla="*/ 90694 h 9"/>
                  <a:gd name="T12" fmla="*/ 34891 w 7"/>
                  <a:gd name="T13" fmla="*/ 90694 h 9"/>
                  <a:gd name="T14" fmla="*/ 34891 w 7"/>
                  <a:gd name="T15" fmla="*/ 37102 h 9"/>
                  <a:gd name="T16" fmla="*/ 84735 w 7"/>
                  <a:gd name="T17" fmla="*/ 37102 h 9"/>
                  <a:gd name="T18" fmla="*/ 84735 w 7"/>
                  <a:gd name="T19" fmla="*/ 0 h 9"/>
                  <a:gd name="T20" fmla="*/ 84735 w 7"/>
                  <a:gd name="T21" fmla="*/ 37102 h 9"/>
                  <a:gd name="T22" fmla="*/ 255046 w 7"/>
                  <a:gd name="T23" fmla="*/ 221696 h 9"/>
                  <a:gd name="T24" fmla="*/ 293979 w 7"/>
                  <a:gd name="T25" fmla="*/ 280500 h 9"/>
                  <a:gd name="T26" fmla="*/ 255046 w 7"/>
                  <a:gd name="T27" fmla="*/ 280500 h 9"/>
                  <a:gd name="T28" fmla="*/ 121050 w 7"/>
                  <a:gd name="T29" fmla="*/ 280500 h 9"/>
                  <a:gd name="T30" fmla="*/ 121050 w 7"/>
                  <a:gd name="T31" fmla="*/ 411955 h 9"/>
                  <a:gd name="T32" fmla="*/ 84735 w 7"/>
                  <a:gd name="T33" fmla="*/ 183453 h 9"/>
                  <a:gd name="T34" fmla="*/ 84735 w 7"/>
                  <a:gd name="T35" fmla="*/ 183453 h 9"/>
                  <a:gd name="T36" fmla="*/ 121050 w 7"/>
                  <a:gd name="T37" fmla="*/ 221696 h 9"/>
                  <a:gd name="T38" fmla="*/ 205785 w 7"/>
                  <a:gd name="T39" fmla="*/ 221696 h 9"/>
                  <a:gd name="T40" fmla="*/ 84735 w 7"/>
                  <a:gd name="T41" fmla="*/ 90694 h 9"/>
                  <a:gd name="T42" fmla="*/ 84735 w 7"/>
                  <a:gd name="T43" fmla="*/ 90694 h 9"/>
                  <a:gd name="T44" fmla="*/ 84735 w 7"/>
                  <a:gd name="T45" fmla="*/ 90694 h 9"/>
                  <a:gd name="T46" fmla="*/ 121050 w 7"/>
                  <a:gd name="T47" fmla="*/ 131428 h 9"/>
                  <a:gd name="T48" fmla="*/ 84735 w 7"/>
                  <a:gd name="T49" fmla="*/ 131428 h 9"/>
                  <a:gd name="T50" fmla="*/ 84735 w 7"/>
                  <a:gd name="T51" fmla="*/ 183453 h 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7" h="9">
                    <a:moveTo>
                      <a:pt x="3" y="9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1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4" y="2"/>
                      <a:pt x="5" y="4"/>
                      <a:pt x="6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5" y="7"/>
                      <a:pt x="4" y="7"/>
                      <a:pt x="3" y="6"/>
                    </a:cubicBezTo>
                    <a:lnTo>
                      <a:pt x="3" y="9"/>
                    </a:lnTo>
                    <a:close/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5"/>
                      <a:pt x="4" y="6"/>
                      <a:pt x="5" y="5"/>
                    </a:cubicBezTo>
                    <a:cubicBezTo>
                      <a:pt x="4" y="4"/>
                      <a:pt x="3" y="3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0" name="Freeform 494"/>
              <p:cNvSpPr/>
              <p:nvPr/>
            </p:nvSpPr>
            <p:spPr bwMode="auto">
              <a:xfrm>
                <a:off x="3102" y="1236"/>
                <a:ext cx="7" cy="10"/>
              </a:xfrm>
              <a:custGeom>
                <a:avLst/>
                <a:gdLst>
                  <a:gd name="T0" fmla="*/ 0 w 3"/>
                  <a:gd name="T1" fmla="*/ 76488 h 4"/>
                  <a:gd name="T2" fmla="*/ 75677 w 3"/>
                  <a:gd name="T3" fmla="*/ 241220 h 4"/>
                  <a:gd name="T4" fmla="*/ 0 w 3"/>
                  <a:gd name="T5" fmla="*/ 76488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cubicBezTo>
                      <a:pt x="2" y="0"/>
                      <a:pt x="3" y="2"/>
                      <a:pt x="3" y="4"/>
                    </a:cubicBezTo>
                    <a:cubicBezTo>
                      <a:pt x="2" y="3"/>
                      <a:pt x="1" y="2"/>
                      <a:pt x="0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1" name="Freeform 495"/>
              <p:cNvSpPr/>
              <p:nvPr/>
            </p:nvSpPr>
            <p:spPr bwMode="auto">
              <a:xfrm>
                <a:off x="3100" y="1236"/>
                <a:ext cx="9" cy="12"/>
              </a:xfrm>
              <a:custGeom>
                <a:avLst/>
                <a:gdLst>
                  <a:gd name="T0" fmla="*/ 66330 w 4"/>
                  <a:gd name="T1" fmla="*/ 184798 h 5"/>
                  <a:gd name="T2" fmla="*/ 53228 w 4"/>
                  <a:gd name="T3" fmla="*/ 153278 h 5"/>
                  <a:gd name="T4" fmla="*/ 16382 w 4"/>
                  <a:gd name="T5" fmla="*/ 32083 h 5"/>
                  <a:gd name="T6" fmla="*/ 0 w 4"/>
                  <a:gd name="T7" fmla="*/ 32083 h 5"/>
                  <a:gd name="T8" fmla="*/ 16382 w 4"/>
                  <a:gd name="T9" fmla="*/ 0 h 5"/>
                  <a:gd name="T10" fmla="*/ 66330 w 4"/>
                  <a:gd name="T11" fmla="*/ 32083 h 5"/>
                  <a:gd name="T12" fmla="*/ 66330 w 4"/>
                  <a:gd name="T13" fmla="*/ 153278 h 5"/>
                  <a:gd name="T14" fmla="*/ 66330 w 4"/>
                  <a:gd name="T15" fmla="*/ 184798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2" y="3"/>
                      <a:pt x="2" y="2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" y="2"/>
                      <a:pt x="4" y="3"/>
                      <a:pt x="4" y="4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2" name="Freeform 496"/>
              <p:cNvSpPr/>
              <p:nvPr/>
            </p:nvSpPr>
            <p:spPr bwMode="auto">
              <a:xfrm>
                <a:off x="3111" y="1125"/>
                <a:ext cx="86" cy="81"/>
              </a:xfrm>
              <a:custGeom>
                <a:avLst/>
                <a:gdLst>
                  <a:gd name="T0" fmla="*/ 0 w 36"/>
                  <a:gd name="T1" fmla="*/ 966947 h 34"/>
                  <a:gd name="T2" fmla="*/ 174886 w 36"/>
                  <a:gd name="T3" fmla="*/ 894566 h 34"/>
                  <a:gd name="T4" fmla="*/ 103857 w 36"/>
                  <a:gd name="T5" fmla="*/ 842321 h 34"/>
                  <a:gd name="T6" fmla="*/ 144234 w 36"/>
                  <a:gd name="T7" fmla="*/ 842321 h 34"/>
                  <a:gd name="T8" fmla="*/ 103857 w 36"/>
                  <a:gd name="T9" fmla="*/ 800959 h 34"/>
                  <a:gd name="T10" fmla="*/ 174886 w 36"/>
                  <a:gd name="T11" fmla="*/ 770946 h 34"/>
                  <a:gd name="T12" fmla="*/ 144234 w 36"/>
                  <a:gd name="T13" fmla="*/ 729515 h 34"/>
                  <a:gd name="T14" fmla="*/ 248103 w 36"/>
                  <a:gd name="T15" fmla="*/ 702556 h 34"/>
                  <a:gd name="T16" fmla="*/ 144234 w 36"/>
                  <a:gd name="T17" fmla="*/ 702556 h 34"/>
                  <a:gd name="T18" fmla="*/ 174886 w 36"/>
                  <a:gd name="T19" fmla="*/ 630752 h 34"/>
                  <a:gd name="T20" fmla="*/ 144234 w 36"/>
                  <a:gd name="T21" fmla="*/ 575693 h 34"/>
                  <a:gd name="T22" fmla="*/ 549186 w 36"/>
                  <a:gd name="T23" fmla="*/ 264760 h 34"/>
                  <a:gd name="T24" fmla="*/ 519877 w 36"/>
                  <a:gd name="T25" fmla="*/ 294900 h 34"/>
                  <a:gd name="T26" fmla="*/ 592691 w 36"/>
                  <a:gd name="T27" fmla="*/ 195089 h 34"/>
                  <a:gd name="T28" fmla="*/ 768133 w 36"/>
                  <a:gd name="T29" fmla="*/ 241649 h 34"/>
                  <a:gd name="T30" fmla="*/ 937653 w 36"/>
                  <a:gd name="T31" fmla="*/ 141123 h 34"/>
                  <a:gd name="T32" fmla="*/ 1101947 w 36"/>
                  <a:gd name="T33" fmla="*/ 0 h 34"/>
                  <a:gd name="T34" fmla="*/ 1216625 w 36"/>
                  <a:gd name="T35" fmla="*/ 141123 h 34"/>
                  <a:gd name="T36" fmla="*/ 1216625 w 36"/>
                  <a:gd name="T37" fmla="*/ 141123 h 34"/>
                  <a:gd name="T38" fmla="*/ 1041513 w 36"/>
                  <a:gd name="T39" fmla="*/ 294900 h 34"/>
                  <a:gd name="T40" fmla="*/ 793410 w 36"/>
                  <a:gd name="T41" fmla="*/ 405879 h 34"/>
                  <a:gd name="T42" fmla="*/ 592691 w 36"/>
                  <a:gd name="T43" fmla="*/ 600575 h 34"/>
                  <a:gd name="T44" fmla="*/ 519877 w 36"/>
                  <a:gd name="T45" fmla="*/ 600575 h 34"/>
                  <a:gd name="T46" fmla="*/ 549186 w 36"/>
                  <a:gd name="T47" fmla="*/ 630752 h 34"/>
                  <a:gd name="T48" fmla="*/ 448851 w 36"/>
                  <a:gd name="T49" fmla="*/ 702556 h 34"/>
                  <a:gd name="T50" fmla="*/ 479495 w 36"/>
                  <a:gd name="T51" fmla="*/ 770946 h 34"/>
                  <a:gd name="T52" fmla="*/ 417783 w 36"/>
                  <a:gd name="T53" fmla="*/ 729515 h 34"/>
                  <a:gd name="T54" fmla="*/ 417783 w 36"/>
                  <a:gd name="T55" fmla="*/ 800959 h 34"/>
                  <a:gd name="T56" fmla="*/ 344559 w 36"/>
                  <a:gd name="T57" fmla="*/ 729515 h 34"/>
                  <a:gd name="T58" fmla="*/ 344559 w 36"/>
                  <a:gd name="T59" fmla="*/ 894566 h 34"/>
                  <a:gd name="T60" fmla="*/ 321544 w 36"/>
                  <a:gd name="T61" fmla="*/ 842321 h 34"/>
                  <a:gd name="T62" fmla="*/ 321544 w 36"/>
                  <a:gd name="T63" fmla="*/ 966947 h 34"/>
                  <a:gd name="T64" fmla="*/ 248103 w 36"/>
                  <a:gd name="T65" fmla="*/ 942082 h 34"/>
                  <a:gd name="T66" fmla="*/ 273533 w 36"/>
                  <a:gd name="T67" fmla="*/ 996045 h 34"/>
                  <a:gd name="T68" fmla="*/ 248103 w 36"/>
                  <a:gd name="T69" fmla="*/ 996045 h 34"/>
                  <a:gd name="T70" fmla="*/ 248103 w 36"/>
                  <a:gd name="T71" fmla="*/ 1107249 h 34"/>
                  <a:gd name="T72" fmla="*/ 30645 w 36"/>
                  <a:gd name="T73" fmla="*/ 1065884 h 34"/>
                  <a:gd name="T74" fmla="*/ 103857 w 36"/>
                  <a:gd name="T75" fmla="*/ 996045 h 34"/>
                  <a:gd name="T76" fmla="*/ 0 w 36"/>
                  <a:gd name="T77" fmla="*/ 966947 h 3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36" h="34">
                    <a:moveTo>
                      <a:pt x="0" y="29"/>
                    </a:moveTo>
                    <a:cubicBezTo>
                      <a:pt x="2" y="27"/>
                      <a:pt x="2" y="25"/>
                      <a:pt x="5" y="27"/>
                    </a:cubicBezTo>
                    <a:cubicBezTo>
                      <a:pt x="5" y="26"/>
                      <a:pt x="4" y="26"/>
                      <a:pt x="3" y="25"/>
                    </a:cubicBezTo>
                    <a:cubicBezTo>
                      <a:pt x="3" y="25"/>
                      <a:pt x="4" y="25"/>
                      <a:pt x="4" y="25"/>
                    </a:cubicBezTo>
                    <a:cubicBezTo>
                      <a:pt x="4" y="24"/>
                      <a:pt x="4" y="24"/>
                      <a:pt x="3" y="24"/>
                    </a:cubicBezTo>
                    <a:cubicBezTo>
                      <a:pt x="4" y="24"/>
                      <a:pt x="4" y="23"/>
                      <a:pt x="5" y="23"/>
                    </a:cubicBezTo>
                    <a:cubicBezTo>
                      <a:pt x="5" y="23"/>
                      <a:pt x="4" y="22"/>
                      <a:pt x="4" y="22"/>
                    </a:cubicBezTo>
                    <a:cubicBezTo>
                      <a:pt x="5" y="21"/>
                      <a:pt x="6" y="21"/>
                      <a:pt x="7" y="21"/>
                    </a:cubicBezTo>
                    <a:cubicBezTo>
                      <a:pt x="6" y="21"/>
                      <a:pt x="5" y="21"/>
                      <a:pt x="4" y="21"/>
                    </a:cubicBezTo>
                    <a:cubicBezTo>
                      <a:pt x="5" y="20"/>
                      <a:pt x="5" y="19"/>
                      <a:pt x="5" y="19"/>
                    </a:cubicBezTo>
                    <a:cubicBezTo>
                      <a:pt x="4" y="19"/>
                      <a:pt x="4" y="18"/>
                      <a:pt x="4" y="17"/>
                    </a:cubicBezTo>
                    <a:cubicBezTo>
                      <a:pt x="7" y="21"/>
                      <a:pt x="13" y="7"/>
                      <a:pt x="16" y="8"/>
                    </a:cubicBezTo>
                    <a:cubicBezTo>
                      <a:pt x="16" y="9"/>
                      <a:pt x="15" y="9"/>
                      <a:pt x="15" y="9"/>
                    </a:cubicBezTo>
                    <a:cubicBezTo>
                      <a:pt x="17" y="9"/>
                      <a:pt x="17" y="8"/>
                      <a:pt x="17" y="6"/>
                    </a:cubicBezTo>
                    <a:cubicBezTo>
                      <a:pt x="19" y="7"/>
                      <a:pt x="20" y="8"/>
                      <a:pt x="22" y="7"/>
                    </a:cubicBezTo>
                    <a:cubicBezTo>
                      <a:pt x="24" y="6"/>
                      <a:pt x="25" y="5"/>
                      <a:pt x="27" y="4"/>
                    </a:cubicBezTo>
                    <a:cubicBezTo>
                      <a:pt x="29" y="2"/>
                      <a:pt x="30" y="0"/>
                      <a:pt x="32" y="0"/>
                    </a:cubicBezTo>
                    <a:cubicBezTo>
                      <a:pt x="34" y="0"/>
                      <a:pt x="36" y="2"/>
                      <a:pt x="35" y="4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4" y="8"/>
                      <a:pt x="33" y="8"/>
                      <a:pt x="30" y="9"/>
                    </a:cubicBezTo>
                    <a:cubicBezTo>
                      <a:pt x="29" y="10"/>
                      <a:pt x="23" y="14"/>
                      <a:pt x="23" y="12"/>
                    </a:cubicBezTo>
                    <a:cubicBezTo>
                      <a:pt x="22" y="13"/>
                      <a:pt x="19" y="18"/>
                      <a:pt x="17" y="18"/>
                    </a:cubicBezTo>
                    <a:cubicBezTo>
                      <a:pt x="17" y="18"/>
                      <a:pt x="16" y="18"/>
                      <a:pt x="15" y="18"/>
                    </a:cubicBezTo>
                    <a:cubicBezTo>
                      <a:pt x="15" y="19"/>
                      <a:pt x="16" y="19"/>
                      <a:pt x="16" y="19"/>
                    </a:cubicBezTo>
                    <a:cubicBezTo>
                      <a:pt x="16" y="21"/>
                      <a:pt x="15" y="22"/>
                      <a:pt x="13" y="21"/>
                    </a:cubicBezTo>
                    <a:cubicBezTo>
                      <a:pt x="13" y="21"/>
                      <a:pt x="14" y="22"/>
                      <a:pt x="14" y="23"/>
                    </a:cubicBezTo>
                    <a:cubicBezTo>
                      <a:pt x="13" y="22"/>
                      <a:pt x="13" y="22"/>
                      <a:pt x="12" y="22"/>
                    </a:cubicBezTo>
                    <a:cubicBezTo>
                      <a:pt x="13" y="22"/>
                      <a:pt x="13" y="23"/>
                      <a:pt x="12" y="24"/>
                    </a:cubicBezTo>
                    <a:cubicBezTo>
                      <a:pt x="11" y="23"/>
                      <a:pt x="11" y="23"/>
                      <a:pt x="10" y="22"/>
                    </a:cubicBezTo>
                    <a:cubicBezTo>
                      <a:pt x="11" y="25"/>
                      <a:pt x="12" y="25"/>
                      <a:pt x="10" y="27"/>
                    </a:cubicBezTo>
                    <a:cubicBezTo>
                      <a:pt x="10" y="27"/>
                      <a:pt x="9" y="26"/>
                      <a:pt x="9" y="25"/>
                    </a:cubicBezTo>
                    <a:cubicBezTo>
                      <a:pt x="7" y="27"/>
                      <a:pt x="10" y="27"/>
                      <a:pt x="9" y="29"/>
                    </a:cubicBezTo>
                    <a:cubicBezTo>
                      <a:pt x="8" y="29"/>
                      <a:pt x="8" y="29"/>
                      <a:pt x="7" y="28"/>
                    </a:cubicBezTo>
                    <a:cubicBezTo>
                      <a:pt x="7" y="29"/>
                      <a:pt x="8" y="30"/>
                      <a:pt x="8" y="30"/>
                    </a:cubicBezTo>
                    <a:cubicBezTo>
                      <a:pt x="8" y="30"/>
                      <a:pt x="7" y="30"/>
                      <a:pt x="7" y="30"/>
                    </a:cubicBezTo>
                    <a:cubicBezTo>
                      <a:pt x="7" y="30"/>
                      <a:pt x="8" y="34"/>
                      <a:pt x="7" y="33"/>
                    </a:cubicBezTo>
                    <a:cubicBezTo>
                      <a:pt x="4" y="32"/>
                      <a:pt x="3" y="32"/>
                      <a:pt x="1" y="32"/>
                    </a:cubicBezTo>
                    <a:cubicBezTo>
                      <a:pt x="1" y="31"/>
                      <a:pt x="2" y="31"/>
                      <a:pt x="3" y="30"/>
                    </a:cubicBezTo>
                    <a:cubicBezTo>
                      <a:pt x="2" y="30"/>
                      <a:pt x="0" y="31"/>
                      <a:pt x="0" y="29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3" name="Freeform 497"/>
              <p:cNvSpPr>
                <a:spLocks noEditPoints="1"/>
              </p:cNvSpPr>
              <p:nvPr/>
            </p:nvSpPr>
            <p:spPr bwMode="auto">
              <a:xfrm>
                <a:off x="3109" y="1123"/>
                <a:ext cx="88" cy="83"/>
              </a:xfrm>
              <a:custGeom>
                <a:avLst/>
                <a:gdLst>
                  <a:gd name="T0" fmla="*/ 231659 w 37"/>
                  <a:gd name="T1" fmla="*/ 1107128 h 35"/>
                  <a:gd name="T2" fmla="*/ 70619 w 37"/>
                  <a:gd name="T3" fmla="*/ 1013065 h 35"/>
                  <a:gd name="T4" fmla="*/ 0 w 37"/>
                  <a:gd name="T5" fmla="*/ 944372 h 35"/>
                  <a:gd name="T6" fmla="*/ 139030 w 37"/>
                  <a:gd name="T7" fmla="*/ 854084 h 35"/>
                  <a:gd name="T8" fmla="*/ 139030 w 37"/>
                  <a:gd name="T9" fmla="*/ 787032 h 35"/>
                  <a:gd name="T10" fmla="*/ 139030 w 37"/>
                  <a:gd name="T11" fmla="*/ 759270 h 35"/>
                  <a:gd name="T12" fmla="*/ 167959 w 37"/>
                  <a:gd name="T13" fmla="*/ 759270 h 35"/>
                  <a:gd name="T14" fmla="*/ 139030 w 37"/>
                  <a:gd name="T15" fmla="*/ 692225 h 35"/>
                  <a:gd name="T16" fmla="*/ 167959 w 37"/>
                  <a:gd name="T17" fmla="*/ 668914 h 35"/>
                  <a:gd name="T18" fmla="*/ 167959 w 37"/>
                  <a:gd name="T19" fmla="*/ 574109 h 35"/>
                  <a:gd name="T20" fmla="*/ 190263 w 37"/>
                  <a:gd name="T21" fmla="*/ 574109 h 35"/>
                  <a:gd name="T22" fmla="*/ 550973 w 37"/>
                  <a:gd name="T23" fmla="*/ 282072 h 35"/>
                  <a:gd name="T24" fmla="*/ 550973 w 37"/>
                  <a:gd name="T25" fmla="*/ 185171 h 35"/>
                  <a:gd name="T26" fmla="*/ 920399 w 37"/>
                  <a:gd name="T27" fmla="*/ 118946 h 35"/>
                  <a:gd name="T28" fmla="*/ 1076257 w 37"/>
                  <a:gd name="T29" fmla="*/ 0 h 35"/>
                  <a:gd name="T30" fmla="*/ 1210202 w 37"/>
                  <a:gd name="T31" fmla="*/ 156901 h 35"/>
                  <a:gd name="T32" fmla="*/ 1020710 w 37"/>
                  <a:gd name="T33" fmla="*/ 349276 h 35"/>
                  <a:gd name="T34" fmla="*/ 786449 w 37"/>
                  <a:gd name="T35" fmla="*/ 439120 h 35"/>
                  <a:gd name="T36" fmla="*/ 591869 w 37"/>
                  <a:gd name="T37" fmla="*/ 602246 h 35"/>
                  <a:gd name="T38" fmla="*/ 591869 w 37"/>
                  <a:gd name="T39" fmla="*/ 624290 h 35"/>
                  <a:gd name="T40" fmla="*/ 550973 w 37"/>
                  <a:gd name="T41" fmla="*/ 787032 h 35"/>
                  <a:gd name="T42" fmla="*/ 452517 w 37"/>
                  <a:gd name="T43" fmla="*/ 759270 h 35"/>
                  <a:gd name="T44" fmla="*/ 358222 w 37"/>
                  <a:gd name="T45" fmla="*/ 921957 h 35"/>
                  <a:gd name="T46" fmla="*/ 358222 w 37"/>
                  <a:gd name="T47" fmla="*/ 944372 h 35"/>
                  <a:gd name="T48" fmla="*/ 358222 w 37"/>
                  <a:gd name="T49" fmla="*/ 944372 h 35"/>
                  <a:gd name="T50" fmla="*/ 399470 w 37"/>
                  <a:gd name="T51" fmla="*/ 1041342 h 35"/>
                  <a:gd name="T52" fmla="*/ 289808 w 37"/>
                  <a:gd name="T53" fmla="*/ 1079228 h 35"/>
                  <a:gd name="T54" fmla="*/ 231659 w 37"/>
                  <a:gd name="T55" fmla="*/ 1041342 h 35"/>
                  <a:gd name="T56" fmla="*/ 260116 w 37"/>
                  <a:gd name="T57" fmla="*/ 1079228 h 35"/>
                  <a:gd name="T58" fmla="*/ 231659 w 37"/>
                  <a:gd name="T59" fmla="*/ 944372 h 35"/>
                  <a:gd name="T60" fmla="*/ 190263 w 37"/>
                  <a:gd name="T61" fmla="*/ 882361 h 35"/>
                  <a:gd name="T62" fmla="*/ 29692 w 37"/>
                  <a:gd name="T63" fmla="*/ 944372 h 35"/>
                  <a:gd name="T64" fmla="*/ 139030 w 37"/>
                  <a:gd name="T65" fmla="*/ 944372 h 35"/>
                  <a:gd name="T66" fmla="*/ 139030 w 37"/>
                  <a:gd name="T67" fmla="*/ 1041342 h 35"/>
                  <a:gd name="T68" fmla="*/ 330666 w 37"/>
                  <a:gd name="T69" fmla="*/ 921957 h 35"/>
                  <a:gd name="T70" fmla="*/ 330666 w 37"/>
                  <a:gd name="T71" fmla="*/ 787032 h 35"/>
                  <a:gd name="T72" fmla="*/ 358222 w 37"/>
                  <a:gd name="T73" fmla="*/ 759270 h 35"/>
                  <a:gd name="T74" fmla="*/ 190263 w 37"/>
                  <a:gd name="T75" fmla="*/ 730115 h 35"/>
                  <a:gd name="T76" fmla="*/ 231659 w 37"/>
                  <a:gd name="T77" fmla="*/ 787032 h 35"/>
                  <a:gd name="T78" fmla="*/ 190263 w 37"/>
                  <a:gd name="T79" fmla="*/ 787032 h 35"/>
                  <a:gd name="T80" fmla="*/ 167959 w 37"/>
                  <a:gd name="T81" fmla="*/ 828283 h 35"/>
                  <a:gd name="T82" fmla="*/ 289808 w 37"/>
                  <a:gd name="T83" fmla="*/ 574109 h 35"/>
                  <a:gd name="T84" fmla="*/ 429162 w 37"/>
                  <a:gd name="T85" fmla="*/ 759270 h 35"/>
                  <a:gd name="T86" fmla="*/ 358222 w 37"/>
                  <a:gd name="T87" fmla="*/ 668914 h 35"/>
                  <a:gd name="T88" fmla="*/ 452517 w 37"/>
                  <a:gd name="T89" fmla="*/ 692225 h 35"/>
                  <a:gd name="T90" fmla="*/ 521319 w 37"/>
                  <a:gd name="T91" fmla="*/ 624290 h 35"/>
                  <a:gd name="T92" fmla="*/ 521319 w 37"/>
                  <a:gd name="T93" fmla="*/ 574109 h 35"/>
                  <a:gd name="T94" fmla="*/ 718970 w 37"/>
                  <a:gd name="T95" fmla="*/ 439120 h 35"/>
                  <a:gd name="T96" fmla="*/ 786449 w 37"/>
                  <a:gd name="T97" fmla="*/ 414964 h 35"/>
                  <a:gd name="T98" fmla="*/ 1020710 w 37"/>
                  <a:gd name="T99" fmla="*/ 320174 h 35"/>
                  <a:gd name="T100" fmla="*/ 1141565 w 37"/>
                  <a:gd name="T101" fmla="*/ 185171 h 35"/>
                  <a:gd name="T102" fmla="*/ 1076257 w 37"/>
                  <a:gd name="T103" fmla="*/ 27900 h 35"/>
                  <a:gd name="T104" fmla="*/ 920399 w 37"/>
                  <a:gd name="T105" fmla="*/ 156901 h 35"/>
                  <a:gd name="T106" fmla="*/ 521319 w 37"/>
                  <a:gd name="T107" fmla="*/ 349276 h 35"/>
                  <a:gd name="T108" fmla="*/ 399470 w 37"/>
                  <a:gd name="T109" fmla="*/ 439120 h 35"/>
                  <a:gd name="T110" fmla="*/ 167959 w 37"/>
                  <a:gd name="T111" fmla="*/ 602246 h 35"/>
                  <a:gd name="T112" fmla="*/ 190263 w 37"/>
                  <a:gd name="T113" fmla="*/ 624290 h 35"/>
                  <a:gd name="T114" fmla="*/ 330666 w 37"/>
                  <a:gd name="T115" fmla="*/ 692225 h 3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7" h="35">
                    <a:moveTo>
                      <a:pt x="8" y="35"/>
                    </a:moveTo>
                    <a:cubicBezTo>
                      <a:pt x="8" y="35"/>
                      <a:pt x="8" y="35"/>
                      <a:pt x="7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5" y="34"/>
                      <a:pt x="4" y="33"/>
                      <a:pt x="2" y="3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" y="29"/>
                      <a:pt x="1" y="29"/>
                      <a:pt x="1" y="28"/>
                    </a:cubicBezTo>
                    <a:cubicBezTo>
                      <a:pt x="2" y="28"/>
                      <a:pt x="3" y="27"/>
                      <a:pt x="4" y="27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4" y="26"/>
                      <a:pt x="4" y="25"/>
                      <a:pt x="4" y="25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23"/>
                      <a:pt x="5" y="23"/>
                      <a:pt x="4" y="2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5" y="21"/>
                      <a:pt x="5" y="20"/>
                      <a:pt x="5" y="20"/>
                    </a:cubicBezTo>
                    <a:cubicBezTo>
                      <a:pt x="5" y="20"/>
                      <a:pt x="4" y="20"/>
                      <a:pt x="4" y="20"/>
                    </a:cubicBezTo>
                    <a:cubicBezTo>
                      <a:pt x="4" y="19"/>
                      <a:pt x="4" y="18"/>
                      <a:pt x="5" y="18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7" y="18"/>
                      <a:pt x="9" y="16"/>
                      <a:pt x="11" y="14"/>
                    </a:cubicBezTo>
                    <a:cubicBezTo>
                      <a:pt x="13" y="11"/>
                      <a:pt x="15" y="8"/>
                      <a:pt x="17" y="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7" y="7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20" y="8"/>
                      <a:pt x="21" y="8"/>
                      <a:pt x="23" y="7"/>
                    </a:cubicBezTo>
                    <a:cubicBezTo>
                      <a:pt x="25" y="7"/>
                      <a:pt x="26" y="6"/>
                      <a:pt x="28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4"/>
                      <a:pt x="28" y="3"/>
                      <a:pt x="29" y="3"/>
                    </a:cubicBezTo>
                    <a:cubicBezTo>
                      <a:pt x="30" y="2"/>
                      <a:pt x="32" y="0"/>
                      <a:pt x="33" y="0"/>
                    </a:cubicBezTo>
                    <a:cubicBezTo>
                      <a:pt x="35" y="0"/>
                      <a:pt x="36" y="1"/>
                      <a:pt x="36" y="2"/>
                    </a:cubicBezTo>
                    <a:cubicBezTo>
                      <a:pt x="37" y="3"/>
                      <a:pt x="37" y="4"/>
                      <a:pt x="37" y="5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5" y="9"/>
                      <a:pt x="35" y="9"/>
                      <a:pt x="31" y="11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31" y="11"/>
                      <a:pt x="31" y="11"/>
                      <a:pt x="30" y="12"/>
                    </a:cubicBezTo>
                    <a:cubicBezTo>
                      <a:pt x="29" y="13"/>
                      <a:pt x="26" y="14"/>
                      <a:pt x="25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3" y="14"/>
                      <a:pt x="23" y="14"/>
                      <a:pt x="23" y="15"/>
                    </a:cubicBezTo>
                    <a:cubicBezTo>
                      <a:pt x="21" y="17"/>
                      <a:pt x="19" y="19"/>
                      <a:pt x="18" y="19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8" y="20"/>
                      <a:pt x="18" y="20"/>
                    </a:cubicBezTo>
                    <a:cubicBezTo>
                      <a:pt x="17" y="22"/>
                      <a:pt x="16" y="23"/>
                      <a:pt x="15" y="23"/>
                    </a:cubicBezTo>
                    <a:cubicBezTo>
                      <a:pt x="15" y="23"/>
                      <a:pt x="15" y="23"/>
                      <a:pt x="16" y="23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4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3" y="26"/>
                      <a:pt x="13" y="27"/>
                      <a:pt x="11" y="29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1" y="29"/>
                      <a:pt x="11" y="30"/>
                      <a:pt x="11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9" y="32"/>
                      <a:pt x="9" y="32"/>
                      <a:pt x="9" y="32"/>
                    </a:cubicBezTo>
                    <a:cubicBezTo>
                      <a:pt x="9" y="32"/>
                      <a:pt x="9" y="32"/>
                      <a:pt x="9" y="32"/>
                    </a:cubicBezTo>
                    <a:cubicBezTo>
                      <a:pt x="9" y="33"/>
                      <a:pt x="9" y="34"/>
                      <a:pt x="9" y="34"/>
                    </a:cubicBezTo>
                    <a:cubicBezTo>
                      <a:pt x="9" y="35"/>
                      <a:pt x="8" y="35"/>
                      <a:pt x="8" y="35"/>
                    </a:cubicBezTo>
                    <a:close/>
                    <a:moveTo>
                      <a:pt x="4" y="33"/>
                    </a:moveTo>
                    <a:cubicBezTo>
                      <a:pt x="5" y="33"/>
                      <a:pt x="6" y="33"/>
                      <a:pt x="7" y="33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3"/>
                      <a:pt x="8" y="32"/>
                      <a:pt x="7" y="31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7" y="3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4" y="27"/>
                      <a:pt x="4" y="28"/>
                      <a:pt x="2" y="29"/>
                    </a:cubicBezTo>
                    <a:cubicBezTo>
                      <a:pt x="2" y="29"/>
                      <a:pt x="2" y="30"/>
                      <a:pt x="1" y="30"/>
                    </a:cubicBezTo>
                    <a:cubicBezTo>
                      <a:pt x="1" y="31"/>
                      <a:pt x="2" y="31"/>
                      <a:pt x="2" y="31"/>
                    </a:cubicBezTo>
                    <a:cubicBezTo>
                      <a:pt x="2" y="31"/>
                      <a:pt x="3" y="30"/>
                      <a:pt x="3" y="30"/>
                    </a:cubicBezTo>
                    <a:cubicBezTo>
                      <a:pt x="3" y="30"/>
                      <a:pt x="4" y="30"/>
                      <a:pt x="4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3" y="33"/>
                      <a:pt x="4" y="33"/>
                      <a:pt x="4" y="33"/>
                    </a:cubicBezTo>
                    <a:close/>
                    <a:moveTo>
                      <a:pt x="9" y="29"/>
                    </a:moveTo>
                    <a:cubicBezTo>
                      <a:pt x="9" y="29"/>
                      <a:pt x="9" y="29"/>
                      <a:pt x="10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29"/>
                      <a:pt x="9" y="29"/>
                      <a:pt x="9" y="29"/>
                    </a:cubicBezTo>
                    <a:cubicBezTo>
                      <a:pt x="9" y="28"/>
                      <a:pt x="8" y="27"/>
                      <a:pt x="9" y="26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0" y="26"/>
                      <a:pt x="11" y="27"/>
                      <a:pt x="11" y="27"/>
                    </a:cubicBezTo>
                    <a:cubicBezTo>
                      <a:pt x="12" y="26"/>
                      <a:pt x="12" y="26"/>
                      <a:pt x="11" y="24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23"/>
                      <a:pt x="7" y="23"/>
                      <a:pt x="6" y="23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6" y="24"/>
                      <a:pt x="6" y="24"/>
                      <a:pt x="7" y="24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26"/>
                      <a:pt x="5" y="26"/>
                      <a:pt x="5" y="26"/>
                    </a:cubicBezTo>
                    <a:lnTo>
                      <a:pt x="9" y="29"/>
                    </a:lnTo>
                    <a:close/>
                    <a:moveTo>
                      <a:pt x="9" y="18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4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3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5" y="22"/>
                      <a:pt x="16" y="22"/>
                      <a:pt x="16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6" y="20"/>
                      <a:pt x="16" y="20"/>
                      <a:pt x="16" y="19"/>
                    </a:cubicBezTo>
                    <a:cubicBezTo>
                      <a:pt x="16" y="19"/>
                      <a:pt x="16" y="19"/>
                      <a:pt x="16" y="18"/>
                    </a:cubicBezTo>
                    <a:cubicBezTo>
                      <a:pt x="16" y="18"/>
                      <a:pt x="17" y="18"/>
                      <a:pt x="18" y="1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9" y="18"/>
                      <a:pt x="21" y="15"/>
                      <a:pt x="22" y="14"/>
                    </a:cubicBezTo>
                    <a:cubicBezTo>
                      <a:pt x="22" y="13"/>
                      <a:pt x="23" y="13"/>
                      <a:pt x="23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4" y="13"/>
                      <a:pt x="25" y="13"/>
                    </a:cubicBezTo>
                    <a:cubicBezTo>
                      <a:pt x="26" y="13"/>
                      <a:pt x="28" y="11"/>
                      <a:pt x="30" y="11"/>
                    </a:cubicBezTo>
                    <a:cubicBezTo>
                      <a:pt x="30" y="10"/>
                      <a:pt x="30" y="10"/>
                      <a:pt x="31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4" y="9"/>
                      <a:pt x="34" y="8"/>
                      <a:pt x="35" y="6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6" y="4"/>
                      <a:pt x="36" y="3"/>
                      <a:pt x="35" y="3"/>
                    </a:cubicBezTo>
                    <a:cubicBezTo>
                      <a:pt x="35" y="2"/>
                      <a:pt x="34" y="2"/>
                      <a:pt x="33" y="1"/>
                    </a:cubicBezTo>
                    <a:cubicBezTo>
                      <a:pt x="32" y="1"/>
                      <a:pt x="31" y="3"/>
                      <a:pt x="30" y="4"/>
                    </a:cubicBezTo>
                    <a:cubicBezTo>
                      <a:pt x="29" y="4"/>
                      <a:pt x="29" y="5"/>
                      <a:pt x="29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7" y="7"/>
                      <a:pt x="26" y="8"/>
                      <a:pt x="23" y="8"/>
                    </a:cubicBezTo>
                    <a:cubicBezTo>
                      <a:pt x="21" y="9"/>
                      <a:pt x="20" y="9"/>
                      <a:pt x="18" y="8"/>
                    </a:cubicBezTo>
                    <a:cubicBezTo>
                      <a:pt x="18" y="9"/>
                      <a:pt x="18" y="11"/>
                      <a:pt x="16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5" y="11"/>
                      <a:pt x="13" y="13"/>
                      <a:pt x="12" y="14"/>
                    </a:cubicBezTo>
                    <a:cubicBezTo>
                      <a:pt x="10" y="17"/>
                      <a:pt x="8" y="19"/>
                      <a:pt x="6" y="19"/>
                    </a:cubicBezTo>
                    <a:cubicBezTo>
                      <a:pt x="6" y="19"/>
                      <a:pt x="6" y="19"/>
                      <a:pt x="5" y="1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6" y="19"/>
                      <a:pt x="6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20"/>
                      <a:pt x="6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10" y="22"/>
                      <a:pt x="10" y="22"/>
                      <a:pt x="10" y="22"/>
                    </a:cubicBezTo>
                    <a:lnTo>
                      <a:pt x="9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4" name="Freeform 498"/>
              <p:cNvSpPr/>
              <p:nvPr/>
            </p:nvSpPr>
            <p:spPr bwMode="auto">
              <a:xfrm>
                <a:off x="3097" y="1201"/>
                <a:ext cx="36" cy="52"/>
              </a:xfrm>
              <a:custGeom>
                <a:avLst/>
                <a:gdLst>
                  <a:gd name="T0" fmla="*/ 216910 w 15"/>
                  <a:gd name="T1" fmla="*/ 27213 h 22"/>
                  <a:gd name="T2" fmla="*/ 443515 w 15"/>
                  <a:gd name="T3" fmla="*/ 64322 h 22"/>
                  <a:gd name="T4" fmla="*/ 367867 w 15"/>
                  <a:gd name="T5" fmla="*/ 114948 h 22"/>
                  <a:gd name="T6" fmla="*/ 443515 w 15"/>
                  <a:gd name="T7" fmla="*/ 92723 h 22"/>
                  <a:gd name="T8" fmla="*/ 367867 w 15"/>
                  <a:gd name="T9" fmla="*/ 152034 h 22"/>
                  <a:gd name="T10" fmla="*/ 394082 w 15"/>
                  <a:gd name="T11" fmla="*/ 179284 h 22"/>
                  <a:gd name="T12" fmla="*/ 367867 w 15"/>
                  <a:gd name="T13" fmla="*/ 398611 h 22"/>
                  <a:gd name="T14" fmla="*/ 543847 w 15"/>
                  <a:gd name="T15" fmla="*/ 602959 h 22"/>
                  <a:gd name="T16" fmla="*/ 470126 w 15"/>
                  <a:gd name="T17" fmla="*/ 642188 h 22"/>
                  <a:gd name="T18" fmla="*/ 520584 w 15"/>
                  <a:gd name="T19" fmla="*/ 642188 h 22"/>
                  <a:gd name="T20" fmla="*/ 520584 w 15"/>
                  <a:gd name="T21" fmla="*/ 670096 h 22"/>
                  <a:gd name="T22" fmla="*/ 443515 w 15"/>
                  <a:gd name="T23" fmla="*/ 602959 h 22"/>
                  <a:gd name="T24" fmla="*/ 443515 w 15"/>
                  <a:gd name="T25" fmla="*/ 642188 h 22"/>
                  <a:gd name="T26" fmla="*/ 335784 w 15"/>
                  <a:gd name="T27" fmla="*/ 642188 h 22"/>
                  <a:gd name="T28" fmla="*/ 290868 w 15"/>
                  <a:gd name="T29" fmla="*/ 602959 h 22"/>
                  <a:gd name="T30" fmla="*/ 335784 w 15"/>
                  <a:gd name="T31" fmla="*/ 602959 h 22"/>
                  <a:gd name="T32" fmla="*/ 216910 w 15"/>
                  <a:gd name="T33" fmla="*/ 602959 h 22"/>
                  <a:gd name="T34" fmla="*/ 258785 w 15"/>
                  <a:gd name="T35" fmla="*/ 555237 h 22"/>
                  <a:gd name="T36" fmla="*/ 216910 w 15"/>
                  <a:gd name="T37" fmla="*/ 450913 h 22"/>
                  <a:gd name="T38" fmla="*/ 184798 w 15"/>
                  <a:gd name="T39" fmla="*/ 489998 h 22"/>
                  <a:gd name="T40" fmla="*/ 32083 w 15"/>
                  <a:gd name="T41" fmla="*/ 359353 h 22"/>
                  <a:gd name="T42" fmla="*/ 107827 w 15"/>
                  <a:gd name="T43" fmla="*/ 331318 h 22"/>
                  <a:gd name="T44" fmla="*/ 153278 w 15"/>
                  <a:gd name="T45" fmla="*/ 179284 h 22"/>
                  <a:gd name="T46" fmla="*/ 153278 w 15"/>
                  <a:gd name="T47" fmla="*/ 219163 h 22"/>
                  <a:gd name="T48" fmla="*/ 184798 w 15"/>
                  <a:gd name="T49" fmla="*/ 114948 h 22"/>
                  <a:gd name="T50" fmla="*/ 153278 w 15"/>
                  <a:gd name="T51" fmla="*/ 92723 h 22"/>
                  <a:gd name="T52" fmla="*/ 216910 w 15"/>
                  <a:gd name="T53" fmla="*/ 27213 h 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5" h="22">
                    <a:moveTo>
                      <a:pt x="6" y="1"/>
                    </a:moveTo>
                    <a:cubicBezTo>
                      <a:pt x="9" y="0"/>
                      <a:pt x="9" y="0"/>
                      <a:pt x="12" y="2"/>
                    </a:cubicBezTo>
                    <a:cubicBezTo>
                      <a:pt x="12" y="3"/>
                      <a:pt x="11" y="3"/>
                      <a:pt x="10" y="4"/>
                    </a:cubicBezTo>
                    <a:cubicBezTo>
                      <a:pt x="11" y="4"/>
                      <a:pt x="11" y="4"/>
                      <a:pt x="12" y="3"/>
                    </a:cubicBezTo>
                    <a:cubicBezTo>
                      <a:pt x="12" y="4"/>
                      <a:pt x="11" y="5"/>
                      <a:pt x="10" y="5"/>
                    </a:cubicBezTo>
                    <a:cubicBezTo>
                      <a:pt x="10" y="5"/>
                      <a:pt x="11" y="5"/>
                      <a:pt x="11" y="6"/>
                    </a:cubicBezTo>
                    <a:cubicBezTo>
                      <a:pt x="10" y="8"/>
                      <a:pt x="9" y="10"/>
                      <a:pt x="10" y="13"/>
                    </a:cubicBezTo>
                    <a:cubicBezTo>
                      <a:pt x="11" y="16"/>
                      <a:pt x="12" y="17"/>
                      <a:pt x="15" y="20"/>
                    </a:cubicBezTo>
                    <a:cubicBezTo>
                      <a:pt x="14" y="20"/>
                      <a:pt x="14" y="21"/>
                      <a:pt x="13" y="21"/>
                    </a:cubicBezTo>
                    <a:cubicBezTo>
                      <a:pt x="13" y="21"/>
                      <a:pt x="14" y="21"/>
                      <a:pt x="14" y="21"/>
                    </a:cubicBezTo>
                    <a:cubicBezTo>
                      <a:pt x="14" y="21"/>
                      <a:pt x="14" y="21"/>
                      <a:pt x="14" y="22"/>
                    </a:cubicBezTo>
                    <a:cubicBezTo>
                      <a:pt x="13" y="20"/>
                      <a:pt x="13" y="20"/>
                      <a:pt x="12" y="20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0" y="20"/>
                      <a:pt x="9" y="21"/>
                    </a:cubicBezTo>
                    <a:cubicBezTo>
                      <a:pt x="9" y="21"/>
                      <a:pt x="8" y="20"/>
                      <a:pt x="8" y="20"/>
                    </a:cubicBezTo>
                    <a:cubicBezTo>
                      <a:pt x="8" y="20"/>
                      <a:pt x="8" y="20"/>
                      <a:pt x="9" y="20"/>
                    </a:cubicBezTo>
                    <a:cubicBezTo>
                      <a:pt x="8" y="20"/>
                      <a:pt x="6" y="20"/>
                      <a:pt x="6" y="20"/>
                    </a:cubicBezTo>
                    <a:cubicBezTo>
                      <a:pt x="5" y="19"/>
                      <a:pt x="6" y="18"/>
                      <a:pt x="7" y="18"/>
                    </a:cubicBezTo>
                    <a:cubicBezTo>
                      <a:pt x="6" y="17"/>
                      <a:pt x="5" y="16"/>
                      <a:pt x="6" y="15"/>
                    </a:cubicBezTo>
                    <a:cubicBezTo>
                      <a:pt x="6" y="15"/>
                      <a:pt x="6" y="16"/>
                      <a:pt x="5" y="16"/>
                    </a:cubicBezTo>
                    <a:cubicBezTo>
                      <a:pt x="6" y="12"/>
                      <a:pt x="0" y="16"/>
                      <a:pt x="1" y="12"/>
                    </a:cubicBezTo>
                    <a:cubicBezTo>
                      <a:pt x="1" y="10"/>
                      <a:pt x="2" y="12"/>
                      <a:pt x="3" y="11"/>
                    </a:cubicBezTo>
                    <a:cubicBezTo>
                      <a:pt x="3" y="9"/>
                      <a:pt x="4" y="8"/>
                      <a:pt x="4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5"/>
                      <a:pt x="3" y="5"/>
                      <a:pt x="5" y="4"/>
                    </a:cubicBezTo>
                    <a:cubicBezTo>
                      <a:pt x="5" y="4"/>
                      <a:pt x="5" y="4"/>
                      <a:pt x="4" y="3"/>
                    </a:cubicBezTo>
                    <a:cubicBezTo>
                      <a:pt x="4" y="3"/>
                      <a:pt x="5" y="2"/>
                      <a:pt x="6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5" name="Freeform 499"/>
              <p:cNvSpPr>
                <a:spLocks noEditPoints="1"/>
              </p:cNvSpPr>
              <p:nvPr/>
            </p:nvSpPr>
            <p:spPr bwMode="auto">
              <a:xfrm>
                <a:off x="3097" y="1201"/>
                <a:ext cx="38" cy="54"/>
              </a:xfrm>
              <a:custGeom>
                <a:avLst/>
                <a:gdLst>
                  <a:gd name="T0" fmla="*/ 423170 w 16"/>
                  <a:gd name="T1" fmla="*/ 619371 h 23"/>
                  <a:gd name="T2" fmla="*/ 353357 w 16"/>
                  <a:gd name="T3" fmla="*/ 585555 h 23"/>
                  <a:gd name="T4" fmla="*/ 324850 w 16"/>
                  <a:gd name="T5" fmla="*/ 585555 h 23"/>
                  <a:gd name="T6" fmla="*/ 286482 w 16"/>
                  <a:gd name="T7" fmla="*/ 619371 h 23"/>
                  <a:gd name="T8" fmla="*/ 228824 w 16"/>
                  <a:gd name="T9" fmla="*/ 559581 h 23"/>
                  <a:gd name="T10" fmla="*/ 166184 w 16"/>
                  <a:gd name="T11" fmla="*/ 503299 h 23"/>
                  <a:gd name="T12" fmla="*/ 166184 w 16"/>
                  <a:gd name="T13" fmla="*/ 479327 h 23"/>
                  <a:gd name="T14" fmla="*/ 166184 w 16"/>
                  <a:gd name="T15" fmla="*/ 453447 h 23"/>
                  <a:gd name="T16" fmla="*/ 96347 w 16"/>
                  <a:gd name="T17" fmla="*/ 418411 h 23"/>
                  <a:gd name="T18" fmla="*/ 0 w 16"/>
                  <a:gd name="T19" fmla="*/ 336150 h 23"/>
                  <a:gd name="T20" fmla="*/ 69972 w 16"/>
                  <a:gd name="T21" fmla="*/ 275168 h 23"/>
                  <a:gd name="T22" fmla="*/ 96347 w 16"/>
                  <a:gd name="T23" fmla="*/ 229988 h 23"/>
                  <a:gd name="T24" fmla="*/ 96347 w 16"/>
                  <a:gd name="T25" fmla="*/ 193135 h 23"/>
                  <a:gd name="T26" fmla="*/ 136779 w 16"/>
                  <a:gd name="T27" fmla="*/ 106227 h 23"/>
                  <a:gd name="T28" fmla="*/ 187179 w 16"/>
                  <a:gd name="T29" fmla="*/ 0 h 23"/>
                  <a:gd name="T30" fmla="*/ 394687 w 16"/>
                  <a:gd name="T31" fmla="*/ 60982 h 23"/>
                  <a:gd name="T32" fmla="*/ 394687 w 16"/>
                  <a:gd name="T33" fmla="*/ 82261 h 23"/>
                  <a:gd name="T34" fmla="*/ 394687 w 16"/>
                  <a:gd name="T35" fmla="*/ 143175 h 23"/>
                  <a:gd name="T36" fmla="*/ 353357 w 16"/>
                  <a:gd name="T37" fmla="*/ 167144 h 23"/>
                  <a:gd name="T38" fmla="*/ 491022 w 16"/>
                  <a:gd name="T39" fmla="*/ 559581 h 23"/>
                  <a:gd name="T40" fmla="*/ 491022 w 16"/>
                  <a:gd name="T41" fmla="*/ 585555 h 23"/>
                  <a:gd name="T42" fmla="*/ 444550 w 16"/>
                  <a:gd name="T43" fmla="*/ 619371 h 23"/>
                  <a:gd name="T44" fmla="*/ 444550 w 16"/>
                  <a:gd name="T45" fmla="*/ 619371 h 23"/>
                  <a:gd name="T46" fmla="*/ 444550 w 16"/>
                  <a:gd name="T47" fmla="*/ 619371 h 23"/>
                  <a:gd name="T48" fmla="*/ 423170 w 16"/>
                  <a:gd name="T49" fmla="*/ 646047 h 23"/>
                  <a:gd name="T50" fmla="*/ 286482 w 16"/>
                  <a:gd name="T51" fmla="*/ 559581 h 23"/>
                  <a:gd name="T52" fmla="*/ 353357 w 16"/>
                  <a:gd name="T53" fmla="*/ 559581 h 23"/>
                  <a:gd name="T54" fmla="*/ 444550 w 16"/>
                  <a:gd name="T55" fmla="*/ 559581 h 23"/>
                  <a:gd name="T56" fmla="*/ 444550 w 16"/>
                  <a:gd name="T57" fmla="*/ 559581 h 23"/>
                  <a:gd name="T58" fmla="*/ 286482 w 16"/>
                  <a:gd name="T59" fmla="*/ 336150 h 23"/>
                  <a:gd name="T60" fmla="*/ 187179 w 16"/>
                  <a:gd name="T61" fmla="*/ 453447 h 23"/>
                  <a:gd name="T62" fmla="*/ 228824 w 16"/>
                  <a:gd name="T63" fmla="*/ 479327 h 23"/>
                  <a:gd name="T64" fmla="*/ 228824 w 16"/>
                  <a:gd name="T65" fmla="*/ 503299 h 23"/>
                  <a:gd name="T66" fmla="*/ 187179 w 16"/>
                  <a:gd name="T67" fmla="*/ 539972 h 23"/>
                  <a:gd name="T68" fmla="*/ 256987 w 16"/>
                  <a:gd name="T69" fmla="*/ 539972 h 23"/>
                  <a:gd name="T70" fmla="*/ 353357 w 16"/>
                  <a:gd name="T71" fmla="*/ 539972 h 23"/>
                  <a:gd name="T72" fmla="*/ 69972 w 16"/>
                  <a:gd name="T73" fmla="*/ 310176 h 23"/>
                  <a:gd name="T74" fmla="*/ 29462 w 16"/>
                  <a:gd name="T75" fmla="*/ 369968 h 23"/>
                  <a:gd name="T76" fmla="*/ 187179 w 16"/>
                  <a:gd name="T77" fmla="*/ 392425 h 23"/>
                  <a:gd name="T78" fmla="*/ 187179 w 16"/>
                  <a:gd name="T79" fmla="*/ 392425 h 23"/>
                  <a:gd name="T80" fmla="*/ 324850 w 16"/>
                  <a:gd name="T81" fmla="*/ 167144 h 23"/>
                  <a:gd name="T82" fmla="*/ 228824 w 16"/>
                  <a:gd name="T83" fmla="*/ 167144 h 23"/>
                  <a:gd name="T84" fmla="*/ 256987 w 16"/>
                  <a:gd name="T85" fmla="*/ 143175 h 23"/>
                  <a:gd name="T86" fmla="*/ 353357 w 16"/>
                  <a:gd name="T87" fmla="*/ 60982 h 23"/>
                  <a:gd name="T88" fmla="*/ 187179 w 16"/>
                  <a:gd name="T89" fmla="*/ 60982 h 23"/>
                  <a:gd name="T90" fmla="*/ 187179 w 16"/>
                  <a:gd name="T91" fmla="*/ 106227 h 23"/>
                  <a:gd name="T92" fmla="*/ 136779 w 16"/>
                  <a:gd name="T93" fmla="*/ 143175 h 23"/>
                  <a:gd name="T94" fmla="*/ 136779 w 16"/>
                  <a:gd name="T95" fmla="*/ 167144 h 23"/>
                  <a:gd name="T96" fmla="*/ 136779 w 16"/>
                  <a:gd name="T97" fmla="*/ 229988 h 23"/>
                  <a:gd name="T98" fmla="*/ 69972 w 16"/>
                  <a:gd name="T99" fmla="*/ 310176 h 2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6" h="23">
                    <a:moveTo>
                      <a:pt x="13" y="23"/>
                    </a:moveTo>
                    <a:cubicBezTo>
                      <a:pt x="13" y="22"/>
                      <a:pt x="13" y="22"/>
                      <a:pt x="13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2" y="21"/>
                      <a:pt x="11" y="21"/>
                      <a:pt x="11" y="21"/>
                    </a:cubicBezTo>
                    <a:cubicBezTo>
                      <a:pt x="11" y="21"/>
                      <a:pt x="10" y="21"/>
                      <a:pt x="10" y="2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8" y="22"/>
                      <a:pt x="8" y="21"/>
                      <a:pt x="8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5" y="20"/>
                      <a:pt x="5" y="19"/>
                      <a:pt x="5" y="18"/>
                    </a:cubicBezTo>
                    <a:cubicBezTo>
                      <a:pt x="5" y="18"/>
                      <a:pt x="5" y="18"/>
                      <a:pt x="6" y="17"/>
                    </a:cubicBezTo>
                    <a:cubicBezTo>
                      <a:pt x="6" y="17"/>
                      <a:pt x="5" y="17"/>
                      <a:pt x="5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5"/>
                      <a:pt x="4" y="15"/>
                      <a:pt x="3" y="15"/>
                    </a:cubicBezTo>
                    <a:cubicBezTo>
                      <a:pt x="2" y="15"/>
                      <a:pt x="1" y="15"/>
                      <a:pt x="0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1"/>
                      <a:pt x="0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3" y="9"/>
                      <a:pt x="3" y="8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6"/>
                      <a:pt x="2" y="6"/>
                      <a:pt x="3" y="5"/>
                    </a:cubicBezTo>
                    <a:cubicBezTo>
                      <a:pt x="3" y="4"/>
                      <a:pt x="3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1"/>
                      <a:pt x="6" y="0"/>
                    </a:cubicBezTo>
                    <a:cubicBezTo>
                      <a:pt x="7" y="0"/>
                      <a:pt x="8" y="0"/>
                      <a:pt x="8" y="0"/>
                    </a:cubicBezTo>
                    <a:cubicBezTo>
                      <a:pt x="10" y="0"/>
                      <a:pt x="11" y="0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4"/>
                      <a:pt x="12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0" y="8"/>
                      <a:pt x="10" y="10"/>
                      <a:pt x="11" y="13"/>
                    </a:cubicBezTo>
                    <a:cubicBezTo>
                      <a:pt x="12" y="16"/>
                      <a:pt x="12" y="17"/>
                      <a:pt x="15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lnTo>
                      <a:pt x="13" y="23"/>
                    </a:lnTo>
                    <a:close/>
                    <a:moveTo>
                      <a:pt x="9" y="20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9" y="20"/>
                      <a:pt x="10" y="20"/>
                      <a:pt x="11" y="20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2" y="20"/>
                      <a:pt x="12" y="19"/>
                      <a:pt x="12" y="19"/>
                    </a:cubicBezTo>
                    <a:cubicBezTo>
                      <a:pt x="13" y="19"/>
                      <a:pt x="13" y="20"/>
                      <a:pt x="14" y="20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1" y="18"/>
                      <a:pt x="11" y="16"/>
                      <a:pt x="10" y="13"/>
                    </a:cubicBezTo>
                    <a:cubicBezTo>
                      <a:pt x="10" y="13"/>
                      <a:pt x="9" y="12"/>
                      <a:pt x="9" y="12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5"/>
                      <a:pt x="7" y="16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6"/>
                      <a:pt x="7" y="17"/>
                      <a:pt x="7" y="17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6" y="18"/>
                      <a:pt x="6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6" y="19"/>
                      <a:pt x="6" y="19"/>
                      <a:pt x="7" y="19"/>
                    </a:cubicBezTo>
                    <a:cubicBezTo>
                      <a:pt x="7" y="19"/>
                      <a:pt x="8" y="19"/>
                      <a:pt x="8" y="19"/>
                    </a:cubicBezTo>
                    <a:cubicBezTo>
                      <a:pt x="8" y="19"/>
                      <a:pt x="8" y="19"/>
                      <a:pt x="9" y="19"/>
                    </a:cubicBezTo>
                    <a:cubicBezTo>
                      <a:pt x="11" y="19"/>
                      <a:pt x="11" y="19"/>
                      <a:pt x="11" y="19"/>
                    </a:cubicBezTo>
                    <a:lnTo>
                      <a:pt x="9" y="20"/>
                    </a:lnTo>
                    <a:close/>
                    <a:moveTo>
                      <a:pt x="2" y="11"/>
                    </a:moveTo>
                    <a:cubicBezTo>
                      <a:pt x="1" y="11"/>
                      <a:pt x="1" y="12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2" y="14"/>
                      <a:pt x="2" y="14"/>
                      <a:pt x="3" y="14"/>
                    </a:cubicBezTo>
                    <a:cubicBezTo>
                      <a:pt x="4" y="14"/>
                      <a:pt x="5" y="14"/>
                      <a:pt x="6" y="14"/>
                    </a:cubicBezTo>
                    <a:cubicBezTo>
                      <a:pt x="6" y="14"/>
                      <a:pt x="6" y="15"/>
                      <a:pt x="6" y="15"/>
                    </a:cubicBezTo>
                    <a:cubicBezTo>
                      <a:pt x="6" y="15"/>
                      <a:pt x="6" y="14"/>
                      <a:pt x="6" y="14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9" y="10"/>
                      <a:pt x="9" y="8"/>
                      <a:pt x="10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8" y="1"/>
                      <a:pt x="7" y="1"/>
                      <a:pt x="6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9"/>
                      <a:pt x="4" y="10"/>
                      <a:pt x="3" y="11"/>
                    </a:cubicBezTo>
                    <a:cubicBezTo>
                      <a:pt x="3" y="11"/>
                      <a:pt x="3" y="12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6" name="Freeform 500"/>
              <p:cNvSpPr/>
              <p:nvPr/>
            </p:nvSpPr>
            <p:spPr bwMode="auto">
              <a:xfrm>
                <a:off x="3078" y="1267"/>
                <a:ext cx="15" cy="16"/>
              </a:xfrm>
              <a:custGeom>
                <a:avLst/>
                <a:gdLst>
                  <a:gd name="T0" fmla="*/ 126958 w 6"/>
                  <a:gd name="T1" fmla="*/ 18530 h 7"/>
                  <a:gd name="T2" fmla="*/ 363283 w 6"/>
                  <a:gd name="T3" fmla="*/ 63184 h 7"/>
                  <a:gd name="T4" fmla="*/ 76488 w 6"/>
                  <a:gd name="T5" fmla="*/ 96809 h 7"/>
                  <a:gd name="T6" fmla="*/ 76488 w 6"/>
                  <a:gd name="T7" fmla="*/ 124469 h 7"/>
                  <a:gd name="T8" fmla="*/ 126958 w 6"/>
                  <a:gd name="T9" fmla="*/ 1853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2" y="1"/>
                    </a:moveTo>
                    <a:cubicBezTo>
                      <a:pt x="4" y="0"/>
                      <a:pt x="5" y="2"/>
                      <a:pt x="6" y="3"/>
                    </a:cubicBezTo>
                    <a:cubicBezTo>
                      <a:pt x="4" y="4"/>
                      <a:pt x="3" y="7"/>
                      <a:pt x="1" y="5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7" name="Freeform 501"/>
              <p:cNvSpPr>
                <a:spLocks noEditPoints="1"/>
              </p:cNvSpPr>
              <p:nvPr/>
            </p:nvSpPr>
            <p:spPr bwMode="auto">
              <a:xfrm>
                <a:off x="3078" y="1267"/>
                <a:ext cx="17" cy="19"/>
              </a:xfrm>
              <a:custGeom>
                <a:avLst/>
                <a:gdLst>
                  <a:gd name="T0" fmla="*/ 84735 w 7"/>
                  <a:gd name="T1" fmla="*/ 256987 h 8"/>
                  <a:gd name="T2" fmla="*/ 34891 w 7"/>
                  <a:gd name="T3" fmla="*/ 187179 h 8"/>
                  <a:gd name="T4" fmla="*/ 84735 w 7"/>
                  <a:gd name="T5" fmla="*/ 0 h 8"/>
                  <a:gd name="T6" fmla="*/ 84735 w 7"/>
                  <a:gd name="T7" fmla="*/ 0 h 8"/>
                  <a:gd name="T8" fmla="*/ 121050 w 7"/>
                  <a:gd name="T9" fmla="*/ 0 h 8"/>
                  <a:gd name="T10" fmla="*/ 255046 w 7"/>
                  <a:gd name="T11" fmla="*/ 69972 h 8"/>
                  <a:gd name="T12" fmla="*/ 255046 w 7"/>
                  <a:gd name="T13" fmla="*/ 96347 h 8"/>
                  <a:gd name="T14" fmla="*/ 293979 w 7"/>
                  <a:gd name="T15" fmla="*/ 96347 h 8"/>
                  <a:gd name="T16" fmla="*/ 255046 w 7"/>
                  <a:gd name="T17" fmla="*/ 136779 h 8"/>
                  <a:gd name="T18" fmla="*/ 205785 w 7"/>
                  <a:gd name="T19" fmla="*/ 136779 h 8"/>
                  <a:gd name="T20" fmla="*/ 121050 w 7"/>
                  <a:gd name="T21" fmla="*/ 187179 h 8"/>
                  <a:gd name="T22" fmla="*/ 84735 w 7"/>
                  <a:gd name="T23" fmla="*/ 187179 h 8"/>
                  <a:gd name="T24" fmla="*/ 84735 w 7"/>
                  <a:gd name="T25" fmla="*/ 256987 h 8"/>
                  <a:gd name="T26" fmla="*/ 34891 w 7"/>
                  <a:gd name="T27" fmla="*/ 136779 h 8"/>
                  <a:gd name="T28" fmla="*/ 84735 w 7"/>
                  <a:gd name="T29" fmla="*/ 136779 h 8"/>
                  <a:gd name="T30" fmla="*/ 121050 w 7"/>
                  <a:gd name="T31" fmla="*/ 166184 h 8"/>
                  <a:gd name="T32" fmla="*/ 205785 w 7"/>
                  <a:gd name="T33" fmla="*/ 96347 h 8"/>
                  <a:gd name="T34" fmla="*/ 205785 w 7"/>
                  <a:gd name="T35" fmla="*/ 96347 h 8"/>
                  <a:gd name="T36" fmla="*/ 205785 w 7"/>
                  <a:gd name="T37" fmla="*/ 96347 h 8"/>
                  <a:gd name="T38" fmla="*/ 84735 w 7"/>
                  <a:gd name="T39" fmla="*/ 29462 h 8"/>
                  <a:gd name="T40" fmla="*/ 34891 w 7"/>
                  <a:gd name="T41" fmla="*/ 136779 h 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7" h="8">
                    <a:moveTo>
                      <a:pt x="2" y="8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5" y="4"/>
                    </a:cubicBezTo>
                    <a:cubicBezTo>
                      <a:pt x="5" y="5"/>
                      <a:pt x="4" y="6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lnTo>
                      <a:pt x="2" y="8"/>
                    </a:lnTo>
                    <a:close/>
                    <a:moveTo>
                      <a:pt x="1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3" y="5"/>
                    </a:cubicBezTo>
                    <a:cubicBezTo>
                      <a:pt x="3" y="5"/>
                      <a:pt x="4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2"/>
                      <a:pt x="3" y="1"/>
                      <a:pt x="2" y="1"/>
                    </a:cubicBezTo>
                    <a:cubicBezTo>
                      <a:pt x="2" y="2"/>
                      <a:pt x="1" y="3"/>
                      <a:pt x="1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8" name="Freeform 502"/>
              <p:cNvSpPr/>
              <p:nvPr/>
            </p:nvSpPr>
            <p:spPr bwMode="auto">
              <a:xfrm>
                <a:off x="3537" y="1283"/>
                <a:ext cx="21" cy="12"/>
              </a:xfrm>
              <a:custGeom>
                <a:avLst/>
                <a:gdLst>
                  <a:gd name="T0" fmla="*/ 75677 w 9"/>
                  <a:gd name="T1" fmla="*/ 0 h 5"/>
                  <a:gd name="T2" fmla="*/ 210957 w 9"/>
                  <a:gd name="T3" fmla="*/ 76999 h 5"/>
                  <a:gd name="T4" fmla="*/ 133628 w 9"/>
                  <a:gd name="T5" fmla="*/ 153278 h 5"/>
                  <a:gd name="T6" fmla="*/ 0 w 9"/>
                  <a:gd name="T7" fmla="*/ 153278 h 5"/>
                  <a:gd name="T8" fmla="*/ 75677 w 9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5">
                    <a:moveTo>
                      <a:pt x="3" y="0"/>
                    </a:moveTo>
                    <a:cubicBezTo>
                      <a:pt x="5" y="0"/>
                      <a:pt x="6" y="1"/>
                      <a:pt x="8" y="2"/>
                    </a:cubicBezTo>
                    <a:cubicBezTo>
                      <a:pt x="9" y="3"/>
                      <a:pt x="5" y="4"/>
                      <a:pt x="5" y="4"/>
                    </a:cubicBezTo>
                    <a:cubicBezTo>
                      <a:pt x="3" y="4"/>
                      <a:pt x="1" y="5"/>
                      <a:pt x="0" y="4"/>
                    </a:cubicBezTo>
                    <a:cubicBezTo>
                      <a:pt x="0" y="3"/>
                      <a:pt x="2" y="1"/>
                      <a:pt x="3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9" name="Freeform 503"/>
              <p:cNvSpPr>
                <a:spLocks noEditPoints="1"/>
              </p:cNvSpPr>
              <p:nvPr/>
            </p:nvSpPr>
            <p:spPr bwMode="auto">
              <a:xfrm>
                <a:off x="3537" y="1283"/>
                <a:ext cx="21" cy="12"/>
              </a:xfrm>
              <a:custGeom>
                <a:avLst/>
                <a:gdLst>
                  <a:gd name="T0" fmla="*/ 57269 w 9"/>
                  <a:gd name="T1" fmla="*/ 184798 h 5"/>
                  <a:gd name="T2" fmla="*/ 0 w 9"/>
                  <a:gd name="T3" fmla="*/ 153278 h 5"/>
                  <a:gd name="T4" fmla="*/ 0 w 9"/>
                  <a:gd name="T5" fmla="*/ 107827 h 5"/>
                  <a:gd name="T6" fmla="*/ 75677 w 9"/>
                  <a:gd name="T7" fmla="*/ 0 h 5"/>
                  <a:gd name="T8" fmla="*/ 100221 w 9"/>
                  <a:gd name="T9" fmla="*/ 0 h 5"/>
                  <a:gd name="T10" fmla="*/ 176580 w 9"/>
                  <a:gd name="T11" fmla="*/ 32083 h 5"/>
                  <a:gd name="T12" fmla="*/ 210957 w 9"/>
                  <a:gd name="T13" fmla="*/ 76999 h 5"/>
                  <a:gd name="T14" fmla="*/ 210957 w 9"/>
                  <a:gd name="T15" fmla="*/ 107827 h 5"/>
                  <a:gd name="T16" fmla="*/ 133628 w 9"/>
                  <a:gd name="T17" fmla="*/ 184798 h 5"/>
                  <a:gd name="T18" fmla="*/ 133628 w 9"/>
                  <a:gd name="T19" fmla="*/ 184798 h 5"/>
                  <a:gd name="T20" fmla="*/ 75677 w 9"/>
                  <a:gd name="T21" fmla="*/ 184798 h 5"/>
                  <a:gd name="T22" fmla="*/ 57269 w 9"/>
                  <a:gd name="T23" fmla="*/ 184798 h 5"/>
                  <a:gd name="T24" fmla="*/ 100221 w 9"/>
                  <a:gd name="T25" fmla="*/ 32083 h 5"/>
                  <a:gd name="T26" fmla="*/ 75677 w 9"/>
                  <a:gd name="T27" fmla="*/ 32083 h 5"/>
                  <a:gd name="T28" fmla="*/ 24544 w 9"/>
                  <a:gd name="T29" fmla="*/ 153278 h 5"/>
                  <a:gd name="T30" fmla="*/ 57269 w 9"/>
                  <a:gd name="T31" fmla="*/ 153278 h 5"/>
                  <a:gd name="T32" fmla="*/ 75677 w 9"/>
                  <a:gd name="T33" fmla="*/ 153278 h 5"/>
                  <a:gd name="T34" fmla="*/ 133628 w 9"/>
                  <a:gd name="T35" fmla="*/ 153278 h 5"/>
                  <a:gd name="T36" fmla="*/ 210957 w 9"/>
                  <a:gd name="T37" fmla="*/ 76999 h 5"/>
                  <a:gd name="T38" fmla="*/ 176580 w 9"/>
                  <a:gd name="T39" fmla="*/ 76999 h 5"/>
                  <a:gd name="T40" fmla="*/ 100221 w 9"/>
                  <a:gd name="T41" fmla="*/ 32083 h 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9" h="5">
                    <a:moveTo>
                      <a:pt x="2" y="5"/>
                    </a:moveTo>
                    <a:cubicBezTo>
                      <a:pt x="1" y="5"/>
                      <a:pt x="0" y="5"/>
                      <a:pt x="0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6" y="0"/>
                      <a:pt x="7" y="1"/>
                    </a:cubicBezTo>
                    <a:cubicBezTo>
                      <a:pt x="8" y="1"/>
                      <a:pt x="8" y="1"/>
                      <a:pt x="8" y="2"/>
                    </a:cubicBezTo>
                    <a:cubicBezTo>
                      <a:pt x="8" y="2"/>
                      <a:pt x="9" y="2"/>
                      <a:pt x="8" y="3"/>
                    </a:cubicBezTo>
                    <a:cubicBezTo>
                      <a:pt x="8" y="4"/>
                      <a:pt x="6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3" y="5"/>
                      <a:pt x="3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  <a:moveTo>
                      <a:pt x="4" y="1"/>
                    </a:move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1" y="3"/>
                      <a:pt x="1" y="4"/>
                    </a:cubicBezTo>
                    <a:cubicBezTo>
                      <a:pt x="1" y="4"/>
                      <a:pt x="1" y="4"/>
                      <a:pt x="2" y="4"/>
                    </a:cubicBezTo>
                    <a:cubicBezTo>
                      <a:pt x="2" y="4"/>
                      <a:pt x="2" y="4"/>
                      <a:pt x="3" y="4"/>
                    </a:cubicBezTo>
                    <a:cubicBezTo>
                      <a:pt x="3" y="4"/>
                      <a:pt x="4" y="4"/>
                      <a:pt x="5" y="4"/>
                    </a:cubicBezTo>
                    <a:cubicBezTo>
                      <a:pt x="5" y="4"/>
                      <a:pt x="7" y="3"/>
                      <a:pt x="8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0" name="Freeform 504"/>
              <p:cNvSpPr/>
              <p:nvPr/>
            </p:nvSpPr>
            <p:spPr bwMode="auto">
              <a:xfrm>
                <a:off x="3733" y="1260"/>
                <a:ext cx="14" cy="9"/>
              </a:xfrm>
              <a:custGeom>
                <a:avLst/>
                <a:gdLst>
                  <a:gd name="T0" fmla="*/ 57269 w 6"/>
                  <a:gd name="T1" fmla="*/ 0 h 4"/>
                  <a:gd name="T2" fmla="*/ 100221 w 6"/>
                  <a:gd name="T3" fmla="*/ 53228 h 4"/>
                  <a:gd name="T4" fmla="*/ 57269 w 6"/>
                  <a:gd name="T5" fmla="*/ 0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2" y="0"/>
                    </a:moveTo>
                    <a:cubicBezTo>
                      <a:pt x="2" y="0"/>
                      <a:pt x="6" y="2"/>
                      <a:pt x="4" y="3"/>
                    </a:cubicBezTo>
                    <a:cubicBezTo>
                      <a:pt x="3" y="4"/>
                      <a:pt x="0" y="1"/>
                      <a:pt x="2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1" name="Freeform 505"/>
              <p:cNvSpPr>
                <a:spLocks noEditPoints="1"/>
              </p:cNvSpPr>
              <p:nvPr/>
            </p:nvSpPr>
            <p:spPr bwMode="auto">
              <a:xfrm>
                <a:off x="3735" y="1258"/>
                <a:ext cx="10" cy="11"/>
              </a:xfrm>
              <a:custGeom>
                <a:avLst/>
                <a:gdLst>
                  <a:gd name="T0" fmla="*/ 191220 w 4"/>
                  <a:gd name="T1" fmla="*/ 64066 h 5"/>
                  <a:gd name="T2" fmla="*/ 0 w 4"/>
                  <a:gd name="T3" fmla="*/ 24171 h 5"/>
                  <a:gd name="T4" fmla="*/ 0 w 4"/>
                  <a:gd name="T5" fmla="*/ 10987 h 5"/>
                  <a:gd name="T6" fmla="*/ 0 w 4"/>
                  <a:gd name="T7" fmla="*/ 0 h 5"/>
                  <a:gd name="T8" fmla="*/ 76488 w 4"/>
                  <a:gd name="T9" fmla="*/ 10987 h 5"/>
                  <a:gd name="T10" fmla="*/ 76488 w 4"/>
                  <a:gd name="T11" fmla="*/ 10987 h 5"/>
                  <a:gd name="T12" fmla="*/ 241220 w 4"/>
                  <a:gd name="T13" fmla="*/ 40152 h 5"/>
                  <a:gd name="T14" fmla="*/ 241220 w 4"/>
                  <a:gd name="T15" fmla="*/ 53176 h 5"/>
                  <a:gd name="T16" fmla="*/ 191220 w 4"/>
                  <a:gd name="T17" fmla="*/ 64066 h 5"/>
                  <a:gd name="T18" fmla="*/ 76488 w 4"/>
                  <a:gd name="T19" fmla="*/ 24171 h 5"/>
                  <a:gd name="T20" fmla="*/ 76488 w 4"/>
                  <a:gd name="T21" fmla="*/ 24171 h 5"/>
                  <a:gd name="T22" fmla="*/ 191220 w 4"/>
                  <a:gd name="T23" fmla="*/ 53176 h 5"/>
                  <a:gd name="T24" fmla="*/ 191220 w 4"/>
                  <a:gd name="T25" fmla="*/ 53176 h 5"/>
                  <a:gd name="T26" fmla="*/ 191220 w 4"/>
                  <a:gd name="T27" fmla="*/ 40152 h 5"/>
                  <a:gd name="T28" fmla="*/ 76488 w 4"/>
                  <a:gd name="T29" fmla="*/ 24171 h 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cubicBezTo>
                      <a:pt x="2" y="5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" y="1"/>
                      <a:pt x="4" y="2"/>
                      <a:pt x="4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lose/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2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1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2" name="Freeform 506"/>
              <p:cNvSpPr/>
              <p:nvPr/>
            </p:nvSpPr>
            <p:spPr bwMode="auto">
              <a:xfrm>
                <a:off x="3577" y="1217"/>
                <a:ext cx="9" cy="5"/>
              </a:xfrm>
              <a:custGeom>
                <a:avLst/>
                <a:gdLst>
                  <a:gd name="T0" fmla="*/ 36860 w 4"/>
                  <a:gd name="T1" fmla="*/ 0 h 2"/>
                  <a:gd name="T2" fmla="*/ 66330 w 4"/>
                  <a:gd name="T3" fmla="*/ 0 h 2"/>
                  <a:gd name="T4" fmla="*/ 0 w 4"/>
                  <a:gd name="T5" fmla="*/ 126958 h 2"/>
                  <a:gd name="T6" fmla="*/ 36860 w 4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cubicBezTo>
                      <a:pt x="2" y="0"/>
                      <a:pt x="3" y="0"/>
                      <a:pt x="4" y="0"/>
                    </a:cubicBezTo>
                    <a:cubicBezTo>
                      <a:pt x="4" y="2"/>
                      <a:pt x="2" y="2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3" name="Freeform 507"/>
              <p:cNvSpPr>
                <a:spLocks noEditPoints="1"/>
              </p:cNvSpPr>
              <p:nvPr/>
            </p:nvSpPr>
            <p:spPr bwMode="auto">
              <a:xfrm>
                <a:off x="3574" y="1215"/>
                <a:ext cx="12" cy="7"/>
              </a:xfrm>
              <a:custGeom>
                <a:avLst/>
                <a:gdLst>
                  <a:gd name="T0" fmla="*/ 107827 w 5"/>
                  <a:gd name="T1" fmla="*/ 75677 h 3"/>
                  <a:gd name="T2" fmla="*/ 76999 w 5"/>
                  <a:gd name="T3" fmla="*/ 75677 h 3"/>
                  <a:gd name="T4" fmla="*/ 32083 w 5"/>
                  <a:gd name="T5" fmla="*/ 75677 h 3"/>
                  <a:gd name="T6" fmla="*/ 0 w 5"/>
                  <a:gd name="T7" fmla="*/ 75677 h 3"/>
                  <a:gd name="T8" fmla="*/ 0 w 5"/>
                  <a:gd name="T9" fmla="*/ 75677 h 3"/>
                  <a:gd name="T10" fmla="*/ 76999 w 5"/>
                  <a:gd name="T11" fmla="*/ 0 h 3"/>
                  <a:gd name="T12" fmla="*/ 107827 w 5"/>
                  <a:gd name="T13" fmla="*/ 0 h 3"/>
                  <a:gd name="T14" fmla="*/ 184798 w 5"/>
                  <a:gd name="T15" fmla="*/ 0 h 3"/>
                  <a:gd name="T16" fmla="*/ 184798 w 5"/>
                  <a:gd name="T17" fmla="*/ 0 h 3"/>
                  <a:gd name="T18" fmla="*/ 184798 w 5"/>
                  <a:gd name="T19" fmla="*/ 24544 h 3"/>
                  <a:gd name="T20" fmla="*/ 107827 w 5"/>
                  <a:gd name="T21" fmla="*/ 75677 h 3"/>
                  <a:gd name="T22" fmla="*/ 76999 w 5"/>
                  <a:gd name="T23" fmla="*/ 57269 h 3"/>
                  <a:gd name="T24" fmla="*/ 76999 w 5"/>
                  <a:gd name="T25" fmla="*/ 57269 h 3"/>
                  <a:gd name="T26" fmla="*/ 153278 w 5"/>
                  <a:gd name="T27" fmla="*/ 24544 h 3"/>
                  <a:gd name="T28" fmla="*/ 107827 w 5"/>
                  <a:gd name="T29" fmla="*/ 57269 h 3"/>
                  <a:gd name="T30" fmla="*/ 107827 w 5"/>
                  <a:gd name="T31" fmla="*/ 57269 h 3"/>
                  <a:gd name="T32" fmla="*/ 107827 w 5"/>
                  <a:gd name="T33" fmla="*/ 57269 h 3"/>
                  <a:gd name="T34" fmla="*/ 76999 w 5"/>
                  <a:gd name="T35" fmla="*/ 24544 h 3"/>
                  <a:gd name="T36" fmla="*/ 76999 w 5"/>
                  <a:gd name="T37" fmla="*/ 57269 h 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5" h="3">
                    <a:moveTo>
                      <a:pt x="3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3"/>
                      <a:pt x="4" y="3"/>
                      <a:pt x="3" y="3"/>
                    </a:cubicBezTo>
                    <a:close/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3" y="1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4" name="Freeform 508"/>
              <p:cNvSpPr/>
              <p:nvPr/>
            </p:nvSpPr>
            <p:spPr bwMode="auto">
              <a:xfrm>
                <a:off x="3572" y="1232"/>
                <a:ext cx="7" cy="7"/>
              </a:xfrm>
              <a:custGeom>
                <a:avLst/>
                <a:gdLst>
                  <a:gd name="T0" fmla="*/ 0 w 3"/>
                  <a:gd name="T1" fmla="*/ 24544 h 3"/>
                  <a:gd name="T2" fmla="*/ 24544 w 3"/>
                  <a:gd name="T3" fmla="*/ 0 h 3"/>
                  <a:gd name="T4" fmla="*/ 0 w 3"/>
                  <a:gd name="T5" fmla="*/ 75677 h 3"/>
                  <a:gd name="T6" fmla="*/ 0 w 3"/>
                  <a:gd name="T7" fmla="*/ 24544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1"/>
                    </a:moveTo>
                    <a:cubicBezTo>
                      <a:pt x="0" y="1"/>
                      <a:pt x="1" y="1"/>
                      <a:pt x="1" y="0"/>
                    </a:cubicBezTo>
                    <a:cubicBezTo>
                      <a:pt x="3" y="2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5" name="Freeform 509"/>
              <p:cNvSpPr>
                <a:spLocks noEditPoints="1"/>
              </p:cNvSpPr>
              <p:nvPr/>
            </p:nvSpPr>
            <p:spPr bwMode="auto">
              <a:xfrm>
                <a:off x="3570" y="1232"/>
                <a:ext cx="9" cy="7"/>
              </a:xfrm>
              <a:custGeom>
                <a:avLst/>
                <a:gdLst>
                  <a:gd name="T0" fmla="*/ 16382 w 4"/>
                  <a:gd name="T1" fmla="*/ 75677 h 3"/>
                  <a:gd name="T2" fmla="*/ 16382 w 4"/>
                  <a:gd name="T3" fmla="*/ 75677 h 3"/>
                  <a:gd name="T4" fmla="*/ 0 w 4"/>
                  <a:gd name="T5" fmla="*/ 75677 h 3"/>
                  <a:gd name="T6" fmla="*/ 0 w 4"/>
                  <a:gd name="T7" fmla="*/ 57269 h 3"/>
                  <a:gd name="T8" fmla="*/ 0 w 4"/>
                  <a:gd name="T9" fmla="*/ 57269 h 3"/>
                  <a:gd name="T10" fmla="*/ 16382 w 4"/>
                  <a:gd name="T11" fmla="*/ 24544 h 3"/>
                  <a:gd name="T12" fmla="*/ 36860 w 4"/>
                  <a:gd name="T13" fmla="*/ 0 h 3"/>
                  <a:gd name="T14" fmla="*/ 36860 w 4"/>
                  <a:gd name="T15" fmla="*/ 0 h 3"/>
                  <a:gd name="T16" fmla="*/ 36860 w 4"/>
                  <a:gd name="T17" fmla="*/ 0 h 3"/>
                  <a:gd name="T18" fmla="*/ 53228 w 4"/>
                  <a:gd name="T19" fmla="*/ 0 h 3"/>
                  <a:gd name="T20" fmla="*/ 53228 w 4"/>
                  <a:gd name="T21" fmla="*/ 57269 h 3"/>
                  <a:gd name="T22" fmla="*/ 16382 w 4"/>
                  <a:gd name="T23" fmla="*/ 75677 h 3"/>
                  <a:gd name="T24" fmla="*/ 36860 w 4"/>
                  <a:gd name="T25" fmla="*/ 24544 h 3"/>
                  <a:gd name="T26" fmla="*/ 36860 w 4"/>
                  <a:gd name="T27" fmla="*/ 57269 h 3"/>
                  <a:gd name="T28" fmla="*/ 16382 w 4"/>
                  <a:gd name="T29" fmla="*/ 57269 h 3"/>
                  <a:gd name="T30" fmla="*/ 36860 w 4"/>
                  <a:gd name="T31" fmla="*/ 24544 h 3"/>
                  <a:gd name="T32" fmla="*/ 36860 w 4"/>
                  <a:gd name="T33" fmla="*/ 24544 h 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1"/>
                      <a:pt x="3" y="1"/>
                      <a:pt x="3" y="2"/>
                    </a:cubicBezTo>
                    <a:cubicBezTo>
                      <a:pt x="3" y="3"/>
                      <a:pt x="2" y="3"/>
                      <a:pt x="1" y="3"/>
                    </a:cubicBezTo>
                    <a:close/>
                    <a:moveTo>
                      <a:pt x="2" y="1"/>
                    </a:moveTo>
                    <a:cubicBezTo>
                      <a:pt x="2" y="1"/>
                      <a:pt x="2" y="1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6" name="Freeform 510"/>
              <p:cNvSpPr/>
              <p:nvPr/>
            </p:nvSpPr>
            <p:spPr bwMode="auto">
              <a:xfrm>
                <a:off x="3565" y="1234"/>
                <a:ext cx="7" cy="2"/>
              </a:xfrm>
              <a:custGeom>
                <a:avLst/>
                <a:gdLst>
                  <a:gd name="T0" fmla="*/ 0 w 3"/>
                  <a:gd name="T1" fmla="*/ 0 h 1"/>
                  <a:gd name="T2" fmla="*/ 75677 w 3"/>
                  <a:gd name="T3" fmla="*/ 0 h 1"/>
                  <a:gd name="T4" fmla="*/ 0 w 3"/>
                  <a:gd name="T5" fmla="*/ 0 h 1"/>
                  <a:gd name="T6" fmla="*/ 0 w 3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1" y="0"/>
                      <a:pt x="2" y="0"/>
                      <a:pt x="3" y="0"/>
                    </a:cubicBezTo>
                    <a:cubicBezTo>
                      <a:pt x="2" y="1"/>
                      <a:pt x="1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7" name="Freeform 511"/>
              <p:cNvSpPr/>
              <p:nvPr/>
            </p:nvSpPr>
            <p:spPr bwMode="auto">
              <a:xfrm>
                <a:off x="3563" y="1232"/>
                <a:ext cx="11" cy="4"/>
              </a:xfrm>
              <a:custGeom>
                <a:avLst/>
                <a:gdLst>
                  <a:gd name="T0" fmla="*/ 24171 w 5"/>
                  <a:gd name="T1" fmla="*/ 8192 h 2"/>
                  <a:gd name="T2" fmla="*/ 0 w 5"/>
                  <a:gd name="T3" fmla="*/ 4096 h 2"/>
                  <a:gd name="T4" fmla="*/ 0 w 5"/>
                  <a:gd name="T5" fmla="*/ 4096 h 2"/>
                  <a:gd name="T6" fmla="*/ 10987 w 5"/>
                  <a:gd name="T7" fmla="*/ 4096 h 2"/>
                  <a:gd name="T8" fmla="*/ 10987 w 5"/>
                  <a:gd name="T9" fmla="*/ 0 h 2"/>
                  <a:gd name="T10" fmla="*/ 10987 w 5"/>
                  <a:gd name="T11" fmla="*/ 0 h 2"/>
                  <a:gd name="T12" fmla="*/ 24171 w 5"/>
                  <a:gd name="T13" fmla="*/ 0 h 2"/>
                  <a:gd name="T14" fmla="*/ 53176 w 5"/>
                  <a:gd name="T15" fmla="*/ 0 h 2"/>
                  <a:gd name="T16" fmla="*/ 64066 w 5"/>
                  <a:gd name="T17" fmla="*/ 4096 h 2"/>
                  <a:gd name="T18" fmla="*/ 53176 w 5"/>
                  <a:gd name="T19" fmla="*/ 4096 h 2"/>
                  <a:gd name="T20" fmla="*/ 24171 w 5"/>
                  <a:gd name="T21" fmla="*/ 8192 h 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" h="2">
                    <a:moveTo>
                      <a:pt x="2" y="2"/>
                    </a:moveTo>
                    <a:cubicBezTo>
                      <a:pt x="2" y="2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8" name="Freeform 512"/>
              <p:cNvSpPr/>
              <p:nvPr/>
            </p:nvSpPr>
            <p:spPr bwMode="auto">
              <a:xfrm>
                <a:off x="3582" y="1189"/>
                <a:ext cx="21" cy="14"/>
              </a:xfrm>
              <a:custGeom>
                <a:avLst/>
                <a:gdLst>
                  <a:gd name="T0" fmla="*/ 100221 w 9"/>
                  <a:gd name="T1" fmla="*/ 24544 h 6"/>
                  <a:gd name="T2" fmla="*/ 233849 w 9"/>
                  <a:gd name="T3" fmla="*/ 158172 h 6"/>
                  <a:gd name="T4" fmla="*/ 0 w 9"/>
                  <a:gd name="T5" fmla="*/ 133628 h 6"/>
                  <a:gd name="T6" fmla="*/ 100221 w 9"/>
                  <a:gd name="T7" fmla="*/ 24544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6">
                    <a:moveTo>
                      <a:pt x="4" y="1"/>
                    </a:moveTo>
                    <a:cubicBezTo>
                      <a:pt x="7" y="1"/>
                      <a:pt x="8" y="3"/>
                      <a:pt x="9" y="6"/>
                    </a:cubicBezTo>
                    <a:cubicBezTo>
                      <a:pt x="6" y="6"/>
                      <a:pt x="1" y="6"/>
                      <a:pt x="0" y="5"/>
                    </a:cubicBezTo>
                    <a:cubicBezTo>
                      <a:pt x="3" y="5"/>
                      <a:pt x="1" y="0"/>
                      <a:pt x="4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9" name="Freeform 513"/>
              <p:cNvSpPr>
                <a:spLocks noEditPoints="1"/>
              </p:cNvSpPr>
              <p:nvPr/>
            </p:nvSpPr>
            <p:spPr bwMode="auto">
              <a:xfrm>
                <a:off x="3579" y="1189"/>
                <a:ext cx="24" cy="17"/>
              </a:xfrm>
              <a:custGeom>
                <a:avLst/>
                <a:gdLst>
                  <a:gd name="T0" fmla="*/ 367867 w 10"/>
                  <a:gd name="T1" fmla="*/ 293979 h 7"/>
                  <a:gd name="T2" fmla="*/ 367867 w 10"/>
                  <a:gd name="T3" fmla="*/ 293979 h 7"/>
                  <a:gd name="T4" fmla="*/ 258785 w 10"/>
                  <a:gd name="T5" fmla="*/ 293979 h 7"/>
                  <a:gd name="T6" fmla="*/ 0 w 10"/>
                  <a:gd name="T7" fmla="*/ 205785 h 7"/>
                  <a:gd name="T8" fmla="*/ 0 w 10"/>
                  <a:gd name="T9" fmla="*/ 170481 h 7"/>
                  <a:gd name="T10" fmla="*/ 32083 w 10"/>
                  <a:gd name="T11" fmla="*/ 170481 h 7"/>
                  <a:gd name="T12" fmla="*/ 32083 w 10"/>
                  <a:gd name="T13" fmla="*/ 170481 h 7"/>
                  <a:gd name="T14" fmla="*/ 76999 w 10"/>
                  <a:gd name="T15" fmla="*/ 84735 h 7"/>
                  <a:gd name="T16" fmla="*/ 184798 w 10"/>
                  <a:gd name="T17" fmla="*/ 0 h 7"/>
                  <a:gd name="T18" fmla="*/ 367867 w 10"/>
                  <a:gd name="T19" fmla="*/ 255046 h 7"/>
                  <a:gd name="T20" fmla="*/ 367867 w 10"/>
                  <a:gd name="T21" fmla="*/ 293979 h 7"/>
                  <a:gd name="T22" fmla="*/ 76999 w 10"/>
                  <a:gd name="T23" fmla="*/ 205785 h 7"/>
                  <a:gd name="T24" fmla="*/ 290868 w 10"/>
                  <a:gd name="T25" fmla="*/ 255046 h 7"/>
                  <a:gd name="T26" fmla="*/ 335784 w 10"/>
                  <a:gd name="T27" fmla="*/ 255046 h 7"/>
                  <a:gd name="T28" fmla="*/ 184798 w 10"/>
                  <a:gd name="T29" fmla="*/ 34891 h 7"/>
                  <a:gd name="T30" fmla="*/ 153278 w 10"/>
                  <a:gd name="T31" fmla="*/ 34891 h 7"/>
                  <a:gd name="T32" fmla="*/ 107827 w 10"/>
                  <a:gd name="T33" fmla="*/ 121050 h 7"/>
                  <a:gd name="T34" fmla="*/ 76999 w 10"/>
                  <a:gd name="T35" fmla="*/ 205785 h 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" h="7">
                    <a:moveTo>
                      <a:pt x="10" y="7"/>
                    </a:moveTo>
                    <a:cubicBezTo>
                      <a:pt x="10" y="7"/>
                      <a:pt x="10" y="7"/>
                      <a:pt x="10" y="7"/>
                    </a:cubicBezTo>
                    <a:cubicBezTo>
                      <a:pt x="9" y="7"/>
                      <a:pt x="8" y="7"/>
                      <a:pt x="7" y="7"/>
                    </a:cubicBezTo>
                    <a:cubicBezTo>
                      <a:pt x="5" y="7"/>
                      <a:pt x="1" y="6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3"/>
                      <a:pt x="2" y="2"/>
                    </a:cubicBezTo>
                    <a:cubicBezTo>
                      <a:pt x="3" y="1"/>
                      <a:pt x="3" y="0"/>
                      <a:pt x="5" y="0"/>
                    </a:cubicBezTo>
                    <a:cubicBezTo>
                      <a:pt x="8" y="1"/>
                      <a:pt x="10" y="2"/>
                      <a:pt x="10" y="6"/>
                    </a:cubicBezTo>
                    <a:lnTo>
                      <a:pt x="10" y="7"/>
                    </a:lnTo>
                    <a:close/>
                    <a:moveTo>
                      <a:pt x="2" y="5"/>
                    </a:moveTo>
                    <a:cubicBezTo>
                      <a:pt x="3" y="5"/>
                      <a:pt x="6" y="6"/>
                      <a:pt x="8" y="6"/>
                    </a:cubicBezTo>
                    <a:cubicBezTo>
                      <a:pt x="8" y="6"/>
                      <a:pt x="9" y="6"/>
                      <a:pt x="9" y="6"/>
                    </a:cubicBezTo>
                    <a:cubicBezTo>
                      <a:pt x="9" y="3"/>
                      <a:pt x="7" y="2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2"/>
                      <a:pt x="3" y="3"/>
                    </a:cubicBezTo>
                    <a:cubicBezTo>
                      <a:pt x="3" y="3"/>
                      <a:pt x="3" y="4"/>
                      <a:pt x="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0" name="Freeform 514"/>
              <p:cNvSpPr/>
              <p:nvPr/>
            </p:nvSpPr>
            <p:spPr bwMode="auto">
              <a:xfrm>
                <a:off x="3582" y="1182"/>
                <a:ext cx="7" cy="9"/>
              </a:xfrm>
              <a:custGeom>
                <a:avLst/>
                <a:gdLst>
                  <a:gd name="T0" fmla="*/ 75677 w 3"/>
                  <a:gd name="T1" fmla="*/ 36860 h 4"/>
                  <a:gd name="T2" fmla="*/ 57269 w 3"/>
                  <a:gd name="T3" fmla="*/ 0 h 4"/>
                  <a:gd name="T4" fmla="*/ 57269 w 3"/>
                  <a:gd name="T5" fmla="*/ 66330 h 4"/>
                  <a:gd name="T6" fmla="*/ 75677 w 3"/>
                  <a:gd name="T7" fmla="*/ 36860 h 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2"/>
                    </a:moveTo>
                    <a:cubicBezTo>
                      <a:pt x="3" y="1"/>
                      <a:pt x="2" y="1"/>
                      <a:pt x="2" y="0"/>
                    </a:cubicBezTo>
                    <a:cubicBezTo>
                      <a:pt x="1" y="1"/>
                      <a:pt x="0" y="3"/>
                      <a:pt x="2" y="4"/>
                    </a:cubicBezTo>
                    <a:cubicBezTo>
                      <a:pt x="2" y="3"/>
                      <a:pt x="2" y="2"/>
                      <a:pt x="3" y="2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1" name="Freeform 515"/>
              <p:cNvSpPr>
                <a:spLocks noEditPoints="1"/>
              </p:cNvSpPr>
              <p:nvPr/>
            </p:nvSpPr>
            <p:spPr bwMode="auto">
              <a:xfrm>
                <a:off x="3582" y="1182"/>
                <a:ext cx="7" cy="12"/>
              </a:xfrm>
              <a:custGeom>
                <a:avLst/>
                <a:gdLst>
                  <a:gd name="T0" fmla="*/ 57269 w 3"/>
                  <a:gd name="T1" fmla="*/ 184798 h 5"/>
                  <a:gd name="T2" fmla="*/ 24544 w 3"/>
                  <a:gd name="T3" fmla="*/ 153278 h 5"/>
                  <a:gd name="T4" fmla="*/ 0 w 3"/>
                  <a:gd name="T5" fmla="*/ 76999 h 5"/>
                  <a:gd name="T6" fmla="*/ 24544 w 3"/>
                  <a:gd name="T7" fmla="*/ 0 h 5"/>
                  <a:gd name="T8" fmla="*/ 57269 w 3"/>
                  <a:gd name="T9" fmla="*/ 0 h 5"/>
                  <a:gd name="T10" fmla="*/ 57269 w 3"/>
                  <a:gd name="T11" fmla="*/ 0 h 5"/>
                  <a:gd name="T12" fmla="*/ 57269 w 3"/>
                  <a:gd name="T13" fmla="*/ 0 h 5"/>
                  <a:gd name="T14" fmla="*/ 75677 w 3"/>
                  <a:gd name="T15" fmla="*/ 32083 h 5"/>
                  <a:gd name="T16" fmla="*/ 75677 w 3"/>
                  <a:gd name="T17" fmla="*/ 76999 h 5"/>
                  <a:gd name="T18" fmla="*/ 57269 w 3"/>
                  <a:gd name="T19" fmla="*/ 184798 h 5"/>
                  <a:gd name="T20" fmla="*/ 57269 w 3"/>
                  <a:gd name="T21" fmla="*/ 32083 h 5"/>
                  <a:gd name="T22" fmla="*/ 24544 w 3"/>
                  <a:gd name="T23" fmla="*/ 76999 h 5"/>
                  <a:gd name="T24" fmla="*/ 24544 w 3"/>
                  <a:gd name="T25" fmla="*/ 107827 h 5"/>
                  <a:gd name="T26" fmla="*/ 57269 w 3"/>
                  <a:gd name="T27" fmla="*/ 76999 h 5"/>
                  <a:gd name="T28" fmla="*/ 57269 w 3"/>
                  <a:gd name="T29" fmla="*/ 32083 h 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" h="5">
                    <a:moveTo>
                      <a:pt x="2" y="5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3" y="2"/>
                      <a:pt x="3" y="2"/>
                    </a:cubicBezTo>
                    <a:lnTo>
                      <a:pt x="2" y="5"/>
                    </a:lnTo>
                    <a:close/>
                    <a:moveTo>
                      <a:pt x="2" y="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2" name="Freeform 516"/>
              <p:cNvSpPr/>
              <p:nvPr/>
            </p:nvSpPr>
            <p:spPr bwMode="auto">
              <a:xfrm>
                <a:off x="3617" y="1156"/>
                <a:ext cx="26" cy="19"/>
              </a:xfrm>
              <a:custGeom>
                <a:avLst/>
                <a:gdLst>
                  <a:gd name="T0" fmla="*/ 0 w 11"/>
                  <a:gd name="T1" fmla="*/ 0 h 8"/>
                  <a:gd name="T2" fmla="*/ 152034 w 11"/>
                  <a:gd name="T3" fmla="*/ 69972 h 8"/>
                  <a:gd name="T4" fmla="*/ 152034 w 11"/>
                  <a:gd name="T5" fmla="*/ 96347 h 8"/>
                  <a:gd name="T6" fmla="*/ 331318 w 11"/>
                  <a:gd name="T7" fmla="*/ 136779 h 8"/>
                  <a:gd name="T8" fmla="*/ 179284 w 11"/>
                  <a:gd name="T9" fmla="*/ 228824 h 8"/>
                  <a:gd name="T10" fmla="*/ 0 w 11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" h="8">
                    <a:moveTo>
                      <a:pt x="0" y="0"/>
                    </a:moveTo>
                    <a:cubicBezTo>
                      <a:pt x="2" y="1"/>
                      <a:pt x="4" y="1"/>
                      <a:pt x="5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7" y="3"/>
                      <a:pt x="9" y="4"/>
                      <a:pt x="11" y="4"/>
                    </a:cubicBezTo>
                    <a:cubicBezTo>
                      <a:pt x="10" y="7"/>
                      <a:pt x="8" y="8"/>
                      <a:pt x="6" y="7"/>
                    </a:cubicBezTo>
                    <a:cubicBezTo>
                      <a:pt x="2" y="5"/>
                      <a:pt x="2" y="4"/>
                      <a:pt x="0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3" name="Freeform 517"/>
              <p:cNvSpPr>
                <a:spLocks noEditPoints="1"/>
              </p:cNvSpPr>
              <p:nvPr/>
            </p:nvSpPr>
            <p:spPr bwMode="auto">
              <a:xfrm>
                <a:off x="3615" y="1154"/>
                <a:ext cx="30" cy="21"/>
              </a:xfrm>
              <a:custGeom>
                <a:avLst/>
                <a:gdLst>
                  <a:gd name="T0" fmla="*/ 206031 w 13"/>
                  <a:gd name="T1" fmla="*/ 233849 h 9"/>
                  <a:gd name="T2" fmla="*/ 137781 w 13"/>
                  <a:gd name="T3" fmla="*/ 210957 h 9"/>
                  <a:gd name="T4" fmla="*/ 22638 w 13"/>
                  <a:gd name="T5" fmla="*/ 24544 h 9"/>
                  <a:gd name="T6" fmla="*/ 0 w 13"/>
                  <a:gd name="T7" fmla="*/ 0 h 9"/>
                  <a:gd name="T8" fmla="*/ 22638 w 13"/>
                  <a:gd name="T9" fmla="*/ 24544 h 9"/>
                  <a:gd name="T10" fmla="*/ 157537 w 13"/>
                  <a:gd name="T11" fmla="*/ 57269 h 9"/>
                  <a:gd name="T12" fmla="*/ 180175 w 13"/>
                  <a:gd name="T13" fmla="*/ 75677 h 9"/>
                  <a:gd name="T14" fmla="*/ 157537 w 13"/>
                  <a:gd name="T15" fmla="*/ 75677 h 9"/>
                  <a:gd name="T16" fmla="*/ 157537 w 13"/>
                  <a:gd name="T17" fmla="*/ 100221 h 9"/>
                  <a:gd name="T18" fmla="*/ 295290 w 13"/>
                  <a:gd name="T19" fmla="*/ 133628 h 9"/>
                  <a:gd name="T20" fmla="*/ 295290 w 13"/>
                  <a:gd name="T21" fmla="*/ 158172 h 9"/>
                  <a:gd name="T22" fmla="*/ 206031 w 13"/>
                  <a:gd name="T23" fmla="*/ 233849 h 9"/>
                  <a:gd name="T24" fmla="*/ 52242 w 13"/>
                  <a:gd name="T25" fmla="*/ 57269 h 9"/>
                  <a:gd name="T26" fmla="*/ 157537 w 13"/>
                  <a:gd name="T27" fmla="*/ 176580 h 9"/>
                  <a:gd name="T28" fmla="*/ 206031 w 13"/>
                  <a:gd name="T29" fmla="*/ 210957 h 9"/>
                  <a:gd name="T30" fmla="*/ 248432 w 13"/>
                  <a:gd name="T31" fmla="*/ 158172 h 9"/>
                  <a:gd name="T32" fmla="*/ 89280 w 13"/>
                  <a:gd name="T33" fmla="*/ 100221 h 9"/>
                  <a:gd name="T34" fmla="*/ 120558 w 13"/>
                  <a:gd name="T35" fmla="*/ 100221 h 9"/>
                  <a:gd name="T36" fmla="*/ 120558 w 13"/>
                  <a:gd name="T37" fmla="*/ 75677 h 9"/>
                  <a:gd name="T38" fmla="*/ 52242 w 13"/>
                  <a:gd name="T39" fmla="*/ 57269 h 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3" h="9">
                    <a:moveTo>
                      <a:pt x="9" y="9"/>
                    </a:moveTo>
                    <a:cubicBezTo>
                      <a:pt x="8" y="9"/>
                      <a:pt x="7" y="9"/>
                      <a:pt x="6" y="8"/>
                    </a:cubicBezTo>
                    <a:cubicBezTo>
                      <a:pt x="3" y="6"/>
                      <a:pt x="2" y="5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" y="1"/>
                      <a:pt x="5" y="2"/>
                      <a:pt x="7" y="2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8"/>
                      <a:pt x="10" y="9"/>
                      <a:pt x="9" y="9"/>
                    </a:cubicBezTo>
                    <a:close/>
                    <a:moveTo>
                      <a:pt x="2" y="2"/>
                    </a:moveTo>
                    <a:cubicBezTo>
                      <a:pt x="3" y="5"/>
                      <a:pt x="4" y="6"/>
                      <a:pt x="7" y="7"/>
                    </a:cubicBezTo>
                    <a:cubicBezTo>
                      <a:pt x="7" y="8"/>
                      <a:pt x="8" y="8"/>
                      <a:pt x="9" y="8"/>
                    </a:cubicBezTo>
                    <a:cubicBezTo>
                      <a:pt x="10" y="8"/>
                      <a:pt x="11" y="7"/>
                      <a:pt x="11" y="6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4" name="Freeform 518"/>
              <p:cNvSpPr/>
              <p:nvPr/>
            </p:nvSpPr>
            <p:spPr bwMode="auto">
              <a:xfrm>
                <a:off x="3591" y="1144"/>
                <a:ext cx="21" cy="24"/>
              </a:xfrm>
              <a:custGeom>
                <a:avLst/>
                <a:gdLst>
                  <a:gd name="T0" fmla="*/ 0 w 9"/>
                  <a:gd name="T1" fmla="*/ 0 h 10"/>
                  <a:gd name="T2" fmla="*/ 233849 w 9"/>
                  <a:gd name="T3" fmla="*/ 216910 h 10"/>
                  <a:gd name="T4" fmla="*/ 176580 w 9"/>
                  <a:gd name="T5" fmla="*/ 335784 h 10"/>
                  <a:gd name="T6" fmla="*/ 75677 w 9"/>
                  <a:gd name="T7" fmla="*/ 335784 h 10"/>
                  <a:gd name="T8" fmla="*/ 75677 w 9"/>
                  <a:gd name="T9" fmla="*/ 107827 h 10"/>
                  <a:gd name="T10" fmla="*/ 0 w 9"/>
                  <a:gd name="T11" fmla="*/ 0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10">
                    <a:moveTo>
                      <a:pt x="0" y="0"/>
                    </a:moveTo>
                    <a:cubicBezTo>
                      <a:pt x="3" y="2"/>
                      <a:pt x="6" y="4"/>
                      <a:pt x="9" y="6"/>
                    </a:cubicBezTo>
                    <a:cubicBezTo>
                      <a:pt x="7" y="6"/>
                      <a:pt x="8" y="7"/>
                      <a:pt x="7" y="9"/>
                    </a:cubicBezTo>
                    <a:cubicBezTo>
                      <a:pt x="6" y="10"/>
                      <a:pt x="4" y="10"/>
                      <a:pt x="3" y="9"/>
                    </a:cubicBezTo>
                    <a:cubicBezTo>
                      <a:pt x="2" y="6"/>
                      <a:pt x="2" y="6"/>
                      <a:pt x="3" y="3"/>
                    </a:cubicBezTo>
                    <a:cubicBezTo>
                      <a:pt x="3" y="3"/>
                      <a:pt x="0" y="0"/>
                      <a:pt x="0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5" name="Freeform 519"/>
              <p:cNvSpPr>
                <a:spLocks noEditPoints="1"/>
              </p:cNvSpPr>
              <p:nvPr/>
            </p:nvSpPr>
            <p:spPr bwMode="auto">
              <a:xfrm>
                <a:off x="3582" y="1137"/>
                <a:ext cx="35" cy="31"/>
              </a:xfrm>
              <a:custGeom>
                <a:avLst/>
                <a:gdLst>
                  <a:gd name="T0" fmla="*/ 233849 w 15"/>
                  <a:gd name="T1" fmla="*/ 439275 h 13"/>
                  <a:gd name="T2" fmla="*/ 176580 w 15"/>
                  <a:gd name="T3" fmla="*/ 410757 h 13"/>
                  <a:gd name="T4" fmla="*/ 158172 w 15"/>
                  <a:gd name="T5" fmla="*/ 244743 h 13"/>
                  <a:gd name="T6" fmla="*/ 158172 w 15"/>
                  <a:gd name="T7" fmla="*/ 196402 h 13"/>
                  <a:gd name="T8" fmla="*/ 100221 w 15"/>
                  <a:gd name="T9" fmla="*/ 142109 h 13"/>
                  <a:gd name="T10" fmla="*/ 75677 w 15"/>
                  <a:gd name="T11" fmla="*/ 102634 h 13"/>
                  <a:gd name="T12" fmla="*/ 0 w 15"/>
                  <a:gd name="T13" fmla="*/ 0 h 13"/>
                  <a:gd name="T14" fmla="*/ 392012 w 15"/>
                  <a:gd name="T15" fmla="*/ 338875 h 13"/>
                  <a:gd name="T16" fmla="*/ 334070 w 15"/>
                  <a:gd name="T17" fmla="*/ 296773 h 13"/>
                  <a:gd name="T18" fmla="*/ 311799 w 15"/>
                  <a:gd name="T19" fmla="*/ 338875 h 13"/>
                  <a:gd name="T20" fmla="*/ 311799 w 15"/>
                  <a:gd name="T21" fmla="*/ 410757 h 13"/>
                  <a:gd name="T22" fmla="*/ 233849 w 15"/>
                  <a:gd name="T23" fmla="*/ 439275 h 13"/>
                  <a:gd name="T24" fmla="*/ 176580 w 15"/>
                  <a:gd name="T25" fmla="*/ 196402 h 13"/>
                  <a:gd name="T26" fmla="*/ 176580 w 15"/>
                  <a:gd name="T27" fmla="*/ 244743 h 13"/>
                  <a:gd name="T28" fmla="*/ 176580 w 15"/>
                  <a:gd name="T29" fmla="*/ 244743 h 13"/>
                  <a:gd name="T30" fmla="*/ 210957 w 15"/>
                  <a:gd name="T31" fmla="*/ 369205 h 13"/>
                  <a:gd name="T32" fmla="*/ 233849 w 15"/>
                  <a:gd name="T33" fmla="*/ 410757 h 13"/>
                  <a:gd name="T34" fmla="*/ 290635 w 15"/>
                  <a:gd name="T35" fmla="*/ 369205 h 13"/>
                  <a:gd name="T36" fmla="*/ 290635 w 15"/>
                  <a:gd name="T37" fmla="*/ 338875 h 13"/>
                  <a:gd name="T38" fmla="*/ 311799 w 15"/>
                  <a:gd name="T39" fmla="*/ 296773 h 13"/>
                  <a:gd name="T40" fmla="*/ 176580 w 15"/>
                  <a:gd name="T41" fmla="*/ 196402 h 1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5" h="13">
                    <a:moveTo>
                      <a:pt x="9" y="13"/>
                    </a:moveTo>
                    <a:cubicBezTo>
                      <a:pt x="8" y="13"/>
                      <a:pt x="7" y="13"/>
                      <a:pt x="7" y="12"/>
                    </a:cubicBezTo>
                    <a:cubicBezTo>
                      <a:pt x="5" y="10"/>
                      <a:pt x="5" y="9"/>
                      <a:pt x="6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5" y="4"/>
                      <a:pt x="4" y="4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2" y="9"/>
                      <a:pt x="12" y="9"/>
                      <a:pt x="12" y="10"/>
                    </a:cubicBezTo>
                    <a:cubicBezTo>
                      <a:pt x="12" y="11"/>
                      <a:pt x="12" y="11"/>
                      <a:pt x="12" y="12"/>
                    </a:cubicBezTo>
                    <a:cubicBezTo>
                      <a:pt x="11" y="13"/>
                      <a:pt x="10" y="13"/>
                      <a:pt x="9" y="13"/>
                    </a:cubicBezTo>
                    <a:close/>
                    <a:moveTo>
                      <a:pt x="7" y="6"/>
                    </a:moveTo>
                    <a:cubicBezTo>
                      <a:pt x="7" y="6"/>
                      <a:pt x="7" y="6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9"/>
                      <a:pt x="6" y="9"/>
                      <a:pt x="8" y="11"/>
                    </a:cubicBezTo>
                    <a:cubicBezTo>
                      <a:pt x="8" y="12"/>
                      <a:pt x="8" y="12"/>
                      <a:pt x="9" y="12"/>
                    </a:cubicBezTo>
                    <a:cubicBezTo>
                      <a:pt x="10" y="12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0"/>
                    </a:cubicBezTo>
                    <a:cubicBezTo>
                      <a:pt x="11" y="10"/>
                      <a:pt x="11" y="9"/>
                      <a:pt x="12" y="9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6" name="Freeform 520"/>
              <p:cNvSpPr/>
              <p:nvPr/>
            </p:nvSpPr>
            <p:spPr bwMode="auto">
              <a:xfrm>
                <a:off x="3565" y="1142"/>
                <a:ext cx="35" cy="33"/>
              </a:xfrm>
              <a:custGeom>
                <a:avLst/>
                <a:gdLst>
                  <a:gd name="T0" fmla="*/ 176580 w 15"/>
                  <a:gd name="T1" fmla="*/ 112344 h 14"/>
                  <a:gd name="T2" fmla="*/ 210957 w 15"/>
                  <a:gd name="T3" fmla="*/ 175440 h 14"/>
                  <a:gd name="T4" fmla="*/ 233849 w 15"/>
                  <a:gd name="T5" fmla="*/ 63101 h 14"/>
                  <a:gd name="T6" fmla="*/ 334070 w 15"/>
                  <a:gd name="T7" fmla="*/ 211455 h 14"/>
                  <a:gd name="T8" fmla="*/ 392012 w 15"/>
                  <a:gd name="T9" fmla="*/ 350597 h 14"/>
                  <a:gd name="T10" fmla="*/ 311799 w 15"/>
                  <a:gd name="T11" fmla="*/ 322999 h 14"/>
                  <a:gd name="T12" fmla="*/ 176580 w 15"/>
                  <a:gd name="T13" fmla="*/ 386100 h 14"/>
                  <a:gd name="T14" fmla="*/ 176580 w 15"/>
                  <a:gd name="T15" fmla="*/ 322999 h 14"/>
                  <a:gd name="T16" fmla="*/ 158172 w 15"/>
                  <a:gd name="T17" fmla="*/ 350597 h 14"/>
                  <a:gd name="T18" fmla="*/ 158172 w 15"/>
                  <a:gd name="T19" fmla="*/ 350597 h 14"/>
                  <a:gd name="T20" fmla="*/ 158172 w 15"/>
                  <a:gd name="T21" fmla="*/ 413537 h 14"/>
                  <a:gd name="T22" fmla="*/ 0 w 15"/>
                  <a:gd name="T23" fmla="*/ 238107 h 14"/>
                  <a:gd name="T24" fmla="*/ 24544 w 15"/>
                  <a:gd name="T25" fmla="*/ 238107 h 14"/>
                  <a:gd name="T26" fmla="*/ 0 w 15"/>
                  <a:gd name="T27" fmla="*/ 175440 h 14"/>
                  <a:gd name="T28" fmla="*/ 24544 w 15"/>
                  <a:gd name="T29" fmla="*/ 112344 h 14"/>
                  <a:gd name="T30" fmla="*/ 133628 w 15"/>
                  <a:gd name="T31" fmla="*/ 0 h 14"/>
                  <a:gd name="T32" fmla="*/ 176580 w 15"/>
                  <a:gd name="T33" fmla="*/ 112344 h 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14">
                    <a:moveTo>
                      <a:pt x="7" y="4"/>
                    </a:moveTo>
                    <a:cubicBezTo>
                      <a:pt x="9" y="4"/>
                      <a:pt x="9" y="5"/>
                      <a:pt x="8" y="6"/>
                    </a:cubicBezTo>
                    <a:cubicBezTo>
                      <a:pt x="10" y="6"/>
                      <a:pt x="9" y="3"/>
                      <a:pt x="9" y="2"/>
                    </a:cubicBezTo>
                    <a:cubicBezTo>
                      <a:pt x="12" y="1"/>
                      <a:pt x="13" y="5"/>
                      <a:pt x="13" y="7"/>
                    </a:cubicBezTo>
                    <a:cubicBezTo>
                      <a:pt x="12" y="9"/>
                      <a:pt x="13" y="10"/>
                      <a:pt x="15" y="12"/>
                    </a:cubicBezTo>
                    <a:cubicBezTo>
                      <a:pt x="13" y="13"/>
                      <a:pt x="13" y="13"/>
                      <a:pt x="12" y="11"/>
                    </a:cubicBezTo>
                    <a:cubicBezTo>
                      <a:pt x="10" y="11"/>
                      <a:pt x="8" y="13"/>
                      <a:pt x="7" y="13"/>
                    </a:cubicBezTo>
                    <a:cubicBezTo>
                      <a:pt x="8" y="12"/>
                      <a:pt x="7" y="11"/>
                      <a:pt x="7" y="11"/>
                    </a:cubicBezTo>
                    <a:cubicBezTo>
                      <a:pt x="6" y="11"/>
                      <a:pt x="6" y="11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3"/>
                      <a:pt x="6" y="13"/>
                      <a:pt x="6" y="14"/>
                    </a:cubicBezTo>
                    <a:cubicBezTo>
                      <a:pt x="2" y="13"/>
                      <a:pt x="2" y="11"/>
                      <a:pt x="0" y="8"/>
                    </a:cubicBezTo>
                    <a:cubicBezTo>
                      <a:pt x="0" y="8"/>
                      <a:pt x="1" y="8"/>
                      <a:pt x="1" y="8"/>
                    </a:cubicBezTo>
                    <a:cubicBezTo>
                      <a:pt x="1" y="8"/>
                      <a:pt x="0" y="6"/>
                      <a:pt x="0" y="6"/>
                    </a:cubicBezTo>
                    <a:cubicBezTo>
                      <a:pt x="0" y="5"/>
                      <a:pt x="2" y="5"/>
                      <a:pt x="1" y="4"/>
                    </a:cubicBezTo>
                    <a:cubicBezTo>
                      <a:pt x="1" y="2"/>
                      <a:pt x="3" y="1"/>
                      <a:pt x="5" y="0"/>
                    </a:cubicBezTo>
                    <a:cubicBezTo>
                      <a:pt x="6" y="1"/>
                      <a:pt x="7" y="2"/>
                      <a:pt x="7" y="4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7" name="Freeform 521"/>
              <p:cNvSpPr>
                <a:spLocks noEditPoints="1"/>
              </p:cNvSpPr>
              <p:nvPr/>
            </p:nvSpPr>
            <p:spPr bwMode="auto">
              <a:xfrm>
                <a:off x="3563" y="1139"/>
                <a:ext cx="40" cy="38"/>
              </a:xfrm>
              <a:custGeom>
                <a:avLst/>
                <a:gdLst>
                  <a:gd name="T0" fmla="*/ 196534 w 17"/>
                  <a:gd name="T1" fmla="*/ 491022 h 16"/>
                  <a:gd name="T2" fmla="*/ 0 w 17"/>
                  <a:gd name="T3" fmla="*/ 286482 h 16"/>
                  <a:gd name="T4" fmla="*/ 26325 w 17"/>
                  <a:gd name="T5" fmla="*/ 286482 h 16"/>
                  <a:gd name="T6" fmla="*/ 26325 w 17"/>
                  <a:gd name="T7" fmla="*/ 166184 h 16"/>
                  <a:gd name="T8" fmla="*/ 108264 w 17"/>
                  <a:gd name="T9" fmla="*/ 29462 h 16"/>
                  <a:gd name="T10" fmla="*/ 172927 w 17"/>
                  <a:gd name="T11" fmla="*/ 0 h 16"/>
                  <a:gd name="T12" fmla="*/ 254739 w 17"/>
                  <a:gd name="T13" fmla="*/ 136779 h 16"/>
                  <a:gd name="T14" fmla="*/ 292231 w 17"/>
                  <a:gd name="T15" fmla="*/ 187179 h 16"/>
                  <a:gd name="T16" fmla="*/ 292231 w 17"/>
                  <a:gd name="T17" fmla="*/ 69972 h 16"/>
                  <a:gd name="T18" fmla="*/ 380445 w 17"/>
                  <a:gd name="T19" fmla="*/ 96347 h 16"/>
                  <a:gd name="T20" fmla="*/ 462433 w 17"/>
                  <a:gd name="T21" fmla="*/ 394687 h 16"/>
                  <a:gd name="T22" fmla="*/ 462433 w 17"/>
                  <a:gd name="T23" fmla="*/ 444550 h 16"/>
                  <a:gd name="T24" fmla="*/ 342927 w 17"/>
                  <a:gd name="T25" fmla="*/ 423170 h 16"/>
                  <a:gd name="T26" fmla="*/ 196534 w 17"/>
                  <a:gd name="T27" fmla="*/ 491022 h 16"/>
                  <a:gd name="T28" fmla="*/ 61941 w 17"/>
                  <a:gd name="T29" fmla="*/ 324850 h 16"/>
                  <a:gd name="T30" fmla="*/ 172927 w 17"/>
                  <a:gd name="T31" fmla="*/ 444550 h 16"/>
                  <a:gd name="T32" fmla="*/ 172927 w 17"/>
                  <a:gd name="T33" fmla="*/ 444550 h 16"/>
                  <a:gd name="T34" fmla="*/ 196534 w 17"/>
                  <a:gd name="T35" fmla="*/ 353357 h 16"/>
                  <a:gd name="T36" fmla="*/ 234026 w 17"/>
                  <a:gd name="T37" fmla="*/ 353357 h 16"/>
                  <a:gd name="T38" fmla="*/ 318711 w 17"/>
                  <a:gd name="T39" fmla="*/ 394687 h 16"/>
                  <a:gd name="T40" fmla="*/ 380445 w 17"/>
                  <a:gd name="T41" fmla="*/ 353357 h 16"/>
                  <a:gd name="T42" fmla="*/ 406887 w 17"/>
                  <a:gd name="T43" fmla="*/ 423170 h 16"/>
                  <a:gd name="T44" fmla="*/ 380445 w 17"/>
                  <a:gd name="T45" fmla="*/ 228824 h 16"/>
                  <a:gd name="T46" fmla="*/ 318711 w 17"/>
                  <a:gd name="T47" fmla="*/ 96347 h 16"/>
                  <a:gd name="T48" fmla="*/ 292231 w 17"/>
                  <a:gd name="T49" fmla="*/ 228824 h 16"/>
                  <a:gd name="T50" fmla="*/ 254739 w 17"/>
                  <a:gd name="T51" fmla="*/ 228824 h 16"/>
                  <a:gd name="T52" fmla="*/ 254739 w 17"/>
                  <a:gd name="T53" fmla="*/ 187179 h 16"/>
                  <a:gd name="T54" fmla="*/ 234026 w 17"/>
                  <a:gd name="T55" fmla="*/ 166184 h 16"/>
                  <a:gd name="T56" fmla="*/ 234026 w 17"/>
                  <a:gd name="T57" fmla="*/ 166184 h 16"/>
                  <a:gd name="T58" fmla="*/ 172927 w 17"/>
                  <a:gd name="T59" fmla="*/ 69972 h 16"/>
                  <a:gd name="T60" fmla="*/ 83527 w 17"/>
                  <a:gd name="T61" fmla="*/ 136779 h 16"/>
                  <a:gd name="T62" fmla="*/ 61941 w 17"/>
                  <a:gd name="T63" fmla="*/ 228824 h 16"/>
                  <a:gd name="T64" fmla="*/ 83527 w 17"/>
                  <a:gd name="T65" fmla="*/ 286482 h 16"/>
                  <a:gd name="T66" fmla="*/ 61941 w 17"/>
                  <a:gd name="T67" fmla="*/ 324850 h 1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7" h="16">
                    <a:moveTo>
                      <a:pt x="7" y="16"/>
                    </a:moveTo>
                    <a:cubicBezTo>
                      <a:pt x="7" y="15"/>
                      <a:pt x="7" y="15"/>
                      <a:pt x="7" y="15"/>
                    </a:cubicBezTo>
                    <a:cubicBezTo>
                      <a:pt x="3" y="14"/>
                      <a:pt x="2" y="13"/>
                      <a:pt x="1" y="1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8"/>
                      <a:pt x="1" y="7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3"/>
                      <a:pt x="3" y="2"/>
                      <a:pt x="4" y="1"/>
                    </a:cubicBezTo>
                    <a:cubicBezTo>
                      <a:pt x="5" y="1"/>
                      <a:pt x="5" y="1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8" y="3"/>
                      <a:pt x="8" y="3"/>
                      <a:pt x="9" y="4"/>
                    </a:cubicBezTo>
                    <a:cubicBezTo>
                      <a:pt x="9" y="4"/>
                      <a:pt x="10" y="4"/>
                      <a:pt x="10" y="5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6"/>
                      <a:pt x="10" y="4"/>
                      <a:pt x="10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2"/>
                      <a:pt x="13" y="2"/>
                      <a:pt x="13" y="3"/>
                    </a:cubicBezTo>
                    <a:cubicBezTo>
                      <a:pt x="14" y="4"/>
                      <a:pt x="15" y="6"/>
                      <a:pt x="14" y="8"/>
                    </a:cubicBezTo>
                    <a:cubicBezTo>
                      <a:pt x="14" y="10"/>
                      <a:pt x="15" y="11"/>
                      <a:pt x="16" y="12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4" y="14"/>
                      <a:pt x="13" y="14"/>
                      <a:pt x="12" y="12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0" y="14"/>
                      <a:pt x="9" y="15"/>
                      <a:pt x="8" y="14"/>
                    </a:cubicBezTo>
                    <a:cubicBezTo>
                      <a:pt x="8" y="15"/>
                      <a:pt x="7" y="15"/>
                      <a:pt x="7" y="15"/>
                    </a:cubicBezTo>
                    <a:lnTo>
                      <a:pt x="7" y="16"/>
                    </a:lnTo>
                    <a:close/>
                    <a:moveTo>
                      <a:pt x="2" y="10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3" y="12"/>
                      <a:pt x="4" y="13"/>
                      <a:pt x="6" y="14"/>
                    </a:cubicBezTo>
                    <a:cubicBezTo>
                      <a:pt x="6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2"/>
                      <a:pt x="7" y="12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9" y="12"/>
                      <a:pt x="9" y="13"/>
                      <a:pt x="9" y="13"/>
                    </a:cubicBezTo>
                    <a:cubicBezTo>
                      <a:pt x="10" y="13"/>
                      <a:pt x="11" y="12"/>
                      <a:pt x="11" y="12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4" y="12"/>
                      <a:pt x="14" y="13"/>
                      <a:pt x="14" y="13"/>
                    </a:cubicBezTo>
                    <a:cubicBezTo>
                      <a:pt x="14" y="13"/>
                      <a:pt x="15" y="13"/>
                      <a:pt x="15" y="13"/>
                    </a:cubicBezTo>
                    <a:cubicBezTo>
                      <a:pt x="14" y="11"/>
                      <a:pt x="13" y="10"/>
                      <a:pt x="13" y="7"/>
                    </a:cubicBezTo>
                    <a:cubicBezTo>
                      <a:pt x="13" y="6"/>
                      <a:pt x="13" y="5"/>
                      <a:pt x="12" y="4"/>
                    </a:cubicBezTo>
                    <a:cubicBezTo>
                      <a:pt x="12" y="4"/>
                      <a:pt x="12" y="3"/>
                      <a:pt x="11" y="3"/>
                    </a:cubicBezTo>
                    <a:cubicBezTo>
                      <a:pt x="11" y="5"/>
                      <a:pt x="11" y="6"/>
                      <a:pt x="11" y="7"/>
                    </a:cubicBezTo>
                    <a:cubicBezTo>
                      <a:pt x="11" y="7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9" y="5"/>
                    </a:cubicBezTo>
                    <a:cubicBezTo>
                      <a:pt x="9" y="5"/>
                      <a:pt x="9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7" y="4"/>
                      <a:pt x="7" y="3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3" y="3"/>
                      <a:pt x="3" y="4"/>
                      <a:pt x="3" y="4"/>
                    </a:cubicBezTo>
                    <a:cubicBezTo>
                      <a:pt x="3" y="5"/>
                      <a:pt x="3" y="6"/>
                      <a:pt x="2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8"/>
                      <a:pt x="2" y="8"/>
                    </a:cubicBezTo>
                    <a:cubicBezTo>
                      <a:pt x="3" y="8"/>
                      <a:pt x="3" y="9"/>
                      <a:pt x="3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8" name="Freeform 522"/>
              <p:cNvSpPr/>
              <p:nvPr/>
            </p:nvSpPr>
            <p:spPr bwMode="auto">
              <a:xfrm>
                <a:off x="3556" y="1149"/>
                <a:ext cx="4" cy="12"/>
              </a:xfrm>
              <a:custGeom>
                <a:avLst/>
                <a:gdLst>
                  <a:gd name="T0" fmla="*/ 8192 w 2"/>
                  <a:gd name="T1" fmla="*/ 107827 h 5"/>
                  <a:gd name="T2" fmla="*/ 8192 w 2"/>
                  <a:gd name="T3" fmla="*/ 184798 h 5"/>
                  <a:gd name="T4" fmla="*/ 4096 w 2"/>
                  <a:gd name="T5" fmla="*/ 0 h 5"/>
                  <a:gd name="T6" fmla="*/ 8192 w 2"/>
                  <a:gd name="T7" fmla="*/ 107827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4"/>
                      <a:pt x="2" y="5"/>
                    </a:cubicBezTo>
                    <a:cubicBezTo>
                      <a:pt x="0" y="4"/>
                      <a:pt x="1" y="2"/>
                      <a:pt x="1" y="0"/>
                    </a:cubicBezTo>
                    <a:cubicBezTo>
                      <a:pt x="2" y="1"/>
                      <a:pt x="2" y="2"/>
                      <a:pt x="2" y="3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9" name="Freeform 523"/>
              <p:cNvSpPr/>
              <p:nvPr/>
            </p:nvSpPr>
            <p:spPr bwMode="auto">
              <a:xfrm>
                <a:off x="3556" y="1144"/>
                <a:ext cx="7" cy="19"/>
              </a:xfrm>
              <a:custGeom>
                <a:avLst/>
                <a:gdLst>
                  <a:gd name="T0" fmla="*/ 57269 w 3"/>
                  <a:gd name="T1" fmla="*/ 256987 h 8"/>
                  <a:gd name="T2" fmla="*/ 24544 w 3"/>
                  <a:gd name="T3" fmla="*/ 256987 h 8"/>
                  <a:gd name="T4" fmla="*/ 0 w 3"/>
                  <a:gd name="T5" fmla="*/ 96347 h 8"/>
                  <a:gd name="T6" fmla="*/ 24544 w 3"/>
                  <a:gd name="T7" fmla="*/ 69972 h 8"/>
                  <a:gd name="T8" fmla="*/ 24544 w 3"/>
                  <a:gd name="T9" fmla="*/ 0 h 8"/>
                  <a:gd name="T10" fmla="*/ 57269 w 3"/>
                  <a:gd name="T11" fmla="*/ 69972 h 8"/>
                  <a:gd name="T12" fmla="*/ 57269 w 3"/>
                  <a:gd name="T13" fmla="*/ 96347 h 8"/>
                  <a:gd name="T14" fmla="*/ 57269 w 3"/>
                  <a:gd name="T15" fmla="*/ 166184 h 8"/>
                  <a:gd name="T16" fmla="*/ 57269 w 3"/>
                  <a:gd name="T17" fmla="*/ 228824 h 8"/>
                  <a:gd name="T18" fmla="*/ 57269 w 3"/>
                  <a:gd name="T19" fmla="*/ 228824 h 8"/>
                  <a:gd name="T20" fmla="*/ 57269 w 3"/>
                  <a:gd name="T21" fmla="*/ 256987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" h="8">
                    <a:moveTo>
                      <a:pt x="2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5"/>
                      <a:pt x="0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4"/>
                      <a:pt x="3" y="4"/>
                      <a:pt x="2" y="5"/>
                    </a:cubicBezTo>
                    <a:cubicBezTo>
                      <a:pt x="2" y="6"/>
                      <a:pt x="2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0" name="Freeform 524"/>
              <p:cNvSpPr/>
              <p:nvPr/>
            </p:nvSpPr>
            <p:spPr bwMode="auto">
              <a:xfrm>
                <a:off x="3558" y="1184"/>
                <a:ext cx="5" cy="7"/>
              </a:xfrm>
              <a:custGeom>
                <a:avLst/>
                <a:gdLst>
                  <a:gd name="T0" fmla="*/ 76488 w 2"/>
                  <a:gd name="T1" fmla="*/ 24544 h 3"/>
                  <a:gd name="T2" fmla="*/ 76488 w 2"/>
                  <a:gd name="T3" fmla="*/ 75677 h 3"/>
                  <a:gd name="T4" fmla="*/ 0 w 2"/>
                  <a:gd name="T5" fmla="*/ 0 h 3"/>
                  <a:gd name="T6" fmla="*/ 76488 w 2"/>
                  <a:gd name="T7" fmla="*/ 24544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2" y="2"/>
                      <a:pt x="2" y="2"/>
                      <a:pt x="1" y="3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1" y="1"/>
                      <a:pt x="1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1" name="Freeform 525"/>
              <p:cNvSpPr/>
              <p:nvPr/>
            </p:nvSpPr>
            <p:spPr bwMode="auto">
              <a:xfrm>
                <a:off x="3553" y="1175"/>
                <a:ext cx="12" cy="19"/>
              </a:xfrm>
              <a:custGeom>
                <a:avLst/>
                <a:gdLst>
                  <a:gd name="T0" fmla="*/ 107827 w 5"/>
                  <a:gd name="T1" fmla="*/ 256987 h 8"/>
                  <a:gd name="T2" fmla="*/ 107827 w 5"/>
                  <a:gd name="T3" fmla="*/ 228824 h 8"/>
                  <a:gd name="T4" fmla="*/ 107827 w 5"/>
                  <a:gd name="T5" fmla="*/ 228824 h 8"/>
                  <a:gd name="T6" fmla="*/ 107827 w 5"/>
                  <a:gd name="T7" fmla="*/ 228824 h 8"/>
                  <a:gd name="T8" fmla="*/ 0 w 5"/>
                  <a:gd name="T9" fmla="*/ 0 h 8"/>
                  <a:gd name="T10" fmla="*/ 107827 w 5"/>
                  <a:gd name="T11" fmla="*/ 136779 h 8"/>
                  <a:gd name="T12" fmla="*/ 153278 w 5"/>
                  <a:gd name="T13" fmla="*/ 166184 h 8"/>
                  <a:gd name="T14" fmla="*/ 153278 w 5"/>
                  <a:gd name="T15" fmla="*/ 166184 h 8"/>
                  <a:gd name="T16" fmla="*/ 153278 w 5"/>
                  <a:gd name="T17" fmla="*/ 187179 h 8"/>
                  <a:gd name="T18" fmla="*/ 153278 w 5"/>
                  <a:gd name="T19" fmla="*/ 228824 h 8"/>
                  <a:gd name="T20" fmla="*/ 107827 w 5"/>
                  <a:gd name="T21" fmla="*/ 256987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" h="8">
                    <a:moveTo>
                      <a:pt x="3" y="8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6"/>
                    </a:cubicBezTo>
                    <a:cubicBezTo>
                      <a:pt x="4" y="6"/>
                      <a:pt x="5" y="7"/>
                      <a:pt x="4" y="7"/>
                    </a:cubicBezTo>
                    <a:lnTo>
                      <a:pt x="3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2" name="Freeform 526"/>
              <p:cNvSpPr/>
              <p:nvPr/>
            </p:nvSpPr>
            <p:spPr bwMode="auto">
              <a:xfrm>
                <a:off x="3711" y="1399"/>
                <a:ext cx="8" cy="10"/>
              </a:xfrm>
              <a:custGeom>
                <a:avLst/>
                <a:gdLst>
                  <a:gd name="T0" fmla="*/ 237717 w 3"/>
                  <a:gd name="T1" fmla="*/ 0 h 4"/>
                  <a:gd name="T2" fmla="*/ 0 w 3"/>
                  <a:gd name="T3" fmla="*/ 241220 h 4"/>
                  <a:gd name="T4" fmla="*/ 237717 w 3"/>
                  <a:gd name="T5" fmla="*/ 0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cubicBezTo>
                      <a:pt x="0" y="1"/>
                      <a:pt x="0" y="2"/>
                      <a:pt x="0" y="4"/>
                    </a:cubicBezTo>
                    <a:cubicBezTo>
                      <a:pt x="1" y="3"/>
                      <a:pt x="3" y="2"/>
                      <a:pt x="2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3" name="Freeform 527"/>
              <p:cNvSpPr>
                <a:spLocks noEditPoints="1"/>
              </p:cNvSpPr>
              <p:nvPr/>
            </p:nvSpPr>
            <p:spPr bwMode="auto">
              <a:xfrm>
                <a:off x="3707" y="1399"/>
                <a:ext cx="12" cy="12"/>
              </a:xfrm>
              <a:custGeom>
                <a:avLst/>
                <a:gdLst>
                  <a:gd name="T0" fmla="*/ 0 w 5"/>
                  <a:gd name="T1" fmla="*/ 184798 h 5"/>
                  <a:gd name="T2" fmla="*/ 32083 w 5"/>
                  <a:gd name="T3" fmla="*/ 107827 h 5"/>
                  <a:gd name="T4" fmla="*/ 32083 w 5"/>
                  <a:gd name="T5" fmla="*/ 76999 h 5"/>
                  <a:gd name="T6" fmla="*/ 153278 w 5"/>
                  <a:gd name="T7" fmla="*/ 0 h 5"/>
                  <a:gd name="T8" fmla="*/ 153278 w 5"/>
                  <a:gd name="T9" fmla="*/ 0 h 5"/>
                  <a:gd name="T10" fmla="*/ 153278 w 5"/>
                  <a:gd name="T11" fmla="*/ 0 h 5"/>
                  <a:gd name="T12" fmla="*/ 184798 w 5"/>
                  <a:gd name="T13" fmla="*/ 32083 h 5"/>
                  <a:gd name="T14" fmla="*/ 107827 w 5"/>
                  <a:gd name="T15" fmla="*/ 107827 h 5"/>
                  <a:gd name="T16" fmla="*/ 76999 w 5"/>
                  <a:gd name="T17" fmla="*/ 153278 h 5"/>
                  <a:gd name="T18" fmla="*/ 0 w 5"/>
                  <a:gd name="T19" fmla="*/ 184798 h 5"/>
                  <a:gd name="T20" fmla="*/ 153278 w 5"/>
                  <a:gd name="T21" fmla="*/ 32083 h 5"/>
                  <a:gd name="T22" fmla="*/ 107827 w 5"/>
                  <a:gd name="T23" fmla="*/ 76999 h 5"/>
                  <a:gd name="T24" fmla="*/ 153278 w 5"/>
                  <a:gd name="T25" fmla="*/ 32083 h 5"/>
                  <a:gd name="T26" fmla="*/ 153278 w 5"/>
                  <a:gd name="T27" fmla="*/ 32083 h 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2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5" y="2"/>
                      <a:pt x="4" y="3"/>
                      <a:pt x="3" y="3"/>
                    </a:cubicBezTo>
                    <a:cubicBezTo>
                      <a:pt x="2" y="4"/>
                      <a:pt x="2" y="4"/>
                      <a:pt x="2" y="4"/>
                    </a:cubicBezTo>
                    <a:lnTo>
                      <a:pt x="0" y="5"/>
                    </a:lnTo>
                    <a:close/>
                    <a:moveTo>
                      <a:pt x="4" y="1"/>
                    </a:moveTo>
                    <a:cubicBezTo>
                      <a:pt x="3" y="1"/>
                      <a:pt x="3" y="2"/>
                      <a:pt x="3" y="2"/>
                    </a:cubicBezTo>
                    <a:cubicBezTo>
                      <a:pt x="3" y="2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4" name="Freeform 528"/>
              <p:cNvSpPr/>
              <p:nvPr/>
            </p:nvSpPr>
            <p:spPr bwMode="auto">
              <a:xfrm>
                <a:off x="3567" y="1439"/>
                <a:ext cx="5" cy="7"/>
              </a:xfrm>
              <a:custGeom>
                <a:avLst/>
                <a:gdLst>
                  <a:gd name="T0" fmla="*/ 0 w 2"/>
                  <a:gd name="T1" fmla="*/ 57269 h 3"/>
                  <a:gd name="T2" fmla="*/ 126958 w 2"/>
                  <a:gd name="T3" fmla="*/ 24544 h 3"/>
                  <a:gd name="T4" fmla="*/ 76488 w 2"/>
                  <a:gd name="T5" fmla="*/ 0 h 3"/>
                  <a:gd name="T6" fmla="*/ 0 w 2"/>
                  <a:gd name="T7" fmla="*/ 57269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cubicBezTo>
                      <a:pt x="1" y="3"/>
                      <a:pt x="2" y="2"/>
                      <a:pt x="2" y="1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1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5" name="Freeform 529"/>
              <p:cNvSpPr/>
              <p:nvPr/>
            </p:nvSpPr>
            <p:spPr bwMode="auto">
              <a:xfrm>
                <a:off x="3567" y="1439"/>
                <a:ext cx="7" cy="7"/>
              </a:xfrm>
              <a:custGeom>
                <a:avLst/>
                <a:gdLst>
                  <a:gd name="T0" fmla="*/ 24544 w 3"/>
                  <a:gd name="T1" fmla="*/ 75677 h 3"/>
                  <a:gd name="T2" fmla="*/ 24544 w 3"/>
                  <a:gd name="T3" fmla="*/ 75677 h 3"/>
                  <a:gd name="T4" fmla="*/ 0 w 3"/>
                  <a:gd name="T5" fmla="*/ 75677 h 3"/>
                  <a:gd name="T6" fmla="*/ 0 w 3"/>
                  <a:gd name="T7" fmla="*/ 57269 h 3"/>
                  <a:gd name="T8" fmla="*/ 0 w 3"/>
                  <a:gd name="T9" fmla="*/ 57269 h 3"/>
                  <a:gd name="T10" fmla="*/ 0 w 3"/>
                  <a:gd name="T11" fmla="*/ 0 h 3"/>
                  <a:gd name="T12" fmla="*/ 24544 w 3"/>
                  <a:gd name="T13" fmla="*/ 0 h 3"/>
                  <a:gd name="T14" fmla="*/ 24544 w 3"/>
                  <a:gd name="T15" fmla="*/ 0 h 3"/>
                  <a:gd name="T16" fmla="*/ 75677 w 3"/>
                  <a:gd name="T17" fmla="*/ 0 h 3"/>
                  <a:gd name="T18" fmla="*/ 75677 w 3"/>
                  <a:gd name="T19" fmla="*/ 24544 h 3"/>
                  <a:gd name="T20" fmla="*/ 75677 w 3"/>
                  <a:gd name="T21" fmla="*/ 24544 h 3"/>
                  <a:gd name="T22" fmla="*/ 24544 w 3"/>
                  <a:gd name="T23" fmla="*/ 75677 h 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2"/>
                      <a:pt x="2" y="3"/>
                      <a:pt x="1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6" name="Freeform 530"/>
              <p:cNvSpPr/>
              <p:nvPr/>
            </p:nvSpPr>
            <p:spPr bwMode="auto">
              <a:xfrm>
                <a:off x="3591" y="1449"/>
                <a:ext cx="19" cy="71"/>
              </a:xfrm>
              <a:custGeom>
                <a:avLst/>
                <a:gdLst>
                  <a:gd name="T0" fmla="*/ 96347 w 8"/>
                  <a:gd name="T1" fmla="*/ 0 h 30"/>
                  <a:gd name="T2" fmla="*/ 136779 w 8"/>
                  <a:gd name="T3" fmla="*/ 314883 h 30"/>
                  <a:gd name="T4" fmla="*/ 256987 w 8"/>
                  <a:gd name="T5" fmla="*/ 612174 h 30"/>
                  <a:gd name="T6" fmla="*/ 96347 w 8"/>
                  <a:gd name="T7" fmla="*/ 705723 h 30"/>
                  <a:gd name="T8" fmla="*/ 166184 w 8"/>
                  <a:gd name="T9" fmla="*/ 926893 h 30"/>
                  <a:gd name="T10" fmla="*/ 96347 w 8"/>
                  <a:gd name="T11" fmla="*/ 859266 h 30"/>
                  <a:gd name="T12" fmla="*/ 69972 w 8"/>
                  <a:gd name="T13" fmla="*/ 926893 h 30"/>
                  <a:gd name="T14" fmla="*/ 69972 w 8"/>
                  <a:gd name="T15" fmla="*/ 745223 h 30"/>
                  <a:gd name="T16" fmla="*/ 29462 w 8"/>
                  <a:gd name="T17" fmla="*/ 649662 h 30"/>
                  <a:gd name="T18" fmla="*/ 69972 w 8"/>
                  <a:gd name="T19" fmla="*/ 496063 h 30"/>
                  <a:gd name="T20" fmla="*/ 29462 w 8"/>
                  <a:gd name="T21" fmla="*/ 314883 h 30"/>
                  <a:gd name="T22" fmla="*/ 29462 w 8"/>
                  <a:gd name="T23" fmla="*/ 93611 h 30"/>
                  <a:gd name="T24" fmla="*/ 69972 w 8"/>
                  <a:gd name="T25" fmla="*/ 0 h 30"/>
                  <a:gd name="T26" fmla="*/ 96347 w 8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" h="30">
                    <a:moveTo>
                      <a:pt x="3" y="0"/>
                    </a:moveTo>
                    <a:cubicBezTo>
                      <a:pt x="5" y="2"/>
                      <a:pt x="4" y="7"/>
                      <a:pt x="4" y="10"/>
                    </a:cubicBezTo>
                    <a:cubicBezTo>
                      <a:pt x="4" y="13"/>
                      <a:pt x="6" y="17"/>
                      <a:pt x="8" y="20"/>
                    </a:cubicBezTo>
                    <a:cubicBezTo>
                      <a:pt x="4" y="17"/>
                      <a:pt x="4" y="19"/>
                      <a:pt x="3" y="23"/>
                    </a:cubicBezTo>
                    <a:cubicBezTo>
                      <a:pt x="2" y="26"/>
                      <a:pt x="6" y="27"/>
                      <a:pt x="5" y="30"/>
                    </a:cubicBezTo>
                    <a:cubicBezTo>
                      <a:pt x="5" y="28"/>
                      <a:pt x="4" y="28"/>
                      <a:pt x="3" y="28"/>
                    </a:cubicBezTo>
                    <a:cubicBezTo>
                      <a:pt x="2" y="27"/>
                      <a:pt x="2" y="29"/>
                      <a:pt x="2" y="30"/>
                    </a:cubicBezTo>
                    <a:cubicBezTo>
                      <a:pt x="0" y="29"/>
                      <a:pt x="1" y="25"/>
                      <a:pt x="2" y="24"/>
                    </a:cubicBezTo>
                    <a:cubicBezTo>
                      <a:pt x="2" y="22"/>
                      <a:pt x="1" y="22"/>
                      <a:pt x="1" y="21"/>
                    </a:cubicBezTo>
                    <a:cubicBezTo>
                      <a:pt x="1" y="19"/>
                      <a:pt x="2" y="18"/>
                      <a:pt x="2" y="16"/>
                    </a:cubicBezTo>
                    <a:cubicBezTo>
                      <a:pt x="2" y="14"/>
                      <a:pt x="2" y="12"/>
                      <a:pt x="1" y="10"/>
                    </a:cubicBezTo>
                    <a:cubicBezTo>
                      <a:pt x="0" y="8"/>
                      <a:pt x="1" y="5"/>
                      <a:pt x="1" y="3"/>
                    </a:cubicBezTo>
                    <a:cubicBezTo>
                      <a:pt x="4" y="4"/>
                      <a:pt x="3" y="1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7" name="Freeform 531"/>
              <p:cNvSpPr>
                <a:spLocks noEditPoints="1"/>
              </p:cNvSpPr>
              <p:nvPr/>
            </p:nvSpPr>
            <p:spPr bwMode="auto">
              <a:xfrm>
                <a:off x="3589" y="1446"/>
                <a:ext cx="26" cy="85"/>
              </a:xfrm>
              <a:custGeom>
                <a:avLst/>
                <a:gdLst>
                  <a:gd name="T0" fmla="*/ 114948 w 11"/>
                  <a:gd name="T1" fmla="*/ 1083750 h 36"/>
                  <a:gd name="T2" fmla="*/ 152034 w 11"/>
                  <a:gd name="T3" fmla="*/ 926283 h 36"/>
                  <a:gd name="T4" fmla="*/ 114948 w 11"/>
                  <a:gd name="T5" fmla="*/ 866481 h 36"/>
                  <a:gd name="T6" fmla="*/ 92723 w 11"/>
                  <a:gd name="T7" fmla="*/ 904919 h 36"/>
                  <a:gd name="T8" fmla="*/ 92723 w 11"/>
                  <a:gd name="T9" fmla="*/ 926283 h 36"/>
                  <a:gd name="T10" fmla="*/ 92723 w 11"/>
                  <a:gd name="T11" fmla="*/ 965033 h 36"/>
                  <a:gd name="T12" fmla="*/ 64322 w 11"/>
                  <a:gd name="T13" fmla="*/ 926283 h 36"/>
                  <a:gd name="T14" fmla="*/ 64322 w 11"/>
                  <a:gd name="T15" fmla="*/ 747821 h 36"/>
                  <a:gd name="T16" fmla="*/ 64322 w 11"/>
                  <a:gd name="T17" fmla="*/ 747821 h 36"/>
                  <a:gd name="T18" fmla="*/ 64322 w 11"/>
                  <a:gd name="T19" fmla="*/ 688521 h 36"/>
                  <a:gd name="T20" fmla="*/ 64322 w 11"/>
                  <a:gd name="T21" fmla="*/ 661510 h 36"/>
                  <a:gd name="T22" fmla="*/ 64322 w 11"/>
                  <a:gd name="T23" fmla="*/ 569861 h 36"/>
                  <a:gd name="T24" fmla="*/ 64322 w 11"/>
                  <a:gd name="T25" fmla="*/ 506123 h 36"/>
                  <a:gd name="T26" fmla="*/ 27213 w 11"/>
                  <a:gd name="T27" fmla="*/ 328532 h 36"/>
                  <a:gd name="T28" fmla="*/ 27213 w 11"/>
                  <a:gd name="T29" fmla="*/ 150582 h 36"/>
                  <a:gd name="T30" fmla="*/ 27213 w 11"/>
                  <a:gd name="T31" fmla="*/ 114190 h 36"/>
                  <a:gd name="T32" fmla="*/ 64322 w 11"/>
                  <a:gd name="T33" fmla="*/ 90787 h 36"/>
                  <a:gd name="T34" fmla="*/ 64322 w 11"/>
                  <a:gd name="T35" fmla="*/ 90787 h 36"/>
                  <a:gd name="T36" fmla="*/ 92723 w 11"/>
                  <a:gd name="T37" fmla="*/ 114190 h 36"/>
                  <a:gd name="T38" fmla="*/ 92723 w 11"/>
                  <a:gd name="T39" fmla="*/ 27011 h 36"/>
                  <a:gd name="T40" fmla="*/ 64322 w 11"/>
                  <a:gd name="T41" fmla="*/ 27011 h 36"/>
                  <a:gd name="T42" fmla="*/ 92723 w 11"/>
                  <a:gd name="T43" fmla="*/ 0 h 36"/>
                  <a:gd name="T44" fmla="*/ 92723 w 11"/>
                  <a:gd name="T45" fmla="*/ 0 h 36"/>
                  <a:gd name="T46" fmla="*/ 114948 w 11"/>
                  <a:gd name="T47" fmla="*/ 0 h 36"/>
                  <a:gd name="T48" fmla="*/ 114948 w 11"/>
                  <a:gd name="T49" fmla="*/ 0 h 36"/>
                  <a:gd name="T50" fmla="*/ 179284 w 11"/>
                  <a:gd name="T51" fmla="*/ 241353 h 36"/>
                  <a:gd name="T52" fmla="*/ 179284 w 11"/>
                  <a:gd name="T53" fmla="*/ 328532 h 36"/>
                  <a:gd name="T54" fmla="*/ 271695 w 11"/>
                  <a:gd name="T55" fmla="*/ 636591 h 36"/>
                  <a:gd name="T56" fmla="*/ 331318 w 11"/>
                  <a:gd name="T57" fmla="*/ 727338 h 36"/>
                  <a:gd name="T58" fmla="*/ 244478 w 11"/>
                  <a:gd name="T59" fmla="*/ 661510 h 36"/>
                  <a:gd name="T60" fmla="*/ 179284 w 11"/>
                  <a:gd name="T61" fmla="*/ 598119 h 36"/>
                  <a:gd name="T62" fmla="*/ 152034 w 11"/>
                  <a:gd name="T63" fmla="*/ 727338 h 36"/>
                  <a:gd name="T64" fmla="*/ 152034 w 11"/>
                  <a:gd name="T65" fmla="*/ 814173 h 36"/>
                  <a:gd name="T66" fmla="*/ 179284 w 11"/>
                  <a:gd name="T67" fmla="*/ 926283 h 36"/>
                  <a:gd name="T68" fmla="*/ 114948 w 11"/>
                  <a:gd name="T69" fmla="*/ 1083750 h 36"/>
                  <a:gd name="T70" fmla="*/ 64322 w 11"/>
                  <a:gd name="T71" fmla="*/ 150582 h 36"/>
                  <a:gd name="T72" fmla="*/ 64322 w 11"/>
                  <a:gd name="T73" fmla="*/ 150582 h 36"/>
                  <a:gd name="T74" fmla="*/ 64322 w 11"/>
                  <a:gd name="T75" fmla="*/ 328532 h 36"/>
                  <a:gd name="T76" fmla="*/ 92723 w 11"/>
                  <a:gd name="T77" fmla="*/ 506123 h 36"/>
                  <a:gd name="T78" fmla="*/ 92723 w 11"/>
                  <a:gd name="T79" fmla="*/ 569861 h 36"/>
                  <a:gd name="T80" fmla="*/ 92723 w 11"/>
                  <a:gd name="T81" fmla="*/ 661510 h 36"/>
                  <a:gd name="T82" fmla="*/ 92723 w 11"/>
                  <a:gd name="T83" fmla="*/ 688521 h 36"/>
                  <a:gd name="T84" fmla="*/ 92723 w 11"/>
                  <a:gd name="T85" fmla="*/ 747821 h 36"/>
                  <a:gd name="T86" fmla="*/ 92723 w 11"/>
                  <a:gd name="T87" fmla="*/ 775701 h 36"/>
                  <a:gd name="T88" fmla="*/ 92723 w 11"/>
                  <a:gd name="T89" fmla="*/ 866481 h 36"/>
                  <a:gd name="T90" fmla="*/ 114948 w 11"/>
                  <a:gd name="T91" fmla="*/ 839472 h 36"/>
                  <a:gd name="T92" fmla="*/ 152034 w 11"/>
                  <a:gd name="T93" fmla="*/ 839472 h 36"/>
                  <a:gd name="T94" fmla="*/ 114948 w 11"/>
                  <a:gd name="T95" fmla="*/ 839472 h 36"/>
                  <a:gd name="T96" fmla="*/ 92723 w 11"/>
                  <a:gd name="T97" fmla="*/ 727338 h 36"/>
                  <a:gd name="T98" fmla="*/ 179284 w 11"/>
                  <a:gd name="T99" fmla="*/ 569861 h 36"/>
                  <a:gd name="T100" fmla="*/ 219163 w 11"/>
                  <a:gd name="T101" fmla="*/ 569861 h 36"/>
                  <a:gd name="T102" fmla="*/ 152034 w 11"/>
                  <a:gd name="T103" fmla="*/ 328532 h 36"/>
                  <a:gd name="T104" fmla="*/ 152034 w 11"/>
                  <a:gd name="T105" fmla="*/ 241353 h 36"/>
                  <a:gd name="T106" fmla="*/ 114948 w 11"/>
                  <a:gd name="T107" fmla="*/ 63776 h 36"/>
                  <a:gd name="T108" fmla="*/ 114948 w 11"/>
                  <a:gd name="T109" fmla="*/ 114190 h 36"/>
                  <a:gd name="T110" fmla="*/ 92723 w 11"/>
                  <a:gd name="T111" fmla="*/ 150582 h 36"/>
                  <a:gd name="T112" fmla="*/ 92723 w 11"/>
                  <a:gd name="T113" fmla="*/ 150582 h 36"/>
                  <a:gd name="T114" fmla="*/ 64322 w 11"/>
                  <a:gd name="T115" fmla="*/ 150582 h 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1" h="36">
                    <a:moveTo>
                      <a:pt x="4" y="36"/>
                    </a:moveTo>
                    <a:cubicBezTo>
                      <a:pt x="5" y="31"/>
                      <a:pt x="5" y="31"/>
                      <a:pt x="5" y="31"/>
                    </a:cubicBezTo>
                    <a:cubicBezTo>
                      <a:pt x="5" y="30"/>
                      <a:pt x="5" y="29"/>
                      <a:pt x="4" y="29"/>
                    </a:cubicBezTo>
                    <a:cubicBezTo>
                      <a:pt x="4" y="29"/>
                      <a:pt x="4" y="30"/>
                      <a:pt x="3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2" y="31"/>
                      <a:pt x="2" y="31"/>
                      <a:pt x="2" y="31"/>
                    </a:cubicBezTo>
                    <a:cubicBezTo>
                      <a:pt x="1" y="30"/>
                      <a:pt x="2" y="28"/>
                      <a:pt x="2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4"/>
                      <a:pt x="2" y="24"/>
                      <a:pt x="2" y="23"/>
                    </a:cubicBezTo>
                    <a:cubicBezTo>
                      <a:pt x="2" y="23"/>
                      <a:pt x="2" y="22"/>
                      <a:pt x="2" y="22"/>
                    </a:cubicBezTo>
                    <a:cubicBezTo>
                      <a:pt x="1" y="21"/>
                      <a:pt x="2" y="20"/>
                      <a:pt x="2" y="19"/>
                    </a:cubicBezTo>
                    <a:cubicBezTo>
                      <a:pt x="2" y="18"/>
                      <a:pt x="2" y="18"/>
                      <a:pt x="2" y="17"/>
                    </a:cubicBezTo>
                    <a:cubicBezTo>
                      <a:pt x="2" y="16"/>
                      <a:pt x="2" y="13"/>
                      <a:pt x="1" y="11"/>
                    </a:cubicBezTo>
                    <a:cubicBezTo>
                      <a:pt x="0" y="10"/>
                      <a:pt x="1" y="7"/>
                      <a:pt x="1" y="5"/>
                    </a:cubicBezTo>
                    <a:cubicBezTo>
                      <a:pt x="1" y="5"/>
                      <a:pt x="1" y="4"/>
                      <a:pt x="1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3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2"/>
                      <a:pt x="6" y="5"/>
                      <a:pt x="6" y="8"/>
                    </a:cubicBezTo>
                    <a:cubicBezTo>
                      <a:pt x="6" y="9"/>
                      <a:pt x="6" y="10"/>
                      <a:pt x="6" y="11"/>
                    </a:cubicBezTo>
                    <a:cubicBezTo>
                      <a:pt x="6" y="14"/>
                      <a:pt x="8" y="18"/>
                      <a:pt x="9" y="21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7" y="21"/>
                      <a:pt x="6" y="20"/>
                      <a:pt x="6" y="20"/>
                    </a:cubicBezTo>
                    <a:cubicBezTo>
                      <a:pt x="5" y="20"/>
                      <a:pt x="5" y="22"/>
                      <a:pt x="5" y="24"/>
                    </a:cubicBezTo>
                    <a:cubicBezTo>
                      <a:pt x="4" y="25"/>
                      <a:pt x="5" y="26"/>
                      <a:pt x="5" y="27"/>
                    </a:cubicBezTo>
                    <a:cubicBezTo>
                      <a:pt x="6" y="28"/>
                      <a:pt x="7" y="29"/>
                      <a:pt x="6" y="31"/>
                    </a:cubicBezTo>
                    <a:lnTo>
                      <a:pt x="4" y="36"/>
                    </a:lnTo>
                    <a:close/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7"/>
                      <a:pt x="2" y="10"/>
                      <a:pt x="2" y="11"/>
                    </a:cubicBezTo>
                    <a:cubicBezTo>
                      <a:pt x="3" y="12"/>
                      <a:pt x="4" y="15"/>
                      <a:pt x="3" y="17"/>
                    </a:cubicBezTo>
                    <a:cubicBezTo>
                      <a:pt x="3" y="18"/>
                      <a:pt x="3" y="18"/>
                      <a:pt x="3" y="19"/>
                    </a:cubicBezTo>
                    <a:cubicBezTo>
                      <a:pt x="3" y="20"/>
                      <a:pt x="3" y="21"/>
                      <a:pt x="3" y="22"/>
                    </a:cubicBezTo>
                    <a:cubicBezTo>
                      <a:pt x="3" y="22"/>
                      <a:pt x="3" y="22"/>
                      <a:pt x="3" y="23"/>
                    </a:cubicBezTo>
                    <a:cubicBezTo>
                      <a:pt x="3" y="23"/>
                      <a:pt x="3" y="24"/>
                      <a:pt x="3" y="25"/>
                    </a:cubicBezTo>
                    <a:cubicBezTo>
                      <a:pt x="3" y="25"/>
                      <a:pt x="3" y="25"/>
                      <a:pt x="3" y="26"/>
                    </a:cubicBezTo>
                    <a:cubicBezTo>
                      <a:pt x="3" y="27"/>
                      <a:pt x="3" y="28"/>
                      <a:pt x="3" y="29"/>
                    </a:cubicBezTo>
                    <a:cubicBezTo>
                      <a:pt x="3" y="29"/>
                      <a:pt x="4" y="28"/>
                      <a:pt x="4" y="28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8"/>
                      <a:pt x="5" y="28"/>
                      <a:pt x="4" y="28"/>
                    </a:cubicBezTo>
                    <a:cubicBezTo>
                      <a:pt x="4" y="27"/>
                      <a:pt x="3" y="25"/>
                      <a:pt x="3" y="24"/>
                    </a:cubicBezTo>
                    <a:cubicBezTo>
                      <a:pt x="4" y="21"/>
                      <a:pt x="4" y="19"/>
                      <a:pt x="6" y="19"/>
                    </a:cubicBezTo>
                    <a:cubicBezTo>
                      <a:pt x="6" y="19"/>
                      <a:pt x="7" y="19"/>
                      <a:pt x="7" y="19"/>
                    </a:cubicBezTo>
                    <a:cubicBezTo>
                      <a:pt x="6" y="17"/>
                      <a:pt x="5" y="14"/>
                      <a:pt x="5" y="11"/>
                    </a:cubicBezTo>
                    <a:cubicBezTo>
                      <a:pt x="4" y="10"/>
                      <a:pt x="5" y="9"/>
                      <a:pt x="5" y="8"/>
                    </a:cubicBezTo>
                    <a:cubicBezTo>
                      <a:pt x="5" y="6"/>
                      <a:pt x="5" y="4"/>
                      <a:pt x="4" y="2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8" name="Freeform 532"/>
              <p:cNvSpPr/>
              <p:nvPr/>
            </p:nvSpPr>
            <p:spPr bwMode="auto">
              <a:xfrm>
                <a:off x="3565" y="2008"/>
                <a:ext cx="7" cy="5"/>
              </a:xfrm>
              <a:custGeom>
                <a:avLst/>
                <a:gdLst>
                  <a:gd name="T0" fmla="*/ 0 w 3"/>
                  <a:gd name="T1" fmla="*/ 76488 h 2"/>
                  <a:gd name="T2" fmla="*/ 75677 w 3"/>
                  <a:gd name="T3" fmla="*/ 76488 h 2"/>
                  <a:gd name="T4" fmla="*/ 0 w 3"/>
                  <a:gd name="T5" fmla="*/ 76488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1"/>
                    </a:moveTo>
                    <a:cubicBezTo>
                      <a:pt x="1" y="0"/>
                      <a:pt x="2" y="0"/>
                      <a:pt x="3" y="1"/>
                    </a:cubicBezTo>
                    <a:cubicBezTo>
                      <a:pt x="2" y="1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9" name="Freeform 533"/>
              <p:cNvSpPr/>
              <p:nvPr/>
            </p:nvSpPr>
            <p:spPr bwMode="auto">
              <a:xfrm>
                <a:off x="3563" y="2008"/>
                <a:ext cx="14" cy="5"/>
              </a:xfrm>
              <a:custGeom>
                <a:avLst/>
                <a:gdLst>
                  <a:gd name="T0" fmla="*/ 57269 w 6"/>
                  <a:gd name="T1" fmla="*/ 126958 h 2"/>
                  <a:gd name="T2" fmla="*/ 0 w 6"/>
                  <a:gd name="T3" fmla="*/ 76488 h 2"/>
                  <a:gd name="T4" fmla="*/ 0 w 6"/>
                  <a:gd name="T5" fmla="*/ 0 h 2"/>
                  <a:gd name="T6" fmla="*/ 24544 w 6"/>
                  <a:gd name="T7" fmla="*/ 0 h 2"/>
                  <a:gd name="T8" fmla="*/ 133628 w 6"/>
                  <a:gd name="T9" fmla="*/ 76488 h 2"/>
                  <a:gd name="T10" fmla="*/ 158172 w 6"/>
                  <a:gd name="T11" fmla="*/ 76488 h 2"/>
                  <a:gd name="T12" fmla="*/ 100221 w 6"/>
                  <a:gd name="T13" fmla="*/ 126958 h 2"/>
                  <a:gd name="T14" fmla="*/ 100221 w 6"/>
                  <a:gd name="T15" fmla="*/ 126958 h 2"/>
                  <a:gd name="T16" fmla="*/ 57269 w 6"/>
                  <a:gd name="T17" fmla="*/ 126958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5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0" name="Freeform 534"/>
              <p:cNvSpPr/>
              <p:nvPr/>
            </p:nvSpPr>
            <p:spPr bwMode="auto">
              <a:xfrm>
                <a:off x="3437" y="1860"/>
                <a:ext cx="220" cy="174"/>
              </a:xfrm>
              <a:custGeom>
                <a:avLst/>
                <a:gdLst>
                  <a:gd name="T0" fmla="*/ 64668 w 93"/>
                  <a:gd name="T1" fmla="*/ 826077 h 74"/>
                  <a:gd name="T2" fmla="*/ 220466 w 93"/>
                  <a:gd name="T3" fmla="*/ 681083 h 74"/>
                  <a:gd name="T4" fmla="*/ 429518 w 93"/>
                  <a:gd name="T5" fmla="*/ 630710 h 74"/>
                  <a:gd name="T6" fmla="*/ 647164 w 93"/>
                  <a:gd name="T7" fmla="*/ 512265 h 74"/>
                  <a:gd name="T8" fmla="*/ 674880 w 93"/>
                  <a:gd name="T9" fmla="*/ 401721 h 74"/>
                  <a:gd name="T10" fmla="*/ 740421 w 93"/>
                  <a:gd name="T11" fmla="*/ 424339 h 74"/>
                  <a:gd name="T12" fmla="*/ 828733 w 93"/>
                  <a:gd name="T13" fmla="*/ 314023 h 74"/>
                  <a:gd name="T14" fmla="*/ 856067 w 93"/>
                  <a:gd name="T15" fmla="*/ 314023 h 74"/>
                  <a:gd name="T16" fmla="*/ 895464 w 93"/>
                  <a:gd name="T17" fmla="*/ 289656 h 74"/>
                  <a:gd name="T18" fmla="*/ 1016064 w 93"/>
                  <a:gd name="T19" fmla="*/ 232537 h 74"/>
                  <a:gd name="T20" fmla="*/ 1169037 w 93"/>
                  <a:gd name="T21" fmla="*/ 314023 h 74"/>
                  <a:gd name="T22" fmla="*/ 1197292 w 93"/>
                  <a:gd name="T23" fmla="*/ 170847 h 74"/>
                  <a:gd name="T24" fmla="*/ 1350265 w 93"/>
                  <a:gd name="T25" fmla="*/ 107332 h 74"/>
                  <a:gd name="T26" fmla="*/ 1377948 w 93"/>
                  <a:gd name="T27" fmla="*/ 61530 h 74"/>
                  <a:gd name="T28" fmla="*/ 1596490 w 93"/>
                  <a:gd name="T29" fmla="*/ 107332 h 74"/>
                  <a:gd name="T30" fmla="*/ 1663221 w 93"/>
                  <a:gd name="T31" fmla="*/ 83022 h 74"/>
                  <a:gd name="T32" fmla="*/ 1623825 w 93"/>
                  <a:gd name="T33" fmla="*/ 170847 h 74"/>
                  <a:gd name="T34" fmla="*/ 1596490 w 93"/>
                  <a:gd name="T35" fmla="*/ 170847 h 74"/>
                  <a:gd name="T36" fmla="*/ 1623825 w 93"/>
                  <a:gd name="T37" fmla="*/ 195214 h 74"/>
                  <a:gd name="T38" fmla="*/ 1623825 w 93"/>
                  <a:gd name="T39" fmla="*/ 340191 h 74"/>
                  <a:gd name="T40" fmla="*/ 1751534 w 93"/>
                  <a:gd name="T41" fmla="*/ 401721 h 74"/>
                  <a:gd name="T42" fmla="*/ 1933107 w 93"/>
                  <a:gd name="T43" fmla="*/ 486031 h 74"/>
                  <a:gd name="T44" fmla="*/ 2118302 w 93"/>
                  <a:gd name="T45" fmla="*/ 107332 h 74"/>
                  <a:gd name="T46" fmla="*/ 2206680 w 93"/>
                  <a:gd name="T47" fmla="*/ 252375 h 74"/>
                  <a:gd name="T48" fmla="*/ 2298617 w 93"/>
                  <a:gd name="T49" fmla="*/ 377582 h 74"/>
                  <a:gd name="T50" fmla="*/ 2366329 w 93"/>
                  <a:gd name="T51" fmla="*/ 546776 h 74"/>
                  <a:gd name="T52" fmla="*/ 2425888 w 93"/>
                  <a:gd name="T53" fmla="*/ 630710 h 74"/>
                  <a:gd name="T54" fmla="*/ 2519291 w 93"/>
                  <a:gd name="T55" fmla="*/ 681083 h 74"/>
                  <a:gd name="T56" fmla="*/ 2607601 w 93"/>
                  <a:gd name="T57" fmla="*/ 799909 h 74"/>
                  <a:gd name="T58" fmla="*/ 2672269 w 93"/>
                  <a:gd name="T59" fmla="*/ 799909 h 74"/>
                  <a:gd name="T60" fmla="*/ 2792812 w 93"/>
                  <a:gd name="T61" fmla="*/ 1032441 h 74"/>
                  <a:gd name="T62" fmla="*/ 2853842 w 93"/>
                  <a:gd name="T63" fmla="*/ 1285662 h 74"/>
                  <a:gd name="T64" fmla="*/ 2700798 w 93"/>
                  <a:gd name="T65" fmla="*/ 1651998 h 74"/>
                  <a:gd name="T66" fmla="*/ 2672269 w 93"/>
                  <a:gd name="T67" fmla="*/ 1773563 h 74"/>
                  <a:gd name="T68" fmla="*/ 2451663 w 93"/>
                  <a:gd name="T69" fmla="*/ 2030305 h 74"/>
                  <a:gd name="T70" fmla="*/ 2366329 w 93"/>
                  <a:gd name="T71" fmla="*/ 2087596 h 74"/>
                  <a:gd name="T72" fmla="*/ 2245573 w 93"/>
                  <a:gd name="T73" fmla="*/ 2030305 h 74"/>
                  <a:gd name="T74" fmla="*/ 2206680 w 93"/>
                  <a:gd name="T75" fmla="*/ 2003293 h 74"/>
                  <a:gd name="T76" fmla="*/ 2118302 w 93"/>
                  <a:gd name="T77" fmla="*/ 2050209 h 74"/>
                  <a:gd name="T78" fmla="*/ 1872134 w 93"/>
                  <a:gd name="T79" fmla="*/ 1922129 h 74"/>
                  <a:gd name="T80" fmla="*/ 1776805 w 93"/>
                  <a:gd name="T81" fmla="*/ 1797044 h 74"/>
                  <a:gd name="T82" fmla="*/ 1691750 w 93"/>
                  <a:gd name="T83" fmla="*/ 1773563 h 74"/>
                  <a:gd name="T84" fmla="*/ 1712137 w 93"/>
                  <a:gd name="T85" fmla="*/ 1689385 h 74"/>
                  <a:gd name="T86" fmla="*/ 1596490 w 93"/>
                  <a:gd name="T87" fmla="*/ 1773563 h 74"/>
                  <a:gd name="T88" fmla="*/ 1571219 w 93"/>
                  <a:gd name="T89" fmla="*/ 1715609 h 74"/>
                  <a:gd name="T90" fmla="*/ 1482914 w 93"/>
                  <a:gd name="T91" fmla="*/ 1564180 h 74"/>
                  <a:gd name="T92" fmla="*/ 1442637 w 93"/>
                  <a:gd name="T93" fmla="*/ 1544706 h 74"/>
                  <a:gd name="T94" fmla="*/ 1197292 w 93"/>
                  <a:gd name="T95" fmla="*/ 1483021 h 74"/>
                  <a:gd name="T96" fmla="*/ 807154 w 93"/>
                  <a:gd name="T97" fmla="*/ 1601465 h 74"/>
                  <a:gd name="T98" fmla="*/ 521532 w 93"/>
                  <a:gd name="T99" fmla="*/ 1651998 h 74"/>
                  <a:gd name="T100" fmla="*/ 220466 w 93"/>
                  <a:gd name="T101" fmla="*/ 1736186 h 74"/>
                  <a:gd name="T102" fmla="*/ 181569 w 93"/>
                  <a:gd name="T103" fmla="*/ 1601465 h 74"/>
                  <a:gd name="T104" fmla="*/ 0 w 93"/>
                  <a:gd name="T105" fmla="*/ 1079310 h 74"/>
                  <a:gd name="T106" fmla="*/ 27337 w 93"/>
                  <a:gd name="T107" fmla="*/ 1079310 h 74"/>
                  <a:gd name="T108" fmla="*/ 27337 w 93"/>
                  <a:gd name="T109" fmla="*/ 863463 h 7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93" h="74">
                    <a:moveTo>
                      <a:pt x="2" y="27"/>
                    </a:moveTo>
                    <a:cubicBezTo>
                      <a:pt x="2" y="27"/>
                      <a:pt x="2" y="28"/>
                      <a:pt x="2" y="29"/>
                    </a:cubicBezTo>
                    <a:cubicBezTo>
                      <a:pt x="2" y="27"/>
                      <a:pt x="3" y="27"/>
                      <a:pt x="4" y="26"/>
                    </a:cubicBezTo>
                    <a:cubicBezTo>
                      <a:pt x="5" y="26"/>
                      <a:pt x="7" y="24"/>
                      <a:pt x="7" y="24"/>
                    </a:cubicBezTo>
                    <a:cubicBezTo>
                      <a:pt x="8" y="23"/>
                      <a:pt x="9" y="24"/>
                      <a:pt x="10" y="24"/>
                    </a:cubicBezTo>
                    <a:cubicBezTo>
                      <a:pt x="11" y="24"/>
                      <a:pt x="13" y="22"/>
                      <a:pt x="14" y="22"/>
                    </a:cubicBezTo>
                    <a:cubicBezTo>
                      <a:pt x="16" y="23"/>
                      <a:pt x="19" y="21"/>
                      <a:pt x="20" y="19"/>
                    </a:cubicBezTo>
                    <a:cubicBezTo>
                      <a:pt x="20" y="18"/>
                      <a:pt x="21" y="18"/>
                      <a:pt x="21" y="18"/>
                    </a:cubicBezTo>
                    <a:cubicBezTo>
                      <a:pt x="21" y="17"/>
                      <a:pt x="20" y="17"/>
                      <a:pt x="20" y="16"/>
                    </a:cubicBezTo>
                    <a:cubicBezTo>
                      <a:pt x="21" y="15"/>
                      <a:pt x="22" y="15"/>
                      <a:pt x="22" y="14"/>
                    </a:cubicBezTo>
                    <a:cubicBezTo>
                      <a:pt x="23" y="15"/>
                      <a:pt x="23" y="16"/>
                      <a:pt x="24" y="16"/>
                    </a:cubicBezTo>
                    <a:cubicBezTo>
                      <a:pt x="24" y="16"/>
                      <a:pt x="24" y="15"/>
                      <a:pt x="24" y="15"/>
                    </a:cubicBezTo>
                    <a:cubicBezTo>
                      <a:pt x="23" y="13"/>
                      <a:pt x="24" y="13"/>
                      <a:pt x="26" y="14"/>
                    </a:cubicBezTo>
                    <a:cubicBezTo>
                      <a:pt x="26" y="13"/>
                      <a:pt x="26" y="11"/>
                      <a:pt x="27" y="11"/>
                    </a:cubicBezTo>
                    <a:cubicBezTo>
                      <a:pt x="27" y="11"/>
                      <a:pt x="27" y="11"/>
                      <a:pt x="27" y="10"/>
                    </a:cubicBezTo>
                    <a:cubicBezTo>
                      <a:pt x="27" y="11"/>
                      <a:pt x="27" y="11"/>
                      <a:pt x="28" y="11"/>
                    </a:cubicBezTo>
                    <a:cubicBezTo>
                      <a:pt x="28" y="10"/>
                      <a:pt x="27" y="10"/>
                      <a:pt x="27" y="10"/>
                    </a:cubicBezTo>
                    <a:cubicBezTo>
                      <a:pt x="28" y="10"/>
                      <a:pt x="28" y="9"/>
                      <a:pt x="29" y="10"/>
                    </a:cubicBezTo>
                    <a:cubicBezTo>
                      <a:pt x="29" y="9"/>
                      <a:pt x="29" y="9"/>
                      <a:pt x="29" y="8"/>
                    </a:cubicBezTo>
                    <a:cubicBezTo>
                      <a:pt x="30" y="9"/>
                      <a:pt x="31" y="8"/>
                      <a:pt x="33" y="8"/>
                    </a:cubicBezTo>
                    <a:cubicBezTo>
                      <a:pt x="35" y="9"/>
                      <a:pt x="34" y="10"/>
                      <a:pt x="34" y="12"/>
                    </a:cubicBezTo>
                    <a:cubicBezTo>
                      <a:pt x="34" y="10"/>
                      <a:pt x="36" y="9"/>
                      <a:pt x="38" y="11"/>
                    </a:cubicBezTo>
                    <a:cubicBezTo>
                      <a:pt x="38" y="9"/>
                      <a:pt x="37" y="9"/>
                      <a:pt x="38" y="7"/>
                    </a:cubicBezTo>
                    <a:cubicBezTo>
                      <a:pt x="38" y="7"/>
                      <a:pt x="39" y="6"/>
                      <a:pt x="39" y="6"/>
                    </a:cubicBezTo>
                    <a:cubicBezTo>
                      <a:pt x="40" y="5"/>
                      <a:pt x="39" y="4"/>
                      <a:pt x="41" y="5"/>
                    </a:cubicBezTo>
                    <a:cubicBezTo>
                      <a:pt x="40" y="3"/>
                      <a:pt x="43" y="5"/>
                      <a:pt x="44" y="4"/>
                    </a:cubicBezTo>
                    <a:cubicBezTo>
                      <a:pt x="45" y="3"/>
                      <a:pt x="44" y="2"/>
                      <a:pt x="43" y="2"/>
                    </a:cubicBezTo>
                    <a:cubicBezTo>
                      <a:pt x="44" y="1"/>
                      <a:pt x="44" y="2"/>
                      <a:pt x="45" y="2"/>
                    </a:cubicBezTo>
                    <a:cubicBezTo>
                      <a:pt x="46" y="3"/>
                      <a:pt x="51" y="4"/>
                      <a:pt x="52" y="3"/>
                    </a:cubicBezTo>
                    <a:cubicBezTo>
                      <a:pt x="52" y="3"/>
                      <a:pt x="52" y="3"/>
                      <a:pt x="52" y="4"/>
                    </a:cubicBezTo>
                    <a:cubicBezTo>
                      <a:pt x="52" y="4"/>
                      <a:pt x="52" y="4"/>
                      <a:pt x="52" y="5"/>
                    </a:cubicBezTo>
                    <a:cubicBezTo>
                      <a:pt x="53" y="4"/>
                      <a:pt x="53" y="4"/>
                      <a:pt x="54" y="3"/>
                    </a:cubicBezTo>
                    <a:cubicBezTo>
                      <a:pt x="54" y="3"/>
                      <a:pt x="54" y="4"/>
                      <a:pt x="54" y="4"/>
                    </a:cubicBezTo>
                    <a:cubicBezTo>
                      <a:pt x="54" y="5"/>
                      <a:pt x="54" y="6"/>
                      <a:pt x="53" y="6"/>
                    </a:cubicBezTo>
                    <a:cubicBezTo>
                      <a:pt x="53" y="6"/>
                      <a:pt x="53" y="6"/>
                      <a:pt x="53" y="7"/>
                    </a:cubicBezTo>
                    <a:cubicBezTo>
                      <a:pt x="53" y="7"/>
                      <a:pt x="53" y="6"/>
                      <a:pt x="52" y="6"/>
                    </a:cubicBezTo>
                    <a:cubicBezTo>
                      <a:pt x="52" y="7"/>
                      <a:pt x="52" y="7"/>
                      <a:pt x="52" y="8"/>
                    </a:cubicBezTo>
                    <a:cubicBezTo>
                      <a:pt x="52" y="7"/>
                      <a:pt x="52" y="7"/>
                      <a:pt x="53" y="7"/>
                    </a:cubicBezTo>
                    <a:cubicBezTo>
                      <a:pt x="52" y="9"/>
                      <a:pt x="51" y="10"/>
                      <a:pt x="52" y="11"/>
                    </a:cubicBezTo>
                    <a:cubicBezTo>
                      <a:pt x="53" y="11"/>
                      <a:pt x="53" y="11"/>
                      <a:pt x="53" y="12"/>
                    </a:cubicBezTo>
                    <a:cubicBezTo>
                      <a:pt x="54" y="13"/>
                      <a:pt x="55" y="12"/>
                      <a:pt x="55" y="13"/>
                    </a:cubicBezTo>
                    <a:cubicBezTo>
                      <a:pt x="56" y="13"/>
                      <a:pt x="57" y="14"/>
                      <a:pt x="57" y="14"/>
                    </a:cubicBezTo>
                    <a:cubicBezTo>
                      <a:pt x="58" y="15"/>
                      <a:pt x="59" y="14"/>
                      <a:pt x="59" y="15"/>
                    </a:cubicBezTo>
                    <a:cubicBezTo>
                      <a:pt x="61" y="16"/>
                      <a:pt x="61" y="17"/>
                      <a:pt x="63" y="17"/>
                    </a:cubicBezTo>
                    <a:cubicBezTo>
                      <a:pt x="68" y="15"/>
                      <a:pt x="63" y="3"/>
                      <a:pt x="68" y="0"/>
                    </a:cubicBezTo>
                    <a:cubicBezTo>
                      <a:pt x="68" y="1"/>
                      <a:pt x="68" y="3"/>
                      <a:pt x="69" y="4"/>
                    </a:cubicBezTo>
                    <a:cubicBezTo>
                      <a:pt x="69" y="5"/>
                      <a:pt x="70" y="8"/>
                      <a:pt x="71" y="9"/>
                    </a:cubicBezTo>
                    <a:cubicBezTo>
                      <a:pt x="71" y="9"/>
                      <a:pt x="71" y="9"/>
                      <a:pt x="72" y="9"/>
                    </a:cubicBezTo>
                    <a:cubicBezTo>
                      <a:pt x="73" y="9"/>
                      <a:pt x="74" y="10"/>
                      <a:pt x="74" y="10"/>
                    </a:cubicBezTo>
                    <a:cubicBezTo>
                      <a:pt x="75" y="11"/>
                      <a:pt x="74" y="12"/>
                      <a:pt x="75" y="13"/>
                    </a:cubicBezTo>
                    <a:cubicBezTo>
                      <a:pt x="75" y="14"/>
                      <a:pt x="75" y="14"/>
                      <a:pt x="75" y="15"/>
                    </a:cubicBezTo>
                    <a:cubicBezTo>
                      <a:pt x="76" y="16"/>
                      <a:pt x="76" y="18"/>
                      <a:pt x="77" y="19"/>
                    </a:cubicBezTo>
                    <a:cubicBezTo>
                      <a:pt x="77" y="20"/>
                      <a:pt x="77" y="20"/>
                      <a:pt x="78" y="21"/>
                    </a:cubicBezTo>
                    <a:cubicBezTo>
                      <a:pt x="79" y="21"/>
                      <a:pt x="79" y="20"/>
                      <a:pt x="79" y="22"/>
                    </a:cubicBezTo>
                    <a:cubicBezTo>
                      <a:pt x="80" y="22"/>
                      <a:pt x="80" y="22"/>
                      <a:pt x="81" y="22"/>
                    </a:cubicBezTo>
                    <a:cubicBezTo>
                      <a:pt x="83" y="23"/>
                      <a:pt x="82" y="23"/>
                      <a:pt x="82" y="24"/>
                    </a:cubicBezTo>
                    <a:cubicBezTo>
                      <a:pt x="83" y="26"/>
                      <a:pt x="84" y="26"/>
                      <a:pt x="84" y="29"/>
                    </a:cubicBezTo>
                    <a:cubicBezTo>
                      <a:pt x="85" y="28"/>
                      <a:pt x="85" y="28"/>
                      <a:pt x="85" y="28"/>
                    </a:cubicBezTo>
                    <a:cubicBezTo>
                      <a:pt x="86" y="28"/>
                      <a:pt x="86" y="28"/>
                      <a:pt x="86" y="29"/>
                    </a:cubicBezTo>
                    <a:cubicBezTo>
                      <a:pt x="86" y="29"/>
                      <a:pt x="87" y="28"/>
                      <a:pt x="87" y="28"/>
                    </a:cubicBezTo>
                    <a:cubicBezTo>
                      <a:pt x="87" y="30"/>
                      <a:pt x="87" y="31"/>
                      <a:pt x="88" y="32"/>
                    </a:cubicBezTo>
                    <a:cubicBezTo>
                      <a:pt x="90" y="33"/>
                      <a:pt x="91" y="34"/>
                      <a:pt x="91" y="36"/>
                    </a:cubicBezTo>
                    <a:cubicBezTo>
                      <a:pt x="92" y="37"/>
                      <a:pt x="92" y="38"/>
                      <a:pt x="92" y="40"/>
                    </a:cubicBezTo>
                    <a:cubicBezTo>
                      <a:pt x="92" y="42"/>
                      <a:pt x="93" y="43"/>
                      <a:pt x="93" y="45"/>
                    </a:cubicBezTo>
                    <a:cubicBezTo>
                      <a:pt x="93" y="48"/>
                      <a:pt x="92" y="52"/>
                      <a:pt x="91" y="54"/>
                    </a:cubicBezTo>
                    <a:cubicBezTo>
                      <a:pt x="90" y="56"/>
                      <a:pt x="89" y="56"/>
                      <a:pt x="88" y="58"/>
                    </a:cubicBezTo>
                    <a:cubicBezTo>
                      <a:pt x="87" y="59"/>
                      <a:pt x="87" y="61"/>
                      <a:pt x="87" y="62"/>
                    </a:cubicBezTo>
                    <a:cubicBezTo>
                      <a:pt x="87" y="62"/>
                      <a:pt x="87" y="62"/>
                      <a:pt x="87" y="62"/>
                    </a:cubicBezTo>
                    <a:cubicBezTo>
                      <a:pt x="85" y="64"/>
                      <a:pt x="86" y="68"/>
                      <a:pt x="84" y="70"/>
                    </a:cubicBezTo>
                    <a:cubicBezTo>
                      <a:pt x="82" y="70"/>
                      <a:pt x="81" y="70"/>
                      <a:pt x="80" y="71"/>
                    </a:cubicBezTo>
                    <a:cubicBezTo>
                      <a:pt x="79" y="72"/>
                      <a:pt x="77" y="72"/>
                      <a:pt x="77" y="73"/>
                    </a:cubicBezTo>
                    <a:cubicBezTo>
                      <a:pt x="77" y="73"/>
                      <a:pt x="77" y="73"/>
                      <a:pt x="77" y="73"/>
                    </a:cubicBezTo>
                    <a:cubicBezTo>
                      <a:pt x="77" y="73"/>
                      <a:pt x="77" y="73"/>
                      <a:pt x="77" y="74"/>
                    </a:cubicBezTo>
                    <a:cubicBezTo>
                      <a:pt x="76" y="73"/>
                      <a:pt x="75" y="70"/>
                      <a:pt x="73" y="71"/>
                    </a:cubicBezTo>
                    <a:cubicBezTo>
                      <a:pt x="74" y="70"/>
                      <a:pt x="73" y="71"/>
                      <a:pt x="73" y="70"/>
                    </a:cubicBezTo>
                    <a:cubicBezTo>
                      <a:pt x="73" y="70"/>
                      <a:pt x="72" y="70"/>
                      <a:pt x="72" y="70"/>
                    </a:cubicBezTo>
                    <a:cubicBezTo>
                      <a:pt x="72" y="70"/>
                      <a:pt x="72" y="71"/>
                      <a:pt x="73" y="71"/>
                    </a:cubicBezTo>
                    <a:cubicBezTo>
                      <a:pt x="71" y="72"/>
                      <a:pt x="70" y="73"/>
                      <a:pt x="69" y="72"/>
                    </a:cubicBezTo>
                    <a:cubicBezTo>
                      <a:pt x="67" y="71"/>
                      <a:pt x="66" y="71"/>
                      <a:pt x="65" y="71"/>
                    </a:cubicBezTo>
                    <a:cubicBezTo>
                      <a:pt x="63" y="70"/>
                      <a:pt x="62" y="69"/>
                      <a:pt x="61" y="67"/>
                    </a:cubicBezTo>
                    <a:cubicBezTo>
                      <a:pt x="61" y="66"/>
                      <a:pt x="60" y="63"/>
                      <a:pt x="60" y="63"/>
                    </a:cubicBezTo>
                    <a:cubicBezTo>
                      <a:pt x="59" y="63"/>
                      <a:pt x="59" y="63"/>
                      <a:pt x="58" y="63"/>
                    </a:cubicBezTo>
                    <a:cubicBezTo>
                      <a:pt x="59" y="62"/>
                      <a:pt x="58" y="61"/>
                      <a:pt x="57" y="59"/>
                    </a:cubicBezTo>
                    <a:cubicBezTo>
                      <a:pt x="57" y="61"/>
                      <a:pt x="57" y="62"/>
                      <a:pt x="55" y="62"/>
                    </a:cubicBezTo>
                    <a:cubicBezTo>
                      <a:pt x="55" y="61"/>
                      <a:pt x="56" y="61"/>
                      <a:pt x="56" y="61"/>
                    </a:cubicBezTo>
                    <a:cubicBezTo>
                      <a:pt x="56" y="60"/>
                      <a:pt x="56" y="59"/>
                      <a:pt x="56" y="59"/>
                    </a:cubicBezTo>
                    <a:cubicBezTo>
                      <a:pt x="57" y="57"/>
                      <a:pt x="58" y="56"/>
                      <a:pt x="57" y="55"/>
                    </a:cubicBezTo>
                    <a:cubicBezTo>
                      <a:pt x="57" y="58"/>
                      <a:pt x="52" y="58"/>
                      <a:pt x="52" y="62"/>
                    </a:cubicBezTo>
                    <a:cubicBezTo>
                      <a:pt x="52" y="61"/>
                      <a:pt x="51" y="61"/>
                      <a:pt x="51" y="60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1" y="59"/>
                      <a:pt x="50" y="58"/>
                      <a:pt x="50" y="56"/>
                    </a:cubicBezTo>
                    <a:cubicBezTo>
                      <a:pt x="49" y="56"/>
                      <a:pt x="48" y="56"/>
                      <a:pt x="48" y="55"/>
                    </a:cubicBezTo>
                    <a:cubicBezTo>
                      <a:pt x="49" y="54"/>
                      <a:pt x="47" y="54"/>
                      <a:pt x="47" y="54"/>
                    </a:cubicBezTo>
                    <a:cubicBezTo>
                      <a:pt x="47" y="54"/>
                      <a:pt x="47" y="54"/>
                      <a:pt x="47" y="54"/>
                    </a:cubicBezTo>
                    <a:cubicBezTo>
                      <a:pt x="45" y="53"/>
                      <a:pt x="44" y="54"/>
                      <a:pt x="43" y="53"/>
                    </a:cubicBezTo>
                    <a:cubicBezTo>
                      <a:pt x="42" y="52"/>
                      <a:pt x="41" y="52"/>
                      <a:pt x="39" y="52"/>
                    </a:cubicBezTo>
                    <a:cubicBezTo>
                      <a:pt x="36" y="52"/>
                      <a:pt x="33" y="54"/>
                      <a:pt x="30" y="54"/>
                    </a:cubicBezTo>
                    <a:cubicBezTo>
                      <a:pt x="29" y="54"/>
                      <a:pt x="27" y="55"/>
                      <a:pt x="26" y="56"/>
                    </a:cubicBezTo>
                    <a:cubicBezTo>
                      <a:pt x="25" y="56"/>
                      <a:pt x="25" y="58"/>
                      <a:pt x="24" y="58"/>
                    </a:cubicBezTo>
                    <a:cubicBezTo>
                      <a:pt x="21" y="58"/>
                      <a:pt x="19" y="58"/>
                      <a:pt x="17" y="58"/>
                    </a:cubicBezTo>
                    <a:cubicBezTo>
                      <a:pt x="15" y="58"/>
                      <a:pt x="15" y="60"/>
                      <a:pt x="14" y="60"/>
                    </a:cubicBezTo>
                    <a:cubicBezTo>
                      <a:pt x="11" y="60"/>
                      <a:pt x="11" y="63"/>
                      <a:pt x="7" y="61"/>
                    </a:cubicBezTo>
                    <a:cubicBezTo>
                      <a:pt x="5" y="61"/>
                      <a:pt x="4" y="59"/>
                      <a:pt x="4" y="58"/>
                    </a:cubicBezTo>
                    <a:cubicBezTo>
                      <a:pt x="4" y="57"/>
                      <a:pt x="6" y="57"/>
                      <a:pt x="6" y="56"/>
                    </a:cubicBezTo>
                    <a:cubicBezTo>
                      <a:pt x="6" y="52"/>
                      <a:pt x="4" y="50"/>
                      <a:pt x="4" y="46"/>
                    </a:cubicBezTo>
                    <a:cubicBezTo>
                      <a:pt x="4" y="44"/>
                      <a:pt x="1" y="40"/>
                      <a:pt x="0" y="38"/>
                    </a:cubicBezTo>
                    <a:cubicBezTo>
                      <a:pt x="1" y="39"/>
                      <a:pt x="2" y="39"/>
                      <a:pt x="1" y="38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3" y="37"/>
                      <a:pt x="0" y="35"/>
                      <a:pt x="0" y="33"/>
                    </a:cubicBezTo>
                    <a:cubicBezTo>
                      <a:pt x="0" y="32"/>
                      <a:pt x="1" y="31"/>
                      <a:pt x="1" y="30"/>
                    </a:cubicBezTo>
                    <a:cubicBezTo>
                      <a:pt x="1" y="29"/>
                      <a:pt x="1" y="28"/>
                      <a:pt x="2" y="27"/>
                    </a:cubicBez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1" name="Freeform 535"/>
              <p:cNvSpPr>
                <a:spLocks noEditPoints="1"/>
              </p:cNvSpPr>
              <p:nvPr/>
            </p:nvSpPr>
            <p:spPr bwMode="auto">
              <a:xfrm>
                <a:off x="3435" y="1857"/>
                <a:ext cx="225" cy="177"/>
              </a:xfrm>
              <a:custGeom>
                <a:avLst/>
                <a:gdLst>
                  <a:gd name="T0" fmla="*/ 2300035 w 95"/>
                  <a:gd name="T1" fmla="*/ 2175675 h 75"/>
                  <a:gd name="T2" fmla="*/ 2025689 w 95"/>
                  <a:gd name="T3" fmla="*/ 2148719 h 75"/>
                  <a:gd name="T4" fmla="*/ 1749522 w 95"/>
                  <a:gd name="T5" fmla="*/ 1907350 h 75"/>
                  <a:gd name="T6" fmla="*/ 1749522 w 95"/>
                  <a:gd name="T7" fmla="*/ 1796453 h 75"/>
                  <a:gd name="T8" fmla="*/ 1595241 w 95"/>
                  <a:gd name="T9" fmla="*/ 1796453 h 75"/>
                  <a:gd name="T10" fmla="*/ 1526552 w 95"/>
                  <a:gd name="T11" fmla="*/ 1671409 h 75"/>
                  <a:gd name="T12" fmla="*/ 865359 w 95"/>
                  <a:gd name="T13" fmla="*/ 1710068 h 75"/>
                  <a:gd name="T14" fmla="*/ 471074 w 95"/>
                  <a:gd name="T15" fmla="*/ 1848661 h 75"/>
                  <a:gd name="T16" fmla="*/ 154269 w 95"/>
                  <a:gd name="T17" fmla="*/ 1553033 h 75"/>
                  <a:gd name="T18" fmla="*/ 27502 w 95"/>
                  <a:gd name="T19" fmla="*/ 1013278 h 75"/>
                  <a:gd name="T20" fmla="*/ 154269 w 95"/>
                  <a:gd name="T21" fmla="*/ 808199 h 75"/>
                  <a:gd name="T22" fmla="*/ 471074 w 95"/>
                  <a:gd name="T23" fmla="*/ 681424 h 75"/>
                  <a:gd name="T24" fmla="*/ 682207 w 95"/>
                  <a:gd name="T25" fmla="*/ 481185 h 75"/>
                  <a:gd name="T26" fmla="*/ 844437 w 95"/>
                  <a:gd name="T27" fmla="*/ 353814 h 75"/>
                  <a:gd name="T28" fmla="*/ 933558 w 95"/>
                  <a:gd name="T29" fmla="*/ 267435 h 75"/>
                  <a:gd name="T30" fmla="*/ 1182259 w 95"/>
                  <a:gd name="T31" fmla="*/ 327013 h 75"/>
                  <a:gd name="T32" fmla="*/ 1249470 w 95"/>
                  <a:gd name="T33" fmla="*/ 213700 h 75"/>
                  <a:gd name="T34" fmla="*/ 1367368 w 95"/>
                  <a:gd name="T35" fmla="*/ 113320 h 75"/>
                  <a:gd name="T36" fmla="*/ 1432663 w 95"/>
                  <a:gd name="T37" fmla="*/ 63526 h 75"/>
                  <a:gd name="T38" fmla="*/ 1749522 w 95"/>
                  <a:gd name="T39" fmla="*/ 149921 h 75"/>
                  <a:gd name="T40" fmla="*/ 1684161 w 95"/>
                  <a:gd name="T41" fmla="*/ 240501 h 75"/>
                  <a:gd name="T42" fmla="*/ 1798799 w 95"/>
                  <a:gd name="T43" fmla="*/ 417564 h 75"/>
                  <a:gd name="T44" fmla="*/ 2143594 w 95"/>
                  <a:gd name="T45" fmla="*/ 26918 h 75"/>
                  <a:gd name="T46" fmla="*/ 2248688 w 95"/>
                  <a:gd name="T47" fmla="*/ 267435 h 75"/>
                  <a:gd name="T48" fmla="*/ 2394095 w 95"/>
                  <a:gd name="T49" fmla="*/ 445551 h 75"/>
                  <a:gd name="T50" fmla="*/ 2459219 w 95"/>
                  <a:gd name="T51" fmla="*/ 631147 h 75"/>
                  <a:gd name="T52" fmla="*/ 2616838 w 95"/>
                  <a:gd name="T53" fmla="*/ 744951 h 75"/>
                  <a:gd name="T54" fmla="*/ 2738612 w 95"/>
                  <a:gd name="T55" fmla="*/ 808199 h 75"/>
                  <a:gd name="T56" fmla="*/ 2959271 w 95"/>
                  <a:gd name="T57" fmla="*/ 1379111 h 75"/>
                  <a:gd name="T58" fmla="*/ 2738612 w 95"/>
                  <a:gd name="T59" fmla="*/ 1907350 h 75"/>
                  <a:gd name="T60" fmla="*/ 2459219 w 95"/>
                  <a:gd name="T61" fmla="*/ 2214015 h 75"/>
                  <a:gd name="T62" fmla="*/ 2592976 w 95"/>
                  <a:gd name="T63" fmla="*/ 2084324 h 75"/>
                  <a:gd name="T64" fmla="*/ 2738612 w 95"/>
                  <a:gd name="T65" fmla="*/ 1729979 h 75"/>
                  <a:gd name="T66" fmla="*/ 2894147 w 95"/>
                  <a:gd name="T67" fmla="*/ 1226176 h 75"/>
                  <a:gd name="T68" fmla="*/ 2682187 w 95"/>
                  <a:gd name="T69" fmla="*/ 899936 h 75"/>
                  <a:gd name="T70" fmla="*/ 2527918 w 95"/>
                  <a:gd name="T71" fmla="*/ 724605 h 75"/>
                  <a:gd name="T72" fmla="*/ 2366590 w 95"/>
                  <a:gd name="T73" fmla="*/ 531290 h 75"/>
                  <a:gd name="T74" fmla="*/ 2277076 w 95"/>
                  <a:gd name="T75" fmla="*/ 307036 h 75"/>
                  <a:gd name="T76" fmla="*/ 2093907 w 95"/>
                  <a:gd name="T77" fmla="*/ 307036 h 75"/>
                  <a:gd name="T78" fmla="*/ 1777024 w 95"/>
                  <a:gd name="T79" fmla="*/ 445551 h 75"/>
                  <a:gd name="T80" fmla="*/ 1615753 w 95"/>
                  <a:gd name="T81" fmla="*/ 267435 h 75"/>
                  <a:gd name="T82" fmla="*/ 1655406 w 95"/>
                  <a:gd name="T83" fmla="*/ 149921 h 75"/>
                  <a:gd name="T84" fmla="*/ 1298866 w 95"/>
                  <a:gd name="T85" fmla="*/ 176934 h 75"/>
                  <a:gd name="T86" fmla="*/ 1249470 w 95"/>
                  <a:gd name="T87" fmla="*/ 213700 h 75"/>
                  <a:gd name="T88" fmla="*/ 1094812 w 95"/>
                  <a:gd name="T89" fmla="*/ 390634 h 75"/>
                  <a:gd name="T90" fmla="*/ 933558 w 95"/>
                  <a:gd name="T91" fmla="*/ 327013 h 75"/>
                  <a:gd name="T92" fmla="*/ 865359 w 95"/>
                  <a:gd name="T93" fmla="*/ 390634 h 75"/>
                  <a:gd name="T94" fmla="*/ 815968 w 95"/>
                  <a:gd name="T95" fmla="*/ 481185 h 75"/>
                  <a:gd name="T96" fmla="*/ 682207 w 95"/>
                  <a:gd name="T97" fmla="*/ 531290 h 75"/>
                  <a:gd name="T98" fmla="*/ 344520 w 95"/>
                  <a:gd name="T99" fmla="*/ 744951 h 75"/>
                  <a:gd name="T100" fmla="*/ 65136 w 95"/>
                  <a:gd name="T101" fmla="*/ 1051500 h 75"/>
                  <a:gd name="T102" fmla="*/ 94048 w 95"/>
                  <a:gd name="T103" fmla="*/ 1190224 h 75"/>
                  <a:gd name="T104" fmla="*/ 250472 w 95"/>
                  <a:gd name="T105" fmla="*/ 1848661 h 75"/>
                  <a:gd name="T106" fmla="*/ 750299 w 95"/>
                  <a:gd name="T107" fmla="*/ 1758084 h 75"/>
                  <a:gd name="T108" fmla="*/ 1405002 w 95"/>
                  <a:gd name="T109" fmla="*/ 1580858 h 75"/>
                  <a:gd name="T110" fmla="*/ 1550399 w 95"/>
                  <a:gd name="T111" fmla="*/ 1671409 h 75"/>
                  <a:gd name="T112" fmla="*/ 1709813 w 95"/>
                  <a:gd name="T113" fmla="*/ 1758084 h 75"/>
                  <a:gd name="T114" fmla="*/ 1932556 w 95"/>
                  <a:gd name="T115" fmla="*/ 1887002 h 75"/>
                  <a:gd name="T116" fmla="*/ 2248688 w 95"/>
                  <a:gd name="T117" fmla="*/ 2148719 h 75"/>
                  <a:gd name="T118" fmla="*/ 2342733 w 95"/>
                  <a:gd name="T119" fmla="*/ 2123849 h 75"/>
                  <a:gd name="T120" fmla="*/ 1798799 w 95"/>
                  <a:gd name="T121" fmla="*/ 1821332 h 75"/>
                  <a:gd name="T122" fmla="*/ 1684161 w 95"/>
                  <a:gd name="T123" fmla="*/ 176934 h 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95" h="75">
                    <a:moveTo>
                      <a:pt x="78" y="75"/>
                    </a:moveTo>
                    <a:cubicBezTo>
                      <a:pt x="77" y="75"/>
                      <a:pt x="77" y="75"/>
                      <a:pt x="77" y="75"/>
                    </a:cubicBezTo>
                    <a:cubicBezTo>
                      <a:pt x="77" y="75"/>
                      <a:pt x="77" y="75"/>
                      <a:pt x="77" y="74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77" y="74"/>
                      <a:pt x="77" y="74"/>
                      <a:pt x="77" y="74"/>
                    </a:cubicBezTo>
                    <a:cubicBezTo>
                      <a:pt x="77" y="74"/>
                      <a:pt x="77" y="74"/>
                      <a:pt x="76" y="74"/>
                    </a:cubicBezTo>
                    <a:cubicBezTo>
                      <a:pt x="76" y="73"/>
                      <a:pt x="75" y="72"/>
                      <a:pt x="74" y="73"/>
                    </a:cubicBezTo>
                    <a:cubicBezTo>
                      <a:pt x="73" y="74"/>
                      <a:pt x="73" y="74"/>
                      <a:pt x="73" y="74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72" y="73"/>
                      <a:pt x="72" y="74"/>
                      <a:pt x="71" y="74"/>
                    </a:cubicBezTo>
                    <a:cubicBezTo>
                      <a:pt x="70" y="74"/>
                      <a:pt x="70" y="74"/>
                      <a:pt x="69" y="73"/>
                    </a:cubicBezTo>
                    <a:cubicBezTo>
                      <a:pt x="69" y="73"/>
                      <a:pt x="68" y="73"/>
                      <a:pt x="67" y="73"/>
                    </a:cubicBezTo>
                    <a:cubicBezTo>
                      <a:pt x="67" y="73"/>
                      <a:pt x="66" y="73"/>
                      <a:pt x="65" y="72"/>
                    </a:cubicBezTo>
                    <a:cubicBezTo>
                      <a:pt x="64" y="71"/>
                      <a:pt x="62" y="70"/>
                      <a:pt x="62" y="68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1" y="66"/>
                      <a:pt x="61" y="65"/>
                      <a:pt x="61" y="64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9" y="63"/>
                      <a:pt x="59" y="62"/>
                      <a:pt x="59" y="62"/>
                    </a:cubicBezTo>
                    <a:cubicBezTo>
                      <a:pt x="58" y="63"/>
                      <a:pt x="58" y="64"/>
                      <a:pt x="56" y="64"/>
                    </a:cubicBezTo>
                    <a:cubicBezTo>
                      <a:pt x="55" y="64"/>
                      <a:pt x="55" y="64"/>
                      <a:pt x="55" y="64"/>
                    </a:cubicBezTo>
                    <a:cubicBezTo>
                      <a:pt x="55" y="63"/>
                      <a:pt x="55" y="63"/>
                      <a:pt x="55" y="63"/>
                    </a:cubicBezTo>
                    <a:cubicBezTo>
                      <a:pt x="55" y="62"/>
                      <a:pt x="56" y="62"/>
                      <a:pt x="56" y="62"/>
                    </a:cubicBezTo>
                    <a:cubicBezTo>
                      <a:pt x="56" y="62"/>
                      <a:pt x="56" y="61"/>
                      <a:pt x="56" y="61"/>
                    </a:cubicBezTo>
                    <a:cubicBezTo>
                      <a:pt x="56" y="61"/>
                      <a:pt x="56" y="60"/>
                      <a:pt x="57" y="59"/>
                    </a:cubicBezTo>
                    <a:cubicBezTo>
                      <a:pt x="57" y="59"/>
                      <a:pt x="57" y="59"/>
                      <a:pt x="57" y="58"/>
                    </a:cubicBezTo>
                    <a:cubicBezTo>
                      <a:pt x="57" y="59"/>
                      <a:pt x="56" y="59"/>
                      <a:pt x="56" y="60"/>
                    </a:cubicBezTo>
                    <a:cubicBezTo>
                      <a:pt x="55" y="61"/>
                      <a:pt x="54" y="61"/>
                      <a:pt x="54" y="63"/>
                    </a:cubicBezTo>
                    <a:cubicBezTo>
                      <a:pt x="54" y="64"/>
                      <a:pt x="54" y="64"/>
                      <a:pt x="54" y="64"/>
                    </a:cubicBezTo>
                    <a:cubicBezTo>
                      <a:pt x="53" y="63"/>
                      <a:pt x="53" y="63"/>
                      <a:pt x="53" y="63"/>
                    </a:cubicBezTo>
                    <a:cubicBezTo>
                      <a:pt x="53" y="63"/>
                      <a:pt x="53" y="63"/>
                      <a:pt x="53" y="63"/>
                    </a:cubicBezTo>
                    <a:cubicBezTo>
                      <a:pt x="52" y="62"/>
                      <a:pt x="51" y="62"/>
                      <a:pt x="51" y="61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1" y="59"/>
                      <a:pt x="51" y="59"/>
                      <a:pt x="50" y="58"/>
                    </a:cubicBezTo>
                    <a:cubicBezTo>
                      <a:pt x="50" y="58"/>
                      <a:pt x="50" y="58"/>
                      <a:pt x="50" y="58"/>
                    </a:cubicBezTo>
                    <a:cubicBezTo>
                      <a:pt x="50" y="58"/>
                      <a:pt x="50" y="58"/>
                      <a:pt x="50" y="58"/>
                    </a:cubicBezTo>
                    <a:cubicBezTo>
                      <a:pt x="50" y="58"/>
                      <a:pt x="49" y="57"/>
                      <a:pt x="49" y="57"/>
                    </a:cubicBezTo>
                    <a:cubicBezTo>
                      <a:pt x="49" y="57"/>
                      <a:pt x="49" y="56"/>
                      <a:pt x="49" y="56"/>
                    </a:cubicBezTo>
                    <a:cubicBezTo>
                      <a:pt x="49" y="56"/>
                      <a:pt x="49" y="56"/>
                      <a:pt x="48" y="56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47" y="55"/>
                      <a:pt x="46" y="55"/>
                      <a:pt x="46" y="55"/>
                    </a:cubicBezTo>
                    <a:cubicBezTo>
                      <a:pt x="45" y="55"/>
                      <a:pt x="45" y="55"/>
                      <a:pt x="44" y="54"/>
                    </a:cubicBezTo>
                    <a:cubicBezTo>
                      <a:pt x="43" y="53"/>
                      <a:pt x="42" y="53"/>
                      <a:pt x="40" y="54"/>
                    </a:cubicBezTo>
                    <a:cubicBezTo>
                      <a:pt x="39" y="54"/>
                      <a:pt x="37" y="54"/>
                      <a:pt x="35" y="54"/>
                    </a:cubicBezTo>
                    <a:cubicBezTo>
                      <a:pt x="34" y="55"/>
                      <a:pt x="33" y="55"/>
                      <a:pt x="31" y="55"/>
                    </a:cubicBezTo>
                    <a:cubicBezTo>
                      <a:pt x="30" y="56"/>
                      <a:pt x="29" y="56"/>
                      <a:pt x="28" y="57"/>
                    </a:cubicBezTo>
                    <a:cubicBezTo>
                      <a:pt x="28" y="57"/>
                      <a:pt x="27" y="57"/>
                      <a:pt x="27" y="57"/>
                    </a:cubicBezTo>
                    <a:cubicBezTo>
                      <a:pt x="27" y="57"/>
                      <a:pt x="26" y="58"/>
                      <a:pt x="26" y="58"/>
                    </a:cubicBezTo>
                    <a:cubicBezTo>
                      <a:pt x="26" y="59"/>
                      <a:pt x="25" y="60"/>
                      <a:pt x="25" y="60"/>
                    </a:cubicBezTo>
                    <a:cubicBezTo>
                      <a:pt x="23" y="60"/>
                      <a:pt x="23" y="60"/>
                      <a:pt x="23" y="60"/>
                    </a:cubicBezTo>
                    <a:cubicBezTo>
                      <a:pt x="21" y="60"/>
                      <a:pt x="20" y="60"/>
                      <a:pt x="18" y="60"/>
                    </a:cubicBezTo>
                    <a:cubicBezTo>
                      <a:pt x="17" y="60"/>
                      <a:pt x="17" y="60"/>
                      <a:pt x="17" y="61"/>
                    </a:cubicBezTo>
                    <a:cubicBezTo>
                      <a:pt x="16" y="61"/>
                      <a:pt x="16" y="61"/>
                      <a:pt x="15" y="62"/>
                    </a:cubicBezTo>
                    <a:cubicBezTo>
                      <a:pt x="14" y="62"/>
                      <a:pt x="13" y="62"/>
                      <a:pt x="12" y="62"/>
                    </a:cubicBezTo>
                    <a:cubicBezTo>
                      <a:pt x="12" y="63"/>
                      <a:pt x="11" y="63"/>
                      <a:pt x="10" y="63"/>
                    </a:cubicBezTo>
                    <a:cubicBezTo>
                      <a:pt x="9" y="63"/>
                      <a:pt x="8" y="63"/>
                      <a:pt x="7" y="63"/>
                    </a:cubicBezTo>
                    <a:cubicBezTo>
                      <a:pt x="6" y="62"/>
                      <a:pt x="5" y="60"/>
                      <a:pt x="5" y="59"/>
                    </a:cubicBezTo>
                    <a:cubicBezTo>
                      <a:pt x="5" y="59"/>
                      <a:pt x="5" y="58"/>
                      <a:pt x="5" y="58"/>
                    </a:cubicBezTo>
                    <a:cubicBezTo>
                      <a:pt x="6" y="58"/>
                      <a:pt x="6" y="57"/>
                      <a:pt x="6" y="57"/>
                    </a:cubicBezTo>
                    <a:cubicBezTo>
                      <a:pt x="6" y="55"/>
                      <a:pt x="6" y="53"/>
                      <a:pt x="5" y="52"/>
                    </a:cubicBezTo>
                    <a:cubicBezTo>
                      <a:pt x="5" y="50"/>
                      <a:pt x="4" y="49"/>
                      <a:pt x="4" y="47"/>
                    </a:cubicBezTo>
                    <a:cubicBezTo>
                      <a:pt x="4" y="45"/>
                      <a:pt x="2" y="41"/>
                      <a:pt x="0" y="39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2" y="37"/>
                      <a:pt x="1" y="36"/>
                    </a:cubicBezTo>
                    <a:cubicBezTo>
                      <a:pt x="1" y="36"/>
                      <a:pt x="1" y="35"/>
                      <a:pt x="1" y="34"/>
                    </a:cubicBezTo>
                    <a:cubicBezTo>
                      <a:pt x="1" y="33"/>
                      <a:pt x="1" y="33"/>
                      <a:pt x="1" y="32"/>
                    </a:cubicBezTo>
                    <a:cubicBezTo>
                      <a:pt x="1" y="32"/>
                      <a:pt x="1" y="31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0"/>
                      <a:pt x="1" y="29"/>
                      <a:pt x="2" y="28"/>
                    </a:cubicBezTo>
                    <a:cubicBezTo>
                      <a:pt x="2" y="27"/>
                      <a:pt x="2" y="27"/>
                      <a:pt x="3" y="27"/>
                    </a:cubicBezTo>
                    <a:cubicBezTo>
                      <a:pt x="3" y="27"/>
                      <a:pt x="3" y="27"/>
                      <a:pt x="3" y="28"/>
                    </a:cubicBezTo>
                    <a:cubicBezTo>
                      <a:pt x="4" y="27"/>
                      <a:pt x="4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7"/>
                      <a:pt x="6" y="26"/>
                      <a:pt x="7" y="26"/>
                    </a:cubicBezTo>
                    <a:cubicBezTo>
                      <a:pt x="7" y="25"/>
                      <a:pt x="8" y="25"/>
                      <a:pt x="8" y="24"/>
                    </a:cubicBezTo>
                    <a:cubicBezTo>
                      <a:pt x="9" y="24"/>
                      <a:pt x="9" y="24"/>
                      <a:pt x="10" y="24"/>
                    </a:cubicBezTo>
                    <a:cubicBezTo>
                      <a:pt x="10" y="24"/>
                      <a:pt x="11" y="25"/>
                      <a:pt x="11" y="24"/>
                    </a:cubicBezTo>
                    <a:cubicBezTo>
                      <a:pt x="11" y="24"/>
                      <a:pt x="12" y="24"/>
                      <a:pt x="12" y="24"/>
                    </a:cubicBezTo>
                    <a:cubicBezTo>
                      <a:pt x="13" y="23"/>
                      <a:pt x="14" y="23"/>
                      <a:pt x="15" y="23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7" y="23"/>
                      <a:pt x="19" y="21"/>
                      <a:pt x="20" y="20"/>
                    </a:cubicBezTo>
                    <a:cubicBezTo>
                      <a:pt x="20" y="19"/>
                      <a:pt x="21" y="19"/>
                      <a:pt x="21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8"/>
                      <a:pt x="21" y="17"/>
                      <a:pt x="21" y="17"/>
                    </a:cubicBezTo>
                    <a:cubicBezTo>
                      <a:pt x="21" y="16"/>
                      <a:pt x="21" y="16"/>
                      <a:pt x="22" y="16"/>
                    </a:cubicBezTo>
                    <a:cubicBezTo>
                      <a:pt x="22" y="15"/>
                      <a:pt x="22" y="15"/>
                      <a:pt x="23" y="14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4"/>
                      <a:pt x="25" y="14"/>
                      <a:pt x="26" y="14"/>
                    </a:cubicBezTo>
                    <a:cubicBezTo>
                      <a:pt x="26" y="13"/>
                      <a:pt x="26" y="13"/>
                      <a:pt x="27" y="12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29" y="10"/>
                      <a:pt x="29" y="10"/>
                      <a:pt x="30" y="10"/>
                    </a:cubicBezTo>
                    <a:cubicBezTo>
                      <a:pt x="30" y="10"/>
                      <a:pt x="30" y="10"/>
                      <a:pt x="30" y="9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2" y="9"/>
                    </a:cubicBezTo>
                    <a:cubicBezTo>
                      <a:pt x="32" y="8"/>
                      <a:pt x="33" y="8"/>
                      <a:pt x="34" y="9"/>
                    </a:cubicBezTo>
                    <a:cubicBezTo>
                      <a:pt x="35" y="9"/>
                      <a:pt x="36" y="10"/>
                      <a:pt x="36" y="11"/>
                    </a:cubicBezTo>
                    <a:cubicBezTo>
                      <a:pt x="36" y="10"/>
                      <a:pt x="37" y="10"/>
                      <a:pt x="38" y="11"/>
                    </a:cubicBezTo>
                    <a:cubicBezTo>
                      <a:pt x="38" y="11"/>
                      <a:pt x="38" y="11"/>
                      <a:pt x="38" y="10"/>
                    </a:cubicBezTo>
                    <a:cubicBezTo>
                      <a:pt x="38" y="10"/>
                      <a:pt x="38" y="9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9" y="7"/>
                      <a:pt x="39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6"/>
                      <a:pt x="40" y="6"/>
                    </a:cubicBezTo>
                    <a:cubicBezTo>
                      <a:pt x="40" y="6"/>
                      <a:pt x="40" y="5"/>
                      <a:pt x="41" y="5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44" y="5"/>
                      <a:pt x="44" y="5"/>
                      <a:pt x="44" y="4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5" y="4"/>
                      <a:pt x="44" y="3"/>
                      <a:pt x="44" y="3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4" y="2"/>
                      <a:pt x="45" y="2"/>
                      <a:pt x="45" y="2"/>
                    </a:cubicBezTo>
                    <a:cubicBezTo>
                      <a:pt x="45" y="2"/>
                      <a:pt x="46" y="2"/>
                      <a:pt x="46" y="2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7" y="3"/>
                      <a:pt x="49" y="4"/>
                      <a:pt x="51" y="4"/>
                    </a:cubicBezTo>
                    <a:cubicBezTo>
                      <a:pt x="52" y="4"/>
                      <a:pt x="53" y="4"/>
                      <a:pt x="53" y="4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5" y="4"/>
                      <a:pt x="56" y="5"/>
                      <a:pt x="56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6" y="6"/>
                      <a:pt x="56" y="6"/>
                      <a:pt x="55" y="6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3" y="11"/>
                      <a:pt x="53" y="11"/>
                      <a:pt x="54" y="11"/>
                    </a:cubicBezTo>
                    <a:cubicBezTo>
                      <a:pt x="55" y="12"/>
                      <a:pt x="55" y="12"/>
                      <a:pt x="55" y="13"/>
                    </a:cubicBezTo>
                    <a:cubicBezTo>
                      <a:pt x="55" y="13"/>
                      <a:pt x="55" y="13"/>
                      <a:pt x="55" y="13"/>
                    </a:cubicBezTo>
                    <a:cubicBezTo>
                      <a:pt x="55" y="13"/>
                      <a:pt x="55" y="13"/>
                      <a:pt x="55" y="13"/>
                    </a:cubicBezTo>
                    <a:cubicBezTo>
                      <a:pt x="56" y="13"/>
                      <a:pt x="56" y="13"/>
                      <a:pt x="57" y="13"/>
                    </a:cubicBezTo>
                    <a:cubicBezTo>
                      <a:pt x="57" y="13"/>
                      <a:pt x="58" y="14"/>
                      <a:pt x="58" y="14"/>
                    </a:cubicBezTo>
                    <a:cubicBezTo>
                      <a:pt x="58" y="14"/>
                      <a:pt x="58" y="15"/>
                      <a:pt x="59" y="15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60" y="15"/>
                      <a:pt x="60" y="15"/>
                      <a:pt x="61" y="15"/>
                    </a:cubicBezTo>
                    <a:cubicBezTo>
                      <a:pt x="61" y="16"/>
                      <a:pt x="62" y="16"/>
                      <a:pt x="62" y="16"/>
                    </a:cubicBezTo>
                    <a:cubicBezTo>
                      <a:pt x="63" y="17"/>
                      <a:pt x="63" y="17"/>
                      <a:pt x="64" y="17"/>
                    </a:cubicBezTo>
                    <a:cubicBezTo>
                      <a:pt x="66" y="16"/>
                      <a:pt x="66" y="13"/>
                      <a:pt x="66" y="10"/>
                    </a:cubicBezTo>
                    <a:cubicBezTo>
                      <a:pt x="66" y="6"/>
                      <a:pt x="66" y="2"/>
                      <a:pt x="69" y="1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70" y="2"/>
                      <a:pt x="70" y="2"/>
                      <a:pt x="70" y="3"/>
                    </a:cubicBezTo>
                    <a:cubicBezTo>
                      <a:pt x="70" y="4"/>
                      <a:pt x="70" y="4"/>
                      <a:pt x="70" y="5"/>
                    </a:cubicBezTo>
                    <a:cubicBezTo>
                      <a:pt x="71" y="5"/>
                      <a:pt x="71" y="5"/>
                      <a:pt x="71" y="6"/>
                    </a:cubicBezTo>
                    <a:cubicBezTo>
                      <a:pt x="71" y="7"/>
                      <a:pt x="72" y="9"/>
                      <a:pt x="72" y="9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2" y="9"/>
                      <a:pt x="73" y="9"/>
                      <a:pt x="73" y="9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4" y="9"/>
                      <a:pt x="75" y="10"/>
                      <a:pt x="75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76" y="11"/>
                      <a:pt x="76" y="12"/>
                      <a:pt x="76" y="13"/>
                    </a:cubicBezTo>
                    <a:cubicBezTo>
                      <a:pt x="76" y="13"/>
                      <a:pt x="76" y="14"/>
                      <a:pt x="76" y="14"/>
                    </a:cubicBezTo>
                    <a:cubicBezTo>
                      <a:pt x="76" y="14"/>
                      <a:pt x="76" y="14"/>
                      <a:pt x="77" y="15"/>
                    </a:cubicBezTo>
                    <a:cubicBezTo>
                      <a:pt x="77" y="15"/>
                      <a:pt x="77" y="15"/>
                      <a:pt x="77" y="16"/>
                    </a:cubicBezTo>
                    <a:cubicBezTo>
                      <a:pt x="77" y="16"/>
                      <a:pt x="77" y="17"/>
                      <a:pt x="77" y="18"/>
                    </a:cubicBezTo>
                    <a:cubicBezTo>
                      <a:pt x="78" y="18"/>
                      <a:pt x="78" y="19"/>
                      <a:pt x="78" y="20"/>
                    </a:cubicBezTo>
                    <a:cubicBezTo>
                      <a:pt x="78" y="20"/>
                      <a:pt x="78" y="20"/>
                      <a:pt x="78" y="20"/>
                    </a:cubicBezTo>
                    <a:cubicBezTo>
                      <a:pt x="79" y="21"/>
                      <a:pt x="79" y="21"/>
                      <a:pt x="79" y="21"/>
                    </a:cubicBezTo>
                    <a:cubicBezTo>
                      <a:pt x="79" y="21"/>
                      <a:pt x="79" y="21"/>
                      <a:pt x="79" y="21"/>
                    </a:cubicBezTo>
                    <a:cubicBezTo>
                      <a:pt x="79" y="21"/>
                      <a:pt x="79" y="21"/>
                      <a:pt x="79" y="21"/>
                    </a:cubicBezTo>
                    <a:cubicBezTo>
                      <a:pt x="80" y="21"/>
                      <a:pt x="80" y="21"/>
                      <a:pt x="80" y="21"/>
                    </a:cubicBezTo>
                    <a:cubicBezTo>
                      <a:pt x="81" y="21"/>
                      <a:pt x="81" y="22"/>
                      <a:pt x="81" y="22"/>
                    </a:cubicBezTo>
                    <a:cubicBezTo>
                      <a:pt x="81" y="22"/>
                      <a:pt x="81" y="23"/>
                      <a:pt x="81" y="23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3" y="23"/>
                      <a:pt x="84" y="24"/>
                      <a:pt x="83" y="25"/>
                    </a:cubicBezTo>
                    <a:cubicBezTo>
                      <a:pt x="84" y="25"/>
                      <a:pt x="84" y="25"/>
                      <a:pt x="84" y="25"/>
                    </a:cubicBezTo>
                    <a:cubicBezTo>
                      <a:pt x="84" y="25"/>
                      <a:pt x="84" y="25"/>
                      <a:pt x="84" y="25"/>
                    </a:cubicBezTo>
                    <a:cubicBezTo>
                      <a:pt x="85" y="26"/>
                      <a:pt x="85" y="27"/>
                      <a:pt x="86" y="28"/>
                    </a:cubicBezTo>
                    <a:cubicBezTo>
                      <a:pt x="86" y="28"/>
                      <a:pt x="86" y="28"/>
                      <a:pt x="86" y="28"/>
                    </a:cubicBezTo>
                    <a:cubicBezTo>
                      <a:pt x="86" y="28"/>
                      <a:pt x="86" y="28"/>
                      <a:pt x="86" y="28"/>
                    </a:cubicBezTo>
                    <a:cubicBezTo>
                      <a:pt x="87" y="28"/>
                      <a:pt x="87" y="28"/>
                      <a:pt x="87" y="28"/>
                    </a:cubicBezTo>
                    <a:cubicBezTo>
                      <a:pt x="87" y="28"/>
                      <a:pt x="87" y="28"/>
                      <a:pt x="87" y="29"/>
                    </a:cubicBezTo>
                    <a:cubicBezTo>
                      <a:pt x="87" y="29"/>
                      <a:pt x="87" y="29"/>
                      <a:pt x="87" y="29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9" y="31"/>
                      <a:pt x="89" y="32"/>
                      <a:pt x="90" y="33"/>
                    </a:cubicBezTo>
                    <a:cubicBezTo>
                      <a:pt x="91" y="34"/>
                      <a:pt x="92" y="35"/>
                      <a:pt x="93" y="36"/>
                    </a:cubicBezTo>
                    <a:cubicBezTo>
                      <a:pt x="94" y="38"/>
                      <a:pt x="94" y="39"/>
                      <a:pt x="94" y="41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4" y="42"/>
                      <a:pt x="94" y="42"/>
                      <a:pt x="94" y="43"/>
                    </a:cubicBezTo>
                    <a:cubicBezTo>
                      <a:pt x="95" y="44"/>
                      <a:pt x="95" y="45"/>
                      <a:pt x="95" y="46"/>
                    </a:cubicBezTo>
                    <a:cubicBezTo>
                      <a:pt x="95" y="47"/>
                      <a:pt x="95" y="47"/>
                      <a:pt x="94" y="48"/>
                    </a:cubicBezTo>
                    <a:cubicBezTo>
                      <a:pt x="94" y="51"/>
                      <a:pt x="94" y="53"/>
                      <a:pt x="92" y="56"/>
                    </a:cubicBezTo>
                    <a:cubicBezTo>
                      <a:pt x="92" y="56"/>
                      <a:pt x="91" y="57"/>
                      <a:pt x="91" y="57"/>
                    </a:cubicBezTo>
                    <a:cubicBezTo>
                      <a:pt x="90" y="58"/>
                      <a:pt x="90" y="58"/>
                      <a:pt x="89" y="59"/>
                    </a:cubicBezTo>
                    <a:cubicBezTo>
                      <a:pt x="89" y="59"/>
                      <a:pt x="89" y="60"/>
                      <a:pt x="89" y="61"/>
                    </a:cubicBezTo>
                    <a:cubicBezTo>
                      <a:pt x="89" y="62"/>
                      <a:pt x="89" y="63"/>
                      <a:pt x="88" y="63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87" y="65"/>
                      <a:pt x="87" y="66"/>
                      <a:pt x="87" y="66"/>
                    </a:cubicBezTo>
                    <a:cubicBezTo>
                      <a:pt x="87" y="68"/>
                      <a:pt x="87" y="70"/>
                      <a:pt x="85" y="71"/>
                    </a:cubicBezTo>
                    <a:cubicBezTo>
                      <a:pt x="84" y="71"/>
                      <a:pt x="83" y="71"/>
                      <a:pt x="83" y="72"/>
                    </a:cubicBezTo>
                    <a:cubicBezTo>
                      <a:pt x="82" y="72"/>
                      <a:pt x="82" y="72"/>
                      <a:pt x="81" y="72"/>
                    </a:cubicBezTo>
                    <a:cubicBezTo>
                      <a:pt x="80" y="73"/>
                      <a:pt x="80" y="73"/>
                      <a:pt x="79" y="73"/>
                    </a:cubicBezTo>
                    <a:cubicBezTo>
                      <a:pt x="79" y="73"/>
                      <a:pt x="79" y="73"/>
                      <a:pt x="79" y="74"/>
                    </a:cubicBezTo>
                    <a:cubicBezTo>
                      <a:pt x="79" y="74"/>
                      <a:pt x="79" y="74"/>
                      <a:pt x="79" y="74"/>
                    </a:cubicBezTo>
                    <a:cubicBezTo>
                      <a:pt x="79" y="74"/>
                      <a:pt x="78" y="74"/>
                      <a:pt x="78" y="75"/>
                    </a:cubicBezTo>
                    <a:close/>
                    <a:moveTo>
                      <a:pt x="75" y="71"/>
                    </a:moveTo>
                    <a:cubicBezTo>
                      <a:pt x="76" y="71"/>
                      <a:pt x="77" y="72"/>
                      <a:pt x="77" y="73"/>
                    </a:cubicBezTo>
                    <a:cubicBezTo>
                      <a:pt x="78" y="73"/>
                      <a:pt x="78" y="73"/>
                      <a:pt x="79" y="72"/>
                    </a:cubicBezTo>
                    <a:cubicBezTo>
                      <a:pt x="79" y="72"/>
                      <a:pt x="80" y="72"/>
                      <a:pt x="80" y="71"/>
                    </a:cubicBezTo>
                    <a:cubicBezTo>
                      <a:pt x="81" y="71"/>
                      <a:pt x="82" y="71"/>
                      <a:pt x="83" y="70"/>
                    </a:cubicBezTo>
                    <a:cubicBezTo>
                      <a:pt x="83" y="70"/>
                      <a:pt x="84" y="70"/>
                      <a:pt x="84" y="70"/>
                    </a:cubicBezTo>
                    <a:cubicBezTo>
                      <a:pt x="86" y="69"/>
                      <a:pt x="86" y="68"/>
                      <a:pt x="86" y="66"/>
                    </a:cubicBezTo>
                    <a:cubicBezTo>
                      <a:pt x="86" y="65"/>
                      <a:pt x="86" y="64"/>
                      <a:pt x="87" y="63"/>
                    </a:cubicBezTo>
                    <a:cubicBezTo>
                      <a:pt x="88" y="62"/>
                      <a:pt x="88" y="62"/>
                      <a:pt x="88" y="62"/>
                    </a:cubicBezTo>
                    <a:cubicBezTo>
                      <a:pt x="88" y="62"/>
                      <a:pt x="88" y="62"/>
                      <a:pt x="88" y="62"/>
                    </a:cubicBezTo>
                    <a:cubicBezTo>
                      <a:pt x="88" y="62"/>
                      <a:pt x="88" y="61"/>
                      <a:pt x="88" y="61"/>
                    </a:cubicBezTo>
                    <a:cubicBezTo>
                      <a:pt x="88" y="60"/>
                      <a:pt x="88" y="59"/>
                      <a:pt x="88" y="58"/>
                    </a:cubicBezTo>
                    <a:cubicBezTo>
                      <a:pt x="89" y="58"/>
                      <a:pt x="89" y="57"/>
                      <a:pt x="90" y="56"/>
                    </a:cubicBezTo>
                    <a:cubicBezTo>
                      <a:pt x="91" y="56"/>
                      <a:pt x="91" y="56"/>
                      <a:pt x="91" y="55"/>
                    </a:cubicBezTo>
                    <a:cubicBezTo>
                      <a:pt x="93" y="53"/>
                      <a:pt x="93" y="50"/>
                      <a:pt x="93" y="48"/>
                    </a:cubicBezTo>
                    <a:cubicBezTo>
                      <a:pt x="93" y="47"/>
                      <a:pt x="93" y="46"/>
                      <a:pt x="94" y="46"/>
                    </a:cubicBezTo>
                    <a:cubicBezTo>
                      <a:pt x="94" y="45"/>
                      <a:pt x="93" y="44"/>
                      <a:pt x="93" y="43"/>
                    </a:cubicBezTo>
                    <a:cubicBezTo>
                      <a:pt x="93" y="43"/>
                      <a:pt x="93" y="42"/>
                      <a:pt x="93" y="41"/>
                    </a:cubicBezTo>
                    <a:cubicBezTo>
                      <a:pt x="93" y="41"/>
                      <a:pt x="93" y="41"/>
                      <a:pt x="93" y="41"/>
                    </a:cubicBezTo>
                    <a:cubicBezTo>
                      <a:pt x="93" y="39"/>
                      <a:pt x="93" y="38"/>
                      <a:pt x="92" y="37"/>
                    </a:cubicBezTo>
                    <a:cubicBezTo>
                      <a:pt x="91" y="35"/>
                      <a:pt x="90" y="35"/>
                      <a:pt x="89" y="34"/>
                    </a:cubicBezTo>
                    <a:cubicBezTo>
                      <a:pt x="88" y="33"/>
                      <a:pt x="87" y="32"/>
                      <a:pt x="87" y="31"/>
                    </a:cubicBezTo>
                    <a:cubicBezTo>
                      <a:pt x="87" y="30"/>
                      <a:pt x="87" y="30"/>
                      <a:pt x="87" y="30"/>
                    </a:cubicBezTo>
                    <a:cubicBezTo>
                      <a:pt x="87" y="30"/>
                      <a:pt x="87" y="30"/>
                      <a:pt x="86" y="29"/>
                    </a:cubicBezTo>
                    <a:cubicBezTo>
                      <a:pt x="86" y="30"/>
                      <a:pt x="86" y="30"/>
                      <a:pt x="86" y="30"/>
                    </a:cubicBezTo>
                    <a:cubicBezTo>
                      <a:pt x="86" y="30"/>
                      <a:pt x="86" y="30"/>
                      <a:pt x="86" y="30"/>
                    </a:cubicBezTo>
                    <a:cubicBezTo>
                      <a:pt x="85" y="31"/>
                      <a:pt x="85" y="31"/>
                      <a:pt x="85" y="3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4" y="28"/>
                      <a:pt x="84" y="27"/>
                      <a:pt x="83" y="26"/>
                    </a:cubicBezTo>
                    <a:cubicBezTo>
                      <a:pt x="83" y="25"/>
                      <a:pt x="83" y="25"/>
                      <a:pt x="83" y="25"/>
                    </a:cubicBezTo>
                    <a:cubicBezTo>
                      <a:pt x="82" y="25"/>
                      <a:pt x="82" y="25"/>
                      <a:pt x="82" y="24"/>
                    </a:cubicBezTo>
                    <a:cubicBezTo>
                      <a:pt x="82" y="24"/>
                      <a:pt x="82" y="24"/>
                      <a:pt x="82" y="24"/>
                    </a:cubicBezTo>
                    <a:cubicBezTo>
                      <a:pt x="82" y="24"/>
                      <a:pt x="81" y="24"/>
                      <a:pt x="81" y="24"/>
                    </a:cubicBezTo>
                    <a:cubicBezTo>
                      <a:pt x="81" y="24"/>
                      <a:pt x="80" y="24"/>
                      <a:pt x="80" y="23"/>
                    </a:cubicBezTo>
                    <a:cubicBezTo>
                      <a:pt x="80" y="23"/>
                      <a:pt x="80" y="23"/>
                      <a:pt x="80" y="22"/>
                    </a:cubicBezTo>
                    <a:cubicBezTo>
                      <a:pt x="79" y="23"/>
                      <a:pt x="79" y="23"/>
                      <a:pt x="78" y="22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8" y="21"/>
                      <a:pt x="78" y="21"/>
                      <a:pt x="77" y="21"/>
                    </a:cubicBezTo>
                    <a:cubicBezTo>
                      <a:pt x="77" y="21"/>
                      <a:pt x="77" y="21"/>
                      <a:pt x="77" y="20"/>
                    </a:cubicBezTo>
                    <a:cubicBezTo>
                      <a:pt x="77" y="19"/>
                      <a:pt x="76" y="19"/>
                      <a:pt x="76" y="18"/>
                    </a:cubicBezTo>
                    <a:cubicBezTo>
                      <a:pt x="76" y="17"/>
                      <a:pt x="76" y="17"/>
                      <a:pt x="76" y="16"/>
                    </a:cubicBezTo>
                    <a:cubicBezTo>
                      <a:pt x="76" y="16"/>
                      <a:pt x="76" y="16"/>
                      <a:pt x="76" y="15"/>
                    </a:cubicBezTo>
                    <a:cubicBezTo>
                      <a:pt x="75" y="15"/>
                      <a:pt x="75" y="15"/>
                      <a:pt x="75" y="14"/>
                    </a:cubicBezTo>
                    <a:cubicBezTo>
                      <a:pt x="75" y="14"/>
                      <a:pt x="75" y="13"/>
                      <a:pt x="75" y="13"/>
                    </a:cubicBezTo>
                    <a:cubicBezTo>
                      <a:pt x="75" y="13"/>
                      <a:pt x="75" y="12"/>
                      <a:pt x="75" y="12"/>
                    </a:cubicBezTo>
                    <a:cubicBezTo>
                      <a:pt x="75" y="12"/>
                      <a:pt x="74" y="11"/>
                      <a:pt x="74" y="11"/>
                    </a:cubicBezTo>
                    <a:cubicBezTo>
                      <a:pt x="74" y="11"/>
                      <a:pt x="73" y="10"/>
                      <a:pt x="73" y="10"/>
                    </a:cubicBezTo>
                    <a:cubicBezTo>
                      <a:pt x="73" y="10"/>
                      <a:pt x="73" y="10"/>
                      <a:pt x="73" y="10"/>
                    </a:cubicBezTo>
                    <a:cubicBezTo>
                      <a:pt x="72" y="11"/>
                      <a:pt x="72" y="11"/>
                      <a:pt x="71" y="10"/>
                    </a:cubicBezTo>
                    <a:cubicBezTo>
                      <a:pt x="71" y="10"/>
                      <a:pt x="70" y="9"/>
                      <a:pt x="70" y="6"/>
                    </a:cubicBezTo>
                    <a:cubicBezTo>
                      <a:pt x="70" y="6"/>
                      <a:pt x="69" y="5"/>
                      <a:pt x="69" y="5"/>
                    </a:cubicBezTo>
                    <a:cubicBezTo>
                      <a:pt x="69" y="5"/>
                      <a:pt x="69" y="4"/>
                      <a:pt x="69" y="3"/>
                    </a:cubicBezTo>
                    <a:cubicBezTo>
                      <a:pt x="69" y="3"/>
                      <a:pt x="69" y="2"/>
                      <a:pt x="69" y="2"/>
                    </a:cubicBezTo>
                    <a:cubicBezTo>
                      <a:pt x="67" y="4"/>
                      <a:pt x="67" y="7"/>
                      <a:pt x="67" y="10"/>
                    </a:cubicBezTo>
                    <a:cubicBezTo>
                      <a:pt x="67" y="13"/>
                      <a:pt x="67" y="17"/>
                      <a:pt x="64" y="18"/>
                    </a:cubicBezTo>
                    <a:cubicBezTo>
                      <a:pt x="64" y="18"/>
                      <a:pt x="63" y="18"/>
                      <a:pt x="63" y="18"/>
                    </a:cubicBezTo>
                    <a:cubicBezTo>
                      <a:pt x="62" y="18"/>
                      <a:pt x="62" y="18"/>
                      <a:pt x="61" y="17"/>
                    </a:cubicBezTo>
                    <a:cubicBezTo>
                      <a:pt x="61" y="17"/>
                      <a:pt x="60" y="17"/>
                      <a:pt x="60" y="16"/>
                    </a:cubicBezTo>
                    <a:cubicBezTo>
                      <a:pt x="60" y="16"/>
                      <a:pt x="60" y="16"/>
                      <a:pt x="59" y="16"/>
                    </a:cubicBezTo>
                    <a:cubicBezTo>
                      <a:pt x="59" y="16"/>
                      <a:pt x="58" y="16"/>
                      <a:pt x="58" y="16"/>
                    </a:cubicBezTo>
                    <a:cubicBezTo>
                      <a:pt x="58" y="15"/>
                      <a:pt x="57" y="15"/>
                      <a:pt x="57" y="15"/>
                    </a:cubicBezTo>
                    <a:cubicBezTo>
                      <a:pt x="57" y="15"/>
                      <a:pt x="57" y="14"/>
                      <a:pt x="56" y="14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54" y="14"/>
                      <a:pt x="54" y="14"/>
                      <a:pt x="54" y="13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4" y="13"/>
                      <a:pt x="54" y="13"/>
                      <a:pt x="53" y="12"/>
                    </a:cubicBezTo>
                    <a:cubicBezTo>
                      <a:pt x="52" y="12"/>
                      <a:pt x="52" y="10"/>
                      <a:pt x="52" y="9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5"/>
                      <a:pt x="52" y="5"/>
                      <a:pt x="51" y="5"/>
                    </a:cubicBezTo>
                    <a:cubicBezTo>
                      <a:pt x="49" y="5"/>
                      <a:pt x="47" y="5"/>
                      <a:pt x="46" y="4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6" y="4"/>
                      <a:pt x="46" y="5"/>
                      <a:pt x="45" y="5"/>
                    </a:cubicBezTo>
                    <a:cubicBezTo>
                      <a:pt x="44" y="6"/>
                      <a:pt x="44" y="6"/>
                      <a:pt x="43" y="6"/>
                    </a:cubicBezTo>
                    <a:cubicBezTo>
                      <a:pt x="43" y="6"/>
                      <a:pt x="42" y="6"/>
                      <a:pt x="42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3" y="8"/>
                      <a:pt x="43" y="8"/>
                      <a:pt x="43" y="8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1" y="6"/>
                      <a:pt x="41" y="7"/>
                      <a:pt x="41" y="7"/>
                    </a:cubicBezTo>
                    <a:cubicBezTo>
                      <a:pt x="41" y="7"/>
                      <a:pt x="41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9" y="9"/>
                      <a:pt x="39" y="10"/>
                      <a:pt x="39" y="10"/>
                    </a:cubicBezTo>
                    <a:cubicBezTo>
                      <a:pt x="39" y="11"/>
                      <a:pt x="40" y="11"/>
                      <a:pt x="39" y="12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1"/>
                      <a:pt x="36" y="12"/>
                      <a:pt x="35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1"/>
                      <a:pt x="35" y="10"/>
                      <a:pt x="33" y="10"/>
                    </a:cubicBezTo>
                    <a:cubicBezTo>
                      <a:pt x="33" y="10"/>
                      <a:pt x="32" y="10"/>
                      <a:pt x="32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1" y="10"/>
                      <a:pt x="31" y="10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7" y="14"/>
                      <a:pt x="27" y="14"/>
                      <a:pt x="27" y="15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5"/>
                      <a:pt x="25" y="15"/>
                      <a:pt x="25" y="15"/>
                    </a:cubicBezTo>
                    <a:cubicBezTo>
                      <a:pt x="25" y="15"/>
                      <a:pt x="25" y="15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17"/>
                      <a:pt x="25" y="17"/>
                      <a:pt x="25" y="18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8"/>
                      <a:pt x="22" y="18"/>
                      <a:pt x="22" y="19"/>
                    </a:cubicBezTo>
                    <a:cubicBezTo>
                      <a:pt x="22" y="19"/>
                      <a:pt x="22" y="19"/>
                      <a:pt x="22" y="20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22"/>
                      <a:pt x="18" y="24"/>
                      <a:pt x="15" y="24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4" y="24"/>
                      <a:pt x="13" y="25"/>
                      <a:pt x="13" y="25"/>
                    </a:cubicBezTo>
                    <a:cubicBezTo>
                      <a:pt x="12" y="25"/>
                      <a:pt x="12" y="25"/>
                      <a:pt x="11" y="25"/>
                    </a:cubicBezTo>
                    <a:cubicBezTo>
                      <a:pt x="11" y="26"/>
                      <a:pt x="10" y="26"/>
                      <a:pt x="10" y="25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8" y="26"/>
                      <a:pt x="8" y="26"/>
                      <a:pt x="8" y="26"/>
                    </a:cubicBezTo>
                    <a:cubicBezTo>
                      <a:pt x="7" y="27"/>
                      <a:pt x="6" y="28"/>
                      <a:pt x="6" y="28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4" y="28"/>
                      <a:pt x="4" y="29"/>
                      <a:pt x="3" y="30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2"/>
                      <a:pt x="2" y="32"/>
                      <a:pt x="2" y="33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2" y="34"/>
                      <a:pt x="2" y="35"/>
                      <a:pt x="3" y="36"/>
                    </a:cubicBezTo>
                    <a:cubicBezTo>
                      <a:pt x="3" y="37"/>
                      <a:pt x="4" y="39"/>
                      <a:pt x="3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0"/>
                      <a:pt x="2" y="40"/>
                      <a:pt x="2" y="40"/>
                    </a:cubicBezTo>
                    <a:cubicBezTo>
                      <a:pt x="4" y="42"/>
                      <a:pt x="5" y="45"/>
                      <a:pt x="5" y="47"/>
                    </a:cubicBezTo>
                    <a:cubicBezTo>
                      <a:pt x="5" y="49"/>
                      <a:pt x="6" y="50"/>
                      <a:pt x="6" y="51"/>
                    </a:cubicBezTo>
                    <a:cubicBezTo>
                      <a:pt x="7" y="53"/>
                      <a:pt x="7" y="55"/>
                      <a:pt x="7" y="57"/>
                    </a:cubicBezTo>
                    <a:cubicBezTo>
                      <a:pt x="7" y="58"/>
                      <a:pt x="7" y="58"/>
                      <a:pt x="6" y="5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6" y="60"/>
                      <a:pt x="7" y="61"/>
                      <a:pt x="8" y="62"/>
                    </a:cubicBezTo>
                    <a:cubicBezTo>
                      <a:pt x="9" y="62"/>
                      <a:pt x="9" y="62"/>
                      <a:pt x="10" y="62"/>
                    </a:cubicBezTo>
                    <a:cubicBezTo>
                      <a:pt x="11" y="62"/>
                      <a:pt x="11" y="62"/>
                      <a:pt x="12" y="61"/>
                    </a:cubicBezTo>
                    <a:cubicBezTo>
                      <a:pt x="12" y="61"/>
                      <a:pt x="13" y="60"/>
                      <a:pt x="15" y="60"/>
                    </a:cubicBezTo>
                    <a:cubicBezTo>
                      <a:pt x="15" y="60"/>
                      <a:pt x="15" y="60"/>
                      <a:pt x="16" y="60"/>
                    </a:cubicBezTo>
                    <a:cubicBezTo>
                      <a:pt x="16" y="59"/>
                      <a:pt x="17" y="59"/>
                      <a:pt x="18" y="59"/>
                    </a:cubicBezTo>
                    <a:cubicBezTo>
                      <a:pt x="20" y="59"/>
                      <a:pt x="21" y="59"/>
                      <a:pt x="23" y="59"/>
                    </a:cubicBezTo>
                    <a:cubicBezTo>
                      <a:pt x="24" y="59"/>
                      <a:pt x="24" y="59"/>
                      <a:pt x="24" y="59"/>
                    </a:cubicBezTo>
                    <a:cubicBezTo>
                      <a:pt x="25" y="59"/>
                      <a:pt x="25" y="58"/>
                      <a:pt x="25" y="58"/>
                    </a:cubicBezTo>
                    <a:cubicBezTo>
                      <a:pt x="25" y="57"/>
                      <a:pt x="26" y="57"/>
                      <a:pt x="26" y="56"/>
                    </a:cubicBezTo>
                    <a:cubicBezTo>
                      <a:pt x="27" y="56"/>
                      <a:pt x="27" y="56"/>
                      <a:pt x="28" y="56"/>
                    </a:cubicBezTo>
                    <a:cubicBezTo>
                      <a:pt x="29" y="55"/>
                      <a:pt x="30" y="54"/>
                      <a:pt x="31" y="54"/>
                    </a:cubicBezTo>
                    <a:cubicBezTo>
                      <a:pt x="32" y="54"/>
                      <a:pt x="34" y="54"/>
                      <a:pt x="35" y="53"/>
                    </a:cubicBezTo>
                    <a:cubicBezTo>
                      <a:pt x="37" y="53"/>
                      <a:pt x="38" y="52"/>
                      <a:pt x="40" y="52"/>
                    </a:cubicBezTo>
                    <a:cubicBezTo>
                      <a:pt x="42" y="52"/>
                      <a:pt x="43" y="52"/>
                      <a:pt x="45" y="53"/>
                    </a:cubicBezTo>
                    <a:cubicBezTo>
                      <a:pt x="45" y="54"/>
                      <a:pt x="45" y="54"/>
                      <a:pt x="46" y="54"/>
                    </a:cubicBezTo>
                    <a:cubicBezTo>
                      <a:pt x="46" y="54"/>
                      <a:pt x="46" y="54"/>
                      <a:pt x="47" y="5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9" y="55"/>
                      <a:pt x="50" y="55"/>
                      <a:pt x="50" y="56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50" y="57"/>
                      <a:pt x="51" y="57"/>
                      <a:pt x="51" y="57"/>
                    </a:cubicBezTo>
                    <a:cubicBezTo>
                      <a:pt x="51" y="57"/>
                      <a:pt x="51" y="57"/>
                      <a:pt x="51" y="57"/>
                    </a:cubicBezTo>
                    <a:cubicBezTo>
                      <a:pt x="52" y="59"/>
                      <a:pt x="53" y="60"/>
                      <a:pt x="53" y="61"/>
                    </a:cubicBezTo>
                    <a:cubicBezTo>
                      <a:pt x="53" y="62"/>
                      <a:pt x="53" y="62"/>
                      <a:pt x="53" y="62"/>
                    </a:cubicBezTo>
                    <a:cubicBezTo>
                      <a:pt x="53" y="62"/>
                      <a:pt x="53" y="62"/>
                      <a:pt x="53" y="62"/>
                    </a:cubicBezTo>
                    <a:cubicBezTo>
                      <a:pt x="53" y="60"/>
                      <a:pt x="54" y="60"/>
                      <a:pt x="55" y="59"/>
                    </a:cubicBezTo>
                    <a:cubicBezTo>
                      <a:pt x="56" y="58"/>
                      <a:pt x="57" y="57"/>
                      <a:pt x="57" y="56"/>
                    </a:cubicBezTo>
                    <a:cubicBezTo>
                      <a:pt x="57" y="53"/>
                      <a:pt x="57" y="53"/>
                      <a:pt x="57" y="53"/>
                    </a:cubicBezTo>
                    <a:cubicBezTo>
                      <a:pt x="58" y="55"/>
                      <a:pt x="58" y="55"/>
                      <a:pt x="58" y="55"/>
                    </a:cubicBezTo>
                    <a:cubicBezTo>
                      <a:pt x="59" y="57"/>
                      <a:pt x="59" y="58"/>
                      <a:pt x="58" y="59"/>
                    </a:cubicBezTo>
                    <a:cubicBezTo>
                      <a:pt x="59" y="60"/>
                      <a:pt x="59" y="60"/>
                      <a:pt x="59" y="60"/>
                    </a:cubicBezTo>
                    <a:cubicBezTo>
                      <a:pt x="60" y="61"/>
                      <a:pt x="60" y="62"/>
                      <a:pt x="60" y="63"/>
                    </a:cubicBezTo>
                    <a:cubicBezTo>
                      <a:pt x="62" y="63"/>
                      <a:pt x="62" y="63"/>
                      <a:pt x="62" y="63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2" y="64"/>
                      <a:pt x="62" y="67"/>
                      <a:pt x="63" y="67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63" y="70"/>
                      <a:pt x="64" y="70"/>
                      <a:pt x="66" y="71"/>
                    </a:cubicBezTo>
                    <a:cubicBezTo>
                      <a:pt x="66" y="71"/>
                      <a:pt x="67" y="72"/>
                      <a:pt x="67" y="72"/>
                    </a:cubicBezTo>
                    <a:cubicBezTo>
                      <a:pt x="68" y="72"/>
                      <a:pt x="69" y="72"/>
                      <a:pt x="70" y="72"/>
                    </a:cubicBezTo>
                    <a:cubicBezTo>
                      <a:pt x="71" y="73"/>
                      <a:pt x="72" y="72"/>
                      <a:pt x="72" y="72"/>
                    </a:cubicBezTo>
                    <a:cubicBezTo>
                      <a:pt x="72" y="72"/>
                      <a:pt x="73" y="72"/>
                      <a:pt x="73" y="72"/>
                    </a:cubicBezTo>
                    <a:cubicBezTo>
                      <a:pt x="72" y="71"/>
                      <a:pt x="72" y="71"/>
                      <a:pt x="72" y="71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73" y="71"/>
                      <a:pt x="73" y="71"/>
                      <a:pt x="73" y="70"/>
                    </a:cubicBezTo>
                    <a:cubicBezTo>
                      <a:pt x="74" y="70"/>
                      <a:pt x="74" y="70"/>
                      <a:pt x="74" y="70"/>
                    </a:cubicBezTo>
                    <a:cubicBezTo>
                      <a:pt x="75" y="69"/>
                      <a:pt x="75" y="69"/>
                      <a:pt x="75" y="69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5" y="71"/>
                      <a:pt x="75" y="71"/>
                      <a:pt x="75" y="71"/>
                    </a:cubicBezTo>
                    <a:close/>
                    <a:moveTo>
                      <a:pt x="58" y="59"/>
                    </a:moveTo>
                    <a:cubicBezTo>
                      <a:pt x="58" y="60"/>
                      <a:pt x="58" y="60"/>
                      <a:pt x="58" y="60"/>
                    </a:cubicBezTo>
                    <a:cubicBezTo>
                      <a:pt x="57" y="60"/>
                      <a:pt x="58" y="61"/>
                      <a:pt x="58" y="61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1"/>
                      <a:pt x="58" y="60"/>
                      <a:pt x="58" y="60"/>
                    </a:cubicBezTo>
                    <a:lnTo>
                      <a:pt x="58" y="59"/>
                    </a:lnTo>
                    <a:close/>
                    <a:moveTo>
                      <a:pt x="55" y="5"/>
                    </a:moveTo>
                    <a:cubicBezTo>
                      <a:pt x="55" y="5"/>
                      <a:pt x="55" y="5"/>
                      <a:pt x="54" y="5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5" y="6"/>
                      <a:pt x="55" y="5"/>
                    </a:cubicBezTo>
                    <a:cubicBezTo>
                      <a:pt x="55" y="5"/>
                      <a:pt x="55" y="5"/>
                      <a:pt x="5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2" name="Freeform 536"/>
              <p:cNvSpPr/>
              <p:nvPr/>
            </p:nvSpPr>
            <p:spPr bwMode="auto">
              <a:xfrm>
                <a:off x="3629" y="2041"/>
                <a:ext cx="0" cy="3"/>
              </a:xfrm>
              <a:custGeom>
                <a:avLst/>
                <a:gdLst>
                  <a:gd name="T0" fmla="*/ 0 h 1"/>
                  <a:gd name="T1" fmla="*/ 0 h 1"/>
                  <a:gd name="T2" fmla="*/ 531441 h 1"/>
                  <a:gd name="T3" fmla="*/ 0 h 1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0" y="T0"/>
                  </a:cxn>
                  <a:cxn ang="T5">
                    <a:pos x="0" y="T1"/>
                  </a:cxn>
                  <a:cxn ang="T6">
                    <a:pos x="0" y="T2"/>
                  </a:cxn>
                  <a:cxn ang="T7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3" name="Freeform 537"/>
              <p:cNvSpPr/>
              <p:nvPr/>
            </p:nvSpPr>
            <p:spPr bwMode="auto">
              <a:xfrm>
                <a:off x="3624" y="2039"/>
                <a:ext cx="10" cy="5"/>
              </a:xfrm>
              <a:custGeom>
                <a:avLst/>
                <a:gdLst>
                  <a:gd name="T0" fmla="*/ 241220 w 4"/>
                  <a:gd name="T1" fmla="*/ 126958 h 2"/>
                  <a:gd name="T2" fmla="*/ 0 w 4"/>
                  <a:gd name="T3" fmla="*/ 126958 h 2"/>
                  <a:gd name="T4" fmla="*/ 76488 w 4"/>
                  <a:gd name="T5" fmla="*/ 76488 h 2"/>
                  <a:gd name="T6" fmla="*/ 126958 w 4"/>
                  <a:gd name="T7" fmla="*/ 76488 h 2"/>
                  <a:gd name="T8" fmla="*/ 126958 w 4"/>
                  <a:gd name="T9" fmla="*/ 0 h 2"/>
                  <a:gd name="T10" fmla="*/ 241220 w 4"/>
                  <a:gd name="T11" fmla="*/ 126958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4" name="Freeform 538"/>
              <p:cNvSpPr/>
              <p:nvPr/>
            </p:nvSpPr>
            <p:spPr bwMode="auto">
              <a:xfrm>
                <a:off x="3655" y="1940"/>
                <a:ext cx="2" cy="5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126958 h 2"/>
                  <a:gd name="T4" fmla="*/ 0 w 1"/>
                  <a:gd name="T5" fmla="*/ 0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1"/>
                      <a:pt x="1" y="2"/>
                      <a:pt x="0" y="2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5" name="Freeform 539"/>
              <p:cNvSpPr/>
              <p:nvPr/>
            </p:nvSpPr>
            <p:spPr bwMode="auto">
              <a:xfrm>
                <a:off x="3655" y="1935"/>
                <a:ext cx="5" cy="14"/>
              </a:xfrm>
              <a:custGeom>
                <a:avLst/>
                <a:gdLst>
                  <a:gd name="T0" fmla="*/ 0 w 2"/>
                  <a:gd name="T1" fmla="*/ 158172 h 6"/>
                  <a:gd name="T2" fmla="*/ 0 w 2"/>
                  <a:gd name="T3" fmla="*/ 0 h 6"/>
                  <a:gd name="T4" fmla="*/ 76488 w 2"/>
                  <a:gd name="T5" fmla="*/ 57269 h 6"/>
                  <a:gd name="T6" fmla="*/ 76488 w 2"/>
                  <a:gd name="T7" fmla="*/ 133628 h 6"/>
                  <a:gd name="T8" fmla="*/ 0 w 2"/>
                  <a:gd name="T9" fmla="*/ 158172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3"/>
                      <a:pt x="2" y="4"/>
                      <a:pt x="1" y="5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6" name="Freeform 540"/>
              <p:cNvSpPr/>
              <p:nvPr/>
            </p:nvSpPr>
            <p:spPr bwMode="auto">
              <a:xfrm>
                <a:off x="3626" y="2037"/>
                <a:ext cx="5" cy="4"/>
              </a:xfrm>
              <a:custGeom>
                <a:avLst/>
                <a:gdLst>
                  <a:gd name="T0" fmla="*/ 0 w 2"/>
                  <a:gd name="T1" fmla="*/ 0 h 2"/>
                  <a:gd name="T2" fmla="*/ 76488 w 2"/>
                  <a:gd name="T3" fmla="*/ 8192 h 2"/>
                  <a:gd name="T4" fmla="*/ 0 w 2"/>
                  <a:gd name="T5" fmla="*/ 0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1" y="1"/>
                      <a:pt x="2" y="1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7" name="Freeform 541"/>
              <p:cNvSpPr/>
              <p:nvPr/>
            </p:nvSpPr>
            <p:spPr bwMode="auto">
              <a:xfrm>
                <a:off x="3624" y="2034"/>
                <a:ext cx="7" cy="10"/>
              </a:xfrm>
              <a:custGeom>
                <a:avLst/>
                <a:gdLst>
                  <a:gd name="T0" fmla="*/ 57269 w 3"/>
                  <a:gd name="T1" fmla="*/ 241220 h 4"/>
                  <a:gd name="T2" fmla="*/ 24544 w 3"/>
                  <a:gd name="T3" fmla="*/ 191220 h 4"/>
                  <a:gd name="T4" fmla="*/ 24544 w 3"/>
                  <a:gd name="T5" fmla="*/ 191220 h 4"/>
                  <a:gd name="T6" fmla="*/ 24544 w 3"/>
                  <a:gd name="T7" fmla="*/ 126958 h 4"/>
                  <a:gd name="T8" fmla="*/ 0 w 3"/>
                  <a:gd name="T9" fmla="*/ 0 h 4"/>
                  <a:gd name="T10" fmla="*/ 24544 w 3"/>
                  <a:gd name="T11" fmla="*/ 76488 h 4"/>
                  <a:gd name="T12" fmla="*/ 75677 w 3"/>
                  <a:gd name="T13" fmla="*/ 126958 h 4"/>
                  <a:gd name="T14" fmla="*/ 57269 w 3"/>
                  <a:gd name="T15" fmla="*/ 191220 h 4"/>
                  <a:gd name="T16" fmla="*/ 57269 w 3"/>
                  <a:gd name="T17" fmla="*/ 241220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3" y="2"/>
                      <a:pt x="3" y="2"/>
                    </a:cubicBezTo>
                    <a:cubicBezTo>
                      <a:pt x="3" y="2"/>
                      <a:pt x="3" y="3"/>
                      <a:pt x="2" y="3"/>
                    </a:cubicBez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8" name="Freeform 542"/>
              <p:cNvSpPr/>
              <p:nvPr/>
            </p:nvSpPr>
            <p:spPr bwMode="auto">
              <a:xfrm>
                <a:off x="3610" y="2044"/>
                <a:ext cx="19" cy="23"/>
              </a:xfrm>
              <a:custGeom>
                <a:avLst/>
                <a:gdLst>
                  <a:gd name="T0" fmla="*/ 0 w 8"/>
                  <a:gd name="T1" fmla="*/ 0 h 10"/>
                  <a:gd name="T2" fmla="*/ 29462 w 8"/>
                  <a:gd name="T3" fmla="*/ 115016 h 10"/>
                  <a:gd name="T4" fmla="*/ 29462 w 8"/>
                  <a:gd name="T5" fmla="*/ 115016 h 10"/>
                  <a:gd name="T6" fmla="*/ 96347 w 8"/>
                  <a:gd name="T7" fmla="*/ 169216 h 10"/>
                  <a:gd name="T8" fmla="*/ 96347 w 8"/>
                  <a:gd name="T9" fmla="*/ 198237 h 10"/>
                  <a:gd name="T10" fmla="*/ 256987 w 8"/>
                  <a:gd name="T11" fmla="*/ 86190 h 10"/>
                  <a:gd name="T12" fmla="*/ 166184 w 8"/>
                  <a:gd name="T13" fmla="*/ 21742 h 10"/>
                  <a:gd name="T14" fmla="*/ 0 w 8"/>
                  <a:gd name="T15" fmla="*/ 0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10">
                    <a:moveTo>
                      <a:pt x="0" y="0"/>
                    </a:moveTo>
                    <a:cubicBezTo>
                      <a:pt x="0" y="2"/>
                      <a:pt x="2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6"/>
                      <a:pt x="2" y="8"/>
                      <a:pt x="3" y="8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5" y="10"/>
                      <a:pt x="8" y="6"/>
                      <a:pt x="8" y="4"/>
                    </a:cubicBezTo>
                    <a:cubicBezTo>
                      <a:pt x="8" y="1"/>
                      <a:pt x="8" y="0"/>
                      <a:pt x="5" y="1"/>
                    </a:cubicBezTo>
                    <a:cubicBezTo>
                      <a:pt x="3" y="2"/>
                      <a:pt x="2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9" name="Freeform 543"/>
              <p:cNvSpPr>
                <a:spLocks noEditPoints="1"/>
              </p:cNvSpPr>
              <p:nvPr/>
            </p:nvSpPr>
            <p:spPr bwMode="auto">
              <a:xfrm>
                <a:off x="3608" y="2041"/>
                <a:ext cx="23" cy="26"/>
              </a:xfrm>
              <a:custGeom>
                <a:avLst/>
                <a:gdLst>
                  <a:gd name="T0" fmla="*/ 115016 w 10"/>
                  <a:gd name="T1" fmla="*/ 331318 h 11"/>
                  <a:gd name="T2" fmla="*/ 86190 w 10"/>
                  <a:gd name="T3" fmla="*/ 310743 h 11"/>
                  <a:gd name="T4" fmla="*/ 66300 w 10"/>
                  <a:gd name="T5" fmla="*/ 310743 h 11"/>
                  <a:gd name="T6" fmla="*/ 66300 w 10"/>
                  <a:gd name="T7" fmla="*/ 310743 h 11"/>
                  <a:gd name="T8" fmla="*/ 50007 w 10"/>
                  <a:gd name="T9" fmla="*/ 179284 h 11"/>
                  <a:gd name="T10" fmla="*/ 21742 w 10"/>
                  <a:gd name="T11" fmla="*/ 114948 h 11"/>
                  <a:gd name="T12" fmla="*/ 21742 w 10"/>
                  <a:gd name="T13" fmla="*/ 114948 h 11"/>
                  <a:gd name="T14" fmla="*/ 0 w 10"/>
                  <a:gd name="T15" fmla="*/ 27213 h 11"/>
                  <a:gd name="T16" fmla="*/ 21742 w 10"/>
                  <a:gd name="T17" fmla="*/ 0 h 11"/>
                  <a:gd name="T18" fmla="*/ 21742 w 10"/>
                  <a:gd name="T19" fmla="*/ 27213 h 11"/>
                  <a:gd name="T20" fmla="*/ 50007 w 10"/>
                  <a:gd name="T21" fmla="*/ 27213 h 11"/>
                  <a:gd name="T22" fmla="*/ 133096 w 10"/>
                  <a:gd name="T23" fmla="*/ 64322 h 11"/>
                  <a:gd name="T24" fmla="*/ 169216 w 10"/>
                  <a:gd name="T25" fmla="*/ 27213 h 11"/>
                  <a:gd name="T26" fmla="*/ 198237 w 10"/>
                  <a:gd name="T27" fmla="*/ 64322 h 11"/>
                  <a:gd name="T28" fmla="*/ 219979 w 10"/>
                  <a:gd name="T29" fmla="*/ 152034 h 11"/>
                  <a:gd name="T30" fmla="*/ 115016 w 10"/>
                  <a:gd name="T31" fmla="*/ 331318 h 11"/>
                  <a:gd name="T32" fmla="*/ 66300 w 10"/>
                  <a:gd name="T33" fmla="*/ 219163 h 11"/>
                  <a:gd name="T34" fmla="*/ 115016 w 10"/>
                  <a:gd name="T35" fmla="*/ 271695 h 11"/>
                  <a:gd name="T36" fmla="*/ 115016 w 10"/>
                  <a:gd name="T37" fmla="*/ 271695 h 11"/>
                  <a:gd name="T38" fmla="*/ 115016 w 10"/>
                  <a:gd name="T39" fmla="*/ 271695 h 11"/>
                  <a:gd name="T40" fmla="*/ 198237 w 10"/>
                  <a:gd name="T41" fmla="*/ 152034 h 11"/>
                  <a:gd name="T42" fmla="*/ 169216 w 10"/>
                  <a:gd name="T43" fmla="*/ 92723 h 11"/>
                  <a:gd name="T44" fmla="*/ 133096 w 10"/>
                  <a:gd name="T45" fmla="*/ 92723 h 11"/>
                  <a:gd name="T46" fmla="*/ 50007 w 10"/>
                  <a:gd name="T47" fmla="*/ 64322 h 11"/>
                  <a:gd name="T48" fmla="*/ 50007 w 10"/>
                  <a:gd name="T49" fmla="*/ 64322 h 11"/>
                  <a:gd name="T50" fmla="*/ 50007 w 10"/>
                  <a:gd name="T51" fmla="*/ 114948 h 11"/>
                  <a:gd name="T52" fmla="*/ 66300 w 10"/>
                  <a:gd name="T53" fmla="*/ 219163 h 1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0" h="11">
                    <a:moveTo>
                      <a:pt x="5" y="11"/>
                    </a:moveTo>
                    <a:cubicBezTo>
                      <a:pt x="4" y="11"/>
                      <a:pt x="4" y="11"/>
                      <a:pt x="4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9"/>
                      <a:pt x="2" y="7"/>
                      <a:pt x="2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4" y="1"/>
                      <a:pt x="5" y="2"/>
                      <a:pt x="6" y="2"/>
                    </a:cubicBezTo>
                    <a:cubicBezTo>
                      <a:pt x="7" y="1"/>
                      <a:pt x="8" y="1"/>
                      <a:pt x="8" y="1"/>
                    </a:cubicBezTo>
                    <a:cubicBezTo>
                      <a:pt x="9" y="1"/>
                      <a:pt x="9" y="1"/>
                      <a:pt x="9" y="2"/>
                    </a:cubicBezTo>
                    <a:cubicBezTo>
                      <a:pt x="10" y="2"/>
                      <a:pt x="10" y="3"/>
                      <a:pt x="10" y="5"/>
                    </a:cubicBezTo>
                    <a:cubicBezTo>
                      <a:pt x="10" y="7"/>
                      <a:pt x="7" y="11"/>
                      <a:pt x="5" y="11"/>
                    </a:cubicBezTo>
                    <a:close/>
                    <a:moveTo>
                      <a:pt x="3" y="7"/>
                    </a:moveTo>
                    <a:cubicBezTo>
                      <a:pt x="3" y="8"/>
                      <a:pt x="4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8" y="7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7" y="3"/>
                      <a:pt x="6" y="3"/>
                    </a:cubicBezTo>
                    <a:cubicBezTo>
                      <a:pt x="5" y="3"/>
                      <a:pt x="3" y="3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3" y="5"/>
                      <a:pt x="4" y="6"/>
                      <a:pt x="3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0" name="Freeform 544"/>
              <p:cNvSpPr/>
              <p:nvPr/>
            </p:nvSpPr>
            <p:spPr bwMode="auto">
              <a:xfrm>
                <a:off x="3440" y="1772"/>
                <a:ext cx="9" cy="7"/>
              </a:xfrm>
              <a:custGeom>
                <a:avLst/>
                <a:gdLst>
                  <a:gd name="T0" fmla="*/ 0 w 4"/>
                  <a:gd name="T1" fmla="*/ 57269 h 3"/>
                  <a:gd name="T2" fmla="*/ 66330 w 4"/>
                  <a:gd name="T3" fmla="*/ 57269 h 3"/>
                  <a:gd name="T4" fmla="*/ 53228 w 4"/>
                  <a:gd name="T5" fmla="*/ 24544 h 3"/>
                  <a:gd name="T6" fmla="*/ 36860 w 4"/>
                  <a:gd name="T7" fmla="*/ 75677 h 3"/>
                  <a:gd name="T8" fmla="*/ 0 w 4"/>
                  <a:gd name="T9" fmla="*/ 57269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cubicBezTo>
                      <a:pt x="2" y="1"/>
                      <a:pt x="3" y="0"/>
                      <a:pt x="4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1" y="3"/>
                      <a:pt x="1" y="2"/>
                      <a:pt x="0" y="2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1" name="Freeform 545"/>
              <p:cNvSpPr/>
              <p:nvPr/>
            </p:nvSpPr>
            <p:spPr bwMode="auto">
              <a:xfrm>
                <a:off x="3440" y="1772"/>
                <a:ext cx="12" cy="12"/>
              </a:xfrm>
              <a:custGeom>
                <a:avLst/>
                <a:gdLst>
                  <a:gd name="T0" fmla="*/ 184798 w 5"/>
                  <a:gd name="T1" fmla="*/ 184798 h 5"/>
                  <a:gd name="T2" fmla="*/ 107827 w 5"/>
                  <a:gd name="T3" fmla="*/ 107827 h 5"/>
                  <a:gd name="T4" fmla="*/ 107827 w 5"/>
                  <a:gd name="T5" fmla="*/ 76999 h 5"/>
                  <a:gd name="T6" fmla="*/ 107827 w 5"/>
                  <a:gd name="T7" fmla="*/ 107827 h 5"/>
                  <a:gd name="T8" fmla="*/ 76999 w 5"/>
                  <a:gd name="T9" fmla="*/ 107827 h 5"/>
                  <a:gd name="T10" fmla="*/ 76999 w 5"/>
                  <a:gd name="T11" fmla="*/ 153278 h 5"/>
                  <a:gd name="T12" fmla="*/ 32083 w 5"/>
                  <a:gd name="T13" fmla="*/ 153278 h 5"/>
                  <a:gd name="T14" fmla="*/ 32083 w 5"/>
                  <a:gd name="T15" fmla="*/ 107827 h 5"/>
                  <a:gd name="T16" fmla="*/ 0 w 5"/>
                  <a:gd name="T17" fmla="*/ 76999 h 5"/>
                  <a:gd name="T18" fmla="*/ 0 w 5"/>
                  <a:gd name="T19" fmla="*/ 76999 h 5"/>
                  <a:gd name="T20" fmla="*/ 32083 w 5"/>
                  <a:gd name="T21" fmla="*/ 32083 h 5"/>
                  <a:gd name="T22" fmla="*/ 76999 w 5"/>
                  <a:gd name="T23" fmla="*/ 0 h 5"/>
                  <a:gd name="T24" fmla="*/ 76999 w 5"/>
                  <a:gd name="T25" fmla="*/ 0 h 5"/>
                  <a:gd name="T26" fmla="*/ 76999 w 5"/>
                  <a:gd name="T27" fmla="*/ 0 h 5"/>
                  <a:gd name="T28" fmla="*/ 153278 w 5"/>
                  <a:gd name="T29" fmla="*/ 76999 h 5"/>
                  <a:gd name="T30" fmla="*/ 184798 w 5"/>
                  <a:gd name="T31" fmla="*/ 184798 h 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3" y="3"/>
                      <a:pt x="3" y="3"/>
                    </a:cubicBezTo>
                    <a:cubicBezTo>
                      <a:pt x="3" y="3"/>
                      <a:pt x="2" y="3"/>
                      <a:pt x="2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2" name="Freeform 546"/>
              <p:cNvSpPr/>
              <p:nvPr/>
            </p:nvSpPr>
            <p:spPr bwMode="auto">
              <a:xfrm>
                <a:off x="3589" y="1815"/>
                <a:ext cx="54" cy="45"/>
              </a:xfrm>
              <a:custGeom>
                <a:avLst/>
                <a:gdLst>
                  <a:gd name="T0" fmla="*/ 0 w 23"/>
                  <a:gd name="T1" fmla="*/ 183036 h 19"/>
                  <a:gd name="T2" fmla="*/ 0 w 23"/>
                  <a:gd name="T3" fmla="*/ 0 h 19"/>
                  <a:gd name="T4" fmla="*/ 249403 w 23"/>
                  <a:gd name="T5" fmla="*/ 116699 h 19"/>
                  <a:gd name="T6" fmla="*/ 336150 w 23"/>
                  <a:gd name="T7" fmla="*/ 222745 h 19"/>
                  <a:gd name="T8" fmla="*/ 453447 w 23"/>
                  <a:gd name="T9" fmla="*/ 316793 h 19"/>
                  <a:gd name="T10" fmla="*/ 392425 w 23"/>
                  <a:gd name="T11" fmla="*/ 316793 h 19"/>
                  <a:gd name="T12" fmla="*/ 479327 w 23"/>
                  <a:gd name="T13" fmla="*/ 433506 h 19"/>
                  <a:gd name="T14" fmla="*/ 539972 w 23"/>
                  <a:gd name="T15" fmla="*/ 471074 h 19"/>
                  <a:gd name="T16" fmla="*/ 585555 w 23"/>
                  <a:gd name="T17" fmla="*/ 527554 h 19"/>
                  <a:gd name="T18" fmla="*/ 585555 w 23"/>
                  <a:gd name="T19" fmla="*/ 527554 h 19"/>
                  <a:gd name="T20" fmla="*/ 646047 w 23"/>
                  <a:gd name="T21" fmla="*/ 567263 h 19"/>
                  <a:gd name="T22" fmla="*/ 619371 w 23"/>
                  <a:gd name="T23" fmla="*/ 567263 h 19"/>
                  <a:gd name="T24" fmla="*/ 646047 w 23"/>
                  <a:gd name="T25" fmla="*/ 593223 h 19"/>
                  <a:gd name="T26" fmla="*/ 392425 w 23"/>
                  <a:gd name="T27" fmla="*/ 499176 h 19"/>
                  <a:gd name="T28" fmla="*/ 336150 w 23"/>
                  <a:gd name="T29" fmla="*/ 405938 h 19"/>
                  <a:gd name="T30" fmla="*/ 193135 w 23"/>
                  <a:gd name="T31" fmla="*/ 365374 h 19"/>
                  <a:gd name="T32" fmla="*/ 143175 w 23"/>
                  <a:gd name="T33" fmla="*/ 433506 h 19"/>
                  <a:gd name="T34" fmla="*/ 25974 w 23"/>
                  <a:gd name="T35" fmla="*/ 471074 h 19"/>
                  <a:gd name="T36" fmla="*/ 0 w 23"/>
                  <a:gd name="T37" fmla="*/ 183036 h 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3" h="1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7" y="2"/>
                      <a:pt x="9" y="4"/>
                    </a:cubicBezTo>
                    <a:cubicBezTo>
                      <a:pt x="11" y="5"/>
                      <a:pt x="11" y="7"/>
                      <a:pt x="12" y="7"/>
                    </a:cubicBezTo>
                    <a:cubicBezTo>
                      <a:pt x="14" y="8"/>
                      <a:pt x="16" y="8"/>
                      <a:pt x="16" y="10"/>
                    </a:cubicBezTo>
                    <a:cubicBezTo>
                      <a:pt x="15" y="10"/>
                      <a:pt x="15" y="10"/>
                      <a:pt x="14" y="10"/>
                    </a:cubicBezTo>
                    <a:cubicBezTo>
                      <a:pt x="15" y="12"/>
                      <a:pt x="16" y="13"/>
                      <a:pt x="17" y="14"/>
                    </a:cubicBezTo>
                    <a:cubicBezTo>
                      <a:pt x="18" y="15"/>
                      <a:pt x="18" y="15"/>
                      <a:pt x="19" y="15"/>
                    </a:cubicBezTo>
                    <a:cubicBezTo>
                      <a:pt x="20" y="16"/>
                      <a:pt x="19" y="17"/>
                      <a:pt x="21" y="17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21" y="18"/>
                      <a:pt x="22" y="18"/>
                      <a:pt x="23" y="18"/>
                    </a:cubicBezTo>
                    <a:cubicBezTo>
                      <a:pt x="23" y="18"/>
                      <a:pt x="22" y="18"/>
                      <a:pt x="22" y="18"/>
                    </a:cubicBezTo>
                    <a:cubicBezTo>
                      <a:pt x="22" y="18"/>
                      <a:pt x="22" y="19"/>
                      <a:pt x="23" y="19"/>
                    </a:cubicBezTo>
                    <a:cubicBezTo>
                      <a:pt x="21" y="19"/>
                      <a:pt x="14" y="18"/>
                      <a:pt x="14" y="16"/>
                    </a:cubicBezTo>
                    <a:cubicBezTo>
                      <a:pt x="14" y="16"/>
                      <a:pt x="12" y="14"/>
                      <a:pt x="12" y="13"/>
                    </a:cubicBezTo>
                    <a:cubicBezTo>
                      <a:pt x="10" y="13"/>
                      <a:pt x="8" y="12"/>
                      <a:pt x="7" y="12"/>
                    </a:cubicBezTo>
                    <a:cubicBezTo>
                      <a:pt x="7" y="13"/>
                      <a:pt x="6" y="13"/>
                      <a:pt x="5" y="14"/>
                    </a:cubicBezTo>
                    <a:cubicBezTo>
                      <a:pt x="7" y="16"/>
                      <a:pt x="1" y="17"/>
                      <a:pt x="1" y="15"/>
                    </a:cubicBezTo>
                    <a:cubicBezTo>
                      <a:pt x="0" y="12"/>
                      <a:pt x="0" y="9"/>
                      <a:pt x="0" y="6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3" name="Freeform 547"/>
              <p:cNvSpPr>
                <a:spLocks noEditPoints="1"/>
              </p:cNvSpPr>
              <p:nvPr/>
            </p:nvSpPr>
            <p:spPr bwMode="auto">
              <a:xfrm>
                <a:off x="3589" y="1815"/>
                <a:ext cx="59" cy="45"/>
              </a:xfrm>
              <a:custGeom>
                <a:avLst/>
                <a:gdLst>
                  <a:gd name="T0" fmla="*/ 504332 w 25"/>
                  <a:gd name="T1" fmla="*/ 593223 h 19"/>
                  <a:gd name="T2" fmla="*/ 327013 w 25"/>
                  <a:gd name="T3" fmla="*/ 433506 h 19"/>
                  <a:gd name="T4" fmla="*/ 213700 w 25"/>
                  <a:gd name="T5" fmla="*/ 405938 h 19"/>
                  <a:gd name="T6" fmla="*/ 176934 w 25"/>
                  <a:gd name="T7" fmla="*/ 471074 h 19"/>
                  <a:gd name="T8" fmla="*/ 0 w 25"/>
                  <a:gd name="T9" fmla="*/ 471074 h 19"/>
                  <a:gd name="T10" fmla="*/ 0 w 25"/>
                  <a:gd name="T11" fmla="*/ 0 h 19"/>
                  <a:gd name="T12" fmla="*/ 90551 w 25"/>
                  <a:gd name="T13" fmla="*/ 27502 h 19"/>
                  <a:gd name="T14" fmla="*/ 327013 w 25"/>
                  <a:gd name="T15" fmla="*/ 154269 h 19"/>
                  <a:gd name="T16" fmla="*/ 390634 w 25"/>
                  <a:gd name="T17" fmla="*/ 222745 h 19"/>
                  <a:gd name="T18" fmla="*/ 504332 w 25"/>
                  <a:gd name="T19" fmla="*/ 344520 h 19"/>
                  <a:gd name="T20" fmla="*/ 445551 w 25"/>
                  <a:gd name="T21" fmla="*/ 344520 h 19"/>
                  <a:gd name="T22" fmla="*/ 504332 w 25"/>
                  <a:gd name="T23" fmla="*/ 405938 h 19"/>
                  <a:gd name="T24" fmla="*/ 531290 w 25"/>
                  <a:gd name="T25" fmla="*/ 433506 h 19"/>
                  <a:gd name="T26" fmla="*/ 594543 w 25"/>
                  <a:gd name="T27" fmla="*/ 499176 h 19"/>
                  <a:gd name="T28" fmla="*/ 658065 w 25"/>
                  <a:gd name="T29" fmla="*/ 499176 h 19"/>
                  <a:gd name="T30" fmla="*/ 744951 w 25"/>
                  <a:gd name="T31" fmla="*/ 567263 h 19"/>
                  <a:gd name="T32" fmla="*/ 724605 w 25"/>
                  <a:gd name="T33" fmla="*/ 593223 h 19"/>
                  <a:gd name="T34" fmla="*/ 658065 w 25"/>
                  <a:gd name="T35" fmla="*/ 593223 h 19"/>
                  <a:gd name="T36" fmla="*/ 213700 w 25"/>
                  <a:gd name="T37" fmla="*/ 344520 h 19"/>
                  <a:gd name="T38" fmla="*/ 353814 w 25"/>
                  <a:gd name="T39" fmla="*/ 405938 h 19"/>
                  <a:gd name="T40" fmla="*/ 504332 w 25"/>
                  <a:gd name="T41" fmla="*/ 527554 h 19"/>
                  <a:gd name="T42" fmla="*/ 631147 w 25"/>
                  <a:gd name="T43" fmla="*/ 567263 h 19"/>
                  <a:gd name="T44" fmla="*/ 594543 w 25"/>
                  <a:gd name="T45" fmla="*/ 527554 h 19"/>
                  <a:gd name="T46" fmla="*/ 567582 w 25"/>
                  <a:gd name="T47" fmla="*/ 499176 h 19"/>
                  <a:gd name="T48" fmla="*/ 504332 w 25"/>
                  <a:gd name="T49" fmla="*/ 471074 h 19"/>
                  <a:gd name="T50" fmla="*/ 417564 w 25"/>
                  <a:gd name="T51" fmla="*/ 316793 h 19"/>
                  <a:gd name="T52" fmla="*/ 417564 w 25"/>
                  <a:gd name="T53" fmla="*/ 316793 h 19"/>
                  <a:gd name="T54" fmla="*/ 445551 w 25"/>
                  <a:gd name="T55" fmla="*/ 316793 h 19"/>
                  <a:gd name="T56" fmla="*/ 353814 w 25"/>
                  <a:gd name="T57" fmla="*/ 250472 h 19"/>
                  <a:gd name="T58" fmla="*/ 267435 w 25"/>
                  <a:gd name="T59" fmla="*/ 154269 h 19"/>
                  <a:gd name="T60" fmla="*/ 26918 w 25"/>
                  <a:gd name="T61" fmla="*/ 27502 h 19"/>
                  <a:gd name="T62" fmla="*/ 26918 w 25"/>
                  <a:gd name="T63" fmla="*/ 471074 h 19"/>
                  <a:gd name="T64" fmla="*/ 149921 w 25"/>
                  <a:gd name="T65" fmla="*/ 471074 h 19"/>
                  <a:gd name="T66" fmla="*/ 113320 w 25"/>
                  <a:gd name="T67" fmla="*/ 433506 h 19"/>
                  <a:gd name="T68" fmla="*/ 149921 w 25"/>
                  <a:gd name="T69" fmla="*/ 405938 h 19"/>
                  <a:gd name="T70" fmla="*/ 176934 w 25"/>
                  <a:gd name="T71" fmla="*/ 344520 h 1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5" h="19">
                    <a:moveTo>
                      <a:pt x="22" y="19"/>
                    </a:moveTo>
                    <a:cubicBezTo>
                      <a:pt x="20" y="19"/>
                      <a:pt x="18" y="19"/>
                      <a:pt x="17" y="19"/>
                    </a:cubicBezTo>
                    <a:cubicBezTo>
                      <a:pt x="15" y="18"/>
                      <a:pt x="14" y="17"/>
                      <a:pt x="13" y="16"/>
                    </a:cubicBezTo>
                    <a:cubicBezTo>
                      <a:pt x="13" y="15"/>
                      <a:pt x="12" y="14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0" y="13"/>
                      <a:pt x="9" y="13"/>
                      <a:pt x="7" y="13"/>
                    </a:cubicBezTo>
                    <a:cubicBezTo>
                      <a:pt x="7" y="13"/>
                      <a:pt x="6" y="14"/>
                      <a:pt x="6" y="14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6"/>
                      <a:pt x="4" y="17"/>
                      <a:pt x="3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12"/>
                      <a:pt x="0" y="9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5" y="1"/>
                      <a:pt x="8" y="2"/>
                      <a:pt x="10" y="4"/>
                    </a:cubicBezTo>
                    <a:cubicBezTo>
                      <a:pt x="10" y="4"/>
                      <a:pt x="11" y="5"/>
                      <a:pt x="11" y="5"/>
                    </a:cubicBezTo>
                    <a:cubicBezTo>
                      <a:pt x="12" y="6"/>
                      <a:pt x="12" y="7"/>
                      <a:pt x="12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5" y="7"/>
                      <a:pt x="17" y="8"/>
                      <a:pt x="17" y="10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6" y="11"/>
                      <a:pt x="16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2"/>
                      <a:pt x="16" y="12"/>
                      <a:pt x="17" y="13"/>
                    </a:cubicBezTo>
                    <a:cubicBezTo>
                      <a:pt x="17" y="13"/>
                      <a:pt x="17" y="14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20" y="15"/>
                      <a:pt x="20" y="16"/>
                      <a:pt x="20" y="16"/>
                    </a:cubicBezTo>
                    <a:cubicBezTo>
                      <a:pt x="20" y="16"/>
                      <a:pt x="20" y="16"/>
                      <a:pt x="21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3" y="19"/>
                      <a:pt x="23" y="19"/>
                      <a:pt x="23" y="19"/>
                    </a:cubicBezTo>
                    <a:cubicBezTo>
                      <a:pt x="23" y="19"/>
                      <a:pt x="22" y="19"/>
                      <a:pt x="22" y="19"/>
                    </a:cubicBezTo>
                    <a:close/>
                    <a:moveTo>
                      <a:pt x="6" y="11"/>
                    </a:moveTo>
                    <a:cubicBezTo>
                      <a:pt x="7" y="11"/>
                      <a:pt x="7" y="11"/>
                      <a:pt x="7" y="11"/>
                    </a:cubicBezTo>
                    <a:cubicBezTo>
                      <a:pt x="9" y="11"/>
                      <a:pt x="10" y="12"/>
                      <a:pt x="12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5" y="15"/>
                      <a:pt x="15" y="16"/>
                    </a:cubicBezTo>
                    <a:cubicBezTo>
                      <a:pt x="15" y="16"/>
                      <a:pt x="15" y="17"/>
                      <a:pt x="17" y="17"/>
                    </a:cubicBezTo>
                    <a:cubicBezTo>
                      <a:pt x="18" y="18"/>
                      <a:pt x="20" y="18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7"/>
                      <a:pt x="19" y="17"/>
                      <a:pt x="19" y="16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9" y="16"/>
                      <a:pt x="18" y="16"/>
                      <a:pt x="18" y="16"/>
                    </a:cubicBezTo>
                    <a:cubicBezTo>
                      <a:pt x="18" y="16"/>
                      <a:pt x="17" y="15"/>
                      <a:pt x="17" y="15"/>
                    </a:cubicBezTo>
                    <a:cubicBezTo>
                      <a:pt x="17" y="14"/>
                      <a:pt x="16" y="14"/>
                      <a:pt x="16" y="14"/>
                    </a:cubicBezTo>
                    <a:cubicBezTo>
                      <a:pt x="15" y="13"/>
                      <a:pt x="14" y="12"/>
                      <a:pt x="14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9"/>
                      <a:pt x="14" y="9"/>
                      <a:pt x="13" y="8"/>
                    </a:cubicBezTo>
                    <a:cubicBezTo>
                      <a:pt x="13" y="8"/>
                      <a:pt x="12" y="8"/>
                      <a:pt x="12" y="8"/>
                    </a:cubicBezTo>
                    <a:cubicBezTo>
                      <a:pt x="11" y="8"/>
                      <a:pt x="11" y="7"/>
                      <a:pt x="10" y="6"/>
                    </a:cubicBezTo>
                    <a:cubicBezTo>
                      <a:pt x="10" y="5"/>
                      <a:pt x="9" y="5"/>
                      <a:pt x="9" y="5"/>
                    </a:cubicBezTo>
                    <a:cubicBezTo>
                      <a:pt x="7" y="3"/>
                      <a:pt x="5" y="2"/>
                      <a:pt x="2" y="2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9"/>
                      <a:pt x="1" y="12"/>
                      <a:pt x="1" y="15"/>
                    </a:cubicBezTo>
                    <a:cubicBezTo>
                      <a:pt x="1" y="15"/>
                      <a:pt x="2" y="15"/>
                      <a:pt x="3" y="15"/>
                    </a:cubicBezTo>
                    <a:cubicBezTo>
                      <a:pt x="4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3"/>
                      <a:pt x="6" y="13"/>
                      <a:pt x="6" y="12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4" name="Freeform 548"/>
              <p:cNvSpPr/>
              <p:nvPr/>
            </p:nvSpPr>
            <p:spPr bwMode="auto">
              <a:xfrm>
                <a:off x="3641" y="1853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4096 w 1"/>
                  <a:gd name="T3" fmla="*/ 4096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0"/>
                      <a:pt x="1" y="0"/>
                      <a:pt x="1" y="1"/>
                    </a:cubicBezTo>
                    <a:cubicBezTo>
                      <a:pt x="0" y="1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5" name="Freeform 549"/>
              <p:cNvSpPr/>
              <p:nvPr/>
            </p:nvSpPr>
            <p:spPr bwMode="auto">
              <a:xfrm>
                <a:off x="3636" y="1850"/>
                <a:ext cx="9" cy="5"/>
              </a:xfrm>
              <a:custGeom>
                <a:avLst/>
                <a:gdLst>
                  <a:gd name="T0" fmla="*/ 53228 w 4"/>
                  <a:gd name="T1" fmla="*/ 126958 h 2"/>
                  <a:gd name="T2" fmla="*/ 36860 w 4"/>
                  <a:gd name="T3" fmla="*/ 126958 h 2"/>
                  <a:gd name="T4" fmla="*/ 36860 w 4"/>
                  <a:gd name="T5" fmla="*/ 76488 h 2"/>
                  <a:gd name="T6" fmla="*/ 0 w 4"/>
                  <a:gd name="T7" fmla="*/ 0 h 2"/>
                  <a:gd name="T8" fmla="*/ 36860 w 4"/>
                  <a:gd name="T9" fmla="*/ 76488 h 2"/>
                  <a:gd name="T10" fmla="*/ 53228 w 4"/>
                  <a:gd name="T11" fmla="*/ 76488 h 2"/>
                  <a:gd name="T12" fmla="*/ 66330 w 4"/>
                  <a:gd name="T13" fmla="*/ 126958 h 2"/>
                  <a:gd name="T14" fmla="*/ 66330 w 4"/>
                  <a:gd name="T15" fmla="*/ 126958 h 2"/>
                  <a:gd name="T16" fmla="*/ 53228 w 4"/>
                  <a:gd name="T17" fmla="*/ 126958 h 2"/>
                  <a:gd name="T18" fmla="*/ 53228 w 4"/>
                  <a:gd name="T19" fmla="*/ 126958 h 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" h="2">
                    <a:moveTo>
                      <a:pt x="3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6" name="Freeform 550"/>
              <p:cNvSpPr/>
              <p:nvPr/>
            </p:nvSpPr>
            <p:spPr bwMode="auto">
              <a:xfrm>
                <a:off x="3629" y="1822"/>
                <a:ext cx="23" cy="14"/>
              </a:xfrm>
              <a:custGeom>
                <a:avLst/>
                <a:gdLst>
                  <a:gd name="T0" fmla="*/ 0 w 10"/>
                  <a:gd name="T1" fmla="*/ 100221 h 6"/>
                  <a:gd name="T2" fmla="*/ 86190 w 10"/>
                  <a:gd name="T3" fmla="*/ 75677 h 6"/>
                  <a:gd name="T4" fmla="*/ 169216 w 10"/>
                  <a:gd name="T5" fmla="*/ 57269 h 6"/>
                  <a:gd name="T6" fmla="*/ 198237 w 10"/>
                  <a:gd name="T7" fmla="*/ 24544 h 6"/>
                  <a:gd name="T8" fmla="*/ 198237 w 10"/>
                  <a:gd name="T9" fmla="*/ 100221 h 6"/>
                  <a:gd name="T10" fmla="*/ 115016 w 10"/>
                  <a:gd name="T11" fmla="*/ 158172 h 6"/>
                  <a:gd name="T12" fmla="*/ 0 w 10"/>
                  <a:gd name="T13" fmla="*/ 100221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0" y="4"/>
                    </a:moveTo>
                    <a:cubicBezTo>
                      <a:pt x="2" y="4"/>
                      <a:pt x="4" y="5"/>
                      <a:pt x="4" y="3"/>
                    </a:cubicBezTo>
                    <a:cubicBezTo>
                      <a:pt x="4" y="5"/>
                      <a:pt x="8" y="4"/>
                      <a:pt x="8" y="2"/>
                    </a:cubicBezTo>
                    <a:cubicBezTo>
                      <a:pt x="8" y="2"/>
                      <a:pt x="8" y="0"/>
                      <a:pt x="9" y="1"/>
                    </a:cubicBezTo>
                    <a:cubicBezTo>
                      <a:pt x="10" y="2"/>
                      <a:pt x="9" y="3"/>
                      <a:pt x="9" y="4"/>
                    </a:cubicBezTo>
                    <a:cubicBezTo>
                      <a:pt x="8" y="5"/>
                      <a:pt x="6" y="6"/>
                      <a:pt x="5" y="6"/>
                    </a:cubicBezTo>
                    <a:cubicBezTo>
                      <a:pt x="3" y="6"/>
                      <a:pt x="1" y="6"/>
                      <a:pt x="0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7" name="Freeform 551"/>
              <p:cNvSpPr>
                <a:spLocks noEditPoints="1"/>
              </p:cNvSpPr>
              <p:nvPr/>
            </p:nvSpPr>
            <p:spPr bwMode="auto">
              <a:xfrm>
                <a:off x="3626" y="1822"/>
                <a:ext cx="26" cy="16"/>
              </a:xfrm>
              <a:custGeom>
                <a:avLst/>
                <a:gdLst>
                  <a:gd name="T0" fmla="*/ 152034 w 11"/>
                  <a:gd name="T1" fmla="*/ 144421 h 7"/>
                  <a:gd name="T2" fmla="*/ 27213 w 11"/>
                  <a:gd name="T3" fmla="*/ 96809 h 7"/>
                  <a:gd name="T4" fmla="*/ 0 w 11"/>
                  <a:gd name="T5" fmla="*/ 81863 h 7"/>
                  <a:gd name="T6" fmla="*/ 27213 w 11"/>
                  <a:gd name="T7" fmla="*/ 81863 h 7"/>
                  <a:gd name="T8" fmla="*/ 64322 w 11"/>
                  <a:gd name="T9" fmla="*/ 81863 h 7"/>
                  <a:gd name="T10" fmla="*/ 92723 w 11"/>
                  <a:gd name="T11" fmla="*/ 81863 h 7"/>
                  <a:gd name="T12" fmla="*/ 152034 w 11"/>
                  <a:gd name="T13" fmla="*/ 63184 h 7"/>
                  <a:gd name="T14" fmla="*/ 179284 w 11"/>
                  <a:gd name="T15" fmla="*/ 63184 h 7"/>
                  <a:gd name="T16" fmla="*/ 179284 w 11"/>
                  <a:gd name="T17" fmla="*/ 81863 h 7"/>
                  <a:gd name="T18" fmla="*/ 179284 w 11"/>
                  <a:gd name="T19" fmla="*/ 81863 h 7"/>
                  <a:gd name="T20" fmla="*/ 179284 w 11"/>
                  <a:gd name="T21" fmla="*/ 81863 h 7"/>
                  <a:gd name="T22" fmla="*/ 244478 w 11"/>
                  <a:gd name="T23" fmla="*/ 63184 h 7"/>
                  <a:gd name="T24" fmla="*/ 244478 w 11"/>
                  <a:gd name="T25" fmla="*/ 42354 h 7"/>
                  <a:gd name="T26" fmla="*/ 271695 w 11"/>
                  <a:gd name="T27" fmla="*/ 18530 h 7"/>
                  <a:gd name="T28" fmla="*/ 310743 w 11"/>
                  <a:gd name="T29" fmla="*/ 18530 h 7"/>
                  <a:gd name="T30" fmla="*/ 331318 w 11"/>
                  <a:gd name="T31" fmla="*/ 81863 h 7"/>
                  <a:gd name="T32" fmla="*/ 310743 w 11"/>
                  <a:gd name="T33" fmla="*/ 81863 h 7"/>
                  <a:gd name="T34" fmla="*/ 179284 w 11"/>
                  <a:gd name="T35" fmla="*/ 144421 h 7"/>
                  <a:gd name="T36" fmla="*/ 152034 w 11"/>
                  <a:gd name="T37" fmla="*/ 144421 h 7"/>
                  <a:gd name="T38" fmla="*/ 92723 w 11"/>
                  <a:gd name="T39" fmla="*/ 96809 h 7"/>
                  <a:gd name="T40" fmla="*/ 152034 w 11"/>
                  <a:gd name="T41" fmla="*/ 96809 h 7"/>
                  <a:gd name="T42" fmla="*/ 179284 w 11"/>
                  <a:gd name="T43" fmla="*/ 96809 h 7"/>
                  <a:gd name="T44" fmla="*/ 271695 w 11"/>
                  <a:gd name="T45" fmla="*/ 81863 h 7"/>
                  <a:gd name="T46" fmla="*/ 310743 w 11"/>
                  <a:gd name="T47" fmla="*/ 63184 h 7"/>
                  <a:gd name="T48" fmla="*/ 310743 w 11"/>
                  <a:gd name="T49" fmla="*/ 42354 h 7"/>
                  <a:gd name="T50" fmla="*/ 310743 w 11"/>
                  <a:gd name="T51" fmla="*/ 42354 h 7"/>
                  <a:gd name="T52" fmla="*/ 271695 w 11"/>
                  <a:gd name="T53" fmla="*/ 42354 h 7"/>
                  <a:gd name="T54" fmla="*/ 271695 w 11"/>
                  <a:gd name="T55" fmla="*/ 63184 h 7"/>
                  <a:gd name="T56" fmla="*/ 179284 w 11"/>
                  <a:gd name="T57" fmla="*/ 96809 h 7"/>
                  <a:gd name="T58" fmla="*/ 152034 w 11"/>
                  <a:gd name="T59" fmla="*/ 81863 h 7"/>
                  <a:gd name="T60" fmla="*/ 92723 w 11"/>
                  <a:gd name="T61" fmla="*/ 96809 h 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" h="7">
                    <a:moveTo>
                      <a:pt x="5" y="7"/>
                    </a:moveTo>
                    <a:cubicBezTo>
                      <a:pt x="4" y="7"/>
                      <a:pt x="2" y="6"/>
                      <a:pt x="1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4"/>
                      <a:pt x="2" y="4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4"/>
                      <a:pt x="5" y="4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4"/>
                      <a:pt x="8" y="3"/>
                      <a:pt x="8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1"/>
                      <a:pt x="9" y="1"/>
                    </a:cubicBezTo>
                    <a:cubicBezTo>
                      <a:pt x="9" y="0"/>
                      <a:pt x="10" y="0"/>
                      <a:pt x="10" y="1"/>
                    </a:cubicBezTo>
                    <a:cubicBezTo>
                      <a:pt x="11" y="2"/>
                      <a:pt x="11" y="3"/>
                      <a:pt x="11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7" y="6"/>
                      <a:pt x="6" y="7"/>
                    </a:cubicBezTo>
                    <a:cubicBezTo>
                      <a:pt x="5" y="7"/>
                      <a:pt x="5" y="7"/>
                      <a:pt x="5" y="7"/>
                    </a:cubicBezTo>
                    <a:close/>
                    <a:moveTo>
                      <a:pt x="3" y="5"/>
                    </a:moveTo>
                    <a:cubicBezTo>
                      <a:pt x="4" y="5"/>
                      <a:pt x="5" y="5"/>
                      <a:pt x="5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9" y="4"/>
                      <a:pt x="9" y="4"/>
                    </a:cubicBezTo>
                    <a:cubicBezTo>
                      <a:pt x="9" y="4"/>
                      <a:pt x="9" y="3"/>
                      <a:pt x="10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4"/>
                      <a:pt x="7" y="5"/>
                      <a:pt x="6" y="5"/>
                    </a:cubicBezTo>
                    <a:cubicBezTo>
                      <a:pt x="6" y="5"/>
                      <a:pt x="5" y="5"/>
                      <a:pt x="5" y="4"/>
                    </a:cubicBezTo>
                    <a:cubicBezTo>
                      <a:pt x="4" y="5"/>
                      <a:pt x="4" y="5"/>
                      <a:pt x="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8" name="Freeform 552"/>
              <p:cNvSpPr/>
              <p:nvPr/>
            </p:nvSpPr>
            <p:spPr bwMode="auto">
              <a:xfrm>
                <a:off x="3626" y="1831"/>
                <a:ext cx="3" cy="3"/>
              </a:xfrm>
              <a:custGeom>
                <a:avLst/>
                <a:gdLst>
                  <a:gd name="T0" fmla="*/ 0 w 1"/>
                  <a:gd name="T1" fmla="*/ 0 h 1"/>
                  <a:gd name="T2" fmla="*/ 531441 w 1"/>
                  <a:gd name="T3" fmla="*/ 0 h 1"/>
                  <a:gd name="T4" fmla="*/ 531441 w 1"/>
                  <a:gd name="T5" fmla="*/ 531441 h 1"/>
                  <a:gd name="T6" fmla="*/ 0 w 1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9" name="Freeform 553"/>
              <p:cNvSpPr/>
              <p:nvPr/>
            </p:nvSpPr>
            <p:spPr bwMode="auto">
              <a:xfrm>
                <a:off x="3622" y="1829"/>
                <a:ext cx="7" cy="7"/>
              </a:xfrm>
              <a:custGeom>
                <a:avLst/>
                <a:gdLst>
                  <a:gd name="T0" fmla="*/ 75677 w 3"/>
                  <a:gd name="T1" fmla="*/ 75677 h 3"/>
                  <a:gd name="T2" fmla="*/ 57269 w 3"/>
                  <a:gd name="T3" fmla="*/ 57269 h 3"/>
                  <a:gd name="T4" fmla="*/ 57269 w 3"/>
                  <a:gd name="T5" fmla="*/ 57269 h 3"/>
                  <a:gd name="T6" fmla="*/ 0 w 3"/>
                  <a:gd name="T7" fmla="*/ 0 h 3"/>
                  <a:gd name="T8" fmla="*/ 57269 w 3"/>
                  <a:gd name="T9" fmla="*/ 24544 h 3"/>
                  <a:gd name="T10" fmla="*/ 57269 w 3"/>
                  <a:gd name="T11" fmla="*/ 24544 h 3"/>
                  <a:gd name="T12" fmla="*/ 75677 w 3"/>
                  <a:gd name="T13" fmla="*/ 24544 h 3"/>
                  <a:gd name="T14" fmla="*/ 75677 w 3"/>
                  <a:gd name="T15" fmla="*/ 75677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0" name="Freeform 554"/>
              <p:cNvSpPr/>
              <p:nvPr/>
            </p:nvSpPr>
            <p:spPr bwMode="auto">
              <a:xfrm>
                <a:off x="3652" y="1822"/>
                <a:ext cx="3" cy="5"/>
              </a:xfrm>
              <a:custGeom>
                <a:avLst/>
                <a:gdLst>
                  <a:gd name="T0" fmla="*/ 531441 w 1"/>
                  <a:gd name="T1" fmla="*/ 76488 h 2"/>
                  <a:gd name="T2" fmla="*/ 531441 w 1"/>
                  <a:gd name="T3" fmla="*/ 126958 h 2"/>
                  <a:gd name="T4" fmla="*/ 0 w 1"/>
                  <a:gd name="T5" fmla="*/ 0 h 2"/>
                  <a:gd name="T6" fmla="*/ 531441 w 1"/>
                  <a:gd name="T7" fmla="*/ 76488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1" name="Freeform 555"/>
              <p:cNvSpPr/>
              <p:nvPr/>
            </p:nvSpPr>
            <p:spPr bwMode="auto">
              <a:xfrm>
                <a:off x="3648" y="1817"/>
                <a:ext cx="9" cy="12"/>
              </a:xfrm>
              <a:custGeom>
                <a:avLst/>
                <a:gdLst>
                  <a:gd name="T0" fmla="*/ 53228 w 4"/>
                  <a:gd name="T1" fmla="*/ 184798 h 5"/>
                  <a:gd name="T2" fmla="*/ 53228 w 4"/>
                  <a:gd name="T3" fmla="*/ 184798 h 5"/>
                  <a:gd name="T4" fmla="*/ 16382 w 4"/>
                  <a:gd name="T5" fmla="*/ 76999 h 5"/>
                  <a:gd name="T6" fmla="*/ 0 w 4"/>
                  <a:gd name="T7" fmla="*/ 0 h 5"/>
                  <a:gd name="T8" fmla="*/ 36860 w 4"/>
                  <a:gd name="T9" fmla="*/ 32083 h 5"/>
                  <a:gd name="T10" fmla="*/ 36860 w 4"/>
                  <a:gd name="T11" fmla="*/ 32083 h 5"/>
                  <a:gd name="T12" fmla="*/ 53228 w 4"/>
                  <a:gd name="T13" fmla="*/ 76999 h 5"/>
                  <a:gd name="T14" fmla="*/ 53228 w 4"/>
                  <a:gd name="T15" fmla="*/ 184798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2" y="4"/>
                      <a:pt x="2" y="3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3"/>
                      <a:pt x="4" y="4"/>
                      <a:pt x="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2" name="Freeform 556"/>
              <p:cNvSpPr/>
              <p:nvPr/>
            </p:nvSpPr>
            <p:spPr bwMode="auto">
              <a:xfrm>
                <a:off x="3482" y="1749"/>
                <a:ext cx="29" cy="23"/>
              </a:xfrm>
              <a:custGeom>
                <a:avLst/>
                <a:gdLst>
                  <a:gd name="T0" fmla="*/ 359581 w 12"/>
                  <a:gd name="T1" fmla="*/ 0 h 10"/>
                  <a:gd name="T2" fmla="*/ 441092 w 12"/>
                  <a:gd name="T3" fmla="*/ 169216 h 10"/>
                  <a:gd name="T4" fmla="*/ 393274 w 12"/>
                  <a:gd name="T5" fmla="*/ 133096 h 10"/>
                  <a:gd name="T6" fmla="*/ 359581 w 12"/>
                  <a:gd name="T7" fmla="*/ 219979 h 10"/>
                  <a:gd name="T8" fmla="*/ 311917 w 12"/>
                  <a:gd name="T9" fmla="*/ 169216 h 10"/>
                  <a:gd name="T10" fmla="*/ 243977 w 12"/>
                  <a:gd name="T11" fmla="*/ 169216 h 10"/>
                  <a:gd name="T12" fmla="*/ 196439 w 12"/>
                  <a:gd name="T13" fmla="*/ 86190 h 10"/>
                  <a:gd name="T14" fmla="*/ 162734 w 12"/>
                  <a:gd name="T15" fmla="*/ 115016 h 10"/>
                  <a:gd name="T16" fmla="*/ 162734 w 12"/>
                  <a:gd name="T17" fmla="*/ 115016 h 10"/>
                  <a:gd name="T18" fmla="*/ 115159 w 12"/>
                  <a:gd name="T19" fmla="*/ 133096 h 10"/>
                  <a:gd name="T20" fmla="*/ 81285 w 12"/>
                  <a:gd name="T21" fmla="*/ 133096 h 10"/>
                  <a:gd name="T22" fmla="*/ 33635 w 12"/>
                  <a:gd name="T23" fmla="*/ 133096 h 10"/>
                  <a:gd name="T24" fmla="*/ 196439 w 12"/>
                  <a:gd name="T25" fmla="*/ 86190 h 10"/>
                  <a:gd name="T26" fmla="*/ 359581 w 12"/>
                  <a:gd name="T27" fmla="*/ 50007 h 10"/>
                  <a:gd name="T28" fmla="*/ 359581 w 12"/>
                  <a:gd name="T29" fmla="*/ 0 h 1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" h="10">
                    <a:moveTo>
                      <a:pt x="9" y="0"/>
                    </a:moveTo>
                    <a:cubicBezTo>
                      <a:pt x="12" y="1"/>
                      <a:pt x="11" y="6"/>
                      <a:pt x="11" y="8"/>
                    </a:cubicBezTo>
                    <a:cubicBezTo>
                      <a:pt x="10" y="7"/>
                      <a:pt x="10" y="6"/>
                      <a:pt x="10" y="6"/>
                    </a:cubicBezTo>
                    <a:cubicBezTo>
                      <a:pt x="8" y="7"/>
                      <a:pt x="10" y="8"/>
                      <a:pt x="9" y="10"/>
                    </a:cubicBezTo>
                    <a:cubicBezTo>
                      <a:pt x="9" y="9"/>
                      <a:pt x="9" y="9"/>
                      <a:pt x="8" y="8"/>
                    </a:cubicBezTo>
                    <a:cubicBezTo>
                      <a:pt x="8" y="9"/>
                      <a:pt x="6" y="9"/>
                      <a:pt x="6" y="8"/>
                    </a:cubicBezTo>
                    <a:cubicBezTo>
                      <a:pt x="5" y="6"/>
                      <a:pt x="6" y="5"/>
                      <a:pt x="5" y="4"/>
                    </a:cubicBezTo>
                    <a:cubicBezTo>
                      <a:pt x="5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5"/>
                      <a:pt x="3" y="5"/>
                      <a:pt x="3" y="6"/>
                    </a:cubicBezTo>
                    <a:cubicBezTo>
                      <a:pt x="3" y="4"/>
                      <a:pt x="2" y="5"/>
                      <a:pt x="2" y="6"/>
                    </a:cubicBezTo>
                    <a:cubicBezTo>
                      <a:pt x="1" y="6"/>
                      <a:pt x="0" y="7"/>
                      <a:pt x="1" y="6"/>
                    </a:cubicBezTo>
                    <a:cubicBezTo>
                      <a:pt x="1" y="4"/>
                      <a:pt x="6" y="1"/>
                      <a:pt x="5" y="4"/>
                    </a:cubicBezTo>
                    <a:cubicBezTo>
                      <a:pt x="6" y="3"/>
                      <a:pt x="7" y="1"/>
                      <a:pt x="9" y="2"/>
                    </a:cubicBezTo>
                    <a:cubicBezTo>
                      <a:pt x="9" y="1"/>
                      <a:pt x="9" y="1"/>
                      <a:pt x="9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3" name="Freeform 557"/>
              <p:cNvSpPr>
                <a:spLocks noEditPoints="1"/>
              </p:cNvSpPr>
              <p:nvPr/>
            </p:nvSpPr>
            <p:spPr bwMode="auto">
              <a:xfrm>
                <a:off x="3482" y="1746"/>
                <a:ext cx="29" cy="29"/>
              </a:xfrm>
              <a:custGeom>
                <a:avLst/>
                <a:gdLst>
                  <a:gd name="T0" fmla="*/ 359581 w 12"/>
                  <a:gd name="T1" fmla="*/ 474728 h 12"/>
                  <a:gd name="T2" fmla="*/ 311917 w 12"/>
                  <a:gd name="T3" fmla="*/ 441092 h 12"/>
                  <a:gd name="T4" fmla="*/ 311917 w 12"/>
                  <a:gd name="T5" fmla="*/ 393274 h 12"/>
                  <a:gd name="T6" fmla="*/ 196439 w 12"/>
                  <a:gd name="T7" fmla="*/ 359581 h 12"/>
                  <a:gd name="T8" fmla="*/ 196439 w 12"/>
                  <a:gd name="T9" fmla="*/ 278301 h 12"/>
                  <a:gd name="T10" fmla="*/ 196439 w 12"/>
                  <a:gd name="T11" fmla="*/ 243977 h 12"/>
                  <a:gd name="T12" fmla="*/ 196439 w 12"/>
                  <a:gd name="T13" fmla="*/ 278301 h 12"/>
                  <a:gd name="T14" fmla="*/ 162734 w 12"/>
                  <a:gd name="T15" fmla="*/ 311917 h 12"/>
                  <a:gd name="T16" fmla="*/ 162734 w 12"/>
                  <a:gd name="T17" fmla="*/ 278301 h 12"/>
                  <a:gd name="T18" fmla="*/ 115159 w 12"/>
                  <a:gd name="T19" fmla="*/ 311917 h 12"/>
                  <a:gd name="T20" fmla="*/ 81285 w 12"/>
                  <a:gd name="T21" fmla="*/ 278301 h 12"/>
                  <a:gd name="T22" fmla="*/ 81285 w 12"/>
                  <a:gd name="T23" fmla="*/ 278301 h 12"/>
                  <a:gd name="T24" fmla="*/ 33635 w 12"/>
                  <a:gd name="T25" fmla="*/ 311917 h 12"/>
                  <a:gd name="T26" fmla="*/ 0 w 12"/>
                  <a:gd name="T27" fmla="*/ 311917 h 12"/>
                  <a:gd name="T28" fmla="*/ 0 w 12"/>
                  <a:gd name="T29" fmla="*/ 243977 h 12"/>
                  <a:gd name="T30" fmla="*/ 196439 w 12"/>
                  <a:gd name="T31" fmla="*/ 115159 h 12"/>
                  <a:gd name="T32" fmla="*/ 196439 w 12"/>
                  <a:gd name="T33" fmla="*/ 162734 h 12"/>
                  <a:gd name="T34" fmla="*/ 243977 w 12"/>
                  <a:gd name="T35" fmla="*/ 162734 h 12"/>
                  <a:gd name="T36" fmla="*/ 243977 w 12"/>
                  <a:gd name="T37" fmla="*/ 162734 h 12"/>
                  <a:gd name="T38" fmla="*/ 311917 w 12"/>
                  <a:gd name="T39" fmla="*/ 81285 h 12"/>
                  <a:gd name="T40" fmla="*/ 311917 w 12"/>
                  <a:gd name="T41" fmla="*/ 33635 h 12"/>
                  <a:gd name="T42" fmla="*/ 311917 w 12"/>
                  <a:gd name="T43" fmla="*/ 0 h 12"/>
                  <a:gd name="T44" fmla="*/ 359581 w 12"/>
                  <a:gd name="T45" fmla="*/ 0 h 12"/>
                  <a:gd name="T46" fmla="*/ 441092 w 12"/>
                  <a:gd name="T47" fmla="*/ 81285 h 12"/>
                  <a:gd name="T48" fmla="*/ 441092 w 12"/>
                  <a:gd name="T49" fmla="*/ 359581 h 12"/>
                  <a:gd name="T50" fmla="*/ 441092 w 12"/>
                  <a:gd name="T51" fmla="*/ 441092 h 12"/>
                  <a:gd name="T52" fmla="*/ 393274 w 12"/>
                  <a:gd name="T53" fmla="*/ 311917 h 12"/>
                  <a:gd name="T54" fmla="*/ 393274 w 12"/>
                  <a:gd name="T55" fmla="*/ 311917 h 12"/>
                  <a:gd name="T56" fmla="*/ 359581 w 12"/>
                  <a:gd name="T57" fmla="*/ 441092 h 12"/>
                  <a:gd name="T58" fmla="*/ 359581 w 12"/>
                  <a:gd name="T59" fmla="*/ 474728 h 12"/>
                  <a:gd name="T60" fmla="*/ 243977 w 12"/>
                  <a:gd name="T61" fmla="*/ 196439 h 12"/>
                  <a:gd name="T62" fmla="*/ 243977 w 12"/>
                  <a:gd name="T63" fmla="*/ 278301 h 12"/>
                  <a:gd name="T64" fmla="*/ 243977 w 12"/>
                  <a:gd name="T65" fmla="*/ 311917 h 12"/>
                  <a:gd name="T66" fmla="*/ 311917 w 12"/>
                  <a:gd name="T67" fmla="*/ 359581 h 12"/>
                  <a:gd name="T68" fmla="*/ 359581 w 12"/>
                  <a:gd name="T69" fmla="*/ 359581 h 12"/>
                  <a:gd name="T70" fmla="*/ 393274 w 12"/>
                  <a:gd name="T71" fmla="*/ 243977 h 12"/>
                  <a:gd name="T72" fmla="*/ 393274 w 12"/>
                  <a:gd name="T73" fmla="*/ 243977 h 12"/>
                  <a:gd name="T74" fmla="*/ 441092 w 12"/>
                  <a:gd name="T75" fmla="*/ 243977 h 12"/>
                  <a:gd name="T76" fmla="*/ 393274 w 12"/>
                  <a:gd name="T77" fmla="*/ 81285 h 12"/>
                  <a:gd name="T78" fmla="*/ 393274 w 12"/>
                  <a:gd name="T79" fmla="*/ 81285 h 12"/>
                  <a:gd name="T80" fmla="*/ 393274 w 12"/>
                  <a:gd name="T81" fmla="*/ 81285 h 12"/>
                  <a:gd name="T82" fmla="*/ 393274 w 12"/>
                  <a:gd name="T83" fmla="*/ 115159 h 12"/>
                  <a:gd name="T84" fmla="*/ 393274 w 12"/>
                  <a:gd name="T85" fmla="*/ 115159 h 12"/>
                  <a:gd name="T86" fmla="*/ 359581 w 12"/>
                  <a:gd name="T87" fmla="*/ 115159 h 12"/>
                  <a:gd name="T88" fmla="*/ 278301 w 12"/>
                  <a:gd name="T89" fmla="*/ 162734 h 12"/>
                  <a:gd name="T90" fmla="*/ 243977 w 12"/>
                  <a:gd name="T91" fmla="*/ 196439 h 12"/>
                  <a:gd name="T92" fmla="*/ 115159 w 12"/>
                  <a:gd name="T93" fmla="*/ 196439 h 12"/>
                  <a:gd name="T94" fmla="*/ 115159 w 12"/>
                  <a:gd name="T95" fmla="*/ 196439 h 12"/>
                  <a:gd name="T96" fmla="*/ 162734 w 12"/>
                  <a:gd name="T97" fmla="*/ 196439 h 12"/>
                  <a:gd name="T98" fmla="*/ 162734 w 12"/>
                  <a:gd name="T99" fmla="*/ 196439 h 12"/>
                  <a:gd name="T100" fmla="*/ 162734 w 12"/>
                  <a:gd name="T101" fmla="*/ 196439 h 12"/>
                  <a:gd name="T102" fmla="*/ 162734 w 12"/>
                  <a:gd name="T103" fmla="*/ 196439 h 12"/>
                  <a:gd name="T104" fmla="*/ 162734 w 12"/>
                  <a:gd name="T105" fmla="*/ 196439 h 12"/>
                  <a:gd name="T106" fmla="*/ 162734 w 12"/>
                  <a:gd name="T107" fmla="*/ 162734 h 12"/>
                  <a:gd name="T108" fmla="*/ 115159 w 12"/>
                  <a:gd name="T109" fmla="*/ 196439 h 1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2" h="12">
                    <a:moveTo>
                      <a:pt x="9" y="12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0"/>
                      <a:pt x="8" y="10"/>
                    </a:cubicBezTo>
                    <a:cubicBezTo>
                      <a:pt x="7" y="11"/>
                      <a:pt x="6" y="10"/>
                      <a:pt x="5" y="9"/>
                    </a:cubicBezTo>
                    <a:cubicBezTo>
                      <a:pt x="5" y="8"/>
                      <a:pt x="5" y="8"/>
                      <a:pt x="5" y="7"/>
                    </a:cubicBezTo>
                    <a:cubicBezTo>
                      <a:pt x="5" y="7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1" y="8"/>
                      <a:pt x="1" y="8"/>
                    </a:cubicBezTo>
                    <a:cubicBezTo>
                      <a:pt x="1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1" y="6"/>
                      <a:pt x="3" y="3"/>
                      <a:pt x="5" y="3"/>
                    </a:cubicBezTo>
                    <a:cubicBezTo>
                      <a:pt x="5" y="3"/>
                      <a:pt x="5" y="3"/>
                      <a:pt x="5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3"/>
                      <a:pt x="7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1"/>
                      <a:pt x="10" y="1"/>
                      <a:pt x="11" y="2"/>
                    </a:cubicBezTo>
                    <a:cubicBezTo>
                      <a:pt x="12" y="4"/>
                      <a:pt x="12" y="7"/>
                      <a:pt x="11" y="9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10" y="10"/>
                      <a:pt x="9" y="11"/>
                    </a:cubicBezTo>
                    <a:lnTo>
                      <a:pt x="9" y="12"/>
                    </a:lnTo>
                    <a:close/>
                    <a:moveTo>
                      <a:pt x="6" y="5"/>
                    </a:moveTo>
                    <a:cubicBezTo>
                      <a:pt x="6" y="6"/>
                      <a:pt x="6" y="7"/>
                      <a:pt x="6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9"/>
                      <a:pt x="8" y="9"/>
                      <a:pt x="8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8" y="8"/>
                      <a:pt x="8" y="7"/>
                      <a:pt x="10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5"/>
                      <a:pt x="10" y="3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7" y="4"/>
                      <a:pt x="7" y="4"/>
                    </a:cubicBezTo>
                    <a:cubicBezTo>
                      <a:pt x="6" y="5"/>
                      <a:pt x="6" y="5"/>
                      <a:pt x="6" y="5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4"/>
                      <a:pt x="4" y="4"/>
                    </a:cubicBezTo>
                    <a:cubicBezTo>
                      <a:pt x="4" y="5"/>
                      <a:pt x="4" y="5"/>
                      <a:pt x="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4" name="Freeform 558"/>
              <p:cNvSpPr/>
              <p:nvPr/>
            </p:nvSpPr>
            <p:spPr bwMode="auto">
              <a:xfrm>
                <a:off x="3494" y="1746"/>
                <a:ext cx="5" cy="5"/>
              </a:xfrm>
              <a:custGeom>
                <a:avLst/>
                <a:gdLst>
                  <a:gd name="T0" fmla="*/ 0 w 2"/>
                  <a:gd name="T1" fmla="*/ 76488 h 2"/>
                  <a:gd name="T2" fmla="*/ 126958 w 2"/>
                  <a:gd name="T3" fmla="*/ 0 h 2"/>
                  <a:gd name="T4" fmla="*/ 0 w 2"/>
                  <a:gd name="T5" fmla="*/ 76488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1"/>
                      <a:pt x="1" y="2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5" name="Freeform 559"/>
              <p:cNvSpPr/>
              <p:nvPr/>
            </p:nvSpPr>
            <p:spPr bwMode="auto">
              <a:xfrm>
                <a:off x="3492" y="1744"/>
                <a:ext cx="9" cy="7"/>
              </a:xfrm>
              <a:custGeom>
                <a:avLst/>
                <a:gdLst>
                  <a:gd name="T0" fmla="*/ 36860 w 4"/>
                  <a:gd name="T1" fmla="*/ 75677 h 3"/>
                  <a:gd name="T2" fmla="*/ 16382 w 4"/>
                  <a:gd name="T3" fmla="*/ 57269 h 3"/>
                  <a:gd name="T4" fmla="*/ 0 w 4"/>
                  <a:gd name="T5" fmla="*/ 57269 h 3"/>
                  <a:gd name="T6" fmla="*/ 16382 w 4"/>
                  <a:gd name="T7" fmla="*/ 24544 h 3"/>
                  <a:gd name="T8" fmla="*/ 53228 w 4"/>
                  <a:gd name="T9" fmla="*/ 24544 h 3"/>
                  <a:gd name="T10" fmla="*/ 66330 w 4"/>
                  <a:gd name="T11" fmla="*/ 24544 h 3"/>
                  <a:gd name="T12" fmla="*/ 66330 w 4"/>
                  <a:gd name="T13" fmla="*/ 24544 h 3"/>
                  <a:gd name="T14" fmla="*/ 36860 w 4"/>
                  <a:gd name="T15" fmla="*/ 75677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6" name="Freeform 560"/>
              <p:cNvSpPr/>
              <p:nvPr/>
            </p:nvSpPr>
            <p:spPr bwMode="auto">
              <a:xfrm>
                <a:off x="3492" y="1742"/>
                <a:ext cx="5" cy="9"/>
              </a:xfrm>
              <a:custGeom>
                <a:avLst/>
                <a:gdLst>
                  <a:gd name="T0" fmla="*/ 126958 w 2"/>
                  <a:gd name="T1" fmla="*/ 0 h 4"/>
                  <a:gd name="T2" fmla="*/ 0 w 2"/>
                  <a:gd name="T3" fmla="*/ 66330 h 4"/>
                  <a:gd name="T4" fmla="*/ 126958 w 2"/>
                  <a:gd name="T5" fmla="*/ 0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2" y="1"/>
                      <a:pt x="1" y="2"/>
                      <a:pt x="0" y="4"/>
                    </a:cubicBezTo>
                    <a:cubicBezTo>
                      <a:pt x="0" y="2"/>
                      <a:pt x="1" y="1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7" name="Freeform 561"/>
              <p:cNvSpPr/>
              <p:nvPr/>
            </p:nvSpPr>
            <p:spPr bwMode="auto">
              <a:xfrm>
                <a:off x="3489" y="1737"/>
                <a:ext cx="8" cy="16"/>
              </a:xfrm>
              <a:custGeom>
                <a:avLst/>
                <a:gdLst>
                  <a:gd name="T0" fmla="*/ 142813 w 3"/>
                  <a:gd name="T1" fmla="*/ 144421 h 7"/>
                  <a:gd name="T2" fmla="*/ 142813 w 3"/>
                  <a:gd name="T3" fmla="*/ 124469 h 7"/>
                  <a:gd name="T4" fmla="*/ 237717 w 3"/>
                  <a:gd name="T5" fmla="*/ 42354 h 7"/>
                  <a:gd name="T6" fmla="*/ 237717 w 3"/>
                  <a:gd name="T7" fmla="*/ 18530 h 7"/>
                  <a:gd name="T8" fmla="*/ 380835 w 3"/>
                  <a:gd name="T9" fmla="*/ 0 h 7"/>
                  <a:gd name="T10" fmla="*/ 380835 w 3"/>
                  <a:gd name="T11" fmla="*/ 18530 h 7"/>
                  <a:gd name="T12" fmla="*/ 237717 w 3"/>
                  <a:gd name="T13" fmla="*/ 96809 h 7"/>
                  <a:gd name="T14" fmla="*/ 142813 w 3"/>
                  <a:gd name="T15" fmla="*/ 144421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" h="7">
                    <a:moveTo>
                      <a:pt x="1" y="7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3"/>
                      <a:pt x="3" y="4"/>
                      <a:pt x="2" y="5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8" name="Freeform 562"/>
              <p:cNvSpPr/>
              <p:nvPr/>
            </p:nvSpPr>
            <p:spPr bwMode="auto">
              <a:xfrm>
                <a:off x="3504" y="1744"/>
                <a:ext cx="0" cy="5"/>
              </a:xfrm>
              <a:custGeom>
                <a:avLst/>
                <a:gdLst>
                  <a:gd name="T0" fmla="*/ 76488 h 2"/>
                  <a:gd name="T1" fmla="*/ 0 h 2"/>
                  <a:gd name="T2" fmla="*/ 126958 h 2"/>
                  <a:gd name="T3" fmla="*/ 76488 h 2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0" y="T0"/>
                  </a:cxn>
                  <a:cxn ang="T5">
                    <a:pos x="0" y="T1"/>
                  </a:cxn>
                  <a:cxn ang="T6">
                    <a:pos x="0" y="T2"/>
                  </a:cxn>
                  <a:cxn ang="T7">
                    <a:pos x="0" y="T3"/>
                  </a:cxn>
                </a:cxnLst>
                <a:rect l="0" t="0" r="r" b="b"/>
                <a:pathLst>
                  <a:path h="2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9" name="Freeform 563"/>
              <p:cNvSpPr/>
              <p:nvPr/>
            </p:nvSpPr>
            <p:spPr bwMode="auto">
              <a:xfrm>
                <a:off x="3501" y="1742"/>
                <a:ext cx="5" cy="11"/>
              </a:xfrm>
              <a:custGeom>
                <a:avLst/>
                <a:gdLst>
                  <a:gd name="T0" fmla="*/ 126958 w 2"/>
                  <a:gd name="T1" fmla="*/ 64066 h 5"/>
                  <a:gd name="T2" fmla="*/ 0 w 2"/>
                  <a:gd name="T3" fmla="*/ 24171 h 5"/>
                  <a:gd name="T4" fmla="*/ 126958 w 2"/>
                  <a:gd name="T5" fmla="*/ 0 h 5"/>
                  <a:gd name="T6" fmla="*/ 126958 w 2"/>
                  <a:gd name="T7" fmla="*/ 10987 h 5"/>
                  <a:gd name="T8" fmla="*/ 126958 w 2"/>
                  <a:gd name="T9" fmla="*/ 40152 h 5"/>
                  <a:gd name="T10" fmla="*/ 126958 w 2"/>
                  <a:gd name="T11" fmla="*/ 64066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3"/>
                    </a:cubicBez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0" name="Freeform 564"/>
              <p:cNvSpPr/>
              <p:nvPr/>
            </p:nvSpPr>
            <p:spPr bwMode="auto">
              <a:xfrm>
                <a:off x="3497" y="1739"/>
                <a:ext cx="4" cy="7"/>
              </a:xfrm>
              <a:custGeom>
                <a:avLst/>
                <a:gdLst>
                  <a:gd name="T0" fmla="*/ 0 w 2"/>
                  <a:gd name="T1" fmla="*/ 0 h 3"/>
                  <a:gd name="T2" fmla="*/ 8192 w 2"/>
                  <a:gd name="T3" fmla="*/ 75677 h 3"/>
                  <a:gd name="T4" fmla="*/ 8192 w 2"/>
                  <a:gd name="T5" fmla="*/ 75677 h 3"/>
                  <a:gd name="T6" fmla="*/ 0 w 2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2" y="0"/>
                      <a:pt x="2" y="1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1" name="Freeform 565"/>
              <p:cNvSpPr/>
              <p:nvPr/>
            </p:nvSpPr>
            <p:spPr bwMode="auto">
              <a:xfrm>
                <a:off x="3497" y="1737"/>
                <a:ext cx="7" cy="12"/>
              </a:xfrm>
              <a:custGeom>
                <a:avLst/>
                <a:gdLst>
                  <a:gd name="T0" fmla="*/ 57269 w 3"/>
                  <a:gd name="T1" fmla="*/ 184798 h 5"/>
                  <a:gd name="T2" fmla="*/ 24544 w 3"/>
                  <a:gd name="T3" fmla="*/ 184798 h 5"/>
                  <a:gd name="T4" fmla="*/ 0 w 3"/>
                  <a:gd name="T5" fmla="*/ 32083 h 5"/>
                  <a:gd name="T6" fmla="*/ 0 w 3"/>
                  <a:gd name="T7" fmla="*/ 0 h 5"/>
                  <a:gd name="T8" fmla="*/ 0 w 3"/>
                  <a:gd name="T9" fmla="*/ 0 h 5"/>
                  <a:gd name="T10" fmla="*/ 75677 w 3"/>
                  <a:gd name="T11" fmla="*/ 107827 h 5"/>
                  <a:gd name="T12" fmla="*/ 75677 w 3"/>
                  <a:gd name="T13" fmla="*/ 153278 h 5"/>
                  <a:gd name="T14" fmla="*/ 75677 w 3"/>
                  <a:gd name="T15" fmla="*/ 153278 h 5"/>
                  <a:gd name="T16" fmla="*/ 75677 w 3"/>
                  <a:gd name="T17" fmla="*/ 153278 h 5"/>
                  <a:gd name="T18" fmla="*/ 57269 w 3"/>
                  <a:gd name="T19" fmla="*/ 184798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" h="5">
                    <a:moveTo>
                      <a:pt x="2" y="5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3" y="2"/>
                      <a:pt x="3" y="3"/>
                    </a:cubicBezTo>
                    <a:cubicBezTo>
                      <a:pt x="3" y="3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2" name="Freeform 566"/>
              <p:cNvSpPr/>
              <p:nvPr/>
            </p:nvSpPr>
            <p:spPr bwMode="auto">
              <a:xfrm>
                <a:off x="3485" y="1742"/>
                <a:ext cx="9" cy="11"/>
              </a:xfrm>
              <a:custGeom>
                <a:avLst/>
                <a:gdLst>
                  <a:gd name="T0" fmla="*/ 36860 w 4"/>
                  <a:gd name="T1" fmla="*/ 0 h 5"/>
                  <a:gd name="T2" fmla="*/ 36860 w 4"/>
                  <a:gd name="T3" fmla="*/ 64066 h 5"/>
                  <a:gd name="T4" fmla="*/ 36860 w 4"/>
                  <a:gd name="T5" fmla="*/ 0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2" y="0"/>
                    </a:moveTo>
                    <a:cubicBezTo>
                      <a:pt x="4" y="0"/>
                      <a:pt x="3" y="3"/>
                      <a:pt x="2" y="5"/>
                    </a:cubicBezTo>
                    <a:cubicBezTo>
                      <a:pt x="0" y="2"/>
                      <a:pt x="2" y="3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3" name="Freeform 567"/>
              <p:cNvSpPr>
                <a:spLocks noEditPoints="1"/>
              </p:cNvSpPr>
              <p:nvPr/>
            </p:nvSpPr>
            <p:spPr bwMode="auto">
              <a:xfrm>
                <a:off x="3485" y="1742"/>
                <a:ext cx="9" cy="14"/>
              </a:xfrm>
              <a:custGeom>
                <a:avLst/>
                <a:gdLst>
                  <a:gd name="T0" fmla="*/ 53228 w 4"/>
                  <a:gd name="T1" fmla="*/ 158172 h 6"/>
                  <a:gd name="T2" fmla="*/ 36860 w 4"/>
                  <a:gd name="T3" fmla="*/ 133628 h 6"/>
                  <a:gd name="T4" fmla="*/ 16382 w 4"/>
                  <a:gd name="T5" fmla="*/ 57269 h 6"/>
                  <a:gd name="T6" fmla="*/ 36860 w 4"/>
                  <a:gd name="T7" fmla="*/ 0 h 6"/>
                  <a:gd name="T8" fmla="*/ 36860 w 4"/>
                  <a:gd name="T9" fmla="*/ 0 h 6"/>
                  <a:gd name="T10" fmla="*/ 36860 w 4"/>
                  <a:gd name="T11" fmla="*/ 0 h 6"/>
                  <a:gd name="T12" fmla="*/ 66330 w 4"/>
                  <a:gd name="T13" fmla="*/ 0 h 6"/>
                  <a:gd name="T14" fmla="*/ 53228 w 4"/>
                  <a:gd name="T15" fmla="*/ 100221 h 6"/>
                  <a:gd name="T16" fmla="*/ 53228 w 4"/>
                  <a:gd name="T17" fmla="*/ 158172 h 6"/>
                  <a:gd name="T18" fmla="*/ 53228 w 4"/>
                  <a:gd name="T19" fmla="*/ 24544 h 6"/>
                  <a:gd name="T20" fmla="*/ 36860 w 4"/>
                  <a:gd name="T21" fmla="*/ 75677 h 6"/>
                  <a:gd name="T22" fmla="*/ 36860 w 4"/>
                  <a:gd name="T23" fmla="*/ 100221 h 6"/>
                  <a:gd name="T24" fmla="*/ 53228 w 4"/>
                  <a:gd name="T25" fmla="*/ 24544 h 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" h="6">
                    <a:moveTo>
                      <a:pt x="3" y="6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4"/>
                      <a:pt x="0" y="3"/>
                      <a:pt x="1" y="2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4" y="1"/>
                      <a:pt x="4" y="3"/>
                      <a:pt x="3" y="4"/>
                    </a:cubicBezTo>
                    <a:lnTo>
                      <a:pt x="3" y="6"/>
                    </a:lnTo>
                    <a:close/>
                    <a:moveTo>
                      <a:pt x="3" y="1"/>
                    </a:moveTo>
                    <a:cubicBezTo>
                      <a:pt x="3" y="2"/>
                      <a:pt x="2" y="2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3" y="1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4" name="Freeform 568"/>
              <p:cNvSpPr/>
              <p:nvPr/>
            </p:nvSpPr>
            <p:spPr bwMode="auto">
              <a:xfrm>
                <a:off x="3485" y="1737"/>
                <a:ext cx="4" cy="7"/>
              </a:xfrm>
              <a:custGeom>
                <a:avLst/>
                <a:gdLst>
                  <a:gd name="T0" fmla="*/ 0 w 2"/>
                  <a:gd name="T1" fmla="*/ 0 h 3"/>
                  <a:gd name="T2" fmla="*/ 8192 w 2"/>
                  <a:gd name="T3" fmla="*/ 24544 h 3"/>
                  <a:gd name="T4" fmla="*/ 0 w 2"/>
                  <a:gd name="T5" fmla="*/ 75677 h 3"/>
                  <a:gd name="T6" fmla="*/ 0 w 2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1" y="1"/>
                      <a:pt x="1" y="1"/>
                      <a:pt x="2" y="1"/>
                    </a:cubicBezTo>
                    <a:cubicBezTo>
                      <a:pt x="2" y="2"/>
                      <a:pt x="1" y="3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5" name="Freeform 569"/>
              <p:cNvSpPr>
                <a:spLocks noEditPoints="1"/>
              </p:cNvSpPr>
              <p:nvPr/>
            </p:nvSpPr>
            <p:spPr bwMode="auto">
              <a:xfrm>
                <a:off x="3482" y="1735"/>
                <a:ext cx="10" cy="11"/>
              </a:xfrm>
              <a:custGeom>
                <a:avLst/>
                <a:gdLst>
                  <a:gd name="T0" fmla="*/ 0 w 4"/>
                  <a:gd name="T1" fmla="*/ 64066 h 5"/>
                  <a:gd name="T2" fmla="*/ 0 w 4"/>
                  <a:gd name="T3" fmla="*/ 0 h 5"/>
                  <a:gd name="T4" fmla="*/ 76488 w 4"/>
                  <a:gd name="T5" fmla="*/ 10987 h 5"/>
                  <a:gd name="T6" fmla="*/ 191220 w 4"/>
                  <a:gd name="T7" fmla="*/ 10987 h 5"/>
                  <a:gd name="T8" fmla="*/ 241220 w 4"/>
                  <a:gd name="T9" fmla="*/ 10987 h 5"/>
                  <a:gd name="T10" fmla="*/ 241220 w 4"/>
                  <a:gd name="T11" fmla="*/ 24171 h 5"/>
                  <a:gd name="T12" fmla="*/ 126958 w 4"/>
                  <a:gd name="T13" fmla="*/ 53176 h 5"/>
                  <a:gd name="T14" fmla="*/ 76488 w 4"/>
                  <a:gd name="T15" fmla="*/ 64066 h 5"/>
                  <a:gd name="T16" fmla="*/ 0 w 4"/>
                  <a:gd name="T17" fmla="*/ 64066 h 5"/>
                  <a:gd name="T18" fmla="*/ 76488 w 4"/>
                  <a:gd name="T19" fmla="*/ 24171 h 5"/>
                  <a:gd name="T20" fmla="*/ 76488 w 4"/>
                  <a:gd name="T21" fmla="*/ 40152 h 5"/>
                  <a:gd name="T22" fmla="*/ 191220 w 4"/>
                  <a:gd name="T23" fmla="*/ 24171 h 5"/>
                  <a:gd name="T24" fmla="*/ 76488 w 4"/>
                  <a:gd name="T25" fmla="*/ 24171 h 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3" y="4"/>
                      <a:pt x="2" y="4"/>
                    </a:cubicBezTo>
                    <a:cubicBezTo>
                      <a:pt x="2" y="5"/>
                      <a:pt x="1" y="5"/>
                      <a:pt x="1" y="5"/>
                    </a:cubicBezTo>
                    <a:lnTo>
                      <a:pt x="0" y="5"/>
                    </a:lnTo>
                    <a:close/>
                    <a:moveTo>
                      <a:pt x="1" y="2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2" y="3"/>
                      <a:pt x="2" y="3"/>
                      <a:pt x="3" y="2"/>
                    </a:cubicBezTo>
                    <a:cubicBezTo>
                      <a:pt x="2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6" name="Freeform 570"/>
              <p:cNvSpPr/>
              <p:nvPr/>
            </p:nvSpPr>
            <p:spPr bwMode="auto">
              <a:xfrm>
                <a:off x="3497" y="1732"/>
                <a:ext cx="9" cy="10"/>
              </a:xfrm>
              <a:custGeom>
                <a:avLst/>
                <a:gdLst>
                  <a:gd name="T0" fmla="*/ 0 w 4"/>
                  <a:gd name="T1" fmla="*/ 0 h 4"/>
                  <a:gd name="T2" fmla="*/ 66330 w 4"/>
                  <a:gd name="T3" fmla="*/ 241220 h 4"/>
                  <a:gd name="T4" fmla="*/ 0 w 4"/>
                  <a:gd name="T5" fmla="*/ 0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4" y="0"/>
                      <a:pt x="2" y="2"/>
                      <a:pt x="4" y="4"/>
                    </a:cubicBezTo>
                    <a:cubicBezTo>
                      <a:pt x="2" y="4"/>
                      <a:pt x="1" y="2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7" name="Freeform 571"/>
              <p:cNvSpPr>
                <a:spLocks noEditPoints="1"/>
              </p:cNvSpPr>
              <p:nvPr/>
            </p:nvSpPr>
            <p:spPr bwMode="auto">
              <a:xfrm>
                <a:off x="3494" y="1732"/>
                <a:ext cx="14" cy="12"/>
              </a:xfrm>
              <a:custGeom>
                <a:avLst/>
                <a:gdLst>
                  <a:gd name="T0" fmla="*/ 158172 w 6"/>
                  <a:gd name="T1" fmla="*/ 184798 h 5"/>
                  <a:gd name="T2" fmla="*/ 133628 w 6"/>
                  <a:gd name="T3" fmla="*/ 184798 h 5"/>
                  <a:gd name="T4" fmla="*/ 24544 w 6"/>
                  <a:gd name="T5" fmla="*/ 76999 h 5"/>
                  <a:gd name="T6" fmla="*/ 24544 w 6"/>
                  <a:gd name="T7" fmla="*/ 32083 h 5"/>
                  <a:gd name="T8" fmla="*/ 0 w 6"/>
                  <a:gd name="T9" fmla="*/ 0 h 5"/>
                  <a:gd name="T10" fmla="*/ 24544 w 6"/>
                  <a:gd name="T11" fmla="*/ 0 h 5"/>
                  <a:gd name="T12" fmla="*/ 57269 w 6"/>
                  <a:gd name="T13" fmla="*/ 0 h 5"/>
                  <a:gd name="T14" fmla="*/ 100221 w 6"/>
                  <a:gd name="T15" fmla="*/ 76999 h 5"/>
                  <a:gd name="T16" fmla="*/ 133628 w 6"/>
                  <a:gd name="T17" fmla="*/ 153278 h 5"/>
                  <a:gd name="T18" fmla="*/ 158172 w 6"/>
                  <a:gd name="T19" fmla="*/ 184798 h 5"/>
                  <a:gd name="T20" fmla="*/ 57269 w 6"/>
                  <a:gd name="T21" fmla="*/ 32083 h 5"/>
                  <a:gd name="T22" fmla="*/ 57269 w 6"/>
                  <a:gd name="T23" fmla="*/ 32083 h 5"/>
                  <a:gd name="T24" fmla="*/ 75677 w 6"/>
                  <a:gd name="T25" fmla="*/ 107827 h 5"/>
                  <a:gd name="T26" fmla="*/ 75677 w 6"/>
                  <a:gd name="T27" fmla="*/ 76999 h 5"/>
                  <a:gd name="T28" fmla="*/ 57269 w 6"/>
                  <a:gd name="T29" fmla="*/ 32083 h 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6" h="5">
                    <a:moveTo>
                      <a:pt x="6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2" y="3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0"/>
                      <a:pt x="4" y="1"/>
                      <a:pt x="4" y="2"/>
                    </a:cubicBezTo>
                    <a:cubicBezTo>
                      <a:pt x="5" y="3"/>
                      <a:pt x="5" y="3"/>
                      <a:pt x="5" y="4"/>
                    </a:cubicBezTo>
                    <a:lnTo>
                      <a:pt x="6" y="5"/>
                    </a:lnTo>
                    <a:close/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2"/>
                      <a:pt x="3" y="2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1"/>
                      <a:pt x="3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8" name="Freeform 572"/>
              <p:cNvSpPr/>
              <p:nvPr/>
            </p:nvSpPr>
            <p:spPr bwMode="auto">
              <a:xfrm>
                <a:off x="3492" y="1732"/>
                <a:ext cx="5" cy="5"/>
              </a:xfrm>
              <a:custGeom>
                <a:avLst/>
                <a:gdLst>
                  <a:gd name="T0" fmla="*/ 0 w 2"/>
                  <a:gd name="T1" fmla="*/ 0 h 2"/>
                  <a:gd name="T2" fmla="*/ 126958 w 2"/>
                  <a:gd name="T3" fmla="*/ 126958 h 2"/>
                  <a:gd name="T4" fmla="*/ 0 w 2"/>
                  <a:gd name="T5" fmla="*/ 126958 h 2"/>
                  <a:gd name="T6" fmla="*/ 0 w 2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1" y="1"/>
                      <a:pt x="1" y="1"/>
                      <a:pt x="2" y="2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9" name="Freeform 573"/>
              <p:cNvSpPr/>
              <p:nvPr/>
            </p:nvSpPr>
            <p:spPr bwMode="auto">
              <a:xfrm>
                <a:off x="3489" y="1730"/>
                <a:ext cx="10" cy="14"/>
              </a:xfrm>
              <a:custGeom>
                <a:avLst/>
                <a:gdLst>
                  <a:gd name="T0" fmla="*/ 241220 w 4"/>
                  <a:gd name="T1" fmla="*/ 158172 h 6"/>
                  <a:gd name="T2" fmla="*/ 126958 w 4"/>
                  <a:gd name="T3" fmla="*/ 100221 h 6"/>
                  <a:gd name="T4" fmla="*/ 76488 w 4"/>
                  <a:gd name="T5" fmla="*/ 75677 h 6"/>
                  <a:gd name="T6" fmla="*/ 0 w 4"/>
                  <a:gd name="T7" fmla="*/ 100221 h 6"/>
                  <a:gd name="T8" fmla="*/ 0 w 4"/>
                  <a:gd name="T9" fmla="*/ 75677 h 6"/>
                  <a:gd name="T10" fmla="*/ 0 w 4"/>
                  <a:gd name="T11" fmla="*/ 57269 h 6"/>
                  <a:gd name="T12" fmla="*/ 0 w 4"/>
                  <a:gd name="T13" fmla="*/ 24544 h 6"/>
                  <a:gd name="T14" fmla="*/ 0 w 4"/>
                  <a:gd name="T15" fmla="*/ 0 h 6"/>
                  <a:gd name="T16" fmla="*/ 76488 w 4"/>
                  <a:gd name="T17" fmla="*/ 24544 h 6"/>
                  <a:gd name="T18" fmla="*/ 191220 w 4"/>
                  <a:gd name="T19" fmla="*/ 75677 h 6"/>
                  <a:gd name="T20" fmla="*/ 241220 w 4"/>
                  <a:gd name="T21" fmla="*/ 158172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1" y="3"/>
                      <a:pt x="1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3" y="2"/>
                      <a:pt x="3" y="3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0" name="Freeform 574"/>
              <p:cNvSpPr/>
              <p:nvPr/>
            </p:nvSpPr>
            <p:spPr bwMode="auto">
              <a:xfrm>
                <a:off x="3485" y="1732"/>
                <a:ext cx="0" cy="3"/>
              </a:xfrm>
              <a:custGeom>
                <a:avLst/>
                <a:gdLst>
                  <a:gd name="T0" fmla="*/ 531441 h 1"/>
                  <a:gd name="T1" fmla="*/ 531441 h 1"/>
                  <a:gd name="T2" fmla="*/ 531441 h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1" name="Freeform 575"/>
              <p:cNvSpPr/>
              <p:nvPr/>
            </p:nvSpPr>
            <p:spPr bwMode="auto">
              <a:xfrm>
                <a:off x="3482" y="1732"/>
                <a:ext cx="5" cy="10"/>
              </a:xfrm>
              <a:custGeom>
                <a:avLst/>
                <a:gdLst>
                  <a:gd name="T0" fmla="*/ 0 w 2"/>
                  <a:gd name="T1" fmla="*/ 241220 h 4"/>
                  <a:gd name="T2" fmla="*/ 0 w 2"/>
                  <a:gd name="T3" fmla="*/ 76488 h 4"/>
                  <a:gd name="T4" fmla="*/ 0 w 2"/>
                  <a:gd name="T5" fmla="*/ 76488 h 4"/>
                  <a:gd name="T6" fmla="*/ 0 w 2"/>
                  <a:gd name="T7" fmla="*/ 0 h 4"/>
                  <a:gd name="T8" fmla="*/ 76488 w 2"/>
                  <a:gd name="T9" fmla="*/ 0 h 4"/>
                  <a:gd name="T10" fmla="*/ 76488 w 2"/>
                  <a:gd name="T11" fmla="*/ 0 h 4"/>
                  <a:gd name="T12" fmla="*/ 126958 w 2"/>
                  <a:gd name="T13" fmla="*/ 0 h 4"/>
                  <a:gd name="T14" fmla="*/ 76488 w 2"/>
                  <a:gd name="T15" fmla="*/ 126958 h 4"/>
                  <a:gd name="T16" fmla="*/ 0 w 2"/>
                  <a:gd name="T17" fmla="*/ 241220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1" y="2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2" name="Freeform 576"/>
              <p:cNvSpPr/>
              <p:nvPr/>
            </p:nvSpPr>
            <p:spPr bwMode="auto">
              <a:xfrm>
                <a:off x="3485" y="1727"/>
                <a:ext cx="0" cy="3"/>
              </a:xfrm>
              <a:custGeom>
                <a:avLst/>
                <a:gdLst>
                  <a:gd name="T0" fmla="*/ 0 h 1"/>
                  <a:gd name="T1" fmla="*/ 531441 h 1"/>
                  <a:gd name="T2" fmla="*/ 0 h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3" name="Freeform 577"/>
              <p:cNvSpPr/>
              <p:nvPr/>
            </p:nvSpPr>
            <p:spPr bwMode="auto">
              <a:xfrm>
                <a:off x="3480" y="1727"/>
                <a:ext cx="7" cy="5"/>
              </a:xfrm>
              <a:custGeom>
                <a:avLst/>
                <a:gdLst>
                  <a:gd name="T0" fmla="*/ 75677 w 3"/>
                  <a:gd name="T1" fmla="*/ 126958 h 2"/>
                  <a:gd name="T2" fmla="*/ 57269 w 3"/>
                  <a:gd name="T3" fmla="*/ 76488 h 2"/>
                  <a:gd name="T4" fmla="*/ 24544 w 3"/>
                  <a:gd name="T5" fmla="*/ 76488 h 2"/>
                  <a:gd name="T6" fmla="*/ 0 w 3"/>
                  <a:gd name="T7" fmla="*/ 0 h 2"/>
                  <a:gd name="T8" fmla="*/ 24544 w 3"/>
                  <a:gd name="T9" fmla="*/ 0 h 2"/>
                  <a:gd name="T10" fmla="*/ 57269 w 3"/>
                  <a:gd name="T11" fmla="*/ 0 h 2"/>
                  <a:gd name="T12" fmla="*/ 75677 w 3"/>
                  <a:gd name="T13" fmla="*/ 76488 h 2"/>
                  <a:gd name="T14" fmla="*/ 75677 w 3"/>
                  <a:gd name="T15" fmla="*/ 126958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0"/>
                      <a:pt x="3" y="0"/>
                      <a:pt x="3" y="1"/>
                    </a:cubicBez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4" name="Freeform 578"/>
              <p:cNvSpPr/>
              <p:nvPr/>
            </p:nvSpPr>
            <p:spPr bwMode="auto">
              <a:xfrm>
                <a:off x="3485" y="1720"/>
                <a:ext cx="0" cy="0"/>
              </a:xfrm>
              <a:custGeom>
                <a:avLst/>
                <a:gdLst>
                  <a:gd name="T0" fmla="*/ 0 60000 65536"/>
                  <a:gd name="T1" fmla="*/ 0 60000 65536"/>
                  <a:gd name="T2" fmla="*/ 0 60000 65536"/>
                </a:gdLst>
                <a:ahLst/>
                <a:cxnLst>
                  <a:cxn ang="T0">
                    <a:pos x="0" y="0"/>
                  </a:cxn>
                  <a:cxn ang="T1">
                    <a:pos x="0" y="0"/>
                  </a:cxn>
                  <a:cxn ang="T2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5" name="Freeform 579"/>
              <p:cNvSpPr/>
              <p:nvPr/>
            </p:nvSpPr>
            <p:spPr bwMode="auto">
              <a:xfrm>
                <a:off x="3482" y="1718"/>
                <a:ext cx="5" cy="9"/>
              </a:xfrm>
              <a:custGeom>
                <a:avLst/>
                <a:gdLst>
                  <a:gd name="T0" fmla="*/ 76488 w 2"/>
                  <a:gd name="T1" fmla="*/ 66330 h 4"/>
                  <a:gd name="T2" fmla="*/ 0 w 2"/>
                  <a:gd name="T3" fmla="*/ 16382 h 4"/>
                  <a:gd name="T4" fmla="*/ 0 w 2"/>
                  <a:gd name="T5" fmla="*/ 16382 h 4"/>
                  <a:gd name="T6" fmla="*/ 0 w 2"/>
                  <a:gd name="T7" fmla="*/ 16382 h 4"/>
                  <a:gd name="T8" fmla="*/ 0 w 2"/>
                  <a:gd name="T9" fmla="*/ 16382 h 4"/>
                  <a:gd name="T10" fmla="*/ 0 w 2"/>
                  <a:gd name="T11" fmla="*/ 0 h 4"/>
                  <a:gd name="T12" fmla="*/ 76488 w 2"/>
                  <a:gd name="T13" fmla="*/ 0 h 4"/>
                  <a:gd name="T14" fmla="*/ 76488 w 2"/>
                  <a:gd name="T15" fmla="*/ 0 h 4"/>
                  <a:gd name="T16" fmla="*/ 76488 w 2"/>
                  <a:gd name="T17" fmla="*/ 16382 h 4"/>
                  <a:gd name="T18" fmla="*/ 76488 w 2"/>
                  <a:gd name="T19" fmla="*/ 66330 h 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" h="4">
                    <a:moveTo>
                      <a:pt x="1" y="4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1"/>
                      <a:pt x="1" y="1"/>
                    </a:cubicBez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6" name="Freeform 580"/>
              <p:cNvSpPr/>
              <p:nvPr/>
            </p:nvSpPr>
            <p:spPr bwMode="auto">
              <a:xfrm>
                <a:off x="3473" y="1699"/>
                <a:ext cx="24" cy="33"/>
              </a:xfrm>
              <a:custGeom>
                <a:avLst/>
                <a:gdLst>
                  <a:gd name="T0" fmla="*/ 184798 w 10"/>
                  <a:gd name="T1" fmla="*/ 0 h 14"/>
                  <a:gd name="T2" fmla="*/ 216910 w 10"/>
                  <a:gd name="T3" fmla="*/ 112344 h 14"/>
                  <a:gd name="T4" fmla="*/ 153278 w 10"/>
                  <a:gd name="T5" fmla="*/ 238107 h 14"/>
                  <a:gd name="T6" fmla="*/ 184798 w 10"/>
                  <a:gd name="T7" fmla="*/ 322999 h 14"/>
                  <a:gd name="T8" fmla="*/ 290868 w 10"/>
                  <a:gd name="T9" fmla="*/ 350597 h 14"/>
                  <a:gd name="T10" fmla="*/ 290868 w 10"/>
                  <a:gd name="T11" fmla="*/ 322999 h 14"/>
                  <a:gd name="T12" fmla="*/ 335784 w 10"/>
                  <a:gd name="T13" fmla="*/ 350597 h 14"/>
                  <a:gd name="T14" fmla="*/ 335784 w 10"/>
                  <a:gd name="T15" fmla="*/ 350597 h 14"/>
                  <a:gd name="T16" fmla="*/ 367867 w 10"/>
                  <a:gd name="T17" fmla="*/ 413537 h 14"/>
                  <a:gd name="T18" fmla="*/ 335784 w 10"/>
                  <a:gd name="T19" fmla="*/ 413537 h 14"/>
                  <a:gd name="T20" fmla="*/ 216910 w 10"/>
                  <a:gd name="T21" fmla="*/ 322999 h 14"/>
                  <a:gd name="T22" fmla="*/ 216910 w 10"/>
                  <a:gd name="T23" fmla="*/ 386100 h 14"/>
                  <a:gd name="T24" fmla="*/ 184798 w 10"/>
                  <a:gd name="T25" fmla="*/ 322999 h 14"/>
                  <a:gd name="T26" fmla="*/ 107827 w 10"/>
                  <a:gd name="T27" fmla="*/ 350597 h 14"/>
                  <a:gd name="T28" fmla="*/ 76999 w 10"/>
                  <a:gd name="T29" fmla="*/ 264811 h 14"/>
                  <a:gd name="T30" fmla="*/ 76999 w 10"/>
                  <a:gd name="T31" fmla="*/ 264811 h 14"/>
                  <a:gd name="T32" fmla="*/ 76999 w 10"/>
                  <a:gd name="T33" fmla="*/ 301170 h 14"/>
                  <a:gd name="T34" fmla="*/ 0 w 10"/>
                  <a:gd name="T35" fmla="*/ 175440 h 14"/>
                  <a:gd name="T36" fmla="*/ 76999 w 10"/>
                  <a:gd name="T37" fmla="*/ 0 h 14"/>
                  <a:gd name="T38" fmla="*/ 184798 w 10"/>
                  <a:gd name="T39" fmla="*/ 0 h 1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" h="14">
                    <a:moveTo>
                      <a:pt x="5" y="0"/>
                    </a:moveTo>
                    <a:cubicBezTo>
                      <a:pt x="5" y="1"/>
                      <a:pt x="6" y="4"/>
                      <a:pt x="6" y="4"/>
                    </a:cubicBezTo>
                    <a:cubicBezTo>
                      <a:pt x="5" y="6"/>
                      <a:pt x="4" y="6"/>
                      <a:pt x="4" y="8"/>
                    </a:cubicBezTo>
                    <a:cubicBezTo>
                      <a:pt x="3" y="8"/>
                      <a:pt x="4" y="11"/>
                      <a:pt x="5" y="11"/>
                    </a:cubicBezTo>
                    <a:cubicBezTo>
                      <a:pt x="6" y="11"/>
                      <a:pt x="7" y="9"/>
                      <a:pt x="8" y="12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9" y="11"/>
                      <a:pt x="9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3"/>
                      <a:pt x="10" y="13"/>
                      <a:pt x="10" y="14"/>
                    </a:cubicBezTo>
                    <a:cubicBezTo>
                      <a:pt x="10" y="14"/>
                      <a:pt x="9" y="14"/>
                      <a:pt x="9" y="14"/>
                    </a:cubicBezTo>
                    <a:cubicBezTo>
                      <a:pt x="8" y="13"/>
                      <a:pt x="7" y="12"/>
                      <a:pt x="6" y="11"/>
                    </a:cubicBezTo>
                    <a:cubicBezTo>
                      <a:pt x="6" y="12"/>
                      <a:pt x="6" y="12"/>
                      <a:pt x="6" y="13"/>
                    </a:cubicBezTo>
                    <a:cubicBezTo>
                      <a:pt x="6" y="12"/>
                      <a:pt x="5" y="11"/>
                      <a:pt x="5" y="11"/>
                    </a:cubicBezTo>
                    <a:cubicBezTo>
                      <a:pt x="4" y="11"/>
                      <a:pt x="4" y="12"/>
                      <a:pt x="3" y="12"/>
                    </a:cubicBezTo>
                    <a:cubicBezTo>
                      <a:pt x="2" y="11"/>
                      <a:pt x="1" y="11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10"/>
                      <a:pt x="2" y="10"/>
                    </a:cubicBezTo>
                    <a:cubicBezTo>
                      <a:pt x="1" y="9"/>
                      <a:pt x="0" y="7"/>
                      <a:pt x="0" y="6"/>
                    </a:cubicBezTo>
                    <a:cubicBezTo>
                      <a:pt x="2" y="7"/>
                      <a:pt x="2" y="2"/>
                      <a:pt x="2" y="0"/>
                    </a:cubicBezTo>
                    <a:cubicBezTo>
                      <a:pt x="2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7" name="Freeform 581"/>
              <p:cNvSpPr>
                <a:spLocks noEditPoints="1"/>
              </p:cNvSpPr>
              <p:nvPr/>
            </p:nvSpPr>
            <p:spPr bwMode="auto">
              <a:xfrm>
                <a:off x="3471" y="1697"/>
                <a:ext cx="26" cy="45"/>
              </a:xfrm>
              <a:custGeom>
                <a:avLst/>
                <a:gdLst>
                  <a:gd name="T0" fmla="*/ 310743 w 11"/>
                  <a:gd name="T1" fmla="*/ 499176 h 19"/>
                  <a:gd name="T2" fmla="*/ 271695 w 11"/>
                  <a:gd name="T3" fmla="*/ 433506 h 19"/>
                  <a:gd name="T4" fmla="*/ 244478 w 11"/>
                  <a:gd name="T5" fmla="*/ 433506 h 19"/>
                  <a:gd name="T6" fmla="*/ 271695 w 11"/>
                  <a:gd name="T7" fmla="*/ 499176 h 19"/>
                  <a:gd name="T8" fmla="*/ 219163 w 11"/>
                  <a:gd name="T9" fmla="*/ 433506 h 19"/>
                  <a:gd name="T10" fmla="*/ 152034 w 11"/>
                  <a:gd name="T11" fmla="*/ 405938 h 19"/>
                  <a:gd name="T12" fmla="*/ 114948 w 11"/>
                  <a:gd name="T13" fmla="*/ 405938 h 19"/>
                  <a:gd name="T14" fmla="*/ 64322 w 11"/>
                  <a:gd name="T15" fmla="*/ 365374 h 19"/>
                  <a:gd name="T16" fmla="*/ 64322 w 11"/>
                  <a:gd name="T17" fmla="*/ 344520 h 19"/>
                  <a:gd name="T18" fmla="*/ 0 w 11"/>
                  <a:gd name="T19" fmla="*/ 183036 h 19"/>
                  <a:gd name="T20" fmla="*/ 27213 w 11"/>
                  <a:gd name="T21" fmla="*/ 183036 h 19"/>
                  <a:gd name="T22" fmla="*/ 64322 w 11"/>
                  <a:gd name="T23" fmla="*/ 27502 h 19"/>
                  <a:gd name="T24" fmla="*/ 152034 w 11"/>
                  <a:gd name="T25" fmla="*/ 27502 h 19"/>
                  <a:gd name="T26" fmla="*/ 219163 w 11"/>
                  <a:gd name="T27" fmla="*/ 0 h 19"/>
                  <a:gd name="T28" fmla="*/ 219163 w 11"/>
                  <a:gd name="T29" fmla="*/ 94048 h 19"/>
                  <a:gd name="T30" fmla="*/ 179284 w 11"/>
                  <a:gd name="T31" fmla="*/ 222745 h 19"/>
                  <a:gd name="T32" fmla="*/ 179284 w 11"/>
                  <a:gd name="T33" fmla="*/ 365374 h 19"/>
                  <a:gd name="T34" fmla="*/ 179284 w 11"/>
                  <a:gd name="T35" fmla="*/ 344520 h 19"/>
                  <a:gd name="T36" fmla="*/ 179284 w 11"/>
                  <a:gd name="T37" fmla="*/ 344520 h 19"/>
                  <a:gd name="T38" fmla="*/ 271695 w 11"/>
                  <a:gd name="T39" fmla="*/ 344520 h 19"/>
                  <a:gd name="T40" fmla="*/ 331318 w 11"/>
                  <a:gd name="T41" fmla="*/ 365374 h 19"/>
                  <a:gd name="T42" fmla="*/ 310743 w 11"/>
                  <a:gd name="T43" fmla="*/ 405938 h 19"/>
                  <a:gd name="T44" fmla="*/ 310743 w 11"/>
                  <a:gd name="T45" fmla="*/ 593223 h 19"/>
                  <a:gd name="T46" fmla="*/ 114948 w 11"/>
                  <a:gd name="T47" fmla="*/ 344520 h 19"/>
                  <a:gd name="T48" fmla="*/ 114948 w 11"/>
                  <a:gd name="T49" fmla="*/ 365374 h 19"/>
                  <a:gd name="T50" fmla="*/ 152034 w 11"/>
                  <a:gd name="T51" fmla="*/ 365374 h 19"/>
                  <a:gd name="T52" fmla="*/ 64322 w 11"/>
                  <a:gd name="T53" fmla="*/ 276392 h 19"/>
                  <a:gd name="T54" fmla="*/ 114948 w 11"/>
                  <a:gd name="T55" fmla="*/ 276392 h 19"/>
                  <a:gd name="T56" fmla="*/ 179284 w 11"/>
                  <a:gd name="T57" fmla="*/ 154269 h 19"/>
                  <a:gd name="T58" fmla="*/ 179284 w 11"/>
                  <a:gd name="T59" fmla="*/ 65136 h 19"/>
                  <a:gd name="T60" fmla="*/ 92723 w 11"/>
                  <a:gd name="T61" fmla="*/ 65136 h 19"/>
                  <a:gd name="T62" fmla="*/ 64322 w 11"/>
                  <a:gd name="T63" fmla="*/ 222745 h 1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1" h="19">
                    <a:moveTo>
                      <a:pt x="10" y="19"/>
                    </a:move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9" y="15"/>
                      <a:pt x="9" y="15"/>
                      <a:pt x="9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3" y="13"/>
                      <a:pt x="2" y="13"/>
                      <a:pt x="2" y="12"/>
                    </a:cubicBezTo>
                    <a:cubicBezTo>
                      <a:pt x="2" y="12"/>
                      <a:pt x="2" y="12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0"/>
                      <a:pt x="1" y="9"/>
                      <a:pt x="0" y="7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6"/>
                      <a:pt x="2" y="4"/>
                      <a:pt x="2" y="3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5" y="1"/>
                    </a:cubicBezTo>
                    <a:cubicBezTo>
                      <a:pt x="5" y="1"/>
                      <a:pt x="6" y="1"/>
                      <a:pt x="6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2"/>
                      <a:pt x="7" y="2"/>
                      <a:pt x="7" y="3"/>
                    </a:cubicBezTo>
                    <a:cubicBezTo>
                      <a:pt x="8" y="5"/>
                      <a:pt x="8" y="5"/>
                      <a:pt x="7" y="6"/>
                    </a:cubicBezTo>
                    <a:cubicBezTo>
                      <a:pt x="7" y="6"/>
                      <a:pt x="7" y="7"/>
                      <a:pt x="6" y="7"/>
                    </a:cubicBezTo>
                    <a:cubicBezTo>
                      <a:pt x="6" y="8"/>
                      <a:pt x="5" y="8"/>
                      <a:pt x="5" y="9"/>
                    </a:cubicBezTo>
                    <a:cubicBezTo>
                      <a:pt x="5" y="9"/>
                      <a:pt x="6" y="11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7" y="11"/>
                      <a:pt x="7" y="11"/>
                      <a:pt x="8" y="11"/>
                    </a:cubicBezTo>
                    <a:cubicBezTo>
                      <a:pt x="8" y="11"/>
                      <a:pt x="8" y="11"/>
                      <a:pt x="9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9" y="11"/>
                      <a:pt x="10" y="12"/>
                      <a:pt x="11" y="12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1" y="14"/>
                      <a:pt x="11" y="15"/>
                      <a:pt x="11" y="16"/>
                    </a:cubicBezTo>
                    <a:lnTo>
                      <a:pt x="10" y="19"/>
                    </a:lnTo>
                    <a:close/>
                    <a:moveTo>
                      <a:pt x="4" y="10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3" y="11"/>
                      <a:pt x="3" y="12"/>
                      <a:pt x="3" y="12"/>
                    </a:cubicBezTo>
                    <a:cubicBezTo>
                      <a:pt x="3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5" y="12"/>
                      <a:pt x="5" y="12"/>
                    </a:cubicBezTo>
                    <a:cubicBezTo>
                      <a:pt x="5" y="11"/>
                      <a:pt x="4" y="11"/>
                      <a:pt x="4" y="10"/>
                    </a:cubicBezTo>
                    <a:close/>
                    <a:moveTo>
                      <a:pt x="2" y="9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5" y="7"/>
                      <a:pt x="5" y="6"/>
                    </a:cubicBezTo>
                    <a:cubicBezTo>
                      <a:pt x="6" y="6"/>
                      <a:pt x="6" y="6"/>
                      <a:pt x="6" y="5"/>
                    </a:cubicBezTo>
                    <a:cubicBezTo>
                      <a:pt x="6" y="5"/>
                      <a:pt x="6" y="4"/>
                      <a:pt x="6" y="3"/>
                    </a:cubicBezTo>
                    <a:cubicBezTo>
                      <a:pt x="6" y="3"/>
                      <a:pt x="6" y="2"/>
                      <a:pt x="6" y="2"/>
                    </a:cubicBezTo>
                    <a:cubicBezTo>
                      <a:pt x="6" y="2"/>
                      <a:pt x="5" y="2"/>
                      <a:pt x="5" y="2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3"/>
                    </a:cubicBezTo>
                    <a:cubicBezTo>
                      <a:pt x="3" y="5"/>
                      <a:pt x="3" y="7"/>
                      <a:pt x="2" y="7"/>
                    </a:cubicBezTo>
                    <a:cubicBezTo>
                      <a:pt x="2" y="8"/>
                      <a:pt x="2" y="9"/>
                      <a:pt x="2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8" name="Freeform 582"/>
              <p:cNvSpPr/>
              <p:nvPr/>
            </p:nvSpPr>
            <p:spPr bwMode="auto">
              <a:xfrm>
                <a:off x="3475" y="1727"/>
                <a:ext cx="10" cy="8"/>
              </a:xfrm>
              <a:custGeom>
                <a:avLst/>
                <a:gdLst>
                  <a:gd name="T0" fmla="*/ 0 w 4"/>
                  <a:gd name="T1" fmla="*/ 0 h 3"/>
                  <a:gd name="T2" fmla="*/ 126958 w 4"/>
                  <a:gd name="T3" fmla="*/ 380835 h 3"/>
                  <a:gd name="T4" fmla="*/ 0 w 4"/>
                  <a:gd name="T5" fmla="*/ 0 h 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cubicBezTo>
                      <a:pt x="2" y="0"/>
                      <a:pt x="4" y="2"/>
                      <a:pt x="2" y="3"/>
                    </a:cubicBezTo>
                    <a:cubicBezTo>
                      <a:pt x="2" y="2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9" name="Freeform 583"/>
              <p:cNvSpPr>
                <a:spLocks noEditPoints="1"/>
              </p:cNvSpPr>
              <p:nvPr/>
            </p:nvSpPr>
            <p:spPr bwMode="auto">
              <a:xfrm>
                <a:off x="3473" y="1725"/>
                <a:ext cx="12" cy="12"/>
              </a:xfrm>
              <a:custGeom>
                <a:avLst/>
                <a:gdLst>
                  <a:gd name="T0" fmla="*/ 107827 w 5"/>
                  <a:gd name="T1" fmla="*/ 184798 h 5"/>
                  <a:gd name="T2" fmla="*/ 107827 w 5"/>
                  <a:gd name="T3" fmla="*/ 153278 h 5"/>
                  <a:gd name="T4" fmla="*/ 76999 w 5"/>
                  <a:gd name="T5" fmla="*/ 153278 h 5"/>
                  <a:gd name="T6" fmla="*/ 32083 w 5"/>
                  <a:gd name="T7" fmla="*/ 76999 h 5"/>
                  <a:gd name="T8" fmla="*/ 0 w 5"/>
                  <a:gd name="T9" fmla="*/ 32083 h 5"/>
                  <a:gd name="T10" fmla="*/ 32083 w 5"/>
                  <a:gd name="T11" fmla="*/ 32083 h 5"/>
                  <a:gd name="T12" fmla="*/ 153278 w 5"/>
                  <a:gd name="T13" fmla="*/ 107827 h 5"/>
                  <a:gd name="T14" fmla="*/ 107827 w 5"/>
                  <a:gd name="T15" fmla="*/ 184798 h 5"/>
                  <a:gd name="T16" fmla="*/ 107827 w 5"/>
                  <a:gd name="T17" fmla="*/ 76999 h 5"/>
                  <a:gd name="T18" fmla="*/ 107827 w 5"/>
                  <a:gd name="T19" fmla="*/ 107827 h 5"/>
                  <a:gd name="T20" fmla="*/ 107827 w 5"/>
                  <a:gd name="T21" fmla="*/ 107827 h 5"/>
                  <a:gd name="T22" fmla="*/ 107827 w 5"/>
                  <a:gd name="T23" fmla="*/ 76999 h 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4" y="1"/>
                      <a:pt x="4" y="3"/>
                    </a:cubicBezTo>
                    <a:cubicBezTo>
                      <a:pt x="5" y="3"/>
                      <a:pt x="4" y="4"/>
                      <a:pt x="3" y="5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0" name="Freeform 584"/>
              <p:cNvSpPr/>
              <p:nvPr/>
            </p:nvSpPr>
            <p:spPr bwMode="auto">
              <a:xfrm>
                <a:off x="3296" y="1652"/>
                <a:ext cx="28" cy="33"/>
              </a:xfrm>
              <a:custGeom>
                <a:avLst/>
                <a:gdLst>
                  <a:gd name="T0" fmla="*/ 311799 w 12"/>
                  <a:gd name="T1" fmla="*/ 350597 h 14"/>
                  <a:gd name="T2" fmla="*/ 290635 w 12"/>
                  <a:gd name="T3" fmla="*/ 413537 h 14"/>
                  <a:gd name="T4" fmla="*/ 233849 w 12"/>
                  <a:gd name="T5" fmla="*/ 301170 h 14"/>
                  <a:gd name="T6" fmla="*/ 176580 w 12"/>
                  <a:gd name="T7" fmla="*/ 301170 h 14"/>
                  <a:gd name="T8" fmla="*/ 158172 w 12"/>
                  <a:gd name="T9" fmla="*/ 350597 h 14"/>
                  <a:gd name="T10" fmla="*/ 158172 w 12"/>
                  <a:gd name="T11" fmla="*/ 322999 h 14"/>
                  <a:gd name="T12" fmla="*/ 75677 w 12"/>
                  <a:gd name="T13" fmla="*/ 350597 h 14"/>
                  <a:gd name="T14" fmla="*/ 57269 w 12"/>
                  <a:gd name="T15" fmla="*/ 211455 h 14"/>
                  <a:gd name="T16" fmla="*/ 75677 w 12"/>
                  <a:gd name="T17" fmla="*/ 89708 h 14"/>
                  <a:gd name="T18" fmla="*/ 57269 w 12"/>
                  <a:gd name="T19" fmla="*/ 0 h 14"/>
                  <a:gd name="T20" fmla="*/ 75677 w 12"/>
                  <a:gd name="T21" fmla="*/ 26770 h 14"/>
                  <a:gd name="T22" fmla="*/ 75677 w 12"/>
                  <a:gd name="T23" fmla="*/ 0 h 14"/>
                  <a:gd name="T24" fmla="*/ 133628 w 12"/>
                  <a:gd name="T25" fmla="*/ 26770 h 14"/>
                  <a:gd name="T26" fmla="*/ 290635 w 12"/>
                  <a:gd name="T27" fmla="*/ 112344 h 14"/>
                  <a:gd name="T28" fmla="*/ 258393 w 12"/>
                  <a:gd name="T29" fmla="*/ 264811 h 14"/>
                  <a:gd name="T30" fmla="*/ 290635 w 12"/>
                  <a:gd name="T31" fmla="*/ 211455 h 14"/>
                  <a:gd name="T32" fmla="*/ 311799 w 12"/>
                  <a:gd name="T33" fmla="*/ 350597 h 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2" h="14">
                    <a:moveTo>
                      <a:pt x="12" y="12"/>
                    </a:moveTo>
                    <a:cubicBezTo>
                      <a:pt x="12" y="13"/>
                      <a:pt x="11" y="13"/>
                      <a:pt x="11" y="14"/>
                    </a:cubicBezTo>
                    <a:cubicBezTo>
                      <a:pt x="11" y="13"/>
                      <a:pt x="10" y="10"/>
                      <a:pt x="9" y="10"/>
                    </a:cubicBezTo>
                    <a:cubicBezTo>
                      <a:pt x="8" y="10"/>
                      <a:pt x="8" y="9"/>
                      <a:pt x="7" y="10"/>
                    </a:cubicBezTo>
                    <a:cubicBezTo>
                      <a:pt x="7" y="10"/>
                      <a:pt x="7" y="11"/>
                      <a:pt x="6" y="12"/>
                    </a:cubicBezTo>
                    <a:cubicBezTo>
                      <a:pt x="6" y="12"/>
                      <a:pt x="6" y="12"/>
                      <a:pt x="6" y="11"/>
                    </a:cubicBezTo>
                    <a:cubicBezTo>
                      <a:pt x="5" y="12"/>
                      <a:pt x="4" y="12"/>
                      <a:pt x="3" y="12"/>
                    </a:cubicBezTo>
                    <a:cubicBezTo>
                      <a:pt x="3" y="11"/>
                      <a:pt x="2" y="9"/>
                      <a:pt x="2" y="7"/>
                    </a:cubicBezTo>
                    <a:cubicBezTo>
                      <a:pt x="2" y="6"/>
                      <a:pt x="0" y="3"/>
                      <a:pt x="3" y="3"/>
                    </a:cubicBezTo>
                    <a:cubicBezTo>
                      <a:pt x="2" y="2"/>
                      <a:pt x="1" y="2"/>
                      <a:pt x="2" y="0"/>
                    </a:cubicBezTo>
                    <a:cubicBezTo>
                      <a:pt x="2" y="0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0"/>
                    </a:cubicBezTo>
                    <a:cubicBezTo>
                      <a:pt x="4" y="1"/>
                      <a:pt x="4" y="2"/>
                      <a:pt x="5" y="1"/>
                    </a:cubicBezTo>
                    <a:cubicBezTo>
                      <a:pt x="5" y="4"/>
                      <a:pt x="8" y="3"/>
                      <a:pt x="11" y="4"/>
                    </a:cubicBezTo>
                    <a:cubicBezTo>
                      <a:pt x="10" y="5"/>
                      <a:pt x="6" y="7"/>
                      <a:pt x="10" y="9"/>
                    </a:cubicBezTo>
                    <a:cubicBezTo>
                      <a:pt x="10" y="8"/>
                      <a:pt x="10" y="8"/>
                      <a:pt x="11" y="7"/>
                    </a:cubicBezTo>
                    <a:cubicBezTo>
                      <a:pt x="11" y="9"/>
                      <a:pt x="11" y="10"/>
                      <a:pt x="12" y="12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1" name="Freeform 585"/>
              <p:cNvSpPr>
                <a:spLocks noEditPoints="1"/>
              </p:cNvSpPr>
              <p:nvPr/>
            </p:nvSpPr>
            <p:spPr bwMode="auto">
              <a:xfrm>
                <a:off x="3296" y="1649"/>
                <a:ext cx="30" cy="45"/>
              </a:xfrm>
              <a:custGeom>
                <a:avLst/>
                <a:gdLst>
                  <a:gd name="T0" fmla="*/ 226828 w 13"/>
                  <a:gd name="T1" fmla="*/ 471074 h 19"/>
                  <a:gd name="T2" fmla="*/ 206031 w 13"/>
                  <a:gd name="T3" fmla="*/ 344520 h 19"/>
                  <a:gd name="T4" fmla="*/ 180175 w 13"/>
                  <a:gd name="T5" fmla="*/ 344520 h 19"/>
                  <a:gd name="T6" fmla="*/ 157537 w 13"/>
                  <a:gd name="T7" fmla="*/ 405938 h 19"/>
                  <a:gd name="T8" fmla="*/ 137781 w 13"/>
                  <a:gd name="T9" fmla="*/ 405938 h 19"/>
                  <a:gd name="T10" fmla="*/ 89280 w 13"/>
                  <a:gd name="T11" fmla="*/ 433506 h 19"/>
                  <a:gd name="T12" fmla="*/ 68266 w 13"/>
                  <a:gd name="T13" fmla="*/ 433506 h 19"/>
                  <a:gd name="T14" fmla="*/ 52242 w 13"/>
                  <a:gd name="T15" fmla="*/ 365374 h 19"/>
                  <a:gd name="T16" fmla="*/ 22638 w 13"/>
                  <a:gd name="T17" fmla="*/ 222745 h 19"/>
                  <a:gd name="T18" fmla="*/ 22638 w 13"/>
                  <a:gd name="T19" fmla="*/ 116699 h 19"/>
                  <a:gd name="T20" fmla="*/ 52242 w 13"/>
                  <a:gd name="T21" fmla="*/ 0 h 19"/>
                  <a:gd name="T22" fmla="*/ 68266 w 13"/>
                  <a:gd name="T23" fmla="*/ 27502 h 19"/>
                  <a:gd name="T24" fmla="*/ 68266 w 13"/>
                  <a:gd name="T25" fmla="*/ 0 h 19"/>
                  <a:gd name="T26" fmla="*/ 89280 w 13"/>
                  <a:gd name="T27" fmla="*/ 65136 h 19"/>
                  <a:gd name="T28" fmla="*/ 120558 w 13"/>
                  <a:gd name="T29" fmla="*/ 0 h 19"/>
                  <a:gd name="T30" fmla="*/ 206031 w 13"/>
                  <a:gd name="T31" fmla="*/ 116699 h 19"/>
                  <a:gd name="T32" fmla="*/ 278211 w 13"/>
                  <a:gd name="T33" fmla="*/ 116699 h 19"/>
                  <a:gd name="T34" fmla="*/ 248432 w 13"/>
                  <a:gd name="T35" fmla="*/ 183036 h 19"/>
                  <a:gd name="T36" fmla="*/ 206031 w 13"/>
                  <a:gd name="T37" fmla="*/ 276392 h 19"/>
                  <a:gd name="T38" fmla="*/ 226828 w 13"/>
                  <a:gd name="T39" fmla="*/ 250472 h 19"/>
                  <a:gd name="T40" fmla="*/ 248432 w 13"/>
                  <a:gd name="T41" fmla="*/ 250472 h 19"/>
                  <a:gd name="T42" fmla="*/ 278211 w 13"/>
                  <a:gd name="T43" fmla="*/ 405938 h 19"/>
                  <a:gd name="T44" fmla="*/ 278211 w 13"/>
                  <a:gd name="T45" fmla="*/ 471074 h 19"/>
                  <a:gd name="T46" fmla="*/ 226828 w 13"/>
                  <a:gd name="T47" fmla="*/ 316793 h 19"/>
                  <a:gd name="T48" fmla="*/ 248432 w 13"/>
                  <a:gd name="T49" fmla="*/ 405938 h 19"/>
                  <a:gd name="T50" fmla="*/ 226828 w 13"/>
                  <a:gd name="T51" fmla="*/ 316793 h 19"/>
                  <a:gd name="T52" fmla="*/ 52242 w 13"/>
                  <a:gd name="T53" fmla="*/ 154269 h 19"/>
                  <a:gd name="T54" fmla="*/ 52242 w 13"/>
                  <a:gd name="T55" fmla="*/ 183036 h 19"/>
                  <a:gd name="T56" fmla="*/ 68266 w 13"/>
                  <a:gd name="T57" fmla="*/ 365374 h 19"/>
                  <a:gd name="T58" fmla="*/ 89280 w 13"/>
                  <a:gd name="T59" fmla="*/ 405938 h 19"/>
                  <a:gd name="T60" fmla="*/ 137781 w 13"/>
                  <a:gd name="T61" fmla="*/ 365374 h 19"/>
                  <a:gd name="T62" fmla="*/ 137781 w 13"/>
                  <a:gd name="T63" fmla="*/ 365374 h 19"/>
                  <a:gd name="T64" fmla="*/ 180175 w 13"/>
                  <a:gd name="T65" fmla="*/ 316793 h 19"/>
                  <a:gd name="T66" fmla="*/ 206031 w 13"/>
                  <a:gd name="T67" fmla="*/ 316793 h 19"/>
                  <a:gd name="T68" fmla="*/ 226828 w 13"/>
                  <a:gd name="T69" fmla="*/ 154269 h 19"/>
                  <a:gd name="T70" fmla="*/ 89280 w 13"/>
                  <a:gd name="T71" fmla="*/ 94048 h 19"/>
                  <a:gd name="T72" fmla="*/ 68266 w 13"/>
                  <a:gd name="T73" fmla="*/ 94048 h 19"/>
                  <a:gd name="T74" fmla="*/ 52242 w 13"/>
                  <a:gd name="T75" fmla="*/ 65136 h 19"/>
                  <a:gd name="T76" fmla="*/ 68266 w 13"/>
                  <a:gd name="T77" fmla="*/ 116699 h 19"/>
                  <a:gd name="T78" fmla="*/ 68266 w 13"/>
                  <a:gd name="T79" fmla="*/ 154269 h 1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3" h="19">
                    <a:moveTo>
                      <a:pt x="12" y="19"/>
                    </a:move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3"/>
                      <a:pt x="9" y="11"/>
                      <a:pt x="9" y="11"/>
                    </a:cubicBezTo>
                    <a:cubicBezTo>
                      <a:pt x="9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7" y="11"/>
                      <a:pt x="7" y="12"/>
                      <a:pt x="7" y="12"/>
                    </a:cubicBezTo>
                    <a:cubicBezTo>
                      <a:pt x="7" y="12"/>
                      <a:pt x="7" y="13"/>
                      <a:pt x="7" y="13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5" y="13"/>
                      <a:pt x="5" y="14"/>
                      <a:pt x="4" y="14"/>
                    </a:cubicBezTo>
                    <a:cubicBezTo>
                      <a:pt x="4" y="14"/>
                      <a:pt x="4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3"/>
                      <a:pt x="2" y="12"/>
                      <a:pt x="2" y="12"/>
                    </a:cubicBezTo>
                    <a:cubicBezTo>
                      <a:pt x="2" y="11"/>
                      <a:pt x="1" y="9"/>
                      <a:pt x="2" y="8"/>
                    </a:cubicBezTo>
                    <a:cubicBezTo>
                      <a:pt x="2" y="8"/>
                      <a:pt x="1" y="7"/>
                      <a:pt x="1" y="7"/>
                    </a:cubicBezTo>
                    <a:cubicBezTo>
                      <a:pt x="1" y="6"/>
                      <a:pt x="0" y="5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0" y="2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4"/>
                      <a:pt x="7" y="4"/>
                      <a:pt x="9" y="4"/>
                    </a:cubicBezTo>
                    <a:cubicBezTo>
                      <a:pt x="10" y="4"/>
                      <a:pt x="10" y="4"/>
                      <a:pt x="11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1" y="6"/>
                      <a:pt x="11" y="6"/>
                    </a:cubicBezTo>
                    <a:cubicBezTo>
                      <a:pt x="10" y="7"/>
                      <a:pt x="9" y="8"/>
                      <a:pt x="9" y="8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10" y="9"/>
                      <a:pt x="10" y="9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9"/>
                      <a:pt x="12" y="10"/>
                      <a:pt x="12" y="11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4"/>
                      <a:pt x="12" y="14"/>
                      <a:pt x="12" y="15"/>
                    </a:cubicBezTo>
                    <a:cubicBezTo>
                      <a:pt x="12" y="15"/>
                      <a:pt x="12" y="15"/>
                      <a:pt x="12" y="15"/>
                    </a:cubicBezTo>
                    <a:lnTo>
                      <a:pt x="12" y="19"/>
                    </a:lnTo>
                    <a:close/>
                    <a:moveTo>
                      <a:pt x="10" y="10"/>
                    </a:moveTo>
                    <a:cubicBezTo>
                      <a:pt x="10" y="11"/>
                      <a:pt x="11" y="12"/>
                      <a:pt x="11" y="14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1"/>
                      <a:pt x="11" y="10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6"/>
                      <a:pt x="2" y="6"/>
                    </a:cubicBezTo>
                    <a:cubicBezTo>
                      <a:pt x="3" y="7"/>
                      <a:pt x="3" y="7"/>
                      <a:pt x="3" y="8"/>
                    </a:cubicBezTo>
                    <a:cubicBezTo>
                      <a:pt x="3" y="9"/>
                      <a:pt x="3" y="10"/>
                      <a:pt x="3" y="12"/>
                    </a:cubicBezTo>
                    <a:cubicBezTo>
                      <a:pt x="3" y="12"/>
                      <a:pt x="4" y="12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1"/>
                      <a:pt x="6" y="11"/>
                      <a:pt x="7" y="10"/>
                    </a:cubicBezTo>
                    <a:cubicBezTo>
                      <a:pt x="7" y="10"/>
                      <a:pt x="7" y="10"/>
                      <a:pt x="8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8" y="10"/>
                      <a:pt x="8" y="9"/>
                      <a:pt x="8" y="9"/>
                    </a:cubicBezTo>
                    <a:cubicBezTo>
                      <a:pt x="7" y="7"/>
                      <a:pt x="9" y="6"/>
                      <a:pt x="10" y="5"/>
                    </a:cubicBezTo>
                    <a:cubicBezTo>
                      <a:pt x="10" y="5"/>
                      <a:pt x="9" y="5"/>
                      <a:pt x="9" y="5"/>
                    </a:cubicBezTo>
                    <a:cubicBezTo>
                      <a:pt x="7" y="5"/>
                      <a:pt x="5" y="5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2" name="Freeform 586"/>
              <p:cNvSpPr/>
              <p:nvPr/>
            </p:nvSpPr>
            <p:spPr bwMode="auto">
              <a:xfrm>
                <a:off x="3312" y="1675"/>
                <a:ext cx="3" cy="3"/>
              </a:xfrm>
              <a:custGeom>
                <a:avLst/>
                <a:gdLst>
                  <a:gd name="T0" fmla="*/ 0 w 1"/>
                  <a:gd name="T1" fmla="*/ 0 h 1"/>
                  <a:gd name="T2" fmla="*/ 531441 w 1"/>
                  <a:gd name="T3" fmla="*/ 531441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3" name="Freeform 587"/>
              <p:cNvSpPr/>
              <p:nvPr/>
            </p:nvSpPr>
            <p:spPr bwMode="auto">
              <a:xfrm>
                <a:off x="3312" y="1675"/>
                <a:ext cx="3" cy="5"/>
              </a:xfrm>
              <a:custGeom>
                <a:avLst/>
                <a:gdLst>
                  <a:gd name="T0" fmla="*/ 531441 w 1"/>
                  <a:gd name="T1" fmla="*/ 126958 h 2"/>
                  <a:gd name="T2" fmla="*/ 0 w 1"/>
                  <a:gd name="T3" fmla="*/ 76488 h 2"/>
                  <a:gd name="T4" fmla="*/ 0 w 1"/>
                  <a:gd name="T5" fmla="*/ 0 h 2"/>
                  <a:gd name="T6" fmla="*/ 0 w 1"/>
                  <a:gd name="T7" fmla="*/ 0 h 2"/>
                  <a:gd name="T8" fmla="*/ 531441 w 1"/>
                  <a:gd name="T9" fmla="*/ 0 h 2"/>
                  <a:gd name="T10" fmla="*/ 531441 w 1"/>
                  <a:gd name="T11" fmla="*/ 76488 h 2"/>
                  <a:gd name="T12" fmla="*/ 531441 w 1"/>
                  <a:gd name="T13" fmla="*/ 126958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4" name="Freeform 588"/>
              <p:cNvSpPr/>
              <p:nvPr/>
            </p:nvSpPr>
            <p:spPr bwMode="auto">
              <a:xfrm>
                <a:off x="3300" y="1640"/>
                <a:ext cx="22" cy="12"/>
              </a:xfrm>
              <a:custGeom>
                <a:avLst/>
                <a:gdLst>
                  <a:gd name="T0" fmla="*/ 37102 w 9"/>
                  <a:gd name="T1" fmla="*/ 107827 h 5"/>
                  <a:gd name="T2" fmla="*/ 411955 w 9"/>
                  <a:gd name="T3" fmla="*/ 107827 h 5"/>
                  <a:gd name="T4" fmla="*/ 221696 w 9"/>
                  <a:gd name="T5" fmla="*/ 32083 h 5"/>
                  <a:gd name="T6" fmla="*/ 37102 w 9"/>
                  <a:gd name="T7" fmla="*/ 107827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1" y="3"/>
                    </a:moveTo>
                    <a:cubicBezTo>
                      <a:pt x="0" y="5"/>
                      <a:pt x="9" y="5"/>
                      <a:pt x="9" y="3"/>
                    </a:cubicBezTo>
                    <a:cubicBezTo>
                      <a:pt x="9" y="2"/>
                      <a:pt x="6" y="1"/>
                      <a:pt x="5" y="1"/>
                    </a:cubicBezTo>
                    <a:cubicBezTo>
                      <a:pt x="3" y="0"/>
                      <a:pt x="3" y="1"/>
                      <a:pt x="1" y="3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5" name="Freeform 589"/>
              <p:cNvSpPr>
                <a:spLocks noEditPoints="1"/>
              </p:cNvSpPr>
              <p:nvPr/>
            </p:nvSpPr>
            <p:spPr bwMode="auto">
              <a:xfrm>
                <a:off x="3300" y="1640"/>
                <a:ext cx="22" cy="12"/>
              </a:xfrm>
              <a:custGeom>
                <a:avLst/>
                <a:gdLst>
                  <a:gd name="T0" fmla="*/ 221696 w 9"/>
                  <a:gd name="T1" fmla="*/ 184798 h 5"/>
                  <a:gd name="T2" fmla="*/ 221696 w 9"/>
                  <a:gd name="T3" fmla="*/ 184798 h 5"/>
                  <a:gd name="T4" fmla="*/ 37102 w 9"/>
                  <a:gd name="T5" fmla="*/ 153278 h 5"/>
                  <a:gd name="T6" fmla="*/ 37102 w 9"/>
                  <a:gd name="T7" fmla="*/ 107827 h 5"/>
                  <a:gd name="T8" fmla="*/ 90694 w 9"/>
                  <a:gd name="T9" fmla="*/ 76999 h 5"/>
                  <a:gd name="T10" fmla="*/ 221696 w 9"/>
                  <a:gd name="T11" fmla="*/ 0 h 5"/>
                  <a:gd name="T12" fmla="*/ 411955 w 9"/>
                  <a:gd name="T13" fmla="*/ 107827 h 5"/>
                  <a:gd name="T14" fmla="*/ 221696 w 9"/>
                  <a:gd name="T15" fmla="*/ 184798 h 5"/>
                  <a:gd name="T16" fmla="*/ 183453 w 9"/>
                  <a:gd name="T17" fmla="*/ 32083 h 5"/>
                  <a:gd name="T18" fmla="*/ 90694 w 9"/>
                  <a:gd name="T19" fmla="*/ 76999 h 5"/>
                  <a:gd name="T20" fmla="*/ 90694 w 9"/>
                  <a:gd name="T21" fmla="*/ 107827 h 5"/>
                  <a:gd name="T22" fmla="*/ 221696 w 9"/>
                  <a:gd name="T23" fmla="*/ 153278 h 5"/>
                  <a:gd name="T24" fmla="*/ 221696 w 9"/>
                  <a:gd name="T25" fmla="*/ 153278 h 5"/>
                  <a:gd name="T26" fmla="*/ 373367 w 9"/>
                  <a:gd name="T27" fmla="*/ 107827 h 5"/>
                  <a:gd name="T28" fmla="*/ 221696 w 9"/>
                  <a:gd name="T29" fmla="*/ 32083 h 5"/>
                  <a:gd name="T30" fmla="*/ 183453 w 9"/>
                  <a:gd name="T31" fmla="*/ 32083 h 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9" h="5">
                    <a:moveTo>
                      <a:pt x="5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1" y="5"/>
                      <a:pt x="1" y="4"/>
                    </a:cubicBezTo>
                    <a:cubicBezTo>
                      <a:pt x="1" y="4"/>
                      <a:pt x="0" y="3"/>
                      <a:pt x="1" y="3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1"/>
                      <a:pt x="3" y="0"/>
                      <a:pt x="5" y="0"/>
                    </a:cubicBezTo>
                    <a:cubicBezTo>
                      <a:pt x="6" y="0"/>
                      <a:pt x="9" y="1"/>
                      <a:pt x="9" y="3"/>
                    </a:cubicBezTo>
                    <a:cubicBezTo>
                      <a:pt x="9" y="5"/>
                      <a:pt x="7" y="5"/>
                      <a:pt x="5" y="5"/>
                    </a:cubicBezTo>
                    <a:close/>
                    <a:moveTo>
                      <a:pt x="4" y="1"/>
                    </a:moveTo>
                    <a:cubicBezTo>
                      <a:pt x="4" y="1"/>
                      <a:pt x="3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4"/>
                      <a:pt x="3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7" y="4"/>
                      <a:pt x="8" y="4"/>
                      <a:pt x="8" y="3"/>
                    </a:cubicBezTo>
                    <a:cubicBezTo>
                      <a:pt x="8" y="3"/>
                      <a:pt x="6" y="2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6" name="Freeform 590"/>
              <p:cNvSpPr/>
              <p:nvPr/>
            </p:nvSpPr>
            <p:spPr bwMode="auto">
              <a:xfrm>
                <a:off x="3322" y="1638"/>
                <a:ext cx="49" cy="108"/>
              </a:xfrm>
              <a:custGeom>
                <a:avLst/>
                <a:gdLst>
                  <a:gd name="T0" fmla="*/ 545648 w 21"/>
                  <a:gd name="T1" fmla="*/ 503299 h 46"/>
                  <a:gd name="T2" fmla="*/ 369068 w 21"/>
                  <a:gd name="T3" fmla="*/ 646047 h 46"/>
                  <a:gd name="T4" fmla="*/ 392012 w 21"/>
                  <a:gd name="T5" fmla="*/ 868621 h 46"/>
                  <a:gd name="T6" fmla="*/ 392012 w 21"/>
                  <a:gd name="T7" fmla="*/ 895400 h 46"/>
                  <a:gd name="T8" fmla="*/ 369068 w 21"/>
                  <a:gd name="T9" fmla="*/ 982356 h 46"/>
                  <a:gd name="T10" fmla="*/ 412020 w 21"/>
                  <a:gd name="T11" fmla="*/ 1038624 h 46"/>
                  <a:gd name="T12" fmla="*/ 444806 w 21"/>
                  <a:gd name="T13" fmla="*/ 1181659 h 46"/>
                  <a:gd name="T14" fmla="*/ 392012 w 21"/>
                  <a:gd name="T15" fmla="*/ 1291898 h 46"/>
                  <a:gd name="T16" fmla="*/ 392012 w 21"/>
                  <a:gd name="T17" fmla="*/ 1181659 h 46"/>
                  <a:gd name="T18" fmla="*/ 369068 w 21"/>
                  <a:gd name="T19" fmla="*/ 1064615 h 46"/>
                  <a:gd name="T20" fmla="*/ 369068 w 21"/>
                  <a:gd name="T21" fmla="*/ 1064615 h 46"/>
                  <a:gd name="T22" fmla="*/ 334070 w 21"/>
                  <a:gd name="T23" fmla="*/ 895400 h 46"/>
                  <a:gd name="T24" fmla="*/ 258393 w 21"/>
                  <a:gd name="T25" fmla="*/ 815212 h 46"/>
                  <a:gd name="T26" fmla="*/ 133628 w 21"/>
                  <a:gd name="T27" fmla="*/ 895400 h 46"/>
                  <a:gd name="T28" fmla="*/ 133628 w 21"/>
                  <a:gd name="T29" fmla="*/ 895400 h 46"/>
                  <a:gd name="T30" fmla="*/ 100221 w 21"/>
                  <a:gd name="T31" fmla="*/ 706343 h 46"/>
                  <a:gd name="T32" fmla="*/ 75677 w 21"/>
                  <a:gd name="T33" fmla="*/ 667323 h 46"/>
                  <a:gd name="T34" fmla="*/ 100221 w 21"/>
                  <a:gd name="T35" fmla="*/ 667323 h 46"/>
                  <a:gd name="T36" fmla="*/ 0 w 21"/>
                  <a:gd name="T37" fmla="*/ 559581 h 46"/>
                  <a:gd name="T38" fmla="*/ 57269 w 21"/>
                  <a:gd name="T39" fmla="*/ 453447 h 46"/>
                  <a:gd name="T40" fmla="*/ 57269 w 21"/>
                  <a:gd name="T41" fmla="*/ 418411 h 46"/>
                  <a:gd name="T42" fmla="*/ 100221 w 21"/>
                  <a:gd name="T43" fmla="*/ 369968 h 46"/>
                  <a:gd name="T44" fmla="*/ 176580 w 21"/>
                  <a:gd name="T45" fmla="*/ 193135 h 46"/>
                  <a:gd name="T46" fmla="*/ 210957 w 21"/>
                  <a:gd name="T47" fmla="*/ 143175 h 46"/>
                  <a:gd name="T48" fmla="*/ 290635 w 21"/>
                  <a:gd name="T49" fmla="*/ 106227 h 46"/>
                  <a:gd name="T50" fmla="*/ 334070 w 21"/>
                  <a:gd name="T51" fmla="*/ 60982 h 46"/>
                  <a:gd name="T52" fmla="*/ 392012 w 21"/>
                  <a:gd name="T53" fmla="*/ 193135 h 46"/>
                  <a:gd name="T54" fmla="*/ 334070 w 21"/>
                  <a:gd name="T55" fmla="*/ 275168 h 46"/>
                  <a:gd name="T56" fmla="*/ 311799 w 21"/>
                  <a:gd name="T57" fmla="*/ 369968 h 46"/>
                  <a:gd name="T58" fmla="*/ 392012 w 21"/>
                  <a:gd name="T59" fmla="*/ 336150 h 46"/>
                  <a:gd name="T60" fmla="*/ 444806 w 21"/>
                  <a:gd name="T61" fmla="*/ 418411 h 46"/>
                  <a:gd name="T62" fmla="*/ 469147 w 21"/>
                  <a:gd name="T63" fmla="*/ 503299 h 46"/>
                  <a:gd name="T64" fmla="*/ 545648 w 21"/>
                  <a:gd name="T65" fmla="*/ 503299 h 4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1" h="46">
                    <a:moveTo>
                      <a:pt x="21" y="18"/>
                    </a:moveTo>
                    <a:cubicBezTo>
                      <a:pt x="19" y="20"/>
                      <a:pt x="17" y="23"/>
                      <a:pt x="14" y="23"/>
                    </a:cubicBezTo>
                    <a:cubicBezTo>
                      <a:pt x="10" y="24"/>
                      <a:pt x="14" y="29"/>
                      <a:pt x="15" y="31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5" y="33"/>
                      <a:pt x="14" y="34"/>
                      <a:pt x="14" y="35"/>
                    </a:cubicBezTo>
                    <a:cubicBezTo>
                      <a:pt x="13" y="36"/>
                      <a:pt x="16" y="36"/>
                      <a:pt x="16" y="37"/>
                    </a:cubicBezTo>
                    <a:cubicBezTo>
                      <a:pt x="16" y="39"/>
                      <a:pt x="16" y="40"/>
                      <a:pt x="17" y="42"/>
                    </a:cubicBezTo>
                    <a:cubicBezTo>
                      <a:pt x="17" y="42"/>
                      <a:pt x="15" y="45"/>
                      <a:pt x="15" y="46"/>
                    </a:cubicBezTo>
                    <a:cubicBezTo>
                      <a:pt x="14" y="45"/>
                      <a:pt x="16" y="43"/>
                      <a:pt x="15" y="42"/>
                    </a:cubicBezTo>
                    <a:cubicBezTo>
                      <a:pt x="15" y="41"/>
                      <a:pt x="15" y="39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3" y="36"/>
                      <a:pt x="13" y="34"/>
                      <a:pt x="13" y="32"/>
                    </a:cubicBezTo>
                    <a:cubicBezTo>
                      <a:pt x="13" y="30"/>
                      <a:pt x="10" y="31"/>
                      <a:pt x="10" y="29"/>
                    </a:cubicBezTo>
                    <a:cubicBezTo>
                      <a:pt x="11" y="31"/>
                      <a:pt x="6" y="34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29"/>
                      <a:pt x="5" y="27"/>
                      <a:pt x="4" y="25"/>
                    </a:cubicBezTo>
                    <a:cubicBezTo>
                      <a:pt x="3" y="25"/>
                      <a:pt x="3" y="25"/>
                      <a:pt x="3" y="24"/>
                    </a:cubicBezTo>
                    <a:cubicBezTo>
                      <a:pt x="3" y="24"/>
                      <a:pt x="3" y="24"/>
                      <a:pt x="4" y="24"/>
                    </a:cubicBezTo>
                    <a:cubicBezTo>
                      <a:pt x="3" y="22"/>
                      <a:pt x="0" y="22"/>
                      <a:pt x="0" y="20"/>
                    </a:cubicBezTo>
                    <a:cubicBezTo>
                      <a:pt x="0" y="19"/>
                      <a:pt x="2" y="18"/>
                      <a:pt x="2" y="16"/>
                    </a:cubicBezTo>
                    <a:cubicBezTo>
                      <a:pt x="2" y="15"/>
                      <a:pt x="2" y="16"/>
                      <a:pt x="2" y="15"/>
                    </a:cubicBezTo>
                    <a:cubicBezTo>
                      <a:pt x="3" y="13"/>
                      <a:pt x="2" y="13"/>
                      <a:pt x="4" y="13"/>
                    </a:cubicBezTo>
                    <a:cubicBezTo>
                      <a:pt x="5" y="13"/>
                      <a:pt x="7" y="8"/>
                      <a:pt x="7" y="7"/>
                    </a:cubicBezTo>
                    <a:cubicBezTo>
                      <a:pt x="7" y="6"/>
                      <a:pt x="7" y="6"/>
                      <a:pt x="8" y="5"/>
                    </a:cubicBezTo>
                    <a:cubicBezTo>
                      <a:pt x="9" y="4"/>
                      <a:pt x="10" y="5"/>
                      <a:pt x="11" y="4"/>
                    </a:cubicBezTo>
                    <a:cubicBezTo>
                      <a:pt x="11" y="4"/>
                      <a:pt x="12" y="0"/>
                      <a:pt x="13" y="2"/>
                    </a:cubicBezTo>
                    <a:cubicBezTo>
                      <a:pt x="14" y="4"/>
                      <a:pt x="16" y="5"/>
                      <a:pt x="15" y="7"/>
                    </a:cubicBezTo>
                    <a:cubicBezTo>
                      <a:pt x="15" y="8"/>
                      <a:pt x="13" y="9"/>
                      <a:pt x="13" y="10"/>
                    </a:cubicBezTo>
                    <a:cubicBezTo>
                      <a:pt x="13" y="11"/>
                      <a:pt x="13" y="12"/>
                      <a:pt x="12" y="13"/>
                    </a:cubicBezTo>
                    <a:cubicBezTo>
                      <a:pt x="13" y="13"/>
                      <a:pt x="15" y="12"/>
                      <a:pt x="15" y="12"/>
                    </a:cubicBezTo>
                    <a:cubicBezTo>
                      <a:pt x="15" y="13"/>
                      <a:pt x="17" y="15"/>
                      <a:pt x="17" y="15"/>
                    </a:cubicBezTo>
                    <a:cubicBezTo>
                      <a:pt x="16" y="18"/>
                      <a:pt x="17" y="16"/>
                      <a:pt x="18" y="18"/>
                    </a:cubicBezTo>
                    <a:cubicBezTo>
                      <a:pt x="19" y="19"/>
                      <a:pt x="19" y="17"/>
                      <a:pt x="21" y="18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7" name="Freeform 591"/>
              <p:cNvSpPr>
                <a:spLocks noEditPoints="1"/>
              </p:cNvSpPr>
              <p:nvPr/>
            </p:nvSpPr>
            <p:spPr bwMode="auto">
              <a:xfrm>
                <a:off x="3319" y="1640"/>
                <a:ext cx="52" cy="109"/>
              </a:xfrm>
              <a:custGeom>
                <a:avLst/>
                <a:gdLst>
                  <a:gd name="T0" fmla="*/ 450913 w 22"/>
                  <a:gd name="T1" fmla="*/ 1349740 h 46"/>
                  <a:gd name="T2" fmla="*/ 450913 w 22"/>
                  <a:gd name="T3" fmla="*/ 1255405 h 46"/>
                  <a:gd name="T4" fmla="*/ 423762 w 22"/>
                  <a:gd name="T5" fmla="*/ 1165973 h 46"/>
                  <a:gd name="T6" fmla="*/ 359353 w 22"/>
                  <a:gd name="T7" fmla="*/ 916628 h 46"/>
                  <a:gd name="T8" fmla="*/ 152034 w 22"/>
                  <a:gd name="T9" fmla="*/ 1005826 h 46"/>
                  <a:gd name="T10" fmla="*/ 114948 w 22"/>
                  <a:gd name="T11" fmla="*/ 753394 h 46"/>
                  <a:gd name="T12" fmla="*/ 92723 w 22"/>
                  <a:gd name="T13" fmla="*/ 685790 h 46"/>
                  <a:gd name="T14" fmla="*/ 64322 w 22"/>
                  <a:gd name="T15" fmla="*/ 473186 h 46"/>
                  <a:gd name="T16" fmla="*/ 152034 w 22"/>
                  <a:gd name="T17" fmla="*/ 346099 h 46"/>
                  <a:gd name="T18" fmla="*/ 271695 w 22"/>
                  <a:gd name="T19" fmla="*/ 117372 h 46"/>
                  <a:gd name="T20" fmla="*/ 359353 w 22"/>
                  <a:gd name="T21" fmla="*/ 94358 h 46"/>
                  <a:gd name="T22" fmla="*/ 450913 w 22"/>
                  <a:gd name="T23" fmla="*/ 27648 h 46"/>
                  <a:gd name="T24" fmla="*/ 450913 w 22"/>
                  <a:gd name="T25" fmla="*/ 252432 h 46"/>
                  <a:gd name="T26" fmla="*/ 489998 w 22"/>
                  <a:gd name="T27" fmla="*/ 346099 h 46"/>
                  <a:gd name="T28" fmla="*/ 555237 w 22"/>
                  <a:gd name="T29" fmla="*/ 435436 h 46"/>
                  <a:gd name="T30" fmla="*/ 602959 w 22"/>
                  <a:gd name="T31" fmla="*/ 529804 h 46"/>
                  <a:gd name="T32" fmla="*/ 670096 w 22"/>
                  <a:gd name="T33" fmla="*/ 529804 h 46"/>
                  <a:gd name="T34" fmla="*/ 450913 w 22"/>
                  <a:gd name="T35" fmla="*/ 725611 h 46"/>
                  <a:gd name="T36" fmla="*/ 489998 w 22"/>
                  <a:gd name="T37" fmla="*/ 937464 h 46"/>
                  <a:gd name="T38" fmla="*/ 518022 w 22"/>
                  <a:gd name="T39" fmla="*/ 966005 h 46"/>
                  <a:gd name="T40" fmla="*/ 518022 w 22"/>
                  <a:gd name="T41" fmla="*/ 1121245 h 46"/>
                  <a:gd name="T42" fmla="*/ 518022 w 22"/>
                  <a:gd name="T43" fmla="*/ 1417365 h 46"/>
                  <a:gd name="T44" fmla="*/ 518022 w 22"/>
                  <a:gd name="T45" fmla="*/ 1323765 h 46"/>
                  <a:gd name="T46" fmla="*/ 489998 w 22"/>
                  <a:gd name="T47" fmla="*/ 1121245 h 46"/>
                  <a:gd name="T48" fmla="*/ 489998 w 22"/>
                  <a:gd name="T49" fmla="*/ 1283188 h 46"/>
                  <a:gd name="T50" fmla="*/ 423762 w 22"/>
                  <a:gd name="T51" fmla="*/ 966005 h 46"/>
                  <a:gd name="T52" fmla="*/ 450913 w 22"/>
                  <a:gd name="T53" fmla="*/ 937464 h 46"/>
                  <a:gd name="T54" fmla="*/ 450913 w 22"/>
                  <a:gd name="T55" fmla="*/ 685790 h 46"/>
                  <a:gd name="T56" fmla="*/ 602959 w 22"/>
                  <a:gd name="T57" fmla="*/ 569615 h 46"/>
                  <a:gd name="T58" fmla="*/ 555237 w 22"/>
                  <a:gd name="T59" fmla="*/ 502000 h 46"/>
                  <a:gd name="T60" fmla="*/ 489998 w 22"/>
                  <a:gd name="T61" fmla="*/ 367851 h 46"/>
                  <a:gd name="T62" fmla="*/ 398611 w 22"/>
                  <a:gd name="T63" fmla="*/ 367851 h 46"/>
                  <a:gd name="T64" fmla="*/ 450913 w 22"/>
                  <a:gd name="T65" fmla="*/ 223587 h 46"/>
                  <a:gd name="T66" fmla="*/ 423762 w 22"/>
                  <a:gd name="T67" fmla="*/ 27648 h 46"/>
                  <a:gd name="T68" fmla="*/ 359353 w 22"/>
                  <a:gd name="T69" fmla="*/ 117372 h 46"/>
                  <a:gd name="T70" fmla="*/ 271695 w 22"/>
                  <a:gd name="T71" fmla="*/ 155240 h 46"/>
                  <a:gd name="T72" fmla="*/ 152034 w 22"/>
                  <a:gd name="T73" fmla="*/ 367851 h 46"/>
                  <a:gd name="T74" fmla="*/ 92723 w 22"/>
                  <a:gd name="T75" fmla="*/ 473186 h 46"/>
                  <a:gd name="T76" fmla="*/ 64322 w 22"/>
                  <a:gd name="T77" fmla="*/ 598154 h 46"/>
                  <a:gd name="T78" fmla="*/ 152034 w 22"/>
                  <a:gd name="T79" fmla="*/ 725611 h 46"/>
                  <a:gd name="T80" fmla="*/ 219163 w 22"/>
                  <a:gd name="T81" fmla="*/ 937464 h 46"/>
                  <a:gd name="T82" fmla="*/ 331318 w 22"/>
                  <a:gd name="T83" fmla="*/ 871647 h 46"/>
                  <a:gd name="T84" fmla="*/ 359353 w 22"/>
                  <a:gd name="T85" fmla="*/ 847750 h 4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2" h="46">
                    <a:moveTo>
                      <a:pt x="17" y="46"/>
                    </a:move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45"/>
                      <a:pt x="15" y="43"/>
                      <a:pt x="15" y="43"/>
                    </a:cubicBezTo>
                    <a:cubicBezTo>
                      <a:pt x="16" y="42"/>
                      <a:pt x="16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0"/>
                      <a:pt x="15" y="40"/>
                      <a:pt x="15" y="40"/>
                    </a:cubicBezTo>
                    <a:cubicBezTo>
                      <a:pt x="16" y="40"/>
                      <a:pt x="15" y="39"/>
                      <a:pt x="15" y="38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4" y="35"/>
                      <a:pt x="13" y="33"/>
                      <a:pt x="13" y="31"/>
                    </a:cubicBezTo>
                    <a:cubicBezTo>
                      <a:pt x="13" y="31"/>
                      <a:pt x="13" y="30"/>
                      <a:pt x="12" y="30"/>
                    </a:cubicBezTo>
                    <a:cubicBezTo>
                      <a:pt x="12" y="30"/>
                      <a:pt x="12" y="30"/>
                      <a:pt x="12" y="29"/>
                    </a:cubicBezTo>
                    <a:cubicBezTo>
                      <a:pt x="11" y="31"/>
                      <a:pt x="9" y="32"/>
                      <a:pt x="7" y="32"/>
                    </a:cubicBezTo>
                    <a:cubicBezTo>
                      <a:pt x="7" y="32"/>
                      <a:pt x="6" y="32"/>
                      <a:pt x="6" y="31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6" y="28"/>
                      <a:pt x="6" y="26"/>
                      <a:pt x="5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3"/>
                      <a:pt x="4" y="2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2" y="21"/>
                      <a:pt x="1" y="21"/>
                      <a:pt x="0" y="19"/>
                    </a:cubicBezTo>
                    <a:cubicBezTo>
                      <a:pt x="0" y="18"/>
                      <a:pt x="1" y="18"/>
                      <a:pt x="1" y="17"/>
                    </a:cubicBezTo>
                    <a:cubicBezTo>
                      <a:pt x="2" y="16"/>
                      <a:pt x="2" y="16"/>
                      <a:pt x="2" y="15"/>
                    </a:cubicBezTo>
                    <a:cubicBezTo>
                      <a:pt x="2" y="14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2"/>
                      <a:pt x="3" y="12"/>
                      <a:pt x="5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0"/>
                      <a:pt x="7" y="7"/>
                      <a:pt x="7" y="6"/>
                    </a:cubicBezTo>
                    <a:cubicBezTo>
                      <a:pt x="7" y="5"/>
                      <a:pt x="8" y="5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1" y="3"/>
                    </a:cubicBezTo>
                    <a:cubicBezTo>
                      <a:pt x="11" y="3"/>
                      <a:pt x="11" y="3"/>
                      <a:pt x="12" y="3"/>
                    </a:cubicBezTo>
                    <a:cubicBezTo>
                      <a:pt x="12" y="3"/>
                      <a:pt x="12" y="3"/>
                      <a:pt x="12" y="2"/>
                    </a:cubicBezTo>
                    <a:cubicBezTo>
                      <a:pt x="12" y="1"/>
                      <a:pt x="12" y="0"/>
                      <a:pt x="13" y="0"/>
                    </a:cubicBezTo>
                    <a:cubicBezTo>
                      <a:pt x="14" y="0"/>
                      <a:pt x="15" y="1"/>
                      <a:pt x="15" y="1"/>
                    </a:cubicBezTo>
                    <a:cubicBezTo>
                      <a:pt x="15" y="1"/>
                      <a:pt x="15" y="2"/>
                      <a:pt x="15" y="2"/>
                    </a:cubicBezTo>
                    <a:cubicBezTo>
                      <a:pt x="16" y="3"/>
                      <a:pt x="17" y="4"/>
                      <a:pt x="17" y="6"/>
                    </a:cubicBezTo>
                    <a:cubicBezTo>
                      <a:pt x="16" y="7"/>
                      <a:pt x="16" y="8"/>
                      <a:pt x="15" y="8"/>
                    </a:cubicBezTo>
                    <a:cubicBezTo>
                      <a:pt x="15" y="8"/>
                      <a:pt x="15" y="9"/>
                      <a:pt x="15" y="9"/>
                    </a:cubicBezTo>
                    <a:cubicBezTo>
                      <a:pt x="14" y="10"/>
                      <a:pt x="14" y="10"/>
                      <a:pt x="14" y="11"/>
                    </a:cubicBezTo>
                    <a:cubicBezTo>
                      <a:pt x="15" y="11"/>
                      <a:pt x="15" y="11"/>
                      <a:pt x="16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12"/>
                      <a:pt x="18" y="13"/>
                      <a:pt x="18" y="13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6"/>
                      <a:pt x="19" y="16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1" y="16"/>
                      <a:pt x="21" y="16"/>
                      <a:pt x="22" y="17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8"/>
                      <a:pt x="22" y="18"/>
                      <a:pt x="21" y="19"/>
                    </a:cubicBezTo>
                    <a:cubicBezTo>
                      <a:pt x="20" y="20"/>
                      <a:pt x="18" y="23"/>
                      <a:pt x="15" y="23"/>
                    </a:cubicBezTo>
                    <a:cubicBezTo>
                      <a:pt x="15" y="23"/>
                      <a:pt x="14" y="23"/>
                      <a:pt x="14" y="23"/>
                    </a:cubicBezTo>
                    <a:cubicBezTo>
                      <a:pt x="14" y="24"/>
                      <a:pt x="15" y="26"/>
                      <a:pt x="15" y="28"/>
                    </a:cubicBezTo>
                    <a:cubicBezTo>
                      <a:pt x="16" y="29"/>
                      <a:pt x="16" y="29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7" y="31"/>
                      <a:pt x="17" y="31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5" y="34"/>
                      <a:pt x="16" y="34"/>
                      <a:pt x="16" y="35"/>
                    </a:cubicBezTo>
                    <a:cubicBezTo>
                      <a:pt x="17" y="35"/>
                      <a:pt x="17" y="35"/>
                      <a:pt x="17" y="36"/>
                    </a:cubicBezTo>
                    <a:cubicBezTo>
                      <a:pt x="17" y="38"/>
                      <a:pt x="18" y="39"/>
                      <a:pt x="19" y="40"/>
                    </a:cubicBezTo>
                    <a:cubicBezTo>
                      <a:pt x="19" y="41"/>
                      <a:pt x="18" y="42"/>
                      <a:pt x="18" y="43"/>
                    </a:cubicBezTo>
                    <a:cubicBezTo>
                      <a:pt x="17" y="44"/>
                      <a:pt x="17" y="44"/>
                      <a:pt x="17" y="45"/>
                    </a:cubicBezTo>
                    <a:lnTo>
                      <a:pt x="17" y="46"/>
                    </a:lnTo>
                    <a:close/>
                    <a:moveTo>
                      <a:pt x="16" y="41"/>
                    </a:moveTo>
                    <a:cubicBezTo>
                      <a:pt x="17" y="41"/>
                      <a:pt x="17" y="42"/>
                      <a:pt x="17" y="42"/>
                    </a:cubicBezTo>
                    <a:cubicBezTo>
                      <a:pt x="17" y="42"/>
                      <a:pt x="17" y="41"/>
                      <a:pt x="17" y="41"/>
                    </a:cubicBezTo>
                    <a:cubicBezTo>
                      <a:pt x="17" y="39"/>
                      <a:pt x="16" y="38"/>
                      <a:pt x="16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6" y="38"/>
                      <a:pt x="17" y="39"/>
                      <a:pt x="16" y="41"/>
                    </a:cubicBezTo>
                    <a:close/>
                    <a:moveTo>
                      <a:pt x="12" y="28"/>
                    </a:moveTo>
                    <a:cubicBezTo>
                      <a:pt x="12" y="28"/>
                      <a:pt x="12" y="29"/>
                      <a:pt x="13" y="29"/>
                    </a:cubicBezTo>
                    <a:cubicBezTo>
                      <a:pt x="13" y="29"/>
                      <a:pt x="14" y="30"/>
                      <a:pt x="14" y="31"/>
                    </a:cubicBezTo>
                    <a:cubicBezTo>
                      <a:pt x="14" y="32"/>
                      <a:pt x="15" y="32"/>
                      <a:pt x="15" y="33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5" y="31"/>
                      <a:pt x="15" y="30"/>
                      <a:pt x="15" y="30"/>
                    </a:cubicBezTo>
                    <a:cubicBezTo>
                      <a:pt x="15" y="30"/>
                      <a:pt x="15" y="29"/>
                      <a:pt x="14" y="28"/>
                    </a:cubicBezTo>
                    <a:cubicBezTo>
                      <a:pt x="13" y="26"/>
                      <a:pt x="13" y="24"/>
                      <a:pt x="13" y="23"/>
                    </a:cubicBezTo>
                    <a:cubicBezTo>
                      <a:pt x="14" y="22"/>
                      <a:pt x="14" y="22"/>
                      <a:pt x="15" y="22"/>
                    </a:cubicBezTo>
                    <a:cubicBezTo>
                      <a:pt x="17" y="21"/>
                      <a:pt x="19" y="20"/>
                      <a:pt x="20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19" y="18"/>
                      <a:pt x="19" y="17"/>
                      <a:pt x="19" y="17"/>
                    </a:cubicBezTo>
                    <a:cubicBezTo>
                      <a:pt x="18" y="17"/>
                      <a:pt x="18" y="16"/>
                      <a:pt x="18" y="16"/>
                    </a:cubicBezTo>
                    <a:cubicBezTo>
                      <a:pt x="17" y="16"/>
                      <a:pt x="17" y="15"/>
                      <a:pt x="17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6" y="13"/>
                      <a:pt x="16" y="12"/>
                      <a:pt x="16" y="12"/>
                    </a:cubicBezTo>
                    <a:cubicBezTo>
                      <a:pt x="15" y="12"/>
                      <a:pt x="14" y="12"/>
                      <a:pt x="14" y="12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12"/>
                      <a:pt x="13" y="11"/>
                      <a:pt x="13" y="11"/>
                    </a:cubicBezTo>
                    <a:cubicBezTo>
                      <a:pt x="13" y="10"/>
                      <a:pt x="13" y="9"/>
                      <a:pt x="14" y="9"/>
                    </a:cubicBezTo>
                    <a:cubicBezTo>
                      <a:pt x="14" y="8"/>
                      <a:pt x="14" y="8"/>
                      <a:pt x="15" y="7"/>
                    </a:cubicBezTo>
                    <a:cubicBezTo>
                      <a:pt x="15" y="7"/>
                      <a:pt x="15" y="6"/>
                      <a:pt x="15" y="6"/>
                    </a:cubicBezTo>
                    <a:cubicBezTo>
                      <a:pt x="16" y="4"/>
                      <a:pt x="15" y="4"/>
                      <a:pt x="14" y="3"/>
                    </a:cubicBezTo>
                    <a:cubicBezTo>
                      <a:pt x="14" y="2"/>
                      <a:pt x="14" y="2"/>
                      <a:pt x="14" y="1"/>
                    </a:cubicBezTo>
                    <a:cubicBezTo>
                      <a:pt x="14" y="1"/>
                      <a:pt x="13" y="1"/>
                      <a:pt x="13" y="1"/>
                    </a:cubicBezTo>
                    <a:cubicBezTo>
                      <a:pt x="13" y="1"/>
                      <a:pt x="13" y="2"/>
                      <a:pt x="13" y="3"/>
                    </a:cubicBezTo>
                    <a:cubicBezTo>
                      <a:pt x="13" y="3"/>
                      <a:pt x="13" y="4"/>
                      <a:pt x="12" y="4"/>
                    </a:cubicBezTo>
                    <a:cubicBezTo>
                      <a:pt x="12" y="4"/>
                      <a:pt x="11" y="4"/>
                      <a:pt x="11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9" y="5"/>
                      <a:pt x="8" y="7"/>
                    </a:cubicBezTo>
                    <a:cubicBezTo>
                      <a:pt x="8" y="7"/>
                      <a:pt x="6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5"/>
                      <a:pt x="4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4" y="16"/>
                      <a:pt x="3" y="17"/>
                      <a:pt x="2" y="18"/>
                    </a:cubicBezTo>
                    <a:cubicBezTo>
                      <a:pt x="2" y="18"/>
                      <a:pt x="2" y="19"/>
                      <a:pt x="2" y="19"/>
                    </a:cubicBezTo>
                    <a:cubicBezTo>
                      <a:pt x="2" y="20"/>
                      <a:pt x="2" y="20"/>
                      <a:pt x="3" y="21"/>
                    </a:cubicBezTo>
                    <a:cubicBezTo>
                      <a:pt x="4" y="21"/>
                      <a:pt x="5" y="22"/>
                      <a:pt x="5" y="23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7" y="26"/>
                      <a:pt x="7" y="28"/>
                      <a:pt x="6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1"/>
                      <a:pt x="7" y="31"/>
                      <a:pt x="7" y="31"/>
                    </a:cubicBezTo>
                    <a:cubicBezTo>
                      <a:pt x="7" y="31"/>
                      <a:pt x="7" y="31"/>
                      <a:pt x="7" y="31"/>
                    </a:cubicBezTo>
                    <a:cubicBezTo>
                      <a:pt x="9" y="31"/>
                      <a:pt x="11" y="30"/>
                      <a:pt x="11" y="2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28"/>
                      <a:pt x="12" y="28"/>
                      <a:pt x="12" y="2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8" name="Freeform 592"/>
              <p:cNvSpPr/>
              <p:nvPr/>
            </p:nvSpPr>
            <p:spPr bwMode="auto">
              <a:xfrm>
                <a:off x="3355" y="1737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4096 w 1"/>
                  <a:gd name="T5" fmla="*/ 4096 h 1"/>
                  <a:gd name="T6" fmla="*/ 0 w 1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9" name="Freeform 593"/>
              <p:cNvSpPr/>
              <p:nvPr/>
            </p:nvSpPr>
            <p:spPr bwMode="auto">
              <a:xfrm>
                <a:off x="3352" y="1735"/>
                <a:ext cx="5" cy="4"/>
              </a:xfrm>
              <a:custGeom>
                <a:avLst/>
                <a:gdLst>
                  <a:gd name="T0" fmla="*/ 126958 w 2"/>
                  <a:gd name="T1" fmla="*/ 8192 h 2"/>
                  <a:gd name="T2" fmla="*/ 0 w 2"/>
                  <a:gd name="T3" fmla="*/ 8192 h 2"/>
                  <a:gd name="T4" fmla="*/ 76488 w 2"/>
                  <a:gd name="T5" fmla="*/ 4096 h 2"/>
                  <a:gd name="T6" fmla="*/ 76488 w 2"/>
                  <a:gd name="T7" fmla="*/ 4096 h 2"/>
                  <a:gd name="T8" fmla="*/ 126958 w 2"/>
                  <a:gd name="T9" fmla="*/ 0 h 2"/>
                  <a:gd name="T10" fmla="*/ 126958 w 2"/>
                  <a:gd name="T11" fmla="*/ 8192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0" name="Freeform 594"/>
              <p:cNvSpPr/>
              <p:nvPr/>
            </p:nvSpPr>
            <p:spPr bwMode="auto">
              <a:xfrm>
                <a:off x="3376" y="1720"/>
                <a:ext cx="31" cy="26"/>
              </a:xfrm>
              <a:custGeom>
                <a:avLst/>
                <a:gdLst>
                  <a:gd name="T0" fmla="*/ 410757 w 13"/>
                  <a:gd name="T1" fmla="*/ 0 h 11"/>
                  <a:gd name="T2" fmla="*/ 296773 w 13"/>
                  <a:gd name="T3" fmla="*/ 219163 h 11"/>
                  <a:gd name="T4" fmla="*/ 296773 w 13"/>
                  <a:gd name="T5" fmla="*/ 271695 h 11"/>
                  <a:gd name="T6" fmla="*/ 196402 w 13"/>
                  <a:gd name="T7" fmla="*/ 310743 h 11"/>
                  <a:gd name="T8" fmla="*/ 102634 w 13"/>
                  <a:gd name="T9" fmla="*/ 271695 h 11"/>
                  <a:gd name="T10" fmla="*/ 72235 w 13"/>
                  <a:gd name="T11" fmla="*/ 271695 h 11"/>
                  <a:gd name="T12" fmla="*/ 72235 w 13"/>
                  <a:gd name="T13" fmla="*/ 219163 h 11"/>
                  <a:gd name="T14" fmla="*/ 30292 w 13"/>
                  <a:gd name="T15" fmla="*/ 152034 h 11"/>
                  <a:gd name="T16" fmla="*/ 102634 w 13"/>
                  <a:gd name="T17" fmla="*/ 27213 h 11"/>
                  <a:gd name="T18" fmla="*/ 266641 w 13"/>
                  <a:gd name="T19" fmla="*/ 64322 h 11"/>
                  <a:gd name="T20" fmla="*/ 410757 w 13"/>
                  <a:gd name="T21" fmla="*/ 0 h 1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3" h="11">
                    <a:moveTo>
                      <a:pt x="12" y="0"/>
                    </a:moveTo>
                    <a:cubicBezTo>
                      <a:pt x="12" y="3"/>
                      <a:pt x="13" y="7"/>
                      <a:pt x="9" y="7"/>
                    </a:cubicBezTo>
                    <a:cubicBezTo>
                      <a:pt x="8" y="7"/>
                      <a:pt x="9" y="8"/>
                      <a:pt x="9" y="9"/>
                    </a:cubicBezTo>
                    <a:cubicBezTo>
                      <a:pt x="8" y="9"/>
                      <a:pt x="7" y="9"/>
                      <a:pt x="6" y="10"/>
                    </a:cubicBezTo>
                    <a:cubicBezTo>
                      <a:pt x="6" y="11"/>
                      <a:pt x="3" y="10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ubicBezTo>
                      <a:pt x="2" y="9"/>
                      <a:pt x="2" y="8"/>
                      <a:pt x="2" y="7"/>
                    </a:cubicBezTo>
                    <a:cubicBezTo>
                      <a:pt x="2" y="6"/>
                      <a:pt x="1" y="6"/>
                      <a:pt x="1" y="5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7" y="1"/>
                      <a:pt x="8" y="2"/>
                    </a:cubicBezTo>
                    <a:cubicBezTo>
                      <a:pt x="8" y="2"/>
                      <a:pt x="12" y="1"/>
                      <a:pt x="1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1" name="Freeform 595"/>
              <p:cNvSpPr>
                <a:spLocks noEditPoints="1"/>
              </p:cNvSpPr>
              <p:nvPr/>
            </p:nvSpPr>
            <p:spPr bwMode="auto">
              <a:xfrm>
                <a:off x="3376" y="1718"/>
                <a:ext cx="31" cy="28"/>
              </a:xfrm>
              <a:custGeom>
                <a:avLst/>
                <a:gdLst>
                  <a:gd name="T0" fmla="*/ 172253 w 13"/>
                  <a:gd name="T1" fmla="*/ 311799 h 12"/>
                  <a:gd name="T2" fmla="*/ 102634 w 13"/>
                  <a:gd name="T3" fmla="*/ 290635 h 12"/>
                  <a:gd name="T4" fmla="*/ 102634 w 13"/>
                  <a:gd name="T5" fmla="*/ 290635 h 12"/>
                  <a:gd name="T6" fmla="*/ 72235 w 13"/>
                  <a:gd name="T7" fmla="*/ 290635 h 12"/>
                  <a:gd name="T8" fmla="*/ 72235 w 13"/>
                  <a:gd name="T9" fmla="*/ 258393 h 12"/>
                  <a:gd name="T10" fmla="*/ 30292 w 13"/>
                  <a:gd name="T11" fmla="*/ 210957 h 12"/>
                  <a:gd name="T12" fmla="*/ 30292 w 13"/>
                  <a:gd name="T13" fmla="*/ 176580 h 12"/>
                  <a:gd name="T14" fmla="*/ 0 w 13"/>
                  <a:gd name="T15" fmla="*/ 158172 h 12"/>
                  <a:gd name="T16" fmla="*/ 72235 w 13"/>
                  <a:gd name="T17" fmla="*/ 24544 h 12"/>
                  <a:gd name="T18" fmla="*/ 266641 w 13"/>
                  <a:gd name="T19" fmla="*/ 57269 h 12"/>
                  <a:gd name="T20" fmla="*/ 410757 w 13"/>
                  <a:gd name="T21" fmla="*/ 24544 h 12"/>
                  <a:gd name="T22" fmla="*/ 439275 w 13"/>
                  <a:gd name="T23" fmla="*/ 0 h 12"/>
                  <a:gd name="T24" fmla="*/ 439275 w 13"/>
                  <a:gd name="T25" fmla="*/ 24544 h 12"/>
                  <a:gd name="T26" fmla="*/ 439275 w 13"/>
                  <a:gd name="T27" fmla="*/ 57269 h 12"/>
                  <a:gd name="T28" fmla="*/ 296773 w 13"/>
                  <a:gd name="T29" fmla="*/ 233849 h 12"/>
                  <a:gd name="T30" fmla="*/ 296773 w 13"/>
                  <a:gd name="T31" fmla="*/ 258393 h 12"/>
                  <a:gd name="T32" fmla="*/ 266641 w 13"/>
                  <a:gd name="T33" fmla="*/ 258393 h 12"/>
                  <a:gd name="T34" fmla="*/ 244743 w 13"/>
                  <a:gd name="T35" fmla="*/ 290635 h 12"/>
                  <a:gd name="T36" fmla="*/ 172253 w 13"/>
                  <a:gd name="T37" fmla="*/ 311799 h 12"/>
                  <a:gd name="T38" fmla="*/ 142109 w 13"/>
                  <a:gd name="T39" fmla="*/ 233849 h 12"/>
                  <a:gd name="T40" fmla="*/ 142109 w 13"/>
                  <a:gd name="T41" fmla="*/ 258393 h 12"/>
                  <a:gd name="T42" fmla="*/ 142109 w 13"/>
                  <a:gd name="T43" fmla="*/ 258393 h 12"/>
                  <a:gd name="T44" fmla="*/ 196402 w 13"/>
                  <a:gd name="T45" fmla="*/ 258393 h 12"/>
                  <a:gd name="T46" fmla="*/ 266641 w 13"/>
                  <a:gd name="T47" fmla="*/ 233849 h 12"/>
                  <a:gd name="T48" fmla="*/ 266641 w 13"/>
                  <a:gd name="T49" fmla="*/ 233849 h 12"/>
                  <a:gd name="T50" fmla="*/ 266641 w 13"/>
                  <a:gd name="T51" fmla="*/ 233849 h 12"/>
                  <a:gd name="T52" fmla="*/ 266641 w 13"/>
                  <a:gd name="T53" fmla="*/ 210957 h 12"/>
                  <a:gd name="T54" fmla="*/ 296773 w 13"/>
                  <a:gd name="T55" fmla="*/ 210957 h 12"/>
                  <a:gd name="T56" fmla="*/ 410757 w 13"/>
                  <a:gd name="T57" fmla="*/ 57269 h 12"/>
                  <a:gd name="T58" fmla="*/ 410757 w 13"/>
                  <a:gd name="T59" fmla="*/ 57269 h 12"/>
                  <a:gd name="T60" fmla="*/ 266641 w 13"/>
                  <a:gd name="T61" fmla="*/ 75677 h 12"/>
                  <a:gd name="T62" fmla="*/ 266641 w 13"/>
                  <a:gd name="T63" fmla="*/ 75677 h 12"/>
                  <a:gd name="T64" fmla="*/ 266641 w 13"/>
                  <a:gd name="T65" fmla="*/ 75677 h 12"/>
                  <a:gd name="T66" fmla="*/ 142109 w 13"/>
                  <a:gd name="T67" fmla="*/ 57269 h 12"/>
                  <a:gd name="T68" fmla="*/ 102634 w 13"/>
                  <a:gd name="T69" fmla="*/ 57269 h 12"/>
                  <a:gd name="T70" fmla="*/ 30292 w 13"/>
                  <a:gd name="T71" fmla="*/ 158172 h 12"/>
                  <a:gd name="T72" fmla="*/ 72235 w 13"/>
                  <a:gd name="T73" fmla="*/ 176580 h 12"/>
                  <a:gd name="T74" fmla="*/ 72235 w 13"/>
                  <a:gd name="T75" fmla="*/ 210957 h 12"/>
                  <a:gd name="T76" fmla="*/ 102634 w 13"/>
                  <a:gd name="T77" fmla="*/ 233849 h 12"/>
                  <a:gd name="T78" fmla="*/ 142109 w 13"/>
                  <a:gd name="T79" fmla="*/ 233849 h 1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3" h="12">
                    <a:moveTo>
                      <a:pt x="5" y="12"/>
                    </a:moveTo>
                    <a:cubicBezTo>
                      <a:pt x="4" y="12"/>
                      <a:pt x="4" y="12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9"/>
                      <a:pt x="1" y="8"/>
                    </a:cubicBezTo>
                    <a:cubicBezTo>
                      <a:pt x="1" y="8"/>
                      <a:pt x="1" y="8"/>
                      <a:pt x="1" y="7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1"/>
                      <a:pt x="7" y="1"/>
                      <a:pt x="8" y="2"/>
                    </a:cubicBezTo>
                    <a:cubicBezTo>
                      <a:pt x="9" y="2"/>
                      <a:pt x="11" y="1"/>
                      <a:pt x="12" y="1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5"/>
                      <a:pt x="13" y="8"/>
                      <a:pt x="9" y="9"/>
                    </a:cubicBezTo>
                    <a:cubicBezTo>
                      <a:pt x="10" y="9"/>
                      <a:pt x="9" y="10"/>
                      <a:pt x="9" y="10"/>
                    </a:cubicBezTo>
                    <a:cubicBezTo>
                      <a:pt x="9" y="10"/>
                      <a:pt x="8" y="10"/>
                      <a:pt x="8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2"/>
                      <a:pt x="5" y="12"/>
                    </a:cubicBezTo>
                    <a:close/>
                    <a:moveTo>
                      <a:pt x="4" y="9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11"/>
                      <a:pt x="6" y="11"/>
                      <a:pt x="6" y="10"/>
                    </a:cubicBezTo>
                    <a:cubicBezTo>
                      <a:pt x="6" y="10"/>
                      <a:pt x="7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8"/>
                    </a:cubicBezTo>
                    <a:cubicBezTo>
                      <a:pt x="8" y="8"/>
                      <a:pt x="9" y="8"/>
                      <a:pt x="9" y="8"/>
                    </a:cubicBezTo>
                    <a:cubicBezTo>
                      <a:pt x="12" y="7"/>
                      <a:pt x="12" y="5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0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3"/>
                      <a:pt x="5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1" y="6"/>
                      <a:pt x="1" y="6"/>
                      <a:pt x="2" y="7"/>
                    </a:cubicBezTo>
                    <a:cubicBezTo>
                      <a:pt x="2" y="7"/>
                      <a:pt x="2" y="7"/>
                      <a:pt x="2" y="8"/>
                    </a:cubicBezTo>
                    <a:cubicBezTo>
                      <a:pt x="2" y="8"/>
                      <a:pt x="2" y="9"/>
                      <a:pt x="3" y="9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2" name="Freeform 596"/>
              <p:cNvSpPr/>
              <p:nvPr/>
            </p:nvSpPr>
            <p:spPr bwMode="auto">
              <a:xfrm>
                <a:off x="3220" y="1456"/>
                <a:ext cx="336" cy="234"/>
              </a:xfrm>
              <a:custGeom>
                <a:avLst/>
                <a:gdLst>
                  <a:gd name="T0" fmla="*/ 220965 w 142"/>
                  <a:gd name="T1" fmla="*/ 1312378 h 99"/>
                  <a:gd name="T2" fmla="*/ 455945 w 142"/>
                  <a:gd name="T3" fmla="*/ 913701 h 99"/>
                  <a:gd name="T4" fmla="*/ 648636 w 142"/>
                  <a:gd name="T5" fmla="*/ 734483 h 99"/>
                  <a:gd name="T6" fmla="*/ 858052 w 142"/>
                  <a:gd name="T7" fmla="*/ 602959 h 99"/>
                  <a:gd name="T8" fmla="*/ 1106481 w 142"/>
                  <a:gd name="T9" fmla="*/ 602959 h 99"/>
                  <a:gd name="T10" fmla="*/ 1381644 w 142"/>
                  <a:gd name="T11" fmla="*/ 913701 h 99"/>
                  <a:gd name="T12" fmla="*/ 1913257 w 142"/>
                  <a:gd name="T13" fmla="*/ 1121444 h 99"/>
                  <a:gd name="T14" fmla="*/ 2431883 w 142"/>
                  <a:gd name="T15" fmla="*/ 1158177 h 99"/>
                  <a:gd name="T16" fmla="*/ 2745477 w 142"/>
                  <a:gd name="T17" fmla="*/ 913701 h 99"/>
                  <a:gd name="T18" fmla="*/ 2992130 w 142"/>
                  <a:gd name="T19" fmla="*/ 849380 h 99"/>
                  <a:gd name="T20" fmla="*/ 3201529 w 142"/>
                  <a:gd name="T21" fmla="*/ 642188 h 99"/>
                  <a:gd name="T22" fmla="*/ 3020903 w 142"/>
                  <a:gd name="T23" fmla="*/ 423762 h 99"/>
                  <a:gd name="T24" fmla="*/ 3334379 w 142"/>
                  <a:gd name="T25" fmla="*/ 219163 h 99"/>
                  <a:gd name="T26" fmla="*/ 3543738 w 142"/>
                  <a:gd name="T27" fmla="*/ 0 h 99"/>
                  <a:gd name="T28" fmla="*/ 3813683 w 142"/>
                  <a:gd name="T29" fmla="*/ 310743 h 99"/>
                  <a:gd name="T30" fmla="*/ 4152953 w 142"/>
                  <a:gd name="T31" fmla="*/ 642188 h 99"/>
                  <a:gd name="T32" fmla="*/ 4309162 w 142"/>
                  <a:gd name="T33" fmla="*/ 734483 h 99"/>
                  <a:gd name="T34" fmla="*/ 4099763 w 142"/>
                  <a:gd name="T35" fmla="*/ 978909 h 99"/>
                  <a:gd name="T36" fmla="*/ 3878441 w 142"/>
                  <a:gd name="T37" fmla="*/ 1224416 h 99"/>
                  <a:gd name="T38" fmla="*/ 3604284 w 142"/>
                  <a:gd name="T39" fmla="*/ 1404577 h 99"/>
                  <a:gd name="T40" fmla="*/ 3383307 w 142"/>
                  <a:gd name="T41" fmla="*/ 1425176 h 99"/>
                  <a:gd name="T42" fmla="*/ 3269242 w 142"/>
                  <a:gd name="T43" fmla="*/ 1425176 h 99"/>
                  <a:gd name="T44" fmla="*/ 3269242 w 142"/>
                  <a:gd name="T45" fmla="*/ 1648183 h 99"/>
                  <a:gd name="T46" fmla="*/ 3475662 w 142"/>
                  <a:gd name="T47" fmla="*/ 1671715 h 99"/>
                  <a:gd name="T48" fmla="*/ 3450237 w 142"/>
                  <a:gd name="T49" fmla="*/ 2095477 h 99"/>
                  <a:gd name="T50" fmla="*/ 3334379 w 142"/>
                  <a:gd name="T51" fmla="*/ 2254165 h 99"/>
                  <a:gd name="T52" fmla="*/ 3422494 w 142"/>
                  <a:gd name="T53" fmla="*/ 2274740 h 99"/>
                  <a:gd name="T54" fmla="*/ 3294918 w 142"/>
                  <a:gd name="T55" fmla="*/ 2519149 h 99"/>
                  <a:gd name="T56" fmla="*/ 3136761 w 142"/>
                  <a:gd name="T57" fmla="*/ 2737509 h 99"/>
                  <a:gd name="T58" fmla="*/ 2888053 w 142"/>
                  <a:gd name="T59" fmla="*/ 2829909 h 99"/>
                  <a:gd name="T60" fmla="*/ 2888053 w 142"/>
                  <a:gd name="T61" fmla="*/ 2829909 h 99"/>
                  <a:gd name="T62" fmla="*/ 2799557 w 142"/>
                  <a:gd name="T63" fmla="*/ 2829909 h 99"/>
                  <a:gd name="T64" fmla="*/ 2459783 w 142"/>
                  <a:gd name="T65" fmla="*/ 2921828 h 99"/>
                  <a:gd name="T66" fmla="*/ 2190223 w 142"/>
                  <a:gd name="T67" fmla="*/ 2829909 h 99"/>
                  <a:gd name="T68" fmla="*/ 2030320 w 142"/>
                  <a:gd name="T69" fmla="*/ 2857492 h 99"/>
                  <a:gd name="T70" fmla="*/ 1913257 w 142"/>
                  <a:gd name="T71" fmla="*/ 2894074 h 99"/>
                  <a:gd name="T72" fmla="*/ 1695248 w 142"/>
                  <a:gd name="T73" fmla="*/ 2737509 h 99"/>
                  <a:gd name="T74" fmla="*/ 1601731 w 142"/>
                  <a:gd name="T75" fmla="*/ 2339062 h 99"/>
                  <a:gd name="T76" fmla="*/ 1288255 w 142"/>
                  <a:gd name="T77" fmla="*/ 2433449 h 99"/>
                  <a:gd name="T78" fmla="*/ 858052 w 142"/>
                  <a:gd name="T79" fmla="*/ 2406196 h 99"/>
                  <a:gd name="T80" fmla="*/ 560247 w 142"/>
                  <a:gd name="T81" fmla="*/ 2226950 h 99"/>
                  <a:gd name="T82" fmla="*/ 362629 w 142"/>
                  <a:gd name="T83" fmla="*/ 2159657 h 99"/>
                  <a:gd name="T84" fmla="*/ 401934 w 142"/>
                  <a:gd name="T85" fmla="*/ 1916209 h 99"/>
                  <a:gd name="T86" fmla="*/ 220965 w 142"/>
                  <a:gd name="T87" fmla="*/ 1764504 h 99"/>
                  <a:gd name="T88" fmla="*/ 64768 w 142"/>
                  <a:gd name="T89" fmla="*/ 1648183 h 99"/>
                  <a:gd name="T90" fmla="*/ 0 w 142"/>
                  <a:gd name="T91" fmla="*/ 1425176 h 9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42" h="99">
                    <a:moveTo>
                      <a:pt x="0" y="47"/>
                    </a:moveTo>
                    <a:cubicBezTo>
                      <a:pt x="0" y="45"/>
                      <a:pt x="4" y="44"/>
                      <a:pt x="5" y="44"/>
                    </a:cubicBezTo>
                    <a:cubicBezTo>
                      <a:pt x="7" y="45"/>
                      <a:pt x="6" y="44"/>
                      <a:pt x="7" y="43"/>
                    </a:cubicBezTo>
                    <a:cubicBezTo>
                      <a:pt x="8" y="43"/>
                      <a:pt x="10" y="43"/>
                      <a:pt x="11" y="42"/>
                    </a:cubicBezTo>
                    <a:cubicBezTo>
                      <a:pt x="12" y="40"/>
                      <a:pt x="15" y="41"/>
                      <a:pt x="16" y="38"/>
                    </a:cubicBezTo>
                    <a:cubicBezTo>
                      <a:pt x="16" y="36"/>
                      <a:pt x="16" y="32"/>
                      <a:pt x="15" y="30"/>
                    </a:cubicBezTo>
                    <a:cubicBezTo>
                      <a:pt x="16" y="30"/>
                      <a:pt x="17" y="30"/>
                      <a:pt x="18" y="30"/>
                    </a:cubicBezTo>
                    <a:cubicBezTo>
                      <a:pt x="20" y="29"/>
                      <a:pt x="20" y="29"/>
                      <a:pt x="20" y="27"/>
                    </a:cubicBezTo>
                    <a:cubicBezTo>
                      <a:pt x="20" y="26"/>
                      <a:pt x="21" y="25"/>
                      <a:pt x="21" y="24"/>
                    </a:cubicBezTo>
                    <a:cubicBezTo>
                      <a:pt x="22" y="22"/>
                      <a:pt x="22" y="23"/>
                      <a:pt x="24" y="23"/>
                    </a:cubicBezTo>
                    <a:cubicBezTo>
                      <a:pt x="26" y="23"/>
                      <a:pt x="26" y="24"/>
                      <a:pt x="27" y="23"/>
                    </a:cubicBezTo>
                    <a:cubicBezTo>
                      <a:pt x="28" y="23"/>
                      <a:pt x="27" y="21"/>
                      <a:pt x="28" y="20"/>
                    </a:cubicBezTo>
                    <a:cubicBezTo>
                      <a:pt x="28" y="18"/>
                      <a:pt x="29" y="19"/>
                      <a:pt x="30" y="18"/>
                    </a:cubicBezTo>
                    <a:cubicBezTo>
                      <a:pt x="31" y="16"/>
                      <a:pt x="31" y="18"/>
                      <a:pt x="33" y="17"/>
                    </a:cubicBezTo>
                    <a:cubicBezTo>
                      <a:pt x="33" y="18"/>
                      <a:pt x="34" y="20"/>
                      <a:pt x="36" y="20"/>
                    </a:cubicBezTo>
                    <a:cubicBezTo>
                      <a:pt x="39" y="21"/>
                      <a:pt x="38" y="22"/>
                      <a:pt x="39" y="25"/>
                    </a:cubicBezTo>
                    <a:cubicBezTo>
                      <a:pt x="40" y="25"/>
                      <a:pt x="39" y="29"/>
                      <a:pt x="39" y="29"/>
                    </a:cubicBezTo>
                    <a:cubicBezTo>
                      <a:pt x="41" y="30"/>
                      <a:pt x="44" y="30"/>
                      <a:pt x="45" y="30"/>
                    </a:cubicBezTo>
                    <a:cubicBezTo>
                      <a:pt x="47" y="31"/>
                      <a:pt x="49" y="31"/>
                      <a:pt x="50" y="33"/>
                    </a:cubicBezTo>
                    <a:cubicBezTo>
                      <a:pt x="51" y="34"/>
                      <a:pt x="53" y="37"/>
                      <a:pt x="54" y="37"/>
                    </a:cubicBezTo>
                    <a:cubicBezTo>
                      <a:pt x="57" y="37"/>
                      <a:pt x="59" y="37"/>
                      <a:pt x="62" y="37"/>
                    </a:cubicBezTo>
                    <a:cubicBezTo>
                      <a:pt x="64" y="37"/>
                      <a:pt x="65" y="39"/>
                      <a:pt x="67" y="39"/>
                    </a:cubicBezTo>
                    <a:cubicBezTo>
                      <a:pt x="68" y="39"/>
                      <a:pt x="71" y="41"/>
                      <a:pt x="72" y="41"/>
                    </a:cubicBezTo>
                    <a:cubicBezTo>
                      <a:pt x="74" y="40"/>
                      <a:pt x="77" y="39"/>
                      <a:pt x="79" y="38"/>
                    </a:cubicBezTo>
                    <a:cubicBezTo>
                      <a:pt x="81" y="38"/>
                      <a:pt x="82" y="39"/>
                      <a:pt x="84" y="38"/>
                    </a:cubicBezTo>
                    <a:cubicBezTo>
                      <a:pt x="85" y="37"/>
                      <a:pt x="89" y="34"/>
                      <a:pt x="88" y="34"/>
                    </a:cubicBezTo>
                    <a:cubicBezTo>
                      <a:pt x="88" y="32"/>
                      <a:pt x="87" y="30"/>
                      <a:pt x="89" y="30"/>
                    </a:cubicBezTo>
                    <a:cubicBezTo>
                      <a:pt x="90" y="30"/>
                      <a:pt x="91" y="31"/>
                      <a:pt x="92" y="31"/>
                    </a:cubicBezTo>
                    <a:cubicBezTo>
                      <a:pt x="93" y="31"/>
                      <a:pt x="94" y="29"/>
                      <a:pt x="95" y="28"/>
                    </a:cubicBezTo>
                    <a:cubicBezTo>
                      <a:pt x="96" y="28"/>
                      <a:pt x="96" y="28"/>
                      <a:pt x="97" y="28"/>
                    </a:cubicBezTo>
                    <a:cubicBezTo>
                      <a:pt x="98" y="27"/>
                      <a:pt x="99" y="26"/>
                      <a:pt x="100" y="25"/>
                    </a:cubicBezTo>
                    <a:cubicBezTo>
                      <a:pt x="101" y="24"/>
                      <a:pt x="105" y="24"/>
                      <a:pt x="106" y="24"/>
                    </a:cubicBezTo>
                    <a:cubicBezTo>
                      <a:pt x="105" y="23"/>
                      <a:pt x="105" y="22"/>
                      <a:pt x="104" y="21"/>
                    </a:cubicBezTo>
                    <a:cubicBezTo>
                      <a:pt x="102" y="19"/>
                      <a:pt x="102" y="22"/>
                      <a:pt x="100" y="21"/>
                    </a:cubicBezTo>
                    <a:cubicBezTo>
                      <a:pt x="98" y="21"/>
                      <a:pt x="97" y="21"/>
                      <a:pt x="97" y="19"/>
                    </a:cubicBezTo>
                    <a:cubicBezTo>
                      <a:pt x="97" y="17"/>
                      <a:pt x="97" y="16"/>
                      <a:pt x="98" y="14"/>
                    </a:cubicBezTo>
                    <a:cubicBezTo>
                      <a:pt x="99" y="12"/>
                      <a:pt x="101" y="15"/>
                      <a:pt x="102" y="14"/>
                    </a:cubicBezTo>
                    <a:cubicBezTo>
                      <a:pt x="104" y="14"/>
                      <a:pt x="105" y="13"/>
                      <a:pt x="106" y="11"/>
                    </a:cubicBezTo>
                    <a:cubicBezTo>
                      <a:pt x="106" y="10"/>
                      <a:pt x="106" y="8"/>
                      <a:pt x="108" y="7"/>
                    </a:cubicBezTo>
                    <a:cubicBezTo>
                      <a:pt x="109" y="6"/>
                      <a:pt x="110" y="3"/>
                      <a:pt x="107" y="4"/>
                    </a:cubicBezTo>
                    <a:cubicBezTo>
                      <a:pt x="108" y="2"/>
                      <a:pt x="109" y="1"/>
                      <a:pt x="111" y="1"/>
                    </a:cubicBezTo>
                    <a:cubicBezTo>
                      <a:pt x="112" y="1"/>
                      <a:pt x="114" y="0"/>
                      <a:pt x="115" y="0"/>
                    </a:cubicBezTo>
                    <a:cubicBezTo>
                      <a:pt x="116" y="0"/>
                      <a:pt x="117" y="1"/>
                      <a:pt x="117" y="1"/>
                    </a:cubicBezTo>
                    <a:cubicBezTo>
                      <a:pt x="119" y="2"/>
                      <a:pt x="122" y="2"/>
                      <a:pt x="122" y="5"/>
                    </a:cubicBezTo>
                    <a:cubicBezTo>
                      <a:pt x="122" y="7"/>
                      <a:pt x="124" y="9"/>
                      <a:pt x="124" y="10"/>
                    </a:cubicBezTo>
                    <a:cubicBezTo>
                      <a:pt x="125" y="14"/>
                      <a:pt x="124" y="14"/>
                      <a:pt x="128" y="15"/>
                    </a:cubicBezTo>
                    <a:cubicBezTo>
                      <a:pt x="130" y="15"/>
                      <a:pt x="131" y="16"/>
                      <a:pt x="132" y="18"/>
                    </a:cubicBezTo>
                    <a:cubicBezTo>
                      <a:pt x="133" y="20"/>
                      <a:pt x="133" y="22"/>
                      <a:pt x="135" y="21"/>
                    </a:cubicBezTo>
                    <a:cubicBezTo>
                      <a:pt x="137" y="20"/>
                      <a:pt x="139" y="19"/>
                      <a:pt x="142" y="18"/>
                    </a:cubicBezTo>
                    <a:cubicBezTo>
                      <a:pt x="141" y="19"/>
                      <a:pt x="142" y="20"/>
                      <a:pt x="141" y="21"/>
                    </a:cubicBezTo>
                    <a:cubicBezTo>
                      <a:pt x="141" y="22"/>
                      <a:pt x="140" y="23"/>
                      <a:pt x="140" y="24"/>
                    </a:cubicBezTo>
                    <a:cubicBezTo>
                      <a:pt x="140" y="25"/>
                      <a:pt x="139" y="30"/>
                      <a:pt x="137" y="30"/>
                    </a:cubicBezTo>
                    <a:cubicBezTo>
                      <a:pt x="136" y="30"/>
                      <a:pt x="135" y="29"/>
                      <a:pt x="135" y="29"/>
                    </a:cubicBezTo>
                    <a:cubicBezTo>
                      <a:pt x="133" y="31"/>
                      <a:pt x="133" y="31"/>
                      <a:pt x="133" y="32"/>
                    </a:cubicBezTo>
                    <a:cubicBezTo>
                      <a:pt x="134" y="35"/>
                      <a:pt x="132" y="36"/>
                      <a:pt x="132" y="38"/>
                    </a:cubicBezTo>
                    <a:cubicBezTo>
                      <a:pt x="132" y="37"/>
                      <a:pt x="131" y="37"/>
                      <a:pt x="131" y="37"/>
                    </a:cubicBezTo>
                    <a:cubicBezTo>
                      <a:pt x="130" y="38"/>
                      <a:pt x="129" y="40"/>
                      <a:pt x="126" y="40"/>
                    </a:cubicBezTo>
                    <a:cubicBezTo>
                      <a:pt x="128" y="43"/>
                      <a:pt x="124" y="41"/>
                      <a:pt x="123" y="41"/>
                    </a:cubicBezTo>
                    <a:cubicBezTo>
                      <a:pt x="122" y="43"/>
                      <a:pt x="120" y="43"/>
                      <a:pt x="119" y="44"/>
                    </a:cubicBezTo>
                    <a:cubicBezTo>
                      <a:pt x="118" y="45"/>
                      <a:pt x="118" y="46"/>
                      <a:pt x="117" y="46"/>
                    </a:cubicBezTo>
                    <a:cubicBezTo>
                      <a:pt x="116" y="46"/>
                      <a:pt x="115" y="46"/>
                      <a:pt x="115" y="47"/>
                    </a:cubicBezTo>
                    <a:cubicBezTo>
                      <a:pt x="113" y="48"/>
                      <a:pt x="111" y="49"/>
                      <a:pt x="110" y="49"/>
                    </a:cubicBezTo>
                    <a:cubicBezTo>
                      <a:pt x="111" y="49"/>
                      <a:pt x="112" y="48"/>
                      <a:pt x="110" y="47"/>
                    </a:cubicBezTo>
                    <a:cubicBezTo>
                      <a:pt x="111" y="47"/>
                      <a:pt x="113" y="45"/>
                      <a:pt x="112" y="44"/>
                    </a:cubicBezTo>
                    <a:cubicBezTo>
                      <a:pt x="112" y="42"/>
                      <a:pt x="111" y="42"/>
                      <a:pt x="109" y="44"/>
                    </a:cubicBezTo>
                    <a:cubicBezTo>
                      <a:pt x="108" y="45"/>
                      <a:pt x="107" y="46"/>
                      <a:pt x="106" y="47"/>
                    </a:cubicBezTo>
                    <a:cubicBezTo>
                      <a:pt x="105" y="48"/>
                      <a:pt x="103" y="48"/>
                      <a:pt x="102" y="49"/>
                    </a:cubicBezTo>
                    <a:cubicBezTo>
                      <a:pt x="102" y="50"/>
                      <a:pt x="102" y="51"/>
                      <a:pt x="103" y="52"/>
                    </a:cubicBezTo>
                    <a:cubicBezTo>
                      <a:pt x="104" y="52"/>
                      <a:pt x="105" y="54"/>
                      <a:pt x="106" y="54"/>
                    </a:cubicBezTo>
                    <a:cubicBezTo>
                      <a:pt x="107" y="55"/>
                      <a:pt x="109" y="52"/>
                      <a:pt x="110" y="53"/>
                    </a:cubicBezTo>
                    <a:cubicBezTo>
                      <a:pt x="111" y="53"/>
                      <a:pt x="112" y="54"/>
                      <a:pt x="113" y="54"/>
                    </a:cubicBezTo>
                    <a:cubicBezTo>
                      <a:pt x="113" y="54"/>
                      <a:pt x="113" y="55"/>
                      <a:pt x="113" y="55"/>
                    </a:cubicBezTo>
                    <a:cubicBezTo>
                      <a:pt x="111" y="53"/>
                      <a:pt x="109" y="58"/>
                      <a:pt x="108" y="57"/>
                    </a:cubicBezTo>
                    <a:cubicBezTo>
                      <a:pt x="108" y="58"/>
                      <a:pt x="106" y="60"/>
                      <a:pt x="105" y="61"/>
                    </a:cubicBezTo>
                    <a:cubicBezTo>
                      <a:pt x="109" y="63"/>
                      <a:pt x="109" y="66"/>
                      <a:pt x="112" y="69"/>
                    </a:cubicBezTo>
                    <a:cubicBezTo>
                      <a:pt x="110" y="69"/>
                      <a:pt x="109" y="68"/>
                      <a:pt x="108" y="69"/>
                    </a:cubicBezTo>
                    <a:cubicBezTo>
                      <a:pt x="109" y="69"/>
                      <a:pt x="111" y="70"/>
                      <a:pt x="112" y="71"/>
                    </a:cubicBezTo>
                    <a:cubicBezTo>
                      <a:pt x="110" y="72"/>
                      <a:pt x="109" y="73"/>
                      <a:pt x="108" y="74"/>
                    </a:cubicBezTo>
                    <a:cubicBezTo>
                      <a:pt x="109" y="73"/>
                      <a:pt x="110" y="73"/>
                      <a:pt x="112" y="74"/>
                    </a:cubicBezTo>
                    <a:cubicBezTo>
                      <a:pt x="111" y="75"/>
                      <a:pt x="111" y="75"/>
                      <a:pt x="111" y="75"/>
                    </a:cubicBezTo>
                    <a:cubicBezTo>
                      <a:pt x="111" y="75"/>
                      <a:pt x="111" y="75"/>
                      <a:pt x="111" y="75"/>
                    </a:cubicBezTo>
                    <a:cubicBezTo>
                      <a:pt x="111" y="76"/>
                      <a:pt x="112" y="76"/>
                      <a:pt x="111" y="76"/>
                    </a:cubicBezTo>
                    <a:cubicBezTo>
                      <a:pt x="111" y="77"/>
                      <a:pt x="111" y="78"/>
                      <a:pt x="110" y="79"/>
                    </a:cubicBezTo>
                    <a:cubicBezTo>
                      <a:pt x="109" y="79"/>
                      <a:pt x="108" y="82"/>
                      <a:pt x="107" y="83"/>
                    </a:cubicBezTo>
                    <a:cubicBezTo>
                      <a:pt x="107" y="83"/>
                      <a:pt x="107" y="83"/>
                      <a:pt x="107" y="82"/>
                    </a:cubicBezTo>
                    <a:cubicBezTo>
                      <a:pt x="106" y="83"/>
                      <a:pt x="106" y="84"/>
                      <a:pt x="106" y="86"/>
                    </a:cubicBezTo>
                    <a:cubicBezTo>
                      <a:pt x="105" y="86"/>
                      <a:pt x="102" y="90"/>
                      <a:pt x="102" y="90"/>
                    </a:cubicBezTo>
                    <a:cubicBezTo>
                      <a:pt x="100" y="92"/>
                      <a:pt x="97" y="92"/>
                      <a:pt x="95" y="93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95" y="93"/>
                      <a:pt x="95" y="93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4" y="94"/>
                      <a:pt x="93" y="93"/>
                      <a:pt x="92" y="92"/>
                    </a:cubicBezTo>
                    <a:cubicBezTo>
                      <a:pt x="92" y="93"/>
                      <a:pt x="92" y="93"/>
                      <a:pt x="92" y="94"/>
                    </a:cubicBezTo>
                    <a:cubicBezTo>
                      <a:pt x="92" y="93"/>
                      <a:pt x="91" y="93"/>
                      <a:pt x="91" y="93"/>
                    </a:cubicBezTo>
                    <a:cubicBezTo>
                      <a:pt x="92" y="96"/>
                      <a:pt x="82" y="95"/>
                      <a:pt x="85" y="98"/>
                    </a:cubicBezTo>
                    <a:cubicBezTo>
                      <a:pt x="84" y="99"/>
                      <a:pt x="83" y="97"/>
                      <a:pt x="83" y="95"/>
                    </a:cubicBezTo>
                    <a:cubicBezTo>
                      <a:pt x="82" y="97"/>
                      <a:pt x="81" y="94"/>
                      <a:pt x="80" y="96"/>
                    </a:cubicBezTo>
                    <a:cubicBezTo>
                      <a:pt x="80" y="96"/>
                      <a:pt x="80" y="96"/>
                      <a:pt x="80" y="95"/>
                    </a:cubicBezTo>
                    <a:cubicBezTo>
                      <a:pt x="78" y="97"/>
                      <a:pt x="77" y="94"/>
                      <a:pt x="76" y="93"/>
                    </a:cubicBezTo>
                    <a:cubicBezTo>
                      <a:pt x="75" y="91"/>
                      <a:pt x="72" y="92"/>
                      <a:pt x="71" y="93"/>
                    </a:cubicBezTo>
                    <a:cubicBezTo>
                      <a:pt x="70" y="93"/>
                      <a:pt x="69" y="92"/>
                      <a:pt x="68" y="93"/>
                    </a:cubicBezTo>
                    <a:cubicBezTo>
                      <a:pt x="68" y="93"/>
                      <a:pt x="68" y="93"/>
                      <a:pt x="67" y="93"/>
                    </a:cubicBezTo>
                    <a:cubicBezTo>
                      <a:pt x="66" y="92"/>
                      <a:pt x="67" y="93"/>
                      <a:pt x="66" y="94"/>
                    </a:cubicBezTo>
                    <a:cubicBezTo>
                      <a:pt x="66" y="94"/>
                      <a:pt x="65" y="93"/>
                      <a:pt x="65" y="94"/>
                    </a:cubicBezTo>
                    <a:cubicBezTo>
                      <a:pt x="65" y="95"/>
                      <a:pt x="65" y="96"/>
                      <a:pt x="64" y="96"/>
                    </a:cubicBezTo>
                    <a:cubicBezTo>
                      <a:pt x="64" y="94"/>
                      <a:pt x="63" y="96"/>
                      <a:pt x="62" y="95"/>
                    </a:cubicBezTo>
                    <a:cubicBezTo>
                      <a:pt x="61" y="95"/>
                      <a:pt x="59" y="94"/>
                      <a:pt x="60" y="93"/>
                    </a:cubicBezTo>
                    <a:cubicBezTo>
                      <a:pt x="60" y="91"/>
                      <a:pt x="59" y="92"/>
                      <a:pt x="58" y="90"/>
                    </a:cubicBezTo>
                    <a:cubicBezTo>
                      <a:pt x="58" y="88"/>
                      <a:pt x="57" y="89"/>
                      <a:pt x="55" y="90"/>
                    </a:cubicBezTo>
                    <a:cubicBezTo>
                      <a:pt x="56" y="89"/>
                      <a:pt x="60" y="80"/>
                      <a:pt x="57" y="80"/>
                    </a:cubicBezTo>
                    <a:cubicBezTo>
                      <a:pt x="58" y="80"/>
                      <a:pt x="54" y="78"/>
                      <a:pt x="54" y="79"/>
                    </a:cubicBezTo>
                    <a:cubicBezTo>
                      <a:pt x="54" y="78"/>
                      <a:pt x="52" y="78"/>
                      <a:pt x="52" y="77"/>
                    </a:cubicBezTo>
                    <a:cubicBezTo>
                      <a:pt x="53" y="77"/>
                      <a:pt x="52" y="76"/>
                      <a:pt x="52" y="75"/>
                    </a:cubicBezTo>
                    <a:cubicBezTo>
                      <a:pt x="50" y="76"/>
                      <a:pt x="49" y="76"/>
                      <a:pt x="47" y="77"/>
                    </a:cubicBezTo>
                    <a:cubicBezTo>
                      <a:pt x="45" y="78"/>
                      <a:pt x="44" y="79"/>
                      <a:pt x="42" y="80"/>
                    </a:cubicBezTo>
                    <a:cubicBezTo>
                      <a:pt x="41" y="80"/>
                      <a:pt x="38" y="78"/>
                      <a:pt x="37" y="79"/>
                    </a:cubicBezTo>
                    <a:cubicBezTo>
                      <a:pt x="37" y="80"/>
                      <a:pt x="34" y="83"/>
                      <a:pt x="35" y="79"/>
                    </a:cubicBezTo>
                    <a:cubicBezTo>
                      <a:pt x="33" y="80"/>
                      <a:pt x="29" y="80"/>
                      <a:pt x="28" y="79"/>
                    </a:cubicBezTo>
                    <a:cubicBezTo>
                      <a:pt x="27" y="78"/>
                      <a:pt x="24" y="78"/>
                      <a:pt x="24" y="76"/>
                    </a:cubicBezTo>
                    <a:cubicBezTo>
                      <a:pt x="23" y="77"/>
                      <a:pt x="23" y="76"/>
                      <a:pt x="22" y="75"/>
                    </a:cubicBezTo>
                    <a:cubicBezTo>
                      <a:pt x="20" y="74"/>
                      <a:pt x="20" y="74"/>
                      <a:pt x="18" y="73"/>
                    </a:cubicBezTo>
                    <a:cubicBezTo>
                      <a:pt x="18" y="73"/>
                      <a:pt x="18" y="74"/>
                      <a:pt x="18" y="74"/>
                    </a:cubicBezTo>
                    <a:cubicBezTo>
                      <a:pt x="17" y="73"/>
                      <a:pt x="16" y="73"/>
                      <a:pt x="16" y="73"/>
                    </a:cubicBezTo>
                    <a:cubicBezTo>
                      <a:pt x="15" y="72"/>
                      <a:pt x="12" y="71"/>
                      <a:pt x="12" y="71"/>
                    </a:cubicBezTo>
                    <a:cubicBezTo>
                      <a:pt x="12" y="71"/>
                      <a:pt x="11" y="67"/>
                      <a:pt x="12" y="67"/>
                    </a:cubicBezTo>
                    <a:cubicBezTo>
                      <a:pt x="12" y="67"/>
                      <a:pt x="12" y="67"/>
                      <a:pt x="12" y="68"/>
                    </a:cubicBezTo>
                    <a:cubicBezTo>
                      <a:pt x="15" y="67"/>
                      <a:pt x="11" y="63"/>
                      <a:pt x="13" y="63"/>
                    </a:cubicBezTo>
                    <a:cubicBezTo>
                      <a:pt x="14" y="63"/>
                      <a:pt x="15" y="60"/>
                      <a:pt x="15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4" y="55"/>
                      <a:pt x="9" y="61"/>
                      <a:pt x="7" y="58"/>
                    </a:cubicBezTo>
                    <a:cubicBezTo>
                      <a:pt x="6" y="57"/>
                      <a:pt x="6" y="58"/>
                      <a:pt x="6" y="58"/>
                    </a:cubicBezTo>
                    <a:cubicBezTo>
                      <a:pt x="5" y="57"/>
                      <a:pt x="5" y="56"/>
                      <a:pt x="5" y="55"/>
                    </a:cubicBezTo>
                    <a:cubicBezTo>
                      <a:pt x="5" y="55"/>
                      <a:pt x="3" y="54"/>
                      <a:pt x="2" y="54"/>
                    </a:cubicBezTo>
                    <a:cubicBezTo>
                      <a:pt x="2" y="54"/>
                      <a:pt x="3" y="54"/>
                      <a:pt x="3" y="54"/>
                    </a:cubicBezTo>
                    <a:cubicBezTo>
                      <a:pt x="3" y="53"/>
                      <a:pt x="3" y="50"/>
                      <a:pt x="2" y="50"/>
                    </a:cubicBezTo>
                    <a:cubicBezTo>
                      <a:pt x="0" y="50"/>
                      <a:pt x="0" y="49"/>
                      <a:pt x="0" y="47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3" name="Freeform 597"/>
              <p:cNvSpPr>
                <a:spLocks noEditPoints="1"/>
              </p:cNvSpPr>
              <p:nvPr/>
            </p:nvSpPr>
            <p:spPr bwMode="auto">
              <a:xfrm>
                <a:off x="3215" y="1456"/>
                <a:ext cx="343" cy="234"/>
              </a:xfrm>
              <a:custGeom>
                <a:avLst/>
                <a:gdLst>
                  <a:gd name="T0" fmla="*/ 2402973 w 145"/>
                  <a:gd name="T1" fmla="*/ 2829909 h 99"/>
                  <a:gd name="T2" fmla="*/ 2052067 w 145"/>
                  <a:gd name="T3" fmla="*/ 2857492 h 99"/>
                  <a:gd name="T4" fmla="*/ 1844434 w 145"/>
                  <a:gd name="T5" fmla="*/ 2737509 h 99"/>
                  <a:gd name="T6" fmla="*/ 1815700 w 145"/>
                  <a:gd name="T7" fmla="*/ 2454830 h 99"/>
                  <a:gd name="T8" fmla="*/ 1284497 w 145"/>
                  <a:gd name="T9" fmla="*/ 2433449 h 99"/>
                  <a:gd name="T10" fmla="*/ 807053 w 145"/>
                  <a:gd name="T11" fmla="*/ 2339062 h 99"/>
                  <a:gd name="T12" fmla="*/ 429434 w 145"/>
                  <a:gd name="T13" fmla="*/ 2186803 h 99"/>
                  <a:gd name="T14" fmla="*/ 494097 w 145"/>
                  <a:gd name="T15" fmla="*/ 1828620 h 99"/>
                  <a:gd name="T16" fmla="*/ 115634 w 145"/>
                  <a:gd name="T17" fmla="*/ 1671715 h 99"/>
                  <a:gd name="T18" fmla="*/ 64664 w 145"/>
                  <a:gd name="T19" fmla="*/ 1365844 h 99"/>
                  <a:gd name="T20" fmla="*/ 454984 w 145"/>
                  <a:gd name="T21" fmla="*/ 913701 h 99"/>
                  <a:gd name="T22" fmla="*/ 855936 w 145"/>
                  <a:gd name="T23" fmla="*/ 697308 h 99"/>
                  <a:gd name="T24" fmla="*/ 1076272 w 145"/>
                  <a:gd name="T25" fmla="*/ 489998 h 99"/>
                  <a:gd name="T26" fmla="*/ 1623499 w 145"/>
                  <a:gd name="T27" fmla="*/ 1001619 h 99"/>
                  <a:gd name="T28" fmla="*/ 2491271 w 145"/>
                  <a:gd name="T29" fmla="*/ 1158177 h 99"/>
                  <a:gd name="T30" fmla="*/ 3012704 w 145"/>
                  <a:gd name="T31" fmla="*/ 849380 h 99"/>
                  <a:gd name="T32" fmla="*/ 3193001 w 145"/>
                  <a:gd name="T33" fmla="*/ 642188 h 99"/>
                  <a:gd name="T34" fmla="*/ 3346334 w 145"/>
                  <a:gd name="T35" fmla="*/ 179284 h 99"/>
                  <a:gd name="T36" fmla="*/ 3712672 w 145"/>
                  <a:gd name="T37" fmla="*/ 27213 h 99"/>
                  <a:gd name="T38" fmla="*/ 4230413 w 145"/>
                  <a:gd name="T39" fmla="*/ 602959 h 99"/>
                  <a:gd name="T40" fmla="*/ 4230413 w 145"/>
                  <a:gd name="T41" fmla="*/ 913701 h 99"/>
                  <a:gd name="T42" fmla="*/ 3956940 w 145"/>
                  <a:gd name="T43" fmla="*/ 1224416 h 99"/>
                  <a:gd name="T44" fmla="*/ 3592154 w 145"/>
                  <a:gd name="T45" fmla="*/ 1425176 h 99"/>
                  <a:gd name="T46" fmla="*/ 3506830 w 145"/>
                  <a:gd name="T47" fmla="*/ 1337440 h 99"/>
                  <a:gd name="T48" fmla="*/ 3306903 w 145"/>
                  <a:gd name="T49" fmla="*/ 1648183 h 99"/>
                  <a:gd name="T50" fmla="*/ 3506830 w 145"/>
                  <a:gd name="T51" fmla="*/ 1671715 h 99"/>
                  <a:gd name="T52" fmla="*/ 3506830 w 145"/>
                  <a:gd name="T53" fmla="*/ 2159657 h 99"/>
                  <a:gd name="T54" fmla="*/ 3466535 w 145"/>
                  <a:gd name="T55" fmla="*/ 2339062 h 99"/>
                  <a:gd name="T56" fmla="*/ 3306903 w 145"/>
                  <a:gd name="T57" fmla="*/ 2613886 h 99"/>
                  <a:gd name="T58" fmla="*/ 2917769 w 145"/>
                  <a:gd name="T59" fmla="*/ 2857492 h 99"/>
                  <a:gd name="T60" fmla="*/ 2632137 w 145"/>
                  <a:gd name="T61" fmla="*/ 2857492 h 99"/>
                  <a:gd name="T62" fmla="*/ 2917769 w 145"/>
                  <a:gd name="T63" fmla="*/ 2793171 h 99"/>
                  <a:gd name="T64" fmla="*/ 3281292 w 145"/>
                  <a:gd name="T65" fmla="*/ 2585483 h 99"/>
                  <a:gd name="T66" fmla="*/ 3439199 w 145"/>
                  <a:gd name="T67" fmla="*/ 2274740 h 99"/>
                  <a:gd name="T68" fmla="*/ 3411866 w 145"/>
                  <a:gd name="T69" fmla="*/ 2007625 h 99"/>
                  <a:gd name="T70" fmla="*/ 3527490 w 145"/>
                  <a:gd name="T71" fmla="*/ 1648183 h 99"/>
                  <a:gd name="T72" fmla="*/ 3281292 w 145"/>
                  <a:gd name="T73" fmla="*/ 1425176 h 99"/>
                  <a:gd name="T74" fmla="*/ 3620675 w 145"/>
                  <a:gd name="T75" fmla="*/ 1404577 h 99"/>
                  <a:gd name="T76" fmla="*/ 3933231 w 145"/>
                  <a:gd name="T77" fmla="*/ 1181726 h 99"/>
                  <a:gd name="T78" fmla="*/ 4267736 w 145"/>
                  <a:gd name="T79" fmla="*/ 913701 h 99"/>
                  <a:gd name="T80" fmla="*/ 4113899 w 145"/>
                  <a:gd name="T81" fmla="*/ 602959 h 99"/>
                  <a:gd name="T82" fmla="*/ 3592154 w 145"/>
                  <a:gd name="T83" fmla="*/ 27213 h 99"/>
                  <a:gd name="T84" fmla="*/ 3101004 w 145"/>
                  <a:gd name="T85" fmla="*/ 423762 h 99"/>
                  <a:gd name="T86" fmla="*/ 3346334 w 145"/>
                  <a:gd name="T87" fmla="*/ 758013 h 99"/>
                  <a:gd name="T88" fmla="*/ 2973843 w 145"/>
                  <a:gd name="T89" fmla="*/ 913701 h 99"/>
                  <a:gd name="T90" fmla="*/ 2583263 w 145"/>
                  <a:gd name="T91" fmla="*/ 1181726 h 99"/>
                  <a:gd name="T92" fmla="*/ 1711766 w 145"/>
                  <a:gd name="T93" fmla="*/ 1158177 h 99"/>
                  <a:gd name="T94" fmla="*/ 1168795 w 145"/>
                  <a:gd name="T95" fmla="*/ 642188 h 99"/>
                  <a:gd name="T96" fmla="*/ 767570 w 145"/>
                  <a:gd name="T97" fmla="*/ 697308 h 99"/>
                  <a:gd name="T98" fmla="*/ 400700 w 145"/>
                  <a:gd name="T99" fmla="*/ 1273104 h 99"/>
                  <a:gd name="T100" fmla="*/ 93185 w 145"/>
                  <a:gd name="T101" fmla="*/ 1492440 h 99"/>
                  <a:gd name="T102" fmla="*/ 273534 w 145"/>
                  <a:gd name="T103" fmla="*/ 1764504 h 99"/>
                  <a:gd name="T104" fmla="*/ 429434 w 145"/>
                  <a:gd name="T105" fmla="*/ 2075263 h 99"/>
                  <a:gd name="T106" fmla="*/ 767570 w 145"/>
                  <a:gd name="T107" fmla="*/ 2274740 h 99"/>
                  <a:gd name="T108" fmla="*/ 1140936 w 145"/>
                  <a:gd name="T109" fmla="*/ 2406196 h 99"/>
                  <a:gd name="T110" fmla="*/ 1662736 w 145"/>
                  <a:gd name="T111" fmla="*/ 2274740 h 99"/>
                  <a:gd name="T112" fmla="*/ 1871770 w 145"/>
                  <a:gd name="T113" fmla="*/ 2737509 h 99"/>
                  <a:gd name="T114" fmla="*/ 2052067 w 145"/>
                  <a:gd name="T115" fmla="*/ 2829909 h 99"/>
                  <a:gd name="T116" fmla="*/ 2337155 w 145"/>
                  <a:gd name="T117" fmla="*/ 2765573 h 9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45" h="99">
                    <a:moveTo>
                      <a:pt x="87" y="99"/>
                    </a:moveTo>
                    <a:cubicBezTo>
                      <a:pt x="86" y="99"/>
                      <a:pt x="86" y="99"/>
                      <a:pt x="85" y="99"/>
                    </a:cubicBezTo>
                    <a:cubicBezTo>
                      <a:pt x="85" y="98"/>
                      <a:pt x="85" y="97"/>
                      <a:pt x="85" y="96"/>
                    </a:cubicBezTo>
                    <a:cubicBezTo>
                      <a:pt x="84" y="96"/>
                      <a:pt x="84" y="96"/>
                      <a:pt x="83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82" y="97"/>
                      <a:pt x="82" y="97"/>
                      <a:pt x="82" y="97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1" y="96"/>
                      <a:pt x="81" y="96"/>
                      <a:pt x="81" y="96"/>
                    </a:cubicBezTo>
                    <a:cubicBezTo>
                      <a:pt x="79" y="96"/>
                      <a:pt x="78" y="93"/>
                      <a:pt x="78" y="93"/>
                    </a:cubicBezTo>
                    <a:cubicBezTo>
                      <a:pt x="77" y="93"/>
                      <a:pt x="77" y="92"/>
                      <a:pt x="76" y="92"/>
                    </a:cubicBezTo>
                    <a:cubicBezTo>
                      <a:pt x="75" y="92"/>
                      <a:pt x="73" y="93"/>
                      <a:pt x="73" y="93"/>
                    </a:cubicBezTo>
                    <a:cubicBezTo>
                      <a:pt x="72" y="93"/>
                      <a:pt x="72" y="93"/>
                      <a:pt x="71" y="93"/>
                    </a:cubicBezTo>
                    <a:cubicBezTo>
                      <a:pt x="71" y="93"/>
                      <a:pt x="71" y="93"/>
                      <a:pt x="71" y="93"/>
                    </a:cubicBezTo>
                    <a:cubicBezTo>
                      <a:pt x="70" y="94"/>
                      <a:pt x="70" y="94"/>
                      <a:pt x="69" y="93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9" y="94"/>
                      <a:pt x="69" y="94"/>
                      <a:pt x="68" y="94"/>
                    </a:cubicBezTo>
                    <a:cubicBezTo>
                      <a:pt x="68" y="94"/>
                      <a:pt x="68" y="94"/>
                      <a:pt x="68" y="94"/>
                    </a:cubicBezTo>
                    <a:cubicBezTo>
                      <a:pt x="68" y="94"/>
                      <a:pt x="68" y="94"/>
                      <a:pt x="67" y="94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67" y="95"/>
                      <a:pt x="68" y="97"/>
                      <a:pt x="66" y="9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5" y="96"/>
                      <a:pt x="64" y="96"/>
                      <a:pt x="63" y="96"/>
                    </a:cubicBezTo>
                    <a:cubicBezTo>
                      <a:pt x="62" y="96"/>
                      <a:pt x="61" y="94"/>
                      <a:pt x="61" y="93"/>
                    </a:cubicBezTo>
                    <a:cubicBezTo>
                      <a:pt x="61" y="92"/>
                      <a:pt x="61" y="92"/>
                      <a:pt x="61" y="92"/>
                    </a:cubicBezTo>
                    <a:cubicBezTo>
                      <a:pt x="60" y="92"/>
                      <a:pt x="60" y="91"/>
                      <a:pt x="60" y="90"/>
                    </a:cubicBezTo>
                    <a:cubicBezTo>
                      <a:pt x="60" y="90"/>
                      <a:pt x="60" y="90"/>
                      <a:pt x="59" y="90"/>
                    </a:cubicBezTo>
                    <a:cubicBezTo>
                      <a:pt x="59" y="90"/>
                      <a:pt x="58" y="90"/>
                      <a:pt x="58" y="90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7" y="90"/>
                      <a:pt x="57" y="90"/>
                      <a:pt x="57" y="90"/>
                    </a:cubicBezTo>
                    <a:cubicBezTo>
                      <a:pt x="57" y="90"/>
                      <a:pt x="57" y="89"/>
                      <a:pt x="57" y="88"/>
                    </a:cubicBezTo>
                    <a:cubicBezTo>
                      <a:pt x="60" y="83"/>
                      <a:pt x="60" y="81"/>
                      <a:pt x="59" y="81"/>
                    </a:cubicBezTo>
                    <a:cubicBezTo>
                      <a:pt x="59" y="81"/>
                      <a:pt x="59" y="81"/>
                      <a:pt x="59" y="81"/>
                    </a:cubicBezTo>
                    <a:cubicBezTo>
                      <a:pt x="59" y="81"/>
                      <a:pt x="59" y="81"/>
                      <a:pt x="59" y="81"/>
                    </a:cubicBezTo>
                    <a:cubicBezTo>
                      <a:pt x="59" y="80"/>
                      <a:pt x="59" y="80"/>
                      <a:pt x="59" y="80"/>
                    </a:cubicBezTo>
                    <a:cubicBezTo>
                      <a:pt x="59" y="81"/>
                      <a:pt x="59" y="81"/>
                      <a:pt x="59" y="81"/>
                    </a:cubicBezTo>
                    <a:cubicBezTo>
                      <a:pt x="59" y="80"/>
                      <a:pt x="57" y="79"/>
                      <a:pt x="56" y="79"/>
                    </a:cubicBezTo>
                    <a:cubicBezTo>
                      <a:pt x="56" y="79"/>
                      <a:pt x="56" y="79"/>
                      <a:pt x="56" y="79"/>
                    </a:cubicBezTo>
                    <a:cubicBezTo>
                      <a:pt x="56" y="79"/>
                      <a:pt x="56" y="79"/>
                      <a:pt x="56" y="79"/>
                    </a:cubicBezTo>
                    <a:cubicBezTo>
                      <a:pt x="56" y="79"/>
                      <a:pt x="56" y="79"/>
                      <a:pt x="55" y="79"/>
                    </a:cubicBezTo>
                    <a:cubicBezTo>
                      <a:pt x="55" y="79"/>
                      <a:pt x="54" y="78"/>
                      <a:pt x="54" y="77"/>
                    </a:cubicBezTo>
                    <a:cubicBezTo>
                      <a:pt x="54" y="77"/>
                      <a:pt x="54" y="76"/>
                      <a:pt x="53" y="76"/>
                    </a:cubicBezTo>
                    <a:cubicBezTo>
                      <a:pt x="53" y="76"/>
                      <a:pt x="52" y="76"/>
                      <a:pt x="52" y="77"/>
                    </a:cubicBezTo>
                    <a:cubicBezTo>
                      <a:pt x="51" y="77"/>
                      <a:pt x="50" y="77"/>
                      <a:pt x="50" y="77"/>
                    </a:cubicBezTo>
                    <a:cubicBezTo>
                      <a:pt x="48" y="79"/>
                      <a:pt x="46" y="79"/>
                      <a:pt x="44" y="80"/>
                    </a:cubicBezTo>
                    <a:cubicBezTo>
                      <a:pt x="44" y="80"/>
                      <a:pt x="43" y="80"/>
                      <a:pt x="42" y="80"/>
                    </a:cubicBezTo>
                    <a:cubicBezTo>
                      <a:pt x="41" y="79"/>
                      <a:pt x="41" y="79"/>
                      <a:pt x="40" y="79"/>
                    </a:cubicBezTo>
                    <a:cubicBezTo>
                      <a:pt x="40" y="79"/>
                      <a:pt x="40" y="79"/>
                      <a:pt x="40" y="79"/>
                    </a:cubicBezTo>
                    <a:cubicBezTo>
                      <a:pt x="40" y="79"/>
                      <a:pt x="40" y="79"/>
                      <a:pt x="40" y="79"/>
                    </a:cubicBezTo>
                    <a:cubicBezTo>
                      <a:pt x="38" y="81"/>
                      <a:pt x="38" y="81"/>
                      <a:pt x="37" y="81"/>
                    </a:cubicBezTo>
                    <a:cubicBezTo>
                      <a:pt x="37" y="81"/>
                      <a:pt x="36" y="81"/>
                      <a:pt x="36" y="81"/>
                    </a:cubicBezTo>
                    <a:cubicBezTo>
                      <a:pt x="36" y="81"/>
                      <a:pt x="36" y="80"/>
                      <a:pt x="36" y="80"/>
                    </a:cubicBezTo>
                    <a:cubicBezTo>
                      <a:pt x="35" y="80"/>
                      <a:pt x="34" y="80"/>
                      <a:pt x="32" y="80"/>
                    </a:cubicBezTo>
                    <a:cubicBezTo>
                      <a:pt x="31" y="80"/>
                      <a:pt x="30" y="80"/>
                      <a:pt x="30" y="80"/>
                    </a:cubicBezTo>
                    <a:cubicBezTo>
                      <a:pt x="29" y="79"/>
                      <a:pt x="29" y="79"/>
                      <a:pt x="28" y="79"/>
                    </a:cubicBezTo>
                    <a:cubicBezTo>
                      <a:pt x="27" y="78"/>
                      <a:pt x="26" y="78"/>
                      <a:pt x="26" y="77"/>
                    </a:cubicBezTo>
                    <a:cubicBezTo>
                      <a:pt x="25" y="77"/>
                      <a:pt x="24" y="77"/>
                      <a:pt x="24" y="76"/>
                    </a:cubicBezTo>
                    <a:cubicBezTo>
                      <a:pt x="24" y="76"/>
                      <a:pt x="24" y="76"/>
                      <a:pt x="23" y="75"/>
                    </a:cubicBezTo>
                    <a:cubicBezTo>
                      <a:pt x="22" y="74"/>
                      <a:pt x="22" y="74"/>
                      <a:pt x="20" y="74"/>
                    </a:cubicBezTo>
                    <a:cubicBezTo>
                      <a:pt x="20" y="75"/>
                      <a:pt x="20" y="75"/>
                      <a:pt x="20" y="75"/>
                    </a:cubicBezTo>
                    <a:cubicBezTo>
                      <a:pt x="19" y="74"/>
                      <a:pt x="19" y="74"/>
                      <a:pt x="19" y="74"/>
                    </a:cubicBezTo>
                    <a:cubicBezTo>
                      <a:pt x="19" y="74"/>
                      <a:pt x="18" y="74"/>
                      <a:pt x="18" y="73"/>
                    </a:cubicBezTo>
                    <a:cubicBezTo>
                      <a:pt x="17" y="73"/>
                      <a:pt x="17" y="73"/>
                      <a:pt x="17" y="73"/>
                    </a:cubicBezTo>
                    <a:cubicBezTo>
                      <a:pt x="17" y="73"/>
                      <a:pt x="16" y="73"/>
                      <a:pt x="14" y="72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13" y="71"/>
                      <a:pt x="13" y="68"/>
                      <a:pt x="13" y="67"/>
                    </a:cubicBezTo>
                    <a:cubicBezTo>
                      <a:pt x="13" y="67"/>
                      <a:pt x="13" y="66"/>
                      <a:pt x="13" y="66"/>
                    </a:cubicBezTo>
                    <a:cubicBezTo>
                      <a:pt x="14" y="66"/>
                      <a:pt x="14" y="66"/>
                      <a:pt x="14" y="66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5" y="67"/>
                      <a:pt x="15" y="67"/>
                      <a:pt x="15" y="67"/>
                    </a:cubicBezTo>
                    <a:cubicBezTo>
                      <a:pt x="15" y="66"/>
                      <a:pt x="14" y="65"/>
                      <a:pt x="14" y="65"/>
                    </a:cubicBezTo>
                    <a:cubicBezTo>
                      <a:pt x="14" y="64"/>
                      <a:pt x="13" y="64"/>
                      <a:pt x="14" y="63"/>
                    </a:cubicBezTo>
                    <a:cubicBezTo>
                      <a:pt x="14" y="63"/>
                      <a:pt x="14" y="63"/>
                      <a:pt x="14" y="62"/>
                    </a:cubicBezTo>
                    <a:cubicBezTo>
                      <a:pt x="15" y="62"/>
                      <a:pt x="16" y="61"/>
                      <a:pt x="17" y="60"/>
                    </a:cubicBezTo>
                    <a:cubicBezTo>
                      <a:pt x="16" y="60"/>
                      <a:pt x="16" y="60"/>
                      <a:pt x="16" y="60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6" y="58"/>
                      <a:pt x="16" y="58"/>
                      <a:pt x="15" y="58"/>
                    </a:cubicBezTo>
                    <a:cubicBezTo>
                      <a:pt x="15" y="58"/>
                      <a:pt x="14" y="58"/>
                      <a:pt x="13" y="59"/>
                    </a:cubicBezTo>
                    <a:cubicBezTo>
                      <a:pt x="12" y="59"/>
                      <a:pt x="11" y="59"/>
                      <a:pt x="11" y="59"/>
                    </a:cubicBezTo>
                    <a:cubicBezTo>
                      <a:pt x="10" y="59"/>
                      <a:pt x="9" y="59"/>
                      <a:pt x="8" y="58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8" y="58"/>
                      <a:pt x="7" y="58"/>
                      <a:pt x="7" y="58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7" y="56"/>
                      <a:pt x="7" y="56"/>
                      <a:pt x="6" y="56"/>
                    </a:cubicBezTo>
                    <a:cubicBezTo>
                      <a:pt x="6" y="56"/>
                      <a:pt x="5" y="55"/>
                      <a:pt x="4" y="55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54"/>
                      <a:pt x="4" y="54"/>
                      <a:pt x="4" y="53"/>
                    </a:cubicBezTo>
                    <a:cubicBezTo>
                      <a:pt x="4" y="53"/>
                      <a:pt x="4" y="53"/>
                      <a:pt x="4" y="53"/>
                    </a:cubicBezTo>
                    <a:cubicBezTo>
                      <a:pt x="4" y="53"/>
                      <a:pt x="4" y="53"/>
                      <a:pt x="4" y="5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3" y="51"/>
                      <a:pt x="2" y="50"/>
                      <a:pt x="2" y="50"/>
                    </a:cubicBezTo>
                    <a:cubicBezTo>
                      <a:pt x="1" y="49"/>
                      <a:pt x="1" y="48"/>
                      <a:pt x="2" y="47"/>
                    </a:cubicBezTo>
                    <a:cubicBezTo>
                      <a:pt x="2" y="46"/>
                      <a:pt x="2" y="46"/>
                      <a:pt x="2" y="45"/>
                    </a:cubicBezTo>
                    <a:cubicBezTo>
                      <a:pt x="3" y="44"/>
                      <a:pt x="5" y="44"/>
                      <a:pt x="6" y="44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8" y="44"/>
                      <a:pt x="8" y="44"/>
                      <a:pt x="8" y="43"/>
                    </a:cubicBezTo>
                    <a:cubicBezTo>
                      <a:pt x="8" y="43"/>
                      <a:pt x="9" y="43"/>
                      <a:pt x="9" y="43"/>
                    </a:cubicBezTo>
                    <a:cubicBezTo>
                      <a:pt x="10" y="42"/>
                      <a:pt x="10" y="42"/>
                      <a:pt x="11" y="42"/>
                    </a:cubicBezTo>
                    <a:cubicBezTo>
                      <a:pt x="11" y="42"/>
                      <a:pt x="12" y="42"/>
                      <a:pt x="12" y="42"/>
                    </a:cubicBezTo>
                    <a:cubicBezTo>
                      <a:pt x="13" y="41"/>
                      <a:pt x="14" y="40"/>
                      <a:pt x="15" y="40"/>
                    </a:cubicBezTo>
                    <a:cubicBezTo>
                      <a:pt x="16" y="39"/>
                      <a:pt x="17" y="39"/>
                      <a:pt x="17" y="38"/>
                    </a:cubicBezTo>
                    <a:cubicBezTo>
                      <a:pt x="17" y="36"/>
                      <a:pt x="18" y="33"/>
                      <a:pt x="16" y="31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1" y="29"/>
                      <a:pt x="21" y="28"/>
                      <a:pt x="21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6"/>
                      <a:pt x="22" y="25"/>
                      <a:pt x="22" y="25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3" y="23"/>
                      <a:pt x="23" y="22"/>
                      <a:pt x="24" y="22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23"/>
                      <a:pt x="28" y="23"/>
                      <a:pt x="29" y="23"/>
                    </a:cubicBezTo>
                    <a:cubicBezTo>
                      <a:pt x="29" y="23"/>
                      <a:pt x="29" y="22"/>
                      <a:pt x="29" y="22"/>
                    </a:cubicBezTo>
                    <a:cubicBezTo>
                      <a:pt x="29" y="21"/>
                      <a:pt x="29" y="21"/>
                      <a:pt x="29" y="20"/>
                    </a:cubicBezTo>
                    <a:cubicBezTo>
                      <a:pt x="30" y="19"/>
                      <a:pt x="30" y="18"/>
                      <a:pt x="31" y="18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2" y="17"/>
                      <a:pt x="33" y="17"/>
                      <a:pt x="33" y="16"/>
                    </a:cubicBezTo>
                    <a:cubicBezTo>
                      <a:pt x="33" y="16"/>
                      <a:pt x="34" y="16"/>
                      <a:pt x="34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6" y="18"/>
                      <a:pt x="37" y="19"/>
                      <a:pt x="38" y="20"/>
                    </a:cubicBezTo>
                    <a:cubicBezTo>
                      <a:pt x="41" y="20"/>
                      <a:pt x="41" y="21"/>
                      <a:pt x="42" y="23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5"/>
                      <a:pt x="42" y="26"/>
                      <a:pt x="42" y="28"/>
                    </a:cubicBezTo>
                    <a:cubicBezTo>
                      <a:pt x="42" y="28"/>
                      <a:pt x="42" y="28"/>
                      <a:pt x="42" y="29"/>
                    </a:cubicBezTo>
                    <a:cubicBezTo>
                      <a:pt x="43" y="29"/>
                      <a:pt x="43" y="29"/>
                      <a:pt x="44" y="29"/>
                    </a:cubicBezTo>
                    <a:cubicBezTo>
                      <a:pt x="45" y="29"/>
                      <a:pt x="46" y="29"/>
                      <a:pt x="47" y="30"/>
                    </a:cubicBezTo>
                    <a:cubicBezTo>
                      <a:pt x="48" y="30"/>
                      <a:pt x="48" y="30"/>
                      <a:pt x="49" y="30"/>
                    </a:cubicBezTo>
                    <a:cubicBezTo>
                      <a:pt x="50" y="31"/>
                      <a:pt x="52" y="31"/>
                      <a:pt x="53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5" y="36"/>
                      <a:pt x="56" y="37"/>
                      <a:pt x="56" y="37"/>
                    </a:cubicBezTo>
                    <a:cubicBezTo>
                      <a:pt x="59" y="37"/>
                      <a:pt x="61" y="37"/>
                      <a:pt x="64" y="36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5" y="36"/>
                      <a:pt x="66" y="37"/>
                      <a:pt x="67" y="38"/>
                    </a:cubicBezTo>
                    <a:cubicBezTo>
                      <a:pt x="68" y="38"/>
                      <a:pt x="68" y="38"/>
                      <a:pt x="69" y="39"/>
                    </a:cubicBezTo>
                    <a:cubicBezTo>
                      <a:pt x="69" y="39"/>
                      <a:pt x="70" y="39"/>
                      <a:pt x="70" y="39"/>
                    </a:cubicBezTo>
                    <a:cubicBezTo>
                      <a:pt x="71" y="40"/>
                      <a:pt x="73" y="40"/>
                      <a:pt x="74" y="40"/>
                    </a:cubicBezTo>
                    <a:cubicBezTo>
                      <a:pt x="74" y="40"/>
                      <a:pt x="74" y="40"/>
                      <a:pt x="74" y="40"/>
                    </a:cubicBezTo>
                    <a:cubicBezTo>
                      <a:pt x="75" y="40"/>
                      <a:pt x="75" y="40"/>
                      <a:pt x="76" y="39"/>
                    </a:cubicBezTo>
                    <a:cubicBezTo>
                      <a:pt x="78" y="39"/>
                      <a:pt x="79" y="38"/>
                      <a:pt x="81" y="38"/>
                    </a:cubicBezTo>
                    <a:cubicBezTo>
                      <a:pt x="81" y="38"/>
                      <a:pt x="82" y="38"/>
                      <a:pt x="83" y="38"/>
                    </a:cubicBezTo>
                    <a:cubicBezTo>
                      <a:pt x="84" y="38"/>
                      <a:pt x="85" y="38"/>
                      <a:pt x="86" y="37"/>
                    </a:cubicBezTo>
                    <a:cubicBezTo>
                      <a:pt x="87" y="37"/>
                      <a:pt x="89" y="35"/>
                      <a:pt x="90" y="34"/>
                    </a:cubicBezTo>
                    <a:cubicBezTo>
                      <a:pt x="89" y="33"/>
                      <a:pt x="89" y="32"/>
                      <a:pt x="89" y="31"/>
                    </a:cubicBezTo>
                    <a:cubicBezTo>
                      <a:pt x="90" y="30"/>
                      <a:pt x="90" y="29"/>
                      <a:pt x="91" y="29"/>
                    </a:cubicBezTo>
                    <a:cubicBezTo>
                      <a:pt x="92" y="29"/>
                      <a:pt x="93" y="29"/>
                      <a:pt x="93" y="30"/>
                    </a:cubicBezTo>
                    <a:cubicBezTo>
                      <a:pt x="93" y="30"/>
                      <a:pt x="94" y="30"/>
                      <a:pt x="94" y="30"/>
                    </a:cubicBezTo>
                    <a:cubicBezTo>
                      <a:pt x="95" y="30"/>
                      <a:pt x="95" y="29"/>
                      <a:pt x="96" y="29"/>
                    </a:cubicBezTo>
                    <a:cubicBezTo>
                      <a:pt x="96" y="28"/>
                      <a:pt x="96" y="28"/>
                      <a:pt x="97" y="28"/>
                    </a:cubicBezTo>
                    <a:cubicBezTo>
                      <a:pt x="97" y="28"/>
                      <a:pt x="98" y="28"/>
                      <a:pt x="98" y="28"/>
                    </a:cubicBezTo>
                    <a:cubicBezTo>
                      <a:pt x="98" y="27"/>
                      <a:pt x="99" y="27"/>
                      <a:pt x="99" y="27"/>
                    </a:cubicBezTo>
                    <a:cubicBezTo>
                      <a:pt x="99" y="27"/>
                      <a:pt x="100" y="26"/>
                      <a:pt x="100" y="26"/>
                    </a:cubicBezTo>
                    <a:cubicBezTo>
                      <a:pt x="101" y="25"/>
                      <a:pt x="101" y="25"/>
                      <a:pt x="101" y="25"/>
                    </a:cubicBezTo>
                    <a:cubicBezTo>
                      <a:pt x="102" y="24"/>
                      <a:pt x="103" y="24"/>
                      <a:pt x="105" y="24"/>
                    </a:cubicBezTo>
                    <a:cubicBezTo>
                      <a:pt x="106" y="24"/>
                      <a:pt x="106" y="24"/>
                      <a:pt x="106" y="24"/>
                    </a:cubicBezTo>
                    <a:cubicBezTo>
                      <a:pt x="107" y="24"/>
                      <a:pt x="107" y="24"/>
                      <a:pt x="107" y="24"/>
                    </a:cubicBezTo>
                    <a:cubicBezTo>
                      <a:pt x="107" y="23"/>
                      <a:pt x="106" y="23"/>
                      <a:pt x="106" y="23"/>
                    </a:cubicBezTo>
                    <a:cubicBezTo>
                      <a:pt x="106" y="22"/>
                      <a:pt x="106" y="21"/>
                      <a:pt x="105" y="21"/>
                    </a:cubicBezTo>
                    <a:cubicBezTo>
                      <a:pt x="105" y="21"/>
                      <a:pt x="105" y="21"/>
                      <a:pt x="105" y="21"/>
                    </a:cubicBezTo>
                    <a:cubicBezTo>
                      <a:pt x="105" y="21"/>
                      <a:pt x="104" y="21"/>
                      <a:pt x="104" y="21"/>
                    </a:cubicBezTo>
                    <a:cubicBezTo>
                      <a:pt x="104" y="22"/>
                      <a:pt x="103" y="22"/>
                      <a:pt x="102" y="22"/>
                    </a:cubicBezTo>
                    <a:cubicBezTo>
                      <a:pt x="101" y="22"/>
                      <a:pt x="101" y="22"/>
                      <a:pt x="101" y="22"/>
                    </a:cubicBezTo>
                    <a:cubicBezTo>
                      <a:pt x="99" y="22"/>
                      <a:pt x="98" y="22"/>
                      <a:pt x="98" y="19"/>
                    </a:cubicBezTo>
                    <a:cubicBezTo>
                      <a:pt x="98" y="16"/>
                      <a:pt x="99" y="16"/>
                      <a:pt x="100" y="14"/>
                    </a:cubicBezTo>
                    <a:cubicBezTo>
                      <a:pt x="100" y="13"/>
                      <a:pt x="101" y="13"/>
                      <a:pt x="101" y="13"/>
                    </a:cubicBezTo>
                    <a:cubicBezTo>
                      <a:pt x="102" y="13"/>
                      <a:pt x="102" y="13"/>
                      <a:pt x="103" y="13"/>
                    </a:cubicBezTo>
                    <a:cubicBezTo>
                      <a:pt x="103" y="14"/>
                      <a:pt x="104" y="14"/>
                      <a:pt x="104" y="14"/>
                    </a:cubicBezTo>
                    <a:cubicBezTo>
                      <a:pt x="106" y="14"/>
                      <a:pt x="106" y="12"/>
                      <a:pt x="107" y="11"/>
                    </a:cubicBezTo>
                    <a:cubicBezTo>
                      <a:pt x="107" y="11"/>
                      <a:pt x="107" y="10"/>
                      <a:pt x="108" y="9"/>
                    </a:cubicBezTo>
                    <a:cubicBezTo>
                      <a:pt x="108" y="8"/>
                      <a:pt x="108" y="7"/>
                      <a:pt x="109" y="6"/>
                    </a:cubicBezTo>
                    <a:cubicBezTo>
                      <a:pt x="110" y="6"/>
                      <a:pt x="110" y="5"/>
                      <a:pt x="110" y="4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110" y="4"/>
                      <a:pt x="110" y="4"/>
                      <a:pt x="109" y="4"/>
                    </a:cubicBezTo>
                    <a:cubicBezTo>
                      <a:pt x="108" y="5"/>
                      <a:pt x="108" y="5"/>
                      <a:pt x="108" y="5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9" y="1"/>
                      <a:pt x="111" y="0"/>
                      <a:pt x="113" y="0"/>
                    </a:cubicBezTo>
                    <a:cubicBezTo>
                      <a:pt x="117" y="0"/>
                      <a:pt x="117" y="0"/>
                      <a:pt x="117" y="0"/>
                    </a:cubicBezTo>
                    <a:cubicBezTo>
                      <a:pt x="118" y="0"/>
                      <a:pt x="118" y="0"/>
                      <a:pt x="119" y="0"/>
                    </a:cubicBezTo>
                    <a:cubicBezTo>
                      <a:pt x="119" y="1"/>
                      <a:pt x="119" y="1"/>
                      <a:pt x="120" y="1"/>
                    </a:cubicBezTo>
                    <a:cubicBezTo>
                      <a:pt x="120" y="1"/>
                      <a:pt x="121" y="1"/>
                      <a:pt x="121" y="1"/>
                    </a:cubicBezTo>
                    <a:cubicBezTo>
                      <a:pt x="123" y="2"/>
                      <a:pt x="124" y="2"/>
                      <a:pt x="125" y="5"/>
                    </a:cubicBezTo>
                    <a:cubicBezTo>
                      <a:pt x="125" y="6"/>
                      <a:pt x="125" y="7"/>
                      <a:pt x="126" y="8"/>
                    </a:cubicBezTo>
                    <a:cubicBezTo>
                      <a:pt x="126" y="8"/>
                      <a:pt x="126" y="9"/>
                      <a:pt x="127" y="10"/>
                    </a:cubicBezTo>
                    <a:cubicBezTo>
                      <a:pt x="127" y="11"/>
                      <a:pt x="127" y="11"/>
                      <a:pt x="127" y="11"/>
                    </a:cubicBezTo>
                    <a:cubicBezTo>
                      <a:pt x="127" y="14"/>
                      <a:pt x="127" y="14"/>
                      <a:pt x="130" y="14"/>
                    </a:cubicBezTo>
                    <a:cubicBezTo>
                      <a:pt x="132" y="15"/>
                      <a:pt x="134" y="16"/>
                      <a:pt x="135" y="18"/>
                    </a:cubicBezTo>
                    <a:cubicBezTo>
                      <a:pt x="135" y="19"/>
                      <a:pt x="135" y="19"/>
                      <a:pt x="135" y="19"/>
                    </a:cubicBezTo>
                    <a:cubicBezTo>
                      <a:pt x="135" y="20"/>
                      <a:pt x="136" y="21"/>
                      <a:pt x="136" y="21"/>
                    </a:cubicBezTo>
                    <a:cubicBezTo>
                      <a:pt x="136" y="21"/>
                      <a:pt x="137" y="21"/>
                      <a:pt x="137" y="20"/>
                    </a:cubicBezTo>
                    <a:cubicBezTo>
                      <a:pt x="138" y="20"/>
                      <a:pt x="138" y="20"/>
                      <a:pt x="138" y="20"/>
                    </a:cubicBezTo>
                    <a:cubicBezTo>
                      <a:pt x="140" y="19"/>
                      <a:pt x="142" y="19"/>
                      <a:pt x="143" y="18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4" y="19"/>
                      <a:pt x="144" y="19"/>
                      <a:pt x="144" y="19"/>
                    </a:cubicBezTo>
                    <a:cubicBezTo>
                      <a:pt x="144" y="19"/>
                      <a:pt x="144" y="19"/>
                      <a:pt x="144" y="20"/>
                    </a:cubicBezTo>
                    <a:cubicBezTo>
                      <a:pt x="144" y="20"/>
                      <a:pt x="144" y="21"/>
                      <a:pt x="144" y="22"/>
                    </a:cubicBezTo>
                    <a:cubicBezTo>
                      <a:pt x="144" y="22"/>
                      <a:pt x="144" y="22"/>
                      <a:pt x="143" y="23"/>
                    </a:cubicBezTo>
                    <a:cubicBezTo>
                      <a:pt x="143" y="23"/>
                      <a:pt x="143" y="24"/>
                      <a:pt x="142" y="24"/>
                    </a:cubicBezTo>
                    <a:cubicBezTo>
                      <a:pt x="142" y="24"/>
                      <a:pt x="142" y="25"/>
                      <a:pt x="142" y="25"/>
                    </a:cubicBezTo>
                    <a:cubicBezTo>
                      <a:pt x="142" y="28"/>
                      <a:pt x="141" y="30"/>
                      <a:pt x="139" y="31"/>
                    </a:cubicBezTo>
                    <a:cubicBezTo>
                      <a:pt x="139" y="31"/>
                      <a:pt x="138" y="31"/>
                      <a:pt x="138" y="30"/>
                    </a:cubicBezTo>
                    <a:cubicBezTo>
                      <a:pt x="137" y="30"/>
                      <a:pt x="137" y="30"/>
                      <a:pt x="137" y="30"/>
                    </a:cubicBezTo>
                    <a:cubicBezTo>
                      <a:pt x="137" y="30"/>
                      <a:pt x="136" y="30"/>
                      <a:pt x="136" y="30"/>
                    </a:cubicBezTo>
                    <a:cubicBezTo>
                      <a:pt x="135" y="31"/>
                      <a:pt x="135" y="31"/>
                      <a:pt x="136" y="32"/>
                    </a:cubicBezTo>
                    <a:cubicBezTo>
                      <a:pt x="136" y="34"/>
                      <a:pt x="136" y="35"/>
                      <a:pt x="135" y="36"/>
                    </a:cubicBezTo>
                    <a:cubicBezTo>
                      <a:pt x="135" y="37"/>
                      <a:pt x="134" y="37"/>
                      <a:pt x="134" y="38"/>
                    </a:cubicBezTo>
                    <a:cubicBezTo>
                      <a:pt x="134" y="40"/>
                      <a:pt x="134" y="40"/>
                      <a:pt x="134" y="40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2" y="39"/>
                      <a:pt x="131" y="40"/>
                      <a:pt x="129" y="40"/>
                    </a:cubicBezTo>
                    <a:cubicBezTo>
                      <a:pt x="129" y="41"/>
                      <a:pt x="129" y="41"/>
                      <a:pt x="129" y="42"/>
                    </a:cubicBezTo>
                    <a:cubicBezTo>
                      <a:pt x="129" y="42"/>
                      <a:pt x="128" y="42"/>
                      <a:pt x="128" y="42"/>
                    </a:cubicBezTo>
                    <a:cubicBezTo>
                      <a:pt x="127" y="42"/>
                      <a:pt x="127" y="42"/>
                      <a:pt x="126" y="42"/>
                    </a:cubicBezTo>
                    <a:cubicBezTo>
                      <a:pt x="126" y="42"/>
                      <a:pt x="126" y="42"/>
                      <a:pt x="125" y="42"/>
                    </a:cubicBezTo>
                    <a:cubicBezTo>
                      <a:pt x="125" y="42"/>
                      <a:pt x="124" y="43"/>
                      <a:pt x="123" y="44"/>
                    </a:cubicBezTo>
                    <a:cubicBezTo>
                      <a:pt x="122" y="44"/>
                      <a:pt x="122" y="44"/>
                      <a:pt x="121" y="45"/>
                    </a:cubicBezTo>
                    <a:cubicBezTo>
                      <a:pt x="121" y="45"/>
                      <a:pt x="121" y="45"/>
                      <a:pt x="121" y="45"/>
                    </a:cubicBezTo>
                    <a:cubicBezTo>
                      <a:pt x="120" y="46"/>
                      <a:pt x="120" y="47"/>
                      <a:pt x="119" y="47"/>
                    </a:cubicBezTo>
                    <a:cubicBezTo>
                      <a:pt x="119" y="47"/>
                      <a:pt x="119" y="47"/>
                      <a:pt x="119" y="47"/>
                    </a:cubicBezTo>
                    <a:cubicBezTo>
                      <a:pt x="118" y="47"/>
                      <a:pt x="117" y="47"/>
                      <a:pt x="117" y="47"/>
                    </a:cubicBezTo>
                    <a:cubicBezTo>
                      <a:pt x="117" y="48"/>
                      <a:pt x="116" y="48"/>
                      <a:pt x="116" y="48"/>
                    </a:cubicBezTo>
                    <a:cubicBezTo>
                      <a:pt x="115" y="49"/>
                      <a:pt x="113" y="50"/>
                      <a:pt x="112" y="50"/>
                    </a:cubicBezTo>
                    <a:cubicBezTo>
                      <a:pt x="109" y="50"/>
                      <a:pt x="109" y="50"/>
                      <a:pt x="109" y="50"/>
                    </a:cubicBezTo>
                    <a:cubicBezTo>
                      <a:pt x="112" y="49"/>
                      <a:pt x="112" y="49"/>
                      <a:pt x="112" y="49"/>
                    </a:cubicBezTo>
                    <a:cubicBezTo>
                      <a:pt x="112" y="49"/>
                      <a:pt x="113" y="48"/>
                      <a:pt x="113" y="48"/>
                    </a:cubicBezTo>
                    <a:cubicBezTo>
                      <a:pt x="113" y="48"/>
                      <a:pt x="112" y="48"/>
                      <a:pt x="112" y="48"/>
                    </a:cubicBezTo>
                    <a:cubicBezTo>
                      <a:pt x="111" y="48"/>
                      <a:pt x="111" y="48"/>
                      <a:pt x="111" y="48"/>
                    </a:cubicBezTo>
                    <a:cubicBezTo>
                      <a:pt x="112" y="47"/>
                      <a:pt x="112" y="47"/>
                      <a:pt x="112" y="47"/>
                    </a:cubicBezTo>
                    <a:cubicBezTo>
                      <a:pt x="112" y="47"/>
                      <a:pt x="112" y="47"/>
                      <a:pt x="112" y="46"/>
                    </a:cubicBezTo>
                    <a:cubicBezTo>
                      <a:pt x="113" y="46"/>
                      <a:pt x="114" y="45"/>
                      <a:pt x="114" y="44"/>
                    </a:cubicBezTo>
                    <a:cubicBezTo>
                      <a:pt x="113" y="44"/>
                      <a:pt x="113" y="43"/>
                      <a:pt x="113" y="43"/>
                    </a:cubicBezTo>
                    <a:cubicBezTo>
                      <a:pt x="113" y="43"/>
                      <a:pt x="112" y="43"/>
                      <a:pt x="112" y="44"/>
                    </a:cubicBezTo>
                    <a:cubicBezTo>
                      <a:pt x="111" y="45"/>
                      <a:pt x="111" y="45"/>
                      <a:pt x="110" y="46"/>
                    </a:cubicBezTo>
                    <a:cubicBezTo>
                      <a:pt x="109" y="46"/>
                      <a:pt x="109" y="47"/>
                      <a:pt x="108" y="47"/>
                    </a:cubicBezTo>
                    <a:cubicBezTo>
                      <a:pt x="108" y="48"/>
                      <a:pt x="107" y="49"/>
                      <a:pt x="106" y="49"/>
                    </a:cubicBezTo>
                    <a:cubicBezTo>
                      <a:pt x="106" y="49"/>
                      <a:pt x="105" y="49"/>
                      <a:pt x="105" y="49"/>
                    </a:cubicBezTo>
                    <a:cubicBezTo>
                      <a:pt x="105" y="50"/>
                      <a:pt x="104" y="50"/>
                      <a:pt x="104" y="50"/>
                    </a:cubicBezTo>
                    <a:cubicBezTo>
                      <a:pt x="105" y="51"/>
                      <a:pt x="105" y="51"/>
                      <a:pt x="105" y="51"/>
                    </a:cubicBezTo>
                    <a:cubicBezTo>
                      <a:pt x="106" y="52"/>
                      <a:pt x="107" y="52"/>
                      <a:pt x="107" y="53"/>
                    </a:cubicBezTo>
                    <a:cubicBezTo>
                      <a:pt x="107" y="53"/>
                      <a:pt x="108" y="54"/>
                      <a:pt x="108" y="54"/>
                    </a:cubicBezTo>
                    <a:cubicBezTo>
                      <a:pt x="108" y="54"/>
                      <a:pt x="109" y="53"/>
                      <a:pt x="109" y="53"/>
                    </a:cubicBezTo>
                    <a:cubicBezTo>
                      <a:pt x="110" y="52"/>
                      <a:pt x="111" y="52"/>
                      <a:pt x="111" y="52"/>
                    </a:cubicBezTo>
                    <a:cubicBezTo>
                      <a:pt x="111" y="52"/>
                      <a:pt x="112" y="52"/>
                      <a:pt x="112" y="52"/>
                    </a:cubicBezTo>
                    <a:cubicBezTo>
                      <a:pt x="113" y="53"/>
                      <a:pt x="114" y="53"/>
                      <a:pt x="115" y="53"/>
                    </a:cubicBezTo>
                    <a:cubicBezTo>
                      <a:pt x="116" y="53"/>
                      <a:pt x="116" y="53"/>
                      <a:pt x="116" y="53"/>
                    </a:cubicBezTo>
                    <a:cubicBezTo>
                      <a:pt x="116" y="54"/>
                      <a:pt x="116" y="54"/>
                      <a:pt x="116" y="54"/>
                    </a:cubicBezTo>
                    <a:cubicBezTo>
                      <a:pt x="116" y="54"/>
                      <a:pt x="116" y="55"/>
                      <a:pt x="115" y="56"/>
                    </a:cubicBezTo>
                    <a:cubicBezTo>
                      <a:pt x="115" y="56"/>
                      <a:pt x="115" y="56"/>
                      <a:pt x="115" y="56"/>
                    </a:cubicBezTo>
                    <a:cubicBezTo>
                      <a:pt x="114" y="56"/>
                      <a:pt x="114" y="56"/>
                      <a:pt x="114" y="56"/>
                    </a:cubicBezTo>
                    <a:cubicBezTo>
                      <a:pt x="114" y="55"/>
                      <a:pt x="114" y="55"/>
                      <a:pt x="114" y="55"/>
                    </a:cubicBezTo>
                    <a:cubicBezTo>
                      <a:pt x="113" y="55"/>
                      <a:pt x="113" y="56"/>
                      <a:pt x="112" y="57"/>
                    </a:cubicBezTo>
                    <a:cubicBezTo>
                      <a:pt x="111" y="57"/>
                      <a:pt x="111" y="58"/>
                      <a:pt x="110" y="58"/>
                    </a:cubicBezTo>
                    <a:cubicBezTo>
                      <a:pt x="110" y="58"/>
                      <a:pt x="109" y="59"/>
                      <a:pt x="109" y="60"/>
                    </a:cubicBezTo>
                    <a:cubicBezTo>
                      <a:pt x="109" y="60"/>
                      <a:pt x="108" y="60"/>
                      <a:pt x="108" y="61"/>
                    </a:cubicBezTo>
                    <a:cubicBezTo>
                      <a:pt x="110" y="62"/>
                      <a:pt x="111" y="64"/>
                      <a:pt x="112" y="65"/>
                    </a:cubicBezTo>
                    <a:cubicBezTo>
                      <a:pt x="113" y="67"/>
                      <a:pt x="113" y="68"/>
                      <a:pt x="114" y="69"/>
                    </a:cubicBezTo>
                    <a:cubicBezTo>
                      <a:pt x="116" y="71"/>
                      <a:pt x="116" y="71"/>
                      <a:pt x="116" y="71"/>
                    </a:cubicBezTo>
                    <a:cubicBezTo>
                      <a:pt x="114" y="70"/>
                      <a:pt x="114" y="70"/>
                      <a:pt x="114" y="70"/>
                    </a:cubicBezTo>
                    <a:cubicBezTo>
                      <a:pt x="113" y="70"/>
                      <a:pt x="113" y="70"/>
                      <a:pt x="113" y="70"/>
                    </a:cubicBezTo>
                    <a:cubicBezTo>
                      <a:pt x="113" y="70"/>
                      <a:pt x="113" y="70"/>
                      <a:pt x="114" y="71"/>
                    </a:cubicBezTo>
                    <a:cubicBezTo>
                      <a:pt x="115" y="72"/>
                      <a:pt x="115" y="72"/>
                      <a:pt x="115" y="72"/>
                    </a:cubicBezTo>
                    <a:cubicBezTo>
                      <a:pt x="114" y="72"/>
                      <a:pt x="114" y="72"/>
                      <a:pt x="114" y="72"/>
                    </a:cubicBezTo>
                    <a:cubicBezTo>
                      <a:pt x="113" y="72"/>
                      <a:pt x="113" y="73"/>
                      <a:pt x="112" y="73"/>
                    </a:cubicBezTo>
                    <a:cubicBezTo>
                      <a:pt x="113" y="73"/>
                      <a:pt x="114" y="73"/>
                      <a:pt x="114" y="74"/>
                    </a:cubicBezTo>
                    <a:cubicBezTo>
                      <a:pt x="115" y="74"/>
                      <a:pt x="115" y="74"/>
                      <a:pt x="115" y="74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114" y="75"/>
                      <a:pt x="114" y="75"/>
                      <a:pt x="114" y="76"/>
                    </a:cubicBezTo>
                    <a:cubicBezTo>
                      <a:pt x="114" y="76"/>
                      <a:pt x="114" y="76"/>
                      <a:pt x="113" y="77"/>
                    </a:cubicBezTo>
                    <a:cubicBezTo>
                      <a:pt x="113" y="77"/>
                      <a:pt x="113" y="78"/>
                      <a:pt x="113" y="79"/>
                    </a:cubicBezTo>
                    <a:cubicBezTo>
                      <a:pt x="113" y="80"/>
                      <a:pt x="113" y="80"/>
                      <a:pt x="113" y="80"/>
                    </a:cubicBezTo>
                    <a:cubicBezTo>
                      <a:pt x="112" y="79"/>
                      <a:pt x="112" y="79"/>
                      <a:pt x="112" y="79"/>
                    </a:cubicBezTo>
                    <a:cubicBezTo>
                      <a:pt x="112" y="79"/>
                      <a:pt x="112" y="79"/>
                      <a:pt x="112" y="79"/>
                    </a:cubicBezTo>
                    <a:cubicBezTo>
                      <a:pt x="112" y="79"/>
                      <a:pt x="111" y="81"/>
                      <a:pt x="110" y="82"/>
                    </a:cubicBezTo>
                    <a:cubicBezTo>
                      <a:pt x="110" y="83"/>
                      <a:pt x="110" y="83"/>
                      <a:pt x="110" y="83"/>
                    </a:cubicBezTo>
                    <a:cubicBezTo>
                      <a:pt x="109" y="85"/>
                      <a:pt x="109" y="85"/>
                      <a:pt x="109" y="85"/>
                    </a:cubicBezTo>
                    <a:cubicBezTo>
                      <a:pt x="109" y="85"/>
                      <a:pt x="109" y="86"/>
                      <a:pt x="108" y="86"/>
                    </a:cubicBezTo>
                    <a:cubicBezTo>
                      <a:pt x="108" y="87"/>
                      <a:pt x="108" y="87"/>
                      <a:pt x="108" y="87"/>
                    </a:cubicBezTo>
                    <a:cubicBezTo>
                      <a:pt x="108" y="86"/>
                      <a:pt x="108" y="86"/>
                      <a:pt x="108" y="86"/>
                    </a:cubicBezTo>
                    <a:cubicBezTo>
                      <a:pt x="108" y="87"/>
                      <a:pt x="107" y="87"/>
                      <a:pt x="104" y="90"/>
                    </a:cubicBezTo>
                    <a:cubicBezTo>
                      <a:pt x="104" y="90"/>
                      <a:pt x="104" y="90"/>
                      <a:pt x="104" y="90"/>
                    </a:cubicBezTo>
                    <a:cubicBezTo>
                      <a:pt x="103" y="92"/>
                      <a:pt x="101" y="92"/>
                      <a:pt x="99" y="93"/>
                    </a:cubicBezTo>
                    <a:cubicBezTo>
                      <a:pt x="99" y="93"/>
                      <a:pt x="98" y="93"/>
                      <a:pt x="97" y="93"/>
                    </a:cubicBezTo>
                    <a:cubicBezTo>
                      <a:pt x="97" y="94"/>
                      <a:pt x="97" y="94"/>
                      <a:pt x="97" y="94"/>
                    </a:cubicBezTo>
                    <a:cubicBezTo>
                      <a:pt x="97" y="94"/>
                      <a:pt x="97" y="94"/>
                      <a:pt x="97" y="94"/>
                    </a:cubicBezTo>
                    <a:cubicBezTo>
                      <a:pt x="97" y="94"/>
                      <a:pt x="97" y="94"/>
                      <a:pt x="97" y="94"/>
                    </a:cubicBezTo>
                    <a:cubicBezTo>
                      <a:pt x="96" y="94"/>
                      <a:pt x="96" y="94"/>
                      <a:pt x="96" y="94"/>
                    </a:cubicBezTo>
                    <a:cubicBezTo>
                      <a:pt x="96" y="94"/>
                      <a:pt x="96" y="94"/>
                      <a:pt x="95" y="94"/>
                    </a:cubicBezTo>
                    <a:cubicBezTo>
                      <a:pt x="95" y="94"/>
                      <a:pt x="95" y="94"/>
                      <a:pt x="95" y="94"/>
                    </a:cubicBezTo>
                    <a:cubicBezTo>
                      <a:pt x="95" y="96"/>
                      <a:pt x="95" y="96"/>
                      <a:pt x="95" y="96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93" y="95"/>
                      <a:pt x="91" y="96"/>
                      <a:pt x="90" y="96"/>
                    </a:cubicBezTo>
                    <a:cubicBezTo>
                      <a:pt x="89" y="96"/>
                      <a:pt x="87" y="97"/>
                      <a:pt x="87" y="97"/>
                    </a:cubicBezTo>
                    <a:cubicBezTo>
                      <a:pt x="87" y="97"/>
                      <a:pt x="87" y="98"/>
                      <a:pt x="88" y="98"/>
                    </a:cubicBezTo>
                    <a:cubicBezTo>
                      <a:pt x="88" y="99"/>
                      <a:pt x="88" y="99"/>
                      <a:pt x="88" y="99"/>
                    </a:cubicBezTo>
                    <a:cubicBezTo>
                      <a:pt x="87" y="99"/>
                      <a:pt x="87" y="99"/>
                      <a:pt x="87" y="99"/>
                    </a:cubicBezTo>
                    <a:cubicBezTo>
                      <a:pt x="87" y="99"/>
                      <a:pt x="87" y="99"/>
                      <a:pt x="87" y="99"/>
                    </a:cubicBezTo>
                    <a:close/>
                    <a:moveTo>
                      <a:pt x="86" y="94"/>
                    </a:moveTo>
                    <a:cubicBezTo>
                      <a:pt x="86" y="96"/>
                      <a:pt x="86" y="96"/>
                      <a:pt x="86" y="96"/>
                    </a:cubicBezTo>
                    <a:cubicBezTo>
                      <a:pt x="86" y="96"/>
                      <a:pt x="86" y="96"/>
                      <a:pt x="86" y="97"/>
                    </a:cubicBezTo>
                    <a:cubicBezTo>
                      <a:pt x="86" y="97"/>
                      <a:pt x="86" y="97"/>
                      <a:pt x="86" y="97"/>
                    </a:cubicBezTo>
                    <a:cubicBezTo>
                      <a:pt x="86" y="96"/>
                      <a:pt x="88" y="95"/>
                      <a:pt x="89" y="95"/>
                    </a:cubicBezTo>
                    <a:cubicBezTo>
                      <a:pt x="91" y="94"/>
                      <a:pt x="93" y="94"/>
                      <a:pt x="93" y="93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4" y="93"/>
                      <a:pt x="94" y="93"/>
                      <a:pt x="94" y="92"/>
                    </a:cubicBezTo>
                    <a:cubicBezTo>
                      <a:pt x="95" y="92"/>
                      <a:pt x="95" y="92"/>
                      <a:pt x="95" y="92"/>
                    </a:cubicBezTo>
                    <a:cubicBezTo>
                      <a:pt x="95" y="92"/>
                      <a:pt x="95" y="92"/>
                      <a:pt x="95" y="92"/>
                    </a:cubicBezTo>
                    <a:cubicBezTo>
                      <a:pt x="96" y="92"/>
                      <a:pt x="96" y="92"/>
                      <a:pt x="96" y="92"/>
                    </a:cubicBezTo>
                    <a:cubicBezTo>
                      <a:pt x="96" y="92"/>
                      <a:pt x="96" y="92"/>
                      <a:pt x="96" y="92"/>
                    </a:cubicBezTo>
                    <a:cubicBezTo>
                      <a:pt x="96" y="92"/>
                      <a:pt x="97" y="92"/>
                      <a:pt x="97" y="92"/>
                    </a:cubicBezTo>
                    <a:cubicBezTo>
                      <a:pt x="97" y="92"/>
                      <a:pt x="97" y="92"/>
                      <a:pt x="97" y="92"/>
                    </a:cubicBezTo>
                    <a:cubicBezTo>
                      <a:pt x="98" y="92"/>
                      <a:pt x="98" y="92"/>
                      <a:pt x="98" y="92"/>
                    </a:cubicBezTo>
                    <a:cubicBezTo>
                      <a:pt x="98" y="92"/>
                      <a:pt x="99" y="92"/>
                      <a:pt x="99" y="92"/>
                    </a:cubicBezTo>
                    <a:cubicBezTo>
                      <a:pt x="100" y="91"/>
                      <a:pt x="102" y="91"/>
                      <a:pt x="103" y="89"/>
                    </a:cubicBezTo>
                    <a:cubicBezTo>
                      <a:pt x="103" y="89"/>
                      <a:pt x="103" y="89"/>
                      <a:pt x="104" y="89"/>
                    </a:cubicBezTo>
                    <a:cubicBezTo>
                      <a:pt x="106" y="87"/>
                      <a:pt x="107" y="86"/>
                      <a:pt x="107" y="85"/>
                    </a:cubicBezTo>
                    <a:cubicBezTo>
                      <a:pt x="107" y="85"/>
                      <a:pt x="108" y="85"/>
                      <a:pt x="108" y="84"/>
                    </a:cubicBezTo>
                    <a:cubicBezTo>
                      <a:pt x="108" y="83"/>
                      <a:pt x="108" y="83"/>
                      <a:pt x="108" y="82"/>
                    </a:cubicBezTo>
                    <a:cubicBezTo>
                      <a:pt x="109" y="81"/>
                      <a:pt x="109" y="81"/>
                      <a:pt x="109" y="81"/>
                    </a:cubicBezTo>
                    <a:cubicBezTo>
                      <a:pt x="109" y="81"/>
                      <a:pt x="109" y="81"/>
                      <a:pt x="109" y="81"/>
                    </a:cubicBezTo>
                    <a:cubicBezTo>
                      <a:pt x="110" y="80"/>
                      <a:pt x="111" y="78"/>
                      <a:pt x="112" y="78"/>
                    </a:cubicBezTo>
                    <a:cubicBezTo>
                      <a:pt x="112" y="78"/>
                      <a:pt x="112" y="77"/>
                      <a:pt x="112" y="76"/>
                    </a:cubicBezTo>
                    <a:cubicBezTo>
                      <a:pt x="112" y="76"/>
                      <a:pt x="112" y="76"/>
                      <a:pt x="112" y="76"/>
                    </a:cubicBezTo>
                    <a:cubicBezTo>
                      <a:pt x="113" y="76"/>
                      <a:pt x="113" y="76"/>
                      <a:pt x="113" y="76"/>
                    </a:cubicBezTo>
                    <a:cubicBezTo>
                      <a:pt x="113" y="75"/>
                      <a:pt x="113" y="75"/>
                      <a:pt x="113" y="75"/>
                    </a:cubicBezTo>
                    <a:cubicBezTo>
                      <a:pt x="112" y="75"/>
                      <a:pt x="112" y="75"/>
                      <a:pt x="112" y="75"/>
                    </a:cubicBezTo>
                    <a:cubicBezTo>
                      <a:pt x="113" y="75"/>
                      <a:pt x="113" y="75"/>
                      <a:pt x="113" y="74"/>
                    </a:cubicBezTo>
                    <a:cubicBezTo>
                      <a:pt x="112" y="74"/>
                      <a:pt x="111" y="74"/>
                      <a:pt x="110" y="74"/>
                    </a:cubicBezTo>
                    <a:cubicBezTo>
                      <a:pt x="106" y="75"/>
                      <a:pt x="106" y="75"/>
                      <a:pt x="106" y="75"/>
                    </a:cubicBezTo>
                    <a:cubicBezTo>
                      <a:pt x="109" y="73"/>
                      <a:pt x="109" y="73"/>
                      <a:pt x="109" y="73"/>
                    </a:cubicBezTo>
                    <a:cubicBezTo>
                      <a:pt x="111" y="73"/>
                      <a:pt x="112" y="72"/>
                      <a:pt x="113" y="71"/>
                    </a:cubicBezTo>
                    <a:cubicBezTo>
                      <a:pt x="112" y="70"/>
                      <a:pt x="111" y="69"/>
                      <a:pt x="110" y="69"/>
                    </a:cubicBezTo>
                    <a:cubicBezTo>
                      <a:pt x="106" y="69"/>
                      <a:pt x="106" y="69"/>
                      <a:pt x="106" y="69"/>
                    </a:cubicBezTo>
                    <a:cubicBezTo>
                      <a:pt x="109" y="68"/>
                      <a:pt x="109" y="68"/>
                      <a:pt x="109" y="68"/>
                    </a:cubicBezTo>
                    <a:cubicBezTo>
                      <a:pt x="110" y="68"/>
                      <a:pt x="111" y="68"/>
                      <a:pt x="112" y="68"/>
                    </a:cubicBezTo>
                    <a:cubicBezTo>
                      <a:pt x="112" y="68"/>
                      <a:pt x="111" y="67"/>
                      <a:pt x="111" y="66"/>
                    </a:cubicBezTo>
                    <a:cubicBezTo>
                      <a:pt x="110" y="64"/>
                      <a:pt x="109" y="62"/>
                      <a:pt x="107" y="61"/>
                    </a:cubicBezTo>
                    <a:cubicBezTo>
                      <a:pt x="107" y="61"/>
                      <a:pt x="107" y="61"/>
                      <a:pt x="107" y="61"/>
                    </a:cubicBezTo>
                    <a:cubicBezTo>
                      <a:pt x="107" y="60"/>
                      <a:pt x="107" y="60"/>
                      <a:pt x="107" y="60"/>
                    </a:cubicBezTo>
                    <a:cubicBezTo>
                      <a:pt x="107" y="60"/>
                      <a:pt x="107" y="60"/>
                      <a:pt x="108" y="59"/>
                    </a:cubicBezTo>
                    <a:cubicBezTo>
                      <a:pt x="108" y="59"/>
                      <a:pt x="109" y="58"/>
                      <a:pt x="109" y="57"/>
                    </a:cubicBezTo>
                    <a:cubicBezTo>
                      <a:pt x="109" y="56"/>
                      <a:pt x="109" y="56"/>
                      <a:pt x="109" y="56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10" y="56"/>
                      <a:pt x="111" y="56"/>
                      <a:pt x="111" y="56"/>
                    </a:cubicBezTo>
                    <a:cubicBezTo>
                      <a:pt x="112" y="55"/>
                      <a:pt x="113" y="54"/>
                      <a:pt x="114" y="54"/>
                    </a:cubicBezTo>
                    <a:cubicBezTo>
                      <a:pt x="114" y="54"/>
                      <a:pt x="114" y="54"/>
                      <a:pt x="115" y="54"/>
                    </a:cubicBezTo>
                    <a:cubicBezTo>
                      <a:pt x="115" y="54"/>
                      <a:pt x="115" y="54"/>
                      <a:pt x="115" y="54"/>
                    </a:cubicBezTo>
                    <a:cubicBezTo>
                      <a:pt x="113" y="54"/>
                      <a:pt x="112" y="54"/>
                      <a:pt x="111" y="53"/>
                    </a:cubicBezTo>
                    <a:cubicBezTo>
                      <a:pt x="111" y="53"/>
                      <a:pt x="110" y="54"/>
                      <a:pt x="110" y="54"/>
                    </a:cubicBezTo>
                    <a:cubicBezTo>
                      <a:pt x="109" y="54"/>
                      <a:pt x="108" y="55"/>
                      <a:pt x="108" y="55"/>
                    </a:cubicBezTo>
                    <a:cubicBezTo>
                      <a:pt x="107" y="54"/>
                      <a:pt x="106" y="54"/>
                      <a:pt x="106" y="53"/>
                    </a:cubicBezTo>
                    <a:cubicBezTo>
                      <a:pt x="106" y="53"/>
                      <a:pt x="105" y="52"/>
                      <a:pt x="105" y="52"/>
                    </a:cubicBezTo>
                    <a:cubicBezTo>
                      <a:pt x="104" y="52"/>
                      <a:pt x="104" y="51"/>
                      <a:pt x="103" y="51"/>
                    </a:cubicBezTo>
                    <a:cubicBezTo>
                      <a:pt x="103" y="50"/>
                      <a:pt x="104" y="49"/>
                      <a:pt x="104" y="48"/>
                    </a:cubicBezTo>
                    <a:cubicBezTo>
                      <a:pt x="104" y="48"/>
                      <a:pt x="105" y="48"/>
                      <a:pt x="106" y="48"/>
                    </a:cubicBezTo>
                    <a:cubicBezTo>
                      <a:pt x="106" y="47"/>
                      <a:pt x="107" y="47"/>
                      <a:pt x="107" y="47"/>
                    </a:cubicBezTo>
                    <a:cubicBezTo>
                      <a:pt x="108" y="46"/>
                      <a:pt x="109" y="45"/>
                      <a:pt x="109" y="45"/>
                    </a:cubicBezTo>
                    <a:cubicBezTo>
                      <a:pt x="110" y="45"/>
                      <a:pt x="111" y="44"/>
                      <a:pt x="111" y="44"/>
                    </a:cubicBezTo>
                    <a:cubicBezTo>
                      <a:pt x="112" y="43"/>
                      <a:pt x="112" y="42"/>
                      <a:pt x="113" y="42"/>
                    </a:cubicBezTo>
                    <a:cubicBezTo>
                      <a:pt x="114" y="42"/>
                      <a:pt x="115" y="43"/>
                      <a:pt x="115" y="44"/>
                    </a:cubicBezTo>
                    <a:cubicBezTo>
                      <a:pt x="115" y="45"/>
                      <a:pt x="114" y="46"/>
                      <a:pt x="113" y="47"/>
                    </a:cubicBezTo>
                    <a:cubicBezTo>
                      <a:pt x="113" y="47"/>
                      <a:pt x="113" y="47"/>
                      <a:pt x="113" y="47"/>
                    </a:cubicBezTo>
                    <a:cubicBezTo>
                      <a:pt x="114" y="47"/>
                      <a:pt x="114" y="48"/>
                      <a:pt x="114" y="48"/>
                    </a:cubicBezTo>
                    <a:cubicBezTo>
                      <a:pt x="114" y="48"/>
                      <a:pt x="115" y="48"/>
                      <a:pt x="115" y="47"/>
                    </a:cubicBezTo>
                    <a:cubicBezTo>
                      <a:pt x="116" y="47"/>
                      <a:pt x="116" y="47"/>
                      <a:pt x="116" y="46"/>
                    </a:cubicBezTo>
                    <a:cubicBezTo>
                      <a:pt x="117" y="46"/>
                      <a:pt x="118" y="46"/>
                      <a:pt x="118" y="46"/>
                    </a:cubicBezTo>
                    <a:cubicBezTo>
                      <a:pt x="119" y="46"/>
                      <a:pt x="119" y="46"/>
                      <a:pt x="119" y="46"/>
                    </a:cubicBezTo>
                    <a:cubicBezTo>
                      <a:pt x="119" y="46"/>
                      <a:pt x="119" y="45"/>
                      <a:pt x="120" y="45"/>
                    </a:cubicBezTo>
                    <a:cubicBezTo>
                      <a:pt x="120" y="45"/>
                      <a:pt x="120" y="44"/>
                      <a:pt x="120" y="44"/>
                    </a:cubicBezTo>
                    <a:cubicBezTo>
                      <a:pt x="121" y="44"/>
                      <a:pt x="121" y="43"/>
                      <a:pt x="122" y="43"/>
                    </a:cubicBezTo>
                    <a:cubicBezTo>
                      <a:pt x="123" y="42"/>
                      <a:pt x="124" y="42"/>
                      <a:pt x="125" y="41"/>
                    </a:cubicBezTo>
                    <a:cubicBezTo>
                      <a:pt x="125" y="40"/>
                      <a:pt x="126" y="41"/>
                      <a:pt x="127" y="41"/>
                    </a:cubicBezTo>
                    <a:cubicBezTo>
                      <a:pt x="127" y="41"/>
                      <a:pt x="128" y="41"/>
                      <a:pt x="128" y="41"/>
                    </a:cubicBezTo>
                    <a:cubicBezTo>
                      <a:pt x="128" y="41"/>
                      <a:pt x="128" y="41"/>
                      <a:pt x="128" y="40"/>
                    </a:cubicBezTo>
                    <a:cubicBezTo>
                      <a:pt x="127" y="39"/>
                      <a:pt x="127" y="39"/>
                      <a:pt x="127" y="39"/>
                    </a:cubicBezTo>
                    <a:cubicBezTo>
                      <a:pt x="128" y="39"/>
                      <a:pt x="128" y="39"/>
                      <a:pt x="128" y="39"/>
                    </a:cubicBezTo>
                    <a:cubicBezTo>
                      <a:pt x="130" y="39"/>
                      <a:pt x="131" y="38"/>
                      <a:pt x="132" y="36"/>
                    </a:cubicBezTo>
                    <a:cubicBezTo>
                      <a:pt x="133" y="36"/>
                      <a:pt x="133" y="36"/>
                      <a:pt x="133" y="36"/>
                    </a:cubicBezTo>
                    <a:cubicBezTo>
                      <a:pt x="133" y="36"/>
                      <a:pt x="133" y="36"/>
                      <a:pt x="133" y="36"/>
                    </a:cubicBezTo>
                    <a:cubicBezTo>
                      <a:pt x="133" y="36"/>
                      <a:pt x="133" y="37"/>
                      <a:pt x="133" y="37"/>
                    </a:cubicBezTo>
                    <a:cubicBezTo>
                      <a:pt x="134" y="36"/>
                      <a:pt x="134" y="36"/>
                      <a:pt x="134" y="35"/>
                    </a:cubicBezTo>
                    <a:cubicBezTo>
                      <a:pt x="135" y="35"/>
                      <a:pt x="135" y="34"/>
                      <a:pt x="135" y="33"/>
                    </a:cubicBezTo>
                    <a:cubicBezTo>
                      <a:pt x="134" y="31"/>
                      <a:pt x="135" y="30"/>
                      <a:pt x="136" y="30"/>
                    </a:cubicBezTo>
                    <a:cubicBezTo>
                      <a:pt x="136" y="29"/>
                      <a:pt x="136" y="29"/>
                      <a:pt x="136" y="29"/>
                    </a:cubicBezTo>
                    <a:cubicBezTo>
                      <a:pt x="137" y="29"/>
                      <a:pt x="138" y="29"/>
                      <a:pt x="138" y="29"/>
                    </a:cubicBezTo>
                    <a:cubicBezTo>
                      <a:pt x="138" y="29"/>
                      <a:pt x="139" y="30"/>
                      <a:pt x="139" y="30"/>
                    </a:cubicBezTo>
                    <a:cubicBezTo>
                      <a:pt x="140" y="29"/>
                      <a:pt x="141" y="26"/>
                      <a:pt x="141" y="25"/>
                    </a:cubicBezTo>
                    <a:cubicBezTo>
                      <a:pt x="141" y="24"/>
                      <a:pt x="141" y="24"/>
                      <a:pt x="141" y="24"/>
                    </a:cubicBezTo>
                    <a:cubicBezTo>
                      <a:pt x="142" y="23"/>
                      <a:pt x="142" y="23"/>
                      <a:pt x="142" y="22"/>
                    </a:cubicBezTo>
                    <a:cubicBezTo>
                      <a:pt x="143" y="22"/>
                      <a:pt x="143" y="22"/>
                      <a:pt x="143" y="21"/>
                    </a:cubicBezTo>
                    <a:cubicBezTo>
                      <a:pt x="143" y="21"/>
                      <a:pt x="143" y="21"/>
                      <a:pt x="143" y="20"/>
                    </a:cubicBezTo>
                    <a:cubicBezTo>
                      <a:pt x="143" y="20"/>
                      <a:pt x="143" y="20"/>
                      <a:pt x="143" y="19"/>
                    </a:cubicBezTo>
                    <a:cubicBezTo>
                      <a:pt x="141" y="20"/>
                      <a:pt x="140" y="20"/>
                      <a:pt x="139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2"/>
                      <a:pt x="137" y="22"/>
                      <a:pt x="136" y="22"/>
                    </a:cubicBezTo>
                    <a:cubicBezTo>
                      <a:pt x="135" y="22"/>
                      <a:pt x="134" y="21"/>
                      <a:pt x="134" y="20"/>
                    </a:cubicBezTo>
                    <a:cubicBezTo>
                      <a:pt x="134" y="19"/>
                      <a:pt x="134" y="19"/>
                      <a:pt x="134" y="19"/>
                    </a:cubicBezTo>
                    <a:cubicBezTo>
                      <a:pt x="133" y="17"/>
                      <a:pt x="132" y="16"/>
                      <a:pt x="130" y="15"/>
                    </a:cubicBezTo>
                    <a:cubicBezTo>
                      <a:pt x="126" y="15"/>
                      <a:pt x="126" y="14"/>
                      <a:pt x="126" y="12"/>
                    </a:cubicBezTo>
                    <a:cubicBezTo>
                      <a:pt x="125" y="11"/>
                      <a:pt x="125" y="11"/>
                      <a:pt x="125" y="11"/>
                    </a:cubicBezTo>
                    <a:cubicBezTo>
                      <a:pt x="125" y="10"/>
                      <a:pt x="125" y="9"/>
                      <a:pt x="125" y="8"/>
                    </a:cubicBezTo>
                    <a:cubicBezTo>
                      <a:pt x="124" y="7"/>
                      <a:pt x="124" y="6"/>
                      <a:pt x="124" y="5"/>
                    </a:cubicBezTo>
                    <a:cubicBezTo>
                      <a:pt x="123" y="3"/>
                      <a:pt x="122" y="3"/>
                      <a:pt x="121" y="3"/>
                    </a:cubicBezTo>
                    <a:cubicBezTo>
                      <a:pt x="120" y="2"/>
                      <a:pt x="120" y="2"/>
                      <a:pt x="119" y="2"/>
                    </a:cubicBezTo>
                    <a:cubicBezTo>
                      <a:pt x="119" y="2"/>
                      <a:pt x="119" y="2"/>
                      <a:pt x="118" y="1"/>
                    </a:cubicBezTo>
                    <a:cubicBezTo>
                      <a:pt x="118" y="1"/>
                      <a:pt x="118" y="1"/>
                      <a:pt x="117" y="1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12" y="2"/>
                      <a:pt x="111" y="2"/>
                      <a:pt x="110" y="3"/>
                    </a:cubicBezTo>
                    <a:cubicBezTo>
                      <a:pt x="111" y="3"/>
                      <a:pt x="111" y="4"/>
                      <a:pt x="111" y="4"/>
                    </a:cubicBezTo>
                    <a:cubicBezTo>
                      <a:pt x="112" y="5"/>
                      <a:pt x="111" y="7"/>
                      <a:pt x="110" y="7"/>
                    </a:cubicBezTo>
                    <a:cubicBezTo>
                      <a:pt x="109" y="8"/>
                      <a:pt x="109" y="9"/>
                      <a:pt x="109" y="10"/>
                    </a:cubicBezTo>
                    <a:cubicBezTo>
                      <a:pt x="109" y="10"/>
                      <a:pt x="108" y="11"/>
                      <a:pt x="108" y="12"/>
                    </a:cubicBezTo>
                    <a:cubicBezTo>
                      <a:pt x="108" y="13"/>
                      <a:pt x="107" y="15"/>
                      <a:pt x="104" y="15"/>
                    </a:cubicBezTo>
                    <a:cubicBezTo>
                      <a:pt x="104" y="15"/>
                      <a:pt x="104" y="15"/>
                      <a:pt x="104" y="15"/>
                    </a:cubicBezTo>
                    <a:cubicBezTo>
                      <a:pt x="103" y="15"/>
                      <a:pt x="103" y="15"/>
                      <a:pt x="102" y="14"/>
                    </a:cubicBezTo>
                    <a:cubicBezTo>
                      <a:pt x="102" y="14"/>
                      <a:pt x="101" y="14"/>
                      <a:pt x="101" y="14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100" y="16"/>
                      <a:pt x="100" y="17"/>
                      <a:pt x="99" y="19"/>
                    </a:cubicBezTo>
                    <a:cubicBezTo>
                      <a:pt x="99" y="21"/>
                      <a:pt x="100" y="21"/>
                      <a:pt x="101" y="21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103" y="21"/>
                      <a:pt x="103" y="20"/>
                      <a:pt x="103" y="20"/>
                    </a:cubicBezTo>
                    <a:cubicBezTo>
                      <a:pt x="104" y="20"/>
                      <a:pt x="104" y="19"/>
                      <a:pt x="105" y="19"/>
                    </a:cubicBezTo>
                    <a:cubicBezTo>
                      <a:pt x="105" y="19"/>
                      <a:pt x="106" y="20"/>
                      <a:pt x="106" y="20"/>
                    </a:cubicBezTo>
                    <a:cubicBezTo>
                      <a:pt x="107" y="21"/>
                      <a:pt x="107" y="22"/>
                      <a:pt x="107" y="22"/>
                    </a:cubicBezTo>
                    <a:cubicBezTo>
                      <a:pt x="108" y="23"/>
                      <a:pt x="108" y="23"/>
                      <a:pt x="108" y="24"/>
                    </a:cubicBezTo>
                    <a:cubicBezTo>
                      <a:pt x="109" y="25"/>
                      <a:pt x="109" y="25"/>
                      <a:pt x="109" y="25"/>
                    </a:cubicBezTo>
                    <a:cubicBezTo>
                      <a:pt x="108" y="25"/>
                      <a:pt x="108" y="25"/>
                      <a:pt x="108" y="25"/>
                    </a:cubicBezTo>
                    <a:cubicBezTo>
                      <a:pt x="108" y="25"/>
                      <a:pt x="108" y="25"/>
                      <a:pt x="107" y="25"/>
                    </a:cubicBezTo>
                    <a:cubicBezTo>
                      <a:pt x="106" y="25"/>
                      <a:pt x="106" y="25"/>
                      <a:pt x="106" y="25"/>
                    </a:cubicBezTo>
                    <a:cubicBezTo>
                      <a:pt x="106" y="25"/>
                      <a:pt x="106" y="25"/>
                      <a:pt x="105" y="25"/>
                    </a:cubicBezTo>
                    <a:cubicBezTo>
                      <a:pt x="103" y="25"/>
                      <a:pt x="102" y="25"/>
                      <a:pt x="102" y="25"/>
                    </a:cubicBezTo>
                    <a:cubicBezTo>
                      <a:pt x="102" y="26"/>
                      <a:pt x="102" y="26"/>
                      <a:pt x="101" y="26"/>
                    </a:cubicBezTo>
                    <a:cubicBezTo>
                      <a:pt x="101" y="27"/>
                      <a:pt x="100" y="28"/>
                      <a:pt x="99" y="28"/>
                    </a:cubicBezTo>
                    <a:cubicBezTo>
                      <a:pt x="99" y="28"/>
                      <a:pt x="99" y="29"/>
                      <a:pt x="98" y="29"/>
                    </a:cubicBezTo>
                    <a:cubicBezTo>
                      <a:pt x="98" y="29"/>
                      <a:pt x="98" y="29"/>
                      <a:pt x="97" y="29"/>
                    </a:cubicBezTo>
                    <a:cubicBezTo>
                      <a:pt x="97" y="29"/>
                      <a:pt x="97" y="29"/>
                      <a:pt x="97" y="30"/>
                    </a:cubicBezTo>
                    <a:cubicBezTo>
                      <a:pt x="96" y="31"/>
                      <a:pt x="95" y="31"/>
                      <a:pt x="94" y="31"/>
                    </a:cubicBezTo>
                    <a:cubicBezTo>
                      <a:pt x="94" y="31"/>
                      <a:pt x="94" y="31"/>
                      <a:pt x="94" y="31"/>
                    </a:cubicBezTo>
                    <a:cubicBezTo>
                      <a:pt x="94" y="31"/>
                      <a:pt x="93" y="31"/>
                      <a:pt x="93" y="31"/>
                    </a:cubicBezTo>
                    <a:cubicBezTo>
                      <a:pt x="92" y="31"/>
                      <a:pt x="92" y="30"/>
                      <a:pt x="92" y="30"/>
                    </a:cubicBezTo>
                    <a:cubicBezTo>
                      <a:pt x="91" y="30"/>
                      <a:pt x="91" y="31"/>
                      <a:pt x="91" y="31"/>
                    </a:cubicBezTo>
                    <a:cubicBezTo>
                      <a:pt x="90" y="32"/>
                      <a:pt x="90" y="33"/>
                      <a:pt x="91" y="33"/>
                    </a:cubicBezTo>
                    <a:cubicBezTo>
                      <a:pt x="91" y="34"/>
                      <a:pt x="91" y="34"/>
                      <a:pt x="91" y="34"/>
                    </a:cubicBezTo>
                    <a:cubicBezTo>
                      <a:pt x="91" y="34"/>
                      <a:pt x="91" y="34"/>
                      <a:pt x="91" y="34"/>
                    </a:cubicBezTo>
                    <a:cubicBezTo>
                      <a:pt x="91" y="35"/>
                      <a:pt x="87" y="38"/>
                      <a:pt x="87" y="38"/>
                    </a:cubicBezTo>
                    <a:cubicBezTo>
                      <a:pt x="85" y="39"/>
                      <a:pt x="84" y="39"/>
                      <a:pt x="84" y="39"/>
                    </a:cubicBezTo>
                    <a:cubicBezTo>
                      <a:pt x="83" y="39"/>
                      <a:pt x="83" y="39"/>
                      <a:pt x="83" y="39"/>
                    </a:cubicBezTo>
                    <a:cubicBezTo>
                      <a:pt x="82" y="39"/>
                      <a:pt x="81" y="39"/>
                      <a:pt x="81" y="39"/>
                    </a:cubicBezTo>
                    <a:cubicBezTo>
                      <a:pt x="79" y="39"/>
                      <a:pt x="78" y="40"/>
                      <a:pt x="77" y="40"/>
                    </a:cubicBezTo>
                    <a:cubicBezTo>
                      <a:pt x="76" y="41"/>
                      <a:pt x="75" y="41"/>
                      <a:pt x="74" y="41"/>
                    </a:cubicBezTo>
                    <a:cubicBezTo>
                      <a:pt x="73" y="42"/>
                      <a:pt x="71" y="41"/>
                      <a:pt x="70" y="40"/>
                    </a:cubicBezTo>
                    <a:cubicBezTo>
                      <a:pt x="69" y="40"/>
                      <a:pt x="69" y="40"/>
                      <a:pt x="69" y="40"/>
                    </a:cubicBezTo>
                    <a:cubicBezTo>
                      <a:pt x="68" y="39"/>
                      <a:pt x="67" y="39"/>
                      <a:pt x="66" y="39"/>
                    </a:cubicBezTo>
                    <a:cubicBezTo>
                      <a:pt x="66" y="38"/>
                      <a:pt x="65" y="38"/>
                      <a:pt x="64" y="38"/>
                    </a:cubicBezTo>
                    <a:cubicBezTo>
                      <a:pt x="61" y="38"/>
                      <a:pt x="59" y="38"/>
                      <a:pt x="56" y="38"/>
                    </a:cubicBezTo>
                    <a:cubicBezTo>
                      <a:pt x="56" y="38"/>
                      <a:pt x="56" y="38"/>
                      <a:pt x="56" y="38"/>
                    </a:cubicBezTo>
                    <a:cubicBezTo>
                      <a:pt x="55" y="38"/>
                      <a:pt x="54" y="36"/>
                      <a:pt x="52" y="34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51" y="32"/>
                      <a:pt x="50" y="32"/>
                      <a:pt x="48" y="31"/>
                    </a:cubicBezTo>
                    <a:cubicBezTo>
                      <a:pt x="48" y="31"/>
                      <a:pt x="47" y="31"/>
                      <a:pt x="47" y="31"/>
                    </a:cubicBezTo>
                    <a:cubicBezTo>
                      <a:pt x="46" y="30"/>
                      <a:pt x="45" y="30"/>
                      <a:pt x="44" y="30"/>
                    </a:cubicBezTo>
                    <a:cubicBezTo>
                      <a:pt x="43" y="30"/>
                      <a:pt x="42" y="30"/>
                      <a:pt x="41" y="30"/>
                    </a:cubicBezTo>
                    <a:cubicBezTo>
                      <a:pt x="41" y="29"/>
                      <a:pt x="41" y="29"/>
                      <a:pt x="41" y="28"/>
                    </a:cubicBezTo>
                    <a:cubicBezTo>
                      <a:pt x="41" y="27"/>
                      <a:pt x="41" y="25"/>
                      <a:pt x="41" y="25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0" y="22"/>
                      <a:pt x="40" y="21"/>
                      <a:pt x="38" y="21"/>
                    </a:cubicBezTo>
                    <a:cubicBezTo>
                      <a:pt x="36" y="21"/>
                      <a:pt x="35" y="19"/>
                      <a:pt x="34" y="17"/>
                    </a:cubicBezTo>
                    <a:cubicBezTo>
                      <a:pt x="34" y="18"/>
                      <a:pt x="34" y="18"/>
                      <a:pt x="33" y="18"/>
                    </a:cubicBezTo>
                    <a:cubicBezTo>
                      <a:pt x="33" y="18"/>
                      <a:pt x="33" y="18"/>
                      <a:pt x="32" y="19"/>
                    </a:cubicBezTo>
                    <a:cubicBezTo>
                      <a:pt x="32" y="19"/>
                      <a:pt x="31" y="19"/>
                      <a:pt x="31" y="19"/>
                    </a:cubicBezTo>
                    <a:cubicBezTo>
                      <a:pt x="31" y="20"/>
                      <a:pt x="30" y="20"/>
                      <a:pt x="30" y="20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30" y="22"/>
                      <a:pt x="30" y="23"/>
                      <a:pt x="29" y="24"/>
                    </a:cubicBezTo>
                    <a:cubicBezTo>
                      <a:pt x="28" y="24"/>
                      <a:pt x="28" y="24"/>
                      <a:pt x="27" y="24"/>
                    </a:cubicBezTo>
                    <a:cubicBezTo>
                      <a:pt x="27" y="24"/>
                      <a:pt x="27" y="24"/>
                      <a:pt x="26" y="24"/>
                    </a:cubicBezTo>
                    <a:cubicBezTo>
                      <a:pt x="26" y="24"/>
                      <a:pt x="25" y="24"/>
                      <a:pt x="25" y="23"/>
                    </a:cubicBezTo>
                    <a:cubicBezTo>
                      <a:pt x="25" y="23"/>
                      <a:pt x="25" y="23"/>
                      <a:pt x="24" y="23"/>
                    </a:cubicBezTo>
                    <a:cubicBezTo>
                      <a:pt x="24" y="23"/>
                      <a:pt x="24" y="23"/>
                      <a:pt x="24" y="24"/>
                    </a:cubicBezTo>
                    <a:cubicBezTo>
                      <a:pt x="23" y="24"/>
                      <a:pt x="23" y="25"/>
                      <a:pt x="23" y="25"/>
                    </a:cubicBezTo>
                    <a:cubicBezTo>
                      <a:pt x="23" y="26"/>
                      <a:pt x="22" y="27"/>
                      <a:pt x="23" y="27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9"/>
                      <a:pt x="22" y="30"/>
                      <a:pt x="21" y="30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9" y="33"/>
                      <a:pt x="19" y="35"/>
                      <a:pt x="18" y="38"/>
                    </a:cubicBezTo>
                    <a:cubicBezTo>
                      <a:pt x="18" y="40"/>
                      <a:pt x="16" y="40"/>
                      <a:pt x="15" y="41"/>
                    </a:cubicBezTo>
                    <a:cubicBezTo>
                      <a:pt x="15" y="41"/>
                      <a:pt x="14" y="42"/>
                      <a:pt x="13" y="42"/>
                    </a:cubicBezTo>
                    <a:cubicBezTo>
                      <a:pt x="13" y="43"/>
                      <a:pt x="12" y="43"/>
                      <a:pt x="11" y="43"/>
                    </a:cubicBezTo>
                    <a:cubicBezTo>
                      <a:pt x="10" y="43"/>
                      <a:pt x="10" y="43"/>
                      <a:pt x="10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5"/>
                      <a:pt x="8" y="45"/>
                      <a:pt x="7" y="45"/>
                    </a:cubicBezTo>
                    <a:cubicBezTo>
                      <a:pt x="7" y="45"/>
                      <a:pt x="7" y="45"/>
                      <a:pt x="6" y="45"/>
                    </a:cubicBezTo>
                    <a:cubicBezTo>
                      <a:pt x="5" y="45"/>
                      <a:pt x="4" y="45"/>
                      <a:pt x="3" y="46"/>
                    </a:cubicBezTo>
                    <a:cubicBezTo>
                      <a:pt x="3" y="46"/>
                      <a:pt x="3" y="47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3" y="48"/>
                      <a:pt x="3" y="49"/>
                      <a:pt x="3" y="49"/>
                    </a:cubicBezTo>
                    <a:cubicBezTo>
                      <a:pt x="3" y="49"/>
                      <a:pt x="3" y="50"/>
                      <a:pt x="4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5" y="50"/>
                      <a:pt x="5" y="52"/>
                      <a:pt x="6" y="53"/>
                    </a:cubicBezTo>
                    <a:cubicBezTo>
                      <a:pt x="6" y="53"/>
                      <a:pt x="6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7" y="55"/>
                      <a:pt x="7" y="55"/>
                    </a:cubicBezTo>
                    <a:cubicBezTo>
                      <a:pt x="8" y="56"/>
                      <a:pt x="8" y="56"/>
                      <a:pt x="8" y="57"/>
                    </a:cubicBezTo>
                    <a:cubicBezTo>
                      <a:pt x="8" y="57"/>
                      <a:pt x="8" y="57"/>
                      <a:pt x="8" y="57"/>
                    </a:cubicBezTo>
                    <a:cubicBezTo>
                      <a:pt x="8" y="57"/>
                      <a:pt x="8" y="57"/>
                      <a:pt x="8" y="57"/>
                    </a:cubicBezTo>
                    <a:cubicBezTo>
                      <a:pt x="9" y="57"/>
                      <a:pt x="9" y="57"/>
                      <a:pt x="9" y="58"/>
                    </a:cubicBezTo>
                    <a:cubicBezTo>
                      <a:pt x="10" y="58"/>
                      <a:pt x="10" y="58"/>
                      <a:pt x="11" y="58"/>
                    </a:cubicBezTo>
                    <a:cubicBezTo>
                      <a:pt x="11" y="58"/>
                      <a:pt x="12" y="58"/>
                      <a:pt x="13" y="58"/>
                    </a:cubicBezTo>
                    <a:cubicBezTo>
                      <a:pt x="14" y="57"/>
                      <a:pt x="14" y="57"/>
                      <a:pt x="15" y="57"/>
                    </a:cubicBezTo>
                    <a:cubicBezTo>
                      <a:pt x="16" y="57"/>
                      <a:pt x="17" y="57"/>
                      <a:pt x="17" y="58"/>
                    </a:cubicBezTo>
                    <a:cubicBezTo>
                      <a:pt x="18" y="58"/>
                      <a:pt x="18" y="58"/>
                      <a:pt x="18" y="58"/>
                    </a:cubicBezTo>
                    <a:cubicBezTo>
                      <a:pt x="18" y="59"/>
                      <a:pt x="18" y="59"/>
                      <a:pt x="18" y="59"/>
                    </a:cubicBezTo>
                    <a:cubicBezTo>
                      <a:pt x="18" y="60"/>
                      <a:pt x="17" y="63"/>
                      <a:pt x="15" y="64"/>
                    </a:cubicBezTo>
                    <a:cubicBezTo>
                      <a:pt x="15" y="64"/>
                      <a:pt x="15" y="64"/>
                      <a:pt x="15" y="64"/>
                    </a:cubicBezTo>
                    <a:cubicBezTo>
                      <a:pt x="16" y="65"/>
                      <a:pt x="16" y="66"/>
                      <a:pt x="16" y="67"/>
                    </a:cubicBezTo>
                    <a:cubicBezTo>
                      <a:pt x="16" y="68"/>
                      <a:pt x="15" y="68"/>
                      <a:pt x="14" y="68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9"/>
                      <a:pt x="14" y="70"/>
                      <a:pt x="15" y="71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73"/>
                      <a:pt x="19" y="73"/>
                      <a:pt x="19" y="73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22" y="73"/>
                      <a:pt x="23" y="73"/>
                      <a:pt x="24" y="74"/>
                    </a:cubicBezTo>
                    <a:cubicBezTo>
                      <a:pt x="25" y="75"/>
                      <a:pt x="25" y="75"/>
                      <a:pt x="25" y="75"/>
                    </a:cubicBezTo>
                    <a:cubicBezTo>
                      <a:pt x="25" y="76"/>
                      <a:pt x="25" y="76"/>
                      <a:pt x="25" y="76"/>
                    </a:cubicBezTo>
                    <a:cubicBezTo>
                      <a:pt x="25" y="76"/>
                      <a:pt x="26" y="76"/>
                      <a:pt x="26" y="75"/>
                    </a:cubicBezTo>
                    <a:cubicBezTo>
                      <a:pt x="28" y="74"/>
                      <a:pt x="28" y="74"/>
                      <a:pt x="28" y="74"/>
                    </a:cubicBezTo>
                    <a:cubicBezTo>
                      <a:pt x="27" y="76"/>
                      <a:pt x="27" y="76"/>
                      <a:pt x="27" y="76"/>
                    </a:cubicBezTo>
                    <a:cubicBezTo>
                      <a:pt x="27" y="77"/>
                      <a:pt x="27" y="77"/>
                      <a:pt x="29" y="78"/>
                    </a:cubicBezTo>
                    <a:cubicBezTo>
                      <a:pt x="29" y="78"/>
                      <a:pt x="30" y="78"/>
                      <a:pt x="31" y="79"/>
                    </a:cubicBezTo>
                    <a:cubicBezTo>
                      <a:pt x="31" y="79"/>
                      <a:pt x="31" y="79"/>
                      <a:pt x="32" y="79"/>
                    </a:cubicBezTo>
                    <a:cubicBezTo>
                      <a:pt x="34" y="79"/>
                      <a:pt x="36" y="79"/>
                      <a:pt x="37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7" y="80"/>
                      <a:pt x="37" y="80"/>
                      <a:pt x="37" y="80"/>
                    </a:cubicBezTo>
                    <a:cubicBezTo>
                      <a:pt x="38" y="80"/>
                      <a:pt x="39" y="79"/>
                      <a:pt x="39" y="79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9" y="78"/>
                      <a:pt x="40" y="78"/>
                      <a:pt x="40" y="78"/>
                    </a:cubicBezTo>
                    <a:cubicBezTo>
                      <a:pt x="41" y="78"/>
                      <a:pt x="42" y="78"/>
                      <a:pt x="42" y="79"/>
                    </a:cubicBezTo>
                    <a:cubicBezTo>
                      <a:pt x="43" y="79"/>
                      <a:pt x="43" y="79"/>
                      <a:pt x="44" y="79"/>
                    </a:cubicBezTo>
                    <a:cubicBezTo>
                      <a:pt x="46" y="78"/>
                      <a:pt x="47" y="78"/>
                      <a:pt x="49" y="76"/>
                    </a:cubicBezTo>
                    <a:cubicBezTo>
                      <a:pt x="50" y="76"/>
                      <a:pt x="51" y="75"/>
                      <a:pt x="51" y="75"/>
                    </a:cubicBezTo>
                    <a:cubicBezTo>
                      <a:pt x="52" y="75"/>
                      <a:pt x="53" y="75"/>
                      <a:pt x="53" y="75"/>
                    </a:cubicBezTo>
                    <a:cubicBezTo>
                      <a:pt x="54" y="75"/>
                      <a:pt x="54" y="75"/>
                      <a:pt x="54" y="75"/>
                    </a:cubicBezTo>
                    <a:cubicBezTo>
                      <a:pt x="54" y="75"/>
                      <a:pt x="54" y="75"/>
                      <a:pt x="54" y="75"/>
                    </a:cubicBezTo>
                    <a:cubicBezTo>
                      <a:pt x="55" y="76"/>
                      <a:pt x="55" y="77"/>
                      <a:pt x="55" y="77"/>
                    </a:cubicBezTo>
                    <a:cubicBezTo>
                      <a:pt x="55" y="77"/>
                      <a:pt x="55" y="78"/>
                      <a:pt x="55" y="78"/>
                    </a:cubicBezTo>
                    <a:cubicBezTo>
                      <a:pt x="56" y="78"/>
                      <a:pt x="56" y="78"/>
                      <a:pt x="57" y="78"/>
                    </a:cubicBezTo>
                    <a:cubicBezTo>
                      <a:pt x="58" y="78"/>
                      <a:pt x="59" y="79"/>
                      <a:pt x="60" y="80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61" y="82"/>
                      <a:pt x="60" y="84"/>
                      <a:pt x="59" y="89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9" y="89"/>
                      <a:pt x="59" y="89"/>
                      <a:pt x="59" y="89"/>
                    </a:cubicBezTo>
                    <a:cubicBezTo>
                      <a:pt x="60" y="89"/>
                      <a:pt x="61" y="89"/>
                      <a:pt x="61" y="90"/>
                    </a:cubicBezTo>
                    <a:cubicBezTo>
                      <a:pt x="61" y="91"/>
                      <a:pt x="61" y="91"/>
                      <a:pt x="62" y="91"/>
                    </a:cubicBezTo>
                    <a:cubicBezTo>
                      <a:pt x="62" y="91"/>
                      <a:pt x="62" y="92"/>
                      <a:pt x="62" y="93"/>
                    </a:cubicBezTo>
                    <a:cubicBezTo>
                      <a:pt x="62" y="93"/>
                      <a:pt x="63" y="95"/>
                      <a:pt x="64" y="95"/>
                    </a:cubicBezTo>
                    <a:cubicBezTo>
                      <a:pt x="64" y="95"/>
                      <a:pt x="64" y="95"/>
                      <a:pt x="65" y="95"/>
                    </a:cubicBezTo>
                    <a:cubicBezTo>
                      <a:pt x="65" y="95"/>
                      <a:pt x="65" y="95"/>
                      <a:pt x="65" y="95"/>
                    </a:cubicBezTo>
                    <a:cubicBezTo>
                      <a:pt x="66" y="95"/>
                      <a:pt x="66" y="95"/>
                      <a:pt x="66" y="95"/>
                    </a:cubicBezTo>
                    <a:cubicBezTo>
                      <a:pt x="66" y="95"/>
                      <a:pt x="66" y="95"/>
                      <a:pt x="66" y="95"/>
                    </a:cubicBezTo>
                    <a:cubicBezTo>
                      <a:pt x="66" y="94"/>
                      <a:pt x="66" y="94"/>
                      <a:pt x="66" y="94"/>
                    </a:cubicBezTo>
                    <a:cubicBezTo>
                      <a:pt x="66" y="93"/>
                      <a:pt x="66" y="93"/>
                      <a:pt x="66" y="93"/>
                    </a:cubicBezTo>
                    <a:cubicBezTo>
                      <a:pt x="66" y="93"/>
                      <a:pt x="67" y="93"/>
                      <a:pt x="67" y="93"/>
                    </a:cubicBezTo>
                    <a:cubicBezTo>
                      <a:pt x="67" y="93"/>
                      <a:pt x="68" y="93"/>
                      <a:pt x="68" y="93"/>
                    </a:cubicBezTo>
                    <a:cubicBezTo>
                      <a:pt x="68" y="93"/>
                      <a:pt x="68" y="93"/>
                      <a:pt x="68" y="93"/>
                    </a:cubicBezTo>
                    <a:cubicBezTo>
                      <a:pt x="68" y="92"/>
                      <a:pt x="68" y="92"/>
                      <a:pt x="69" y="92"/>
                    </a:cubicBezTo>
                    <a:cubicBezTo>
                      <a:pt x="69" y="92"/>
                      <a:pt x="69" y="92"/>
                      <a:pt x="69" y="92"/>
                    </a:cubicBezTo>
                    <a:cubicBezTo>
                      <a:pt x="69" y="92"/>
                      <a:pt x="70" y="92"/>
                      <a:pt x="70" y="92"/>
                    </a:cubicBezTo>
                    <a:cubicBezTo>
                      <a:pt x="70" y="92"/>
                      <a:pt x="70" y="93"/>
                      <a:pt x="70" y="93"/>
                    </a:cubicBezTo>
                    <a:cubicBezTo>
                      <a:pt x="70" y="93"/>
                      <a:pt x="70" y="92"/>
                      <a:pt x="70" y="92"/>
                    </a:cubicBezTo>
                    <a:cubicBezTo>
                      <a:pt x="71" y="92"/>
                      <a:pt x="71" y="92"/>
                      <a:pt x="72" y="92"/>
                    </a:cubicBezTo>
                    <a:cubicBezTo>
                      <a:pt x="72" y="92"/>
                      <a:pt x="72" y="92"/>
                      <a:pt x="72" y="92"/>
                    </a:cubicBezTo>
                    <a:cubicBezTo>
                      <a:pt x="73" y="92"/>
                      <a:pt x="75" y="91"/>
                      <a:pt x="76" y="91"/>
                    </a:cubicBezTo>
                    <a:cubicBezTo>
                      <a:pt x="77" y="91"/>
                      <a:pt x="78" y="92"/>
                      <a:pt x="79" y="93"/>
                    </a:cubicBezTo>
                    <a:cubicBezTo>
                      <a:pt x="79" y="94"/>
                      <a:pt x="80" y="95"/>
                      <a:pt x="81" y="95"/>
                    </a:cubicBezTo>
                    <a:cubicBezTo>
                      <a:pt x="81" y="95"/>
                      <a:pt x="81" y="95"/>
                      <a:pt x="82" y="95"/>
                    </a:cubicBezTo>
                    <a:cubicBezTo>
                      <a:pt x="82" y="94"/>
                      <a:pt x="82" y="94"/>
                      <a:pt x="82" y="94"/>
                    </a:cubicBezTo>
                    <a:cubicBezTo>
                      <a:pt x="82" y="95"/>
                      <a:pt x="82" y="95"/>
                      <a:pt x="82" y="95"/>
                    </a:cubicBezTo>
                    <a:cubicBezTo>
                      <a:pt x="83" y="95"/>
                      <a:pt x="83" y="95"/>
                      <a:pt x="84" y="95"/>
                    </a:cubicBezTo>
                    <a:cubicBezTo>
                      <a:pt x="84" y="95"/>
                      <a:pt x="84" y="95"/>
                      <a:pt x="85" y="95"/>
                    </a:cubicBezTo>
                    <a:cubicBezTo>
                      <a:pt x="85" y="95"/>
                      <a:pt x="85" y="95"/>
                      <a:pt x="85" y="95"/>
                    </a:cubicBezTo>
                    <a:lnTo>
                      <a:pt x="86" y="9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4" name="Freeform 598"/>
              <p:cNvSpPr/>
              <p:nvPr/>
            </p:nvSpPr>
            <p:spPr bwMode="auto">
              <a:xfrm>
                <a:off x="3404" y="1690"/>
                <a:ext cx="24" cy="11"/>
              </a:xfrm>
              <a:custGeom>
                <a:avLst/>
                <a:gdLst>
                  <a:gd name="T0" fmla="*/ 258785 w 10"/>
                  <a:gd name="T1" fmla="*/ 0 h 5"/>
                  <a:gd name="T2" fmla="*/ 153278 w 10"/>
                  <a:gd name="T3" fmla="*/ 53176 h 5"/>
                  <a:gd name="T4" fmla="*/ 258785 w 10"/>
                  <a:gd name="T5" fmla="*/ 0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7" y="0"/>
                    </a:moveTo>
                    <a:cubicBezTo>
                      <a:pt x="10" y="1"/>
                      <a:pt x="7" y="5"/>
                      <a:pt x="4" y="4"/>
                    </a:cubicBezTo>
                    <a:cubicBezTo>
                      <a:pt x="0" y="3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F83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5" name="Freeform 599"/>
              <p:cNvSpPr>
                <a:spLocks noEditPoints="1"/>
              </p:cNvSpPr>
              <p:nvPr/>
            </p:nvSpPr>
            <p:spPr bwMode="auto">
              <a:xfrm>
                <a:off x="3409" y="1690"/>
                <a:ext cx="17" cy="11"/>
              </a:xfrm>
              <a:custGeom>
                <a:avLst/>
                <a:gdLst>
                  <a:gd name="T0" fmla="*/ 121050 w 7"/>
                  <a:gd name="T1" fmla="*/ 64066 h 5"/>
                  <a:gd name="T2" fmla="*/ 84735 w 7"/>
                  <a:gd name="T3" fmla="*/ 64066 h 5"/>
                  <a:gd name="T4" fmla="*/ 0 w 7"/>
                  <a:gd name="T5" fmla="*/ 40152 h 5"/>
                  <a:gd name="T6" fmla="*/ 205785 w 7"/>
                  <a:gd name="T7" fmla="*/ 0 h 5"/>
                  <a:gd name="T8" fmla="*/ 293979 w 7"/>
                  <a:gd name="T9" fmla="*/ 10987 h 5"/>
                  <a:gd name="T10" fmla="*/ 121050 w 7"/>
                  <a:gd name="T11" fmla="*/ 64066 h 5"/>
                  <a:gd name="T12" fmla="*/ 205785 w 7"/>
                  <a:gd name="T13" fmla="*/ 10987 h 5"/>
                  <a:gd name="T14" fmla="*/ 34891 w 7"/>
                  <a:gd name="T15" fmla="*/ 40152 h 5"/>
                  <a:gd name="T16" fmla="*/ 121050 w 7"/>
                  <a:gd name="T17" fmla="*/ 53176 h 5"/>
                  <a:gd name="T18" fmla="*/ 255046 w 7"/>
                  <a:gd name="T19" fmla="*/ 10987 h 5"/>
                  <a:gd name="T20" fmla="*/ 205785 w 7"/>
                  <a:gd name="T21" fmla="*/ 10987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7" h="5">
                    <a:moveTo>
                      <a:pt x="3" y="5"/>
                    </a:moveTo>
                    <a:cubicBezTo>
                      <a:pt x="3" y="5"/>
                      <a:pt x="2" y="5"/>
                      <a:pt x="2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1"/>
                      <a:pt x="4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ubicBezTo>
                      <a:pt x="7" y="3"/>
                      <a:pt x="5" y="5"/>
                      <a:pt x="3" y="5"/>
                    </a:cubicBezTo>
                    <a:close/>
                    <a:moveTo>
                      <a:pt x="5" y="1"/>
                    </a:moveTo>
                    <a:cubicBezTo>
                      <a:pt x="4" y="1"/>
                      <a:pt x="2" y="2"/>
                      <a:pt x="1" y="3"/>
                    </a:cubicBezTo>
                    <a:cubicBezTo>
                      <a:pt x="1" y="3"/>
                      <a:pt x="2" y="4"/>
                      <a:pt x="3" y="4"/>
                    </a:cubicBezTo>
                    <a:cubicBezTo>
                      <a:pt x="4" y="4"/>
                      <a:pt x="6" y="2"/>
                      <a:pt x="6" y="1"/>
                    </a:cubicBezTo>
                    <a:cubicBezTo>
                      <a:pt x="6" y="1"/>
                      <a:pt x="6" y="1"/>
                      <a:pt x="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6" name="Freeform 600"/>
              <p:cNvSpPr/>
              <p:nvPr/>
            </p:nvSpPr>
            <p:spPr bwMode="auto">
              <a:xfrm>
                <a:off x="3471" y="1659"/>
                <a:ext cx="16" cy="21"/>
              </a:xfrm>
              <a:custGeom>
                <a:avLst/>
                <a:gdLst>
                  <a:gd name="T0" fmla="*/ 96809 w 7"/>
                  <a:gd name="T1" fmla="*/ 0 h 9"/>
                  <a:gd name="T2" fmla="*/ 63184 w 7"/>
                  <a:gd name="T3" fmla="*/ 233849 h 9"/>
                  <a:gd name="T4" fmla="*/ 96809 w 7"/>
                  <a:gd name="T5" fmla="*/ 0 h 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9">
                    <a:moveTo>
                      <a:pt x="5" y="0"/>
                    </a:moveTo>
                    <a:cubicBezTo>
                      <a:pt x="7" y="1"/>
                      <a:pt x="4" y="7"/>
                      <a:pt x="3" y="9"/>
                    </a:cubicBezTo>
                    <a:cubicBezTo>
                      <a:pt x="2" y="6"/>
                      <a:pt x="0" y="1"/>
                      <a:pt x="5" y="0"/>
                    </a:cubicBezTo>
                    <a:close/>
                  </a:path>
                </a:pathLst>
              </a:custGeom>
              <a:solidFill>
                <a:srgbClr val="F83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7" name="Freeform 601"/>
              <p:cNvSpPr>
                <a:spLocks noEditPoints="1"/>
              </p:cNvSpPr>
              <p:nvPr/>
            </p:nvSpPr>
            <p:spPr bwMode="auto">
              <a:xfrm>
                <a:off x="3473" y="1659"/>
                <a:ext cx="12" cy="24"/>
              </a:xfrm>
              <a:custGeom>
                <a:avLst/>
                <a:gdLst>
                  <a:gd name="T0" fmla="*/ 76999 w 5"/>
                  <a:gd name="T1" fmla="*/ 367867 h 10"/>
                  <a:gd name="T2" fmla="*/ 76999 w 5"/>
                  <a:gd name="T3" fmla="*/ 335784 h 10"/>
                  <a:gd name="T4" fmla="*/ 0 w 5"/>
                  <a:gd name="T5" fmla="*/ 76999 h 10"/>
                  <a:gd name="T6" fmla="*/ 107827 w 5"/>
                  <a:gd name="T7" fmla="*/ 0 h 10"/>
                  <a:gd name="T8" fmla="*/ 153278 w 5"/>
                  <a:gd name="T9" fmla="*/ 0 h 10"/>
                  <a:gd name="T10" fmla="*/ 153278 w 5"/>
                  <a:gd name="T11" fmla="*/ 0 h 10"/>
                  <a:gd name="T12" fmla="*/ 184798 w 5"/>
                  <a:gd name="T13" fmla="*/ 32083 h 10"/>
                  <a:gd name="T14" fmla="*/ 107827 w 5"/>
                  <a:gd name="T15" fmla="*/ 290868 h 10"/>
                  <a:gd name="T16" fmla="*/ 107827 w 5"/>
                  <a:gd name="T17" fmla="*/ 335784 h 10"/>
                  <a:gd name="T18" fmla="*/ 76999 w 5"/>
                  <a:gd name="T19" fmla="*/ 367867 h 10"/>
                  <a:gd name="T20" fmla="*/ 153278 w 5"/>
                  <a:gd name="T21" fmla="*/ 32083 h 10"/>
                  <a:gd name="T22" fmla="*/ 76999 w 5"/>
                  <a:gd name="T23" fmla="*/ 107827 h 10"/>
                  <a:gd name="T24" fmla="*/ 76999 w 5"/>
                  <a:gd name="T25" fmla="*/ 258785 h 10"/>
                  <a:gd name="T26" fmla="*/ 76999 w 5"/>
                  <a:gd name="T27" fmla="*/ 258785 h 10"/>
                  <a:gd name="T28" fmla="*/ 153278 w 5"/>
                  <a:gd name="T29" fmla="*/ 32083 h 10"/>
                  <a:gd name="T30" fmla="*/ 153278 w 5"/>
                  <a:gd name="T31" fmla="*/ 32083 h 1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" h="10">
                    <a:moveTo>
                      <a:pt x="2" y="10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0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5" y="2"/>
                      <a:pt x="4" y="5"/>
                      <a:pt x="3" y="8"/>
                    </a:cubicBezTo>
                    <a:cubicBezTo>
                      <a:pt x="3" y="8"/>
                      <a:pt x="3" y="9"/>
                      <a:pt x="3" y="9"/>
                    </a:cubicBezTo>
                    <a:lnTo>
                      <a:pt x="2" y="10"/>
                    </a:lnTo>
                    <a:close/>
                    <a:moveTo>
                      <a:pt x="4" y="1"/>
                    </a:moveTo>
                    <a:cubicBezTo>
                      <a:pt x="3" y="1"/>
                      <a:pt x="2" y="2"/>
                      <a:pt x="2" y="3"/>
                    </a:cubicBezTo>
                    <a:cubicBezTo>
                      <a:pt x="1" y="4"/>
                      <a:pt x="1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6"/>
                      <a:pt x="4" y="2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8" name="Freeform 602"/>
              <p:cNvSpPr/>
              <p:nvPr/>
            </p:nvSpPr>
            <p:spPr bwMode="auto">
              <a:xfrm>
                <a:off x="3582" y="1524"/>
                <a:ext cx="33" cy="29"/>
              </a:xfrm>
              <a:custGeom>
                <a:avLst/>
                <a:gdLst>
                  <a:gd name="T0" fmla="*/ 350597 w 14"/>
                  <a:gd name="T1" fmla="*/ 162734 h 12"/>
                  <a:gd name="T2" fmla="*/ 386100 w 14"/>
                  <a:gd name="T3" fmla="*/ 162734 h 12"/>
                  <a:gd name="T4" fmla="*/ 413537 w 14"/>
                  <a:gd name="T5" fmla="*/ 243977 h 12"/>
                  <a:gd name="T6" fmla="*/ 301170 w 14"/>
                  <a:gd name="T7" fmla="*/ 311917 h 12"/>
                  <a:gd name="T8" fmla="*/ 238107 w 14"/>
                  <a:gd name="T9" fmla="*/ 441092 h 12"/>
                  <a:gd name="T10" fmla="*/ 148738 w 14"/>
                  <a:gd name="T11" fmla="*/ 359581 h 12"/>
                  <a:gd name="T12" fmla="*/ 89708 w 14"/>
                  <a:gd name="T13" fmla="*/ 359581 h 12"/>
                  <a:gd name="T14" fmla="*/ 89708 w 14"/>
                  <a:gd name="T15" fmla="*/ 441092 h 12"/>
                  <a:gd name="T16" fmla="*/ 26770 w 14"/>
                  <a:gd name="T17" fmla="*/ 474728 h 12"/>
                  <a:gd name="T18" fmla="*/ 0 w 14"/>
                  <a:gd name="T19" fmla="*/ 359581 h 12"/>
                  <a:gd name="T20" fmla="*/ 63101 w 14"/>
                  <a:gd name="T21" fmla="*/ 278301 h 12"/>
                  <a:gd name="T22" fmla="*/ 148738 w 14"/>
                  <a:gd name="T23" fmla="*/ 0 h 12"/>
                  <a:gd name="T24" fmla="*/ 350597 w 14"/>
                  <a:gd name="T25" fmla="*/ 162734 h 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4" h="12">
                    <a:moveTo>
                      <a:pt x="12" y="4"/>
                    </a:moveTo>
                    <a:cubicBezTo>
                      <a:pt x="13" y="4"/>
                      <a:pt x="13" y="4"/>
                      <a:pt x="13" y="4"/>
                    </a:cubicBezTo>
                    <a:cubicBezTo>
                      <a:pt x="12" y="5"/>
                      <a:pt x="12" y="7"/>
                      <a:pt x="14" y="6"/>
                    </a:cubicBezTo>
                    <a:cubicBezTo>
                      <a:pt x="13" y="7"/>
                      <a:pt x="12" y="7"/>
                      <a:pt x="10" y="8"/>
                    </a:cubicBezTo>
                    <a:cubicBezTo>
                      <a:pt x="9" y="8"/>
                      <a:pt x="9" y="10"/>
                      <a:pt x="8" y="11"/>
                    </a:cubicBezTo>
                    <a:cubicBezTo>
                      <a:pt x="7" y="10"/>
                      <a:pt x="6" y="10"/>
                      <a:pt x="5" y="9"/>
                    </a:cubicBezTo>
                    <a:cubicBezTo>
                      <a:pt x="5" y="9"/>
                      <a:pt x="4" y="9"/>
                      <a:pt x="3" y="9"/>
                    </a:cubicBezTo>
                    <a:cubicBezTo>
                      <a:pt x="1" y="9"/>
                      <a:pt x="2" y="11"/>
                      <a:pt x="3" y="11"/>
                    </a:cubicBezTo>
                    <a:cubicBezTo>
                      <a:pt x="3" y="12"/>
                      <a:pt x="2" y="12"/>
                      <a:pt x="1" y="12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1" y="8"/>
                      <a:pt x="2" y="8"/>
                      <a:pt x="2" y="7"/>
                    </a:cubicBezTo>
                    <a:cubicBezTo>
                      <a:pt x="6" y="8"/>
                      <a:pt x="4" y="1"/>
                      <a:pt x="5" y="0"/>
                    </a:cubicBezTo>
                    <a:cubicBezTo>
                      <a:pt x="6" y="1"/>
                      <a:pt x="10" y="6"/>
                      <a:pt x="12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9" name="Freeform 603"/>
              <p:cNvSpPr>
                <a:spLocks noEditPoints="1"/>
              </p:cNvSpPr>
              <p:nvPr/>
            </p:nvSpPr>
            <p:spPr bwMode="auto">
              <a:xfrm>
                <a:off x="3582" y="1522"/>
                <a:ext cx="40" cy="33"/>
              </a:xfrm>
              <a:custGeom>
                <a:avLst/>
                <a:gdLst>
                  <a:gd name="T0" fmla="*/ 0 w 17"/>
                  <a:gd name="T1" fmla="*/ 413537 h 14"/>
                  <a:gd name="T2" fmla="*/ 0 w 17"/>
                  <a:gd name="T3" fmla="*/ 386100 h 14"/>
                  <a:gd name="T4" fmla="*/ 0 w 17"/>
                  <a:gd name="T5" fmla="*/ 350597 h 14"/>
                  <a:gd name="T6" fmla="*/ 0 w 17"/>
                  <a:gd name="T7" fmla="*/ 301170 h 14"/>
                  <a:gd name="T8" fmla="*/ 26325 w 17"/>
                  <a:gd name="T9" fmla="*/ 264811 h 14"/>
                  <a:gd name="T10" fmla="*/ 26325 w 17"/>
                  <a:gd name="T11" fmla="*/ 238107 h 14"/>
                  <a:gd name="T12" fmla="*/ 26325 w 17"/>
                  <a:gd name="T13" fmla="*/ 211455 h 14"/>
                  <a:gd name="T14" fmla="*/ 61941 w 17"/>
                  <a:gd name="T15" fmla="*/ 211455 h 14"/>
                  <a:gd name="T16" fmla="*/ 83527 w 17"/>
                  <a:gd name="T17" fmla="*/ 211455 h 14"/>
                  <a:gd name="T18" fmla="*/ 108264 w 17"/>
                  <a:gd name="T19" fmla="*/ 112344 h 14"/>
                  <a:gd name="T20" fmla="*/ 145744 w 17"/>
                  <a:gd name="T21" fmla="*/ 0 h 14"/>
                  <a:gd name="T22" fmla="*/ 145744 w 17"/>
                  <a:gd name="T23" fmla="*/ 0 h 14"/>
                  <a:gd name="T24" fmla="*/ 145744 w 17"/>
                  <a:gd name="T25" fmla="*/ 0 h 14"/>
                  <a:gd name="T26" fmla="*/ 172927 w 17"/>
                  <a:gd name="T27" fmla="*/ 26770 h 14"/>
                  <a:gd name="T28" fmla="*/ 318711 w 17"/>
                  <a:gd name="T29" fmla="*/ 148738 h 14"/>
                  <a:gd name="T30" fmla="*/ 318711 w 17"/>
                  <a:gd name="T31" fmla="*/ 148738 h 14"/>
                  <a:gd name="T32" fmla="*/ 342927 w 17"/>
                  <a:gd name="T33" fmla="*/ 148738 h 14"/>
                  <a:gd name="T34" fmla="*/ 426442 w 17"/>
                  <a:gd name="T35" fmla="*/ 63101 h 14"/>
                  <a:gd name="T36" fmla="*/ 406887 w 17"/>
                  <a:gd name="T37" fmla="*/ 148738 h 14"/>
                  <a:gd name="T38" fmla="*/ 380445 w 17"/>
                  <a:gd name="T39" fmla="*/ 211455 h 14"/>
                  <a:gd name="T40" fmla="*/ 406887 w 17"/>
                  <a:gd name="T41" fmla="*/ 211455 h 14"/>
                  <a:gd name="T42" fmla="*/ 488696 w 17"/>
                  <a:gd name="T43" fmla="*/ 148738 h 14"/>
                  <a:gd name="T44" fmla="*/ 426442 w 17"/>
                  <a:gd name="T45" fmla="*/ 238107 h 14"/>
                  <a:gd name="T46" fmla="*/ 342927 w 17"/>
                  <a:gd name="T47" fmla="*/ 264811 h 14"/>
                  <a:gd name="T48" fmla="*/ 318711 w 17"/>
                  <a:gd name="T49" fmla="*/ 264811 h 14"/>
                  <a:gd name="T50" fmla="*/ 254739 w 17"/>
                  <a:gd name="T51" fmla="*/ 322999 h 14"/>
                  <a:gd name="T52" fmla="*/ 254739 w 17"/>
                  <a:gd name="T53" fmla="*/ 350597 h 14"/>
                  <a:gd name="T54" fmla="*/ 234026 w 17"/>
                  <a:gd name="T55" fmla="*/ 386100 h 14"/>
                  <a:gd name="T56" fmla="*/ 145744 w 17"/>
                  <a:gd name="T57" fmla="*/ 322999 h 14"/>
                  <a:gd name="T58" fmla="*/ 108264 w 17"/>
                  <a:gd name="T59" fmla="*/ 322999 h 14"/>
                  <a:gd name="T60" fmla="*/ 83527 w 17"/>
                  <a:gd name="T61" fmla="*/ 322999 h 14"/>
                  <a:gd name="T62" fmla="*/ 61941 w 17"/>
                  <a:gd name="T63" fmla="*/ 322999 h 14"/>
                  <a:gd name="T64" fmla="*/ 108264 w 17"/>
                  <a:gd name="T65" fmla="*/ 350597 h 14"/>
                  <a:gd name="T66" fmla="*/ 145744 w 17"/>
                  <a:gd name="T67" fmla="*/ 350597 h 14"/>
                  <a:gd name="T68" fmla="*/ 108264 w 17"/>
                  <a:gd name="T69" fmla="*/ 386100 h 14"/>
                  <a:gd name="T70" fmla="*/ 26325 w 17"/>
                  <a:gd name="T71" fmla="*/ 413537 h 14"/>
                  <a:gd name="T72" fmla="*/ 0 w 17"/>
                  <a:gd name="T73" fmla="*/ 413537 h 14"/>
                  <a:gd name="T74" fmla="*/ 61941 w 17"/>
                  <a:gd name="T75" fmla="*/ 238107 h 14"/>
                  <a:gd name="T76" fmla="*/ 26325 w 17"/>
                  <a:gd name="T77" fmla="*/ 301170 h 14"/>
                  <a:gd name="T78" fmla="*/ 26325 w 17"/>
                  <a:gd name="T79" fmla="*/ 322999 h 14"/>
                  <a:gd name="T80" fmla="*/ 26325 w 17"/>
                  <a:gd name="T81" fmla="*/ 322999 h 14"/>
                  <a:gd name="T82" fmla="*/ 61941 w 17"/>
                  <a:gd name="T83" fmla="*/ 350597 h 14"/>
                  <a:gd name="T84" fmla="*/ 61941 w 17"/>
                  <a:gd name="T85" fmla="*/ 350597 h 14"/>
                  <a:gd name="T86" fmla="*/ 26325 w 17"/>
                  <a:gd name="T87" fmla="*/ 301170 h 14"/>
                  <a:gd name="T88" fmla="*/ 83527 w 17"/>
                  <a:gd name="T89" fmla="*/ 301170 h 14"/>
                  <a:gd name="T90" fmla="*/ 108264 w 17"/>
                  <a:gd name="T91" fmla="*/ 301170 h 14"/>
                  <a:gd name="T92" fmla="*/ 172927 w 17"/>
                  <a:gd name="T93" fmla="*/ 301170 h 14"/>
                  <a:gd name="T94" fmla="*/ 234026 w 17"/>
                  <a:gd name="T95" fmla="*/ 322999 h 14"/>
                  <a:gd name="T96" fmla="*/ 234026 w 17"/>
                  <a:gd name="T97" fmla="*/ 322999 h 14"/>
                  <a:gd name="T98" fmla="*/ 292231 w 17"/>
                  <a:gd name="T99" fmla="*/ 238107 h 14"/>
                  <a:gd name="T100" fmla="*/ 318711 w 17"/>
                  <a:gd name="T101" fmla="*/ 238107 h 14"/>
                  <a:gd name="T102" fmla="*/ 380445 w 17"/>
                  <a:gd name="T103" fmla="*/ 238107 h 14"/>
                  <a:gd name="T104" fmla="*/ 342927 w 17"/>
                  <a:gd name="T105" fmla="*/ 211455 h 14"/>
                  <a:gd name="T106" fmla="*/ 342927 w 17"/>
                  <a:gd name="T107" fmla="*/ 175440 h 14"/>
                  <a:gd name="T108" fmla="*/ 318711 w 17"/>
                  <a:gd name="T109" fmla="*/ 175440 h 14"/>
                  <a:gd name="T110" fmla="*/ 318711 w 17"/>
                  <a:gd name="T111" fmla="*/ 175440 h 14"/>
                  <a:gd name="T112" fmla="*/ 145744 w 17"/>
                  <a:gd name="T113" fmla="*/ 63101 h 14"/>
                  <a:gd name="T114" fmla="*/ 145744 w 17"/>
                  <a:gd name="T115" fmla="*/ 63101 h 14"/>
                  <a:gd name="T116" fmla="*/ 145744 w 17"/>
                  <a:gd name="T117" fmla="*/ 112344 h 14"/>
                  <a:gd name="T118" fmla="*/ 83527 w 17"/>
                  <a:gd name="T119" fmla="*/ 238107 h 14"/>
                  <a:gd name="T120" fmla="*/ 61941 w 17"/>
                  <a:gd name="T121" fmla="*/ 238107 h 1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7" h="14">
                    <a:moveTo>
                      <a:pt x="0" y="14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1" y="13"/>
                      <a:pt x="0" y="12"/>
                      <a:pt x="0" y="12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3" y="7"/>
                      <a:pt x="3" y="7"/>
                    </a:cubicBezTo>
                    <a:cubicBezTo>
                      <a:pt x="4" y="7"/>
                      <a:pt x="4" y="6"/>
                      <a:pt x="4" y="4"/>
                    </a:cubicBezTo>
                    <a:cubicBezTo>
                      <a:pt x="4" y="2"/>
                      <a:pt x="4" y="1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8" y="3"/>
                      <a:pt x="9" y="5"/>
                      <a:pt x="11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2" y="5"/>
                      <a:pt x="12" y="5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3" y="5"/>
                      <a:pt x="13" y="6"/>
                      <a:pt x="13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8"/>
                      <a:pt x="13" y="9"/>
                      <a:pt x="12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0" y="10"/>
                      <a:pt x="9" y="10"/>
                      <a:pt x="9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4" y="11"/>
                    </a:cubicBezTo>
                    <a:cubicBezTo>
                      <a:pt x="4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2" y="11"/>
                    </a:cubicBezTo>
                    <a:cubicBezTo>
                      <a:pt x="3" y="11"/>
                      <a:pt x="3" y="11"/>
                      <a:pt x="4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3" y="13"/>
                      <a:pt x="2" y="14"/>
                      <a:pt x="1" y="14"/>
                    </a:cubicBezTo>
                    <a:lnTo>
                      <a:pt x="0" y="14"/>
                    </a:lnTo>
                    <a:close/>
                    <a:moveTo>
                      <a:pt x="2" y="8"/>
                    </a:moveTo>
                    <a:cubicBezTo>
                      <a:pt x="2" y="9"/>
                      <a:pt x="2" y="9"/>
                      <a:pt x="1" y="10"/>
                    </a:cubicBezTo>
                    <a:cubicBezTo>
                      <a:pt x="1" y="10"/>
                      <a:pt x="1" y="10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2"/>
                      <a:pt x="1" y="11"/>
                      <a:pt x="1" y="10"/>
                    </a:cubicBezTo>
                    <a:cubicBezTo>
                      <a:pt x="1" y="10"/>
                      <a:pt x="1" y="10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9"/>
                      <a:pt x="5" y="9"/>
                      <a:pt x="6" y="1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0"/>
                      <a:pt x="9" y="9"/>
                      <a:pt x="10" y="8"/>
                    </a:cubicBezTo>
                    <a:cubicBezTo>
                      <a:pt x="10" y="8"/>
                      <a:pt x="11" y="8"/>
                      <a:pt x="11" y="8"/>
                    </a:cubicBezTo>
                    <a:cubicBezTo>
                      <a:pt x="12" y="8"/>
                      <a:pt x="12" y="8"/>
                      <a:pt x="13" y="8"/>
                    </a:cubicBezTo>
                    <a:cubicBezTo>
                      <a:pt x="13" y="7"/>
                      <a:pt x="12" y="7"/>
                      <a:pt x="12" y="7"/>
                    </a:cubicBezTo>
                    <a:cubicBezTo>
                      <a:pt x="12" y="7"/>
                      <a:pt x="12" y="6"/>
                      <a:pt x="12" y="6"/>
                    </a:cubicBezTo>
                    <a:cubicBezTo>
                      <a:pt x="12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9" y="6"/>
                      <a:pt x="7" y="4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3"/>
                      <a:pt x="5" y="4"/>
                    </a:cubicBezTo>
                    <a:cubicBezTo>
                      <a:pt x="5" y="6"/>
                      <a:pt x="5" y="8"/>
                      <a:pt x="3" y="8"/>
                    </a:cubicBezTo>
                    <a:cubicBezTo>
                      <a:pt x="3" y="8"/>
                      <a:pt x="2" y="8"/>
                      <a:pt x="2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90" name="Freeform 604"/>
              <p:cNvSpPr/>
              <p:nvPr/>
            </p:nvSpPr>
            <p:spPr bwMode="auto">
              <a:xfrm>
                <a:off x="3530" y="1628"/>
                <a:ext cx="2" cy="3"/>
              </a:xfrm>
              <a:custGeom>
                <a:avLst/>
                <a:gdLst>
                  <a:gd name="T0" fmla="*/ 4096 w 1"/>
                  <a:gd name="T1" fmla="*/ 0 h 1"/>
                  <a:gd name="T2" fmla="*/ 4096 w 1"/>
                  <a:gd name="T3" fmla="*/ 0 h 1"/>
                  <a:gd name="T4" fmla="*/ 4096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91" name="Freeform 605"/>
              <p:cNvSpPr/>
              <p:nvPr/>
            </p:nvSpPr>
            <p:spPr bwMode="auto">
              <a:xfrm>
                <a:off x="3527" y="1621"/>
                <a:ext cx="7" cy="10"/>
              </a:xfrm>
              <a:custGeom>
                <a:avLst/>
                <a:gdLst>
                  <a:gd name="T0" fmla="*/ 57269 w 3"/>
                  <a:gd name="T1" fmla="*/ 241220 h 4"/>
                  <a:gd name="T2" fmla="*/ 57269 w 3"/>
                  <a:gd name="T3" fmla="*/ 241220 h 4"/>
                  <a:gd name="T4" fmla="*/ 24544 w 3"/>
                  <a:gd name="T5" fmla="*/ 241220 h 4"/>
                  <a:gd name="T6" fmla="*/ 24544 w 3"/>
                  <a:gd name="T7" fmla="*/ 241220 h 4"/>
                  <a:gd name="T8" fmla="*/ 24544 w 3"/>
                  <a:gd name="T9" fmla="*/ 191220 h 4"/>
                  <a:gd name="T10" fmla="*/ 0 w 3"/>
                  <a:gd name="T11" fmla="*/ 0 h 4"/>
                  <a:gd name="T12" fmla="*/ 75677 w 3"/>
                  <a:gd name="T13" fmla="*/ 241220 h 4"/>
                  <a:gd name="T14" fmla="*/ 57269 w 3"/>
                  <a:gd name="T15" fmla="*/ 241220 h 4"/>
                  <a:gd name="T16" fmla="*/ 57269 w 3"/>
                  <a:gd name="T17" fmla="*/ 241220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92" name="Freeform 606"/>
              <p:cNvSpPr/>
              <p:nvPr/>
            </p:nvSpPr>
            <p:spPr bwMode="auto">
              <a:xfrm>
                <a:off x="3527" y="1605"/>
                <a:ext cx="14" cy="19"/>
              </a:xfrm>
              <a:custGeom>
                <a:avLst/>
                <a:gdLst>
                  <a:gd name="T0" fmla="*/ 57269 w 6"/>
                  <a:gd name="T1" fmla="*/ 0 h 8"/>
                  <a:gd name="T2" fmla="*/ 0 w 6"/>
                  <a:gd name="T3" fmla="*/ 69972 h 8"/>
                  <a:gd name="T4" fmla="*/ 0 w 6"/>
                  <a:gd name="T5" fmla="*/ 96347 h 8"/>
                  <a:gd name="T6" fmla="*/ 0 w 6"/>
                  <a:gd name="T7" fmla="*/ 96347 h 8"/>
                  <a:gd name="T8" fmla="*/ 0 w 6"/>
                  <a:gd name="T9" fmla="*/ 136779 h 8"/>
                  <a:gd name="T10" fmla="*/ 24544 w 6"/>
                  <a:gd name="T11" fmla="*/ 69972 h 8"/>
                  <a:gd name="T12" fmla="*/ 57269 w 6"/>
                  <a:gd name="T13" fmla="*/ 256987 h 8"/>
                  <a:gd name="T14" fmla="*/ 57269 w 6"/>
                  <a:gd name="T15" fmla="*/ 187179 h 8"/>
                  <a:gd name="T16" fmla="*/ 57269 w 6"/>
                  <a:gd name="T17" fmla="*/ 256987 h 8"/>
                  <a:gd name="T18" fmla="*/ 100221 w 6"/>
                  <a:gd name="T19" fmla="*/ 69972 h 8"/>
                  <a:gd name="T20" fmla="*/ 100221 w 6"/>
                  <a:gd name="T21" fmla="*/ 29462 h 8"/>
                  <a:gd name="T22" fmla="*/ 57269 w 6"/>
                  <a:gd name="T23" fmla="*/ 0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" h="8">
                    <a:moveTo>
                      <a:pt x="2" y="0"/>
                    </a:moveTo>
                    <a:cubicBezTo>
                      <a:pt x="1" y="1"/>
                      <a:pt x="1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1" y="4"/>
                      <a:pt x="1" y="3"/>
                      <a:pt x="1" y="2"/>
                    </a:cubicBezTo>
                    <a:cubicBezTo>
                      <a:pt x="2" y="4"/>
                      <a:pt x="0" y="7"/>
                      <a:pt x="2" y="8"/>
                    </a:cubicBezTo>
                    <a:cubicBezTo>
                      <a:pt x="2" y="7"/>
                      <a:pt x="2" y="7"/>
                      <a:pt x="2" y="6"/>
                    </a:cubicBezTo>
                    <a:cubicBezTo>
                      <a:pt x="2" y="7"/>
                      <a:pt x="2" y="8"/>
                      <a:pt x="2" y="8"/>
                    </a:cubicBezTo>
                    <a:cubicBezTo>
                      <a:pt x="4" y="7"/>
                      <a:pt x="6" y="3"/>
                      <a:pt x="4" y="2"/>
                    </a:cubicBezTo>
                    <a:cubicBezTo>
                      <a:pt x="4" y="2"/>
                      <a:pt x="4" y="2"/>
                      <a:pt x="4" y="1"/>
                    </a:cubicBezTo>
                    <a:cubicBezTo>
                      <a:pt x="4" y="1"/>
                      <a:pt x="3" y="1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93" name="Freeform 607"/>
              <p:cNvSpPr>
                <a:spLocks noEditPoints="1"/>
              </p:cNvSpPr>
              <p:nvPr/>
            </p:nvSpPr>
            <p:spPr bwMode="auto">
              <a:xfrm>
                <a:off x="3525" y="1602"/>
                <a:ext cx="16" cy="24"/>
              </a:xfrm>
              <a:custGeom>
                <a:avLst/>
                <a:gdLst>
                  <a:gd name="T0" fmla="*/ 63184 w 7"/>
                  <a:gd name="T1" fmla="*/ 367867 h 10"/>
                  <a:gd name="T2" fmla="*/ 63184 w 7"/>
                  <a:gd name="T3" fmla="*/ 335784 h 10"/>
                  <a:gd name="T4" fmla="*/ 63184 w 7"/>
                  <a:gd name="T5" fmla="*/ 335784 h 10"/>
                  <a:gd name="T6" fmla="*/ 42354 w 7"/>
                  <a:gd name="T7" fmla="*/ 216910 h 10"/>
                  <a:gd name="T8" fmla="*/ 42354 w 7"/>
                  <a:gd name="T9" fmla="*/ 216910 h 10"/>
                  <a:gd name="T10" fmla="*/ 18530 w 7"/>
                  <a:gd name="T11" fmla="*/ 216910 h 10"/>
                  <a:gd name="T12" fmla="*/ 0 w 7"/>
                  <a:gd name="T13" fmla="*/ 216910 h 10"/>
                  <a:gd name="T14" fmla="*/ 0 w 7"/>
                  <a:gd name="T15" fmla="*/ 184798 h 10"/>
                  <a:gd name="T16" fmla="*/ 0 w 7"/>
                  <a:gd name="T17" fmla="*/ 153278 h 10"/>
                  <a:gd name="T18" fmla="*/ 0 w 7"/>
                  <a:gd name="T19" fmla="*/ 153278 h 10"/>
                  <a:gd name="T20" fmla="*/ 0 w 7"/>
                  <a:gd name="T21" fmla="*/ 107827 h 10"/>
                  <a:gd name="T22" fmla="*/ 0 w 7"/>
                  <a:gd name="T23" fmla="*/ 107827 h 10"/>
                  <a:gd name="T24" fmla="*/ 0 w 7"/>
                  <a:gd name="T25" fmla="*/ 76999 h 10"/>
                  <a:gd name="T26" fmla="*/ 18530 w 7"/>
                  <a:gd name="T27" fmla="*/ 107827 h 10"/>
                  <a:gd name="T28" fmla="*/ 18530 w 7"/>
                  <a:gd name="T29" fmla="*/ 76999 h 10"/>
                  <a:gd name="T30" fmla="*/ 18530 w 7"/>
                  <a:gd name="T31" fmla="*/ 32083 h 10"/>
                  <a:gd name="T32" fmla="*/ 42354 w 7"/>
                  <a:gd name="T33" fmla="*/ 76999 h 10"/>
                  <a:gd name="T34" fmla="*/ 63184 w 7"/>
                  <a:gd name="T35" fmla="*/ 32083 h 10"/>
                  <a:gd name="T36" fmla="*/ 81863 w 7"/>
                  <a:gd name="T37" fmla="*/ 0 h 10"/>
                  <a:gd name="T38" fmla="*/ 81863 w 7"/>
                  <a:gd name="T39" fmla="*/ 32083 h 10"/>
                  <a:gd name="T40" fmla="*/ 96809 w 7"/>
                  <a:gd name="T41" fmla="*/ 76999 h 10"/>
                  <a:gd name="T42" fmla="*/ 96809 w 7"/>
                  <a:gd name="T43" fmla="*/ 76999 h 10"/>
                  <a:gd name="T44" fmla="*/ 124469 w 7"/>
                  <a:gd name="T45" fmla="*/ 32083 h 10"/>
                  <a:gd name="T46" fmla="*/ 124469 w 7"/>
                  <a:gd name="T47" fmla="*/ 76999 h 10"/>
                  <a:gd name="T48" fmla="*/ 124469 w 7"/>
                  <a:gd name="T49" fmla="*/ 107827 h 10"/>
                  <a:gd name="T50" fmla="*/ 144421 w 7"/>
                  <a:gd name="T51" fmla="*/ 153278 h 10"/>
                  <a:gd name="T52" fmla="*/ 81863 w 7"/>
                  <a:gd name="T53" fmla="*/ 367867 h 10"/>
                  <a:gd name="T54" fmla="*/ 63184 w 7"/>
                  <a:gd name="T55" fmla="*/ 367867 h 10"/>
                  <a:gd name="T56" fmla="*/ 81863 w 7"/>
                  <a:gd name="T57" fmla="*/ 258785 h 10"/>
                  <a:gd name="T58" fmla="*/ 81863 w 7"/>
                  <a:gd name="T59" fmla="*/ 290868 h 10"/>
                  <a:gd name="T60" fmla="*/ 81863 w 7"/>
                  <a:gd name="T61" fmla="*/ 290868 h 10"/>
                  <a:gd name="T62" fmla="*/ 96809 w 7"/>
                  <a:gd name="T63" fmla="*/ 153278 h 10"/>
                  <a:gd name="T64" fmla="*/ 96809 w 7"/>
                  <a:gd name="T65" fmla="*/ 153278 h 10"/>
                  <a:gd name="T66" fmla="*/ 81863 w 7"/>
                  <a:gd name="T67" fmla="*/ 153278 h 10"/>
                  <a:gd name="T68" fmla="*/ 96809 w 7"/>
                  <a:gd name="T69" fmla="*/ 107827 h 10"/>
                  <a:gd name="T70" fmla="*/ 96809 w 7"/>
                  <a:gd name="T71" fmla="*/ 107827 h 10"/>
                  <a:gd name="T72" fmla="*/ 63184 w 7"/>
                  <a:gd name="T73" fmla="*/ 76999 h 10"/>
                  <a:gd name="T74" fmla="*/ 63184 w 7"/>
                  <a:gd name="T75" fmla="*/ 76999 h 10"/>
                  <a:gd name="T76" fmla="*/ 42354 w 7"/>
                  <a:gd name="T77" fmla="*/ 107827 h 10"/>
                  <a:gd name="T78" fmla="*/ 63184 w 7"/>
                  <a:gd name="T79" fmla="*/ 107827 h 10"/>
                  <a:gd name="T80" fmla="*/ 63184 w 7"/>
                  <a:gd name="T81" fmla="*/ 216910 h 10"/>
                  <a:gd name="T82" fmla="*/ 63184 w 7"/>
                  <a:gd name="T83" fmla="*/ 258785 h 10"/>
                  <a:gd name="T84" fmla="*/ 81863 w 7"/>
                  <a:gd name="T85" fmla="*/ 258785 h 1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7" h="10">
                    <a:moveTo>
                      <a:pt x="3" y="10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" y="9"/>
                      <a:pt x="1" y="7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3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4"/>
                      <a:pt x="7" y="4"/>
                    </a:cubicBezTo>
                    <a:cubicBezTo>
                      <a:pt x="7" y="6"/>
                      <a:pt x="5" y="9"/>
                      <a:pt x="4" y="10"/>
                    </a:cubicBezTo>
                    <a:lnTo>
                      <a:pt x="3" y="10"/>
                    </a:lnTo>
                    <a:close/>
                    <a:moveTo>
                      <a:pt x="4" y="7"/>
                    </a:moveTo>
                    <a:cubicBezTo>
                      <a:pt x="4" y="7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7"/>
                      <a:pt x="5" y="5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4"/>
                      <a:pt x="3" y="5"/>
                      <a:pt x="3" y="6"/>
                    </a:cubicBezTo>
                    <a:cubicBezTo>
                      <a:pt x="3" y="7"/>
                      <a:pt x="3" y="7"/>
                      <a:pt x="3" y="7"/>
                    </a:cubicBezTo>
                    <a:lnTo>
                      <a:pt x="4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3763" name="Freeform 609"/>
            <p:cNvSpPr/>
            <p:nvPr/>
          </p:nvSpPr>
          <p:spPr bwMode="auto">
            <a:xfrm>
              <a:off x="4050408" y="2553866"/>
              <a:ext cx="9525" cy="14288"/>
            </a:xfrm>
            <a:custGeom>
              <a:avLst/>
              <a:gdLst>
                <a:gd name="T0" fmla="*/ 2147483646 w 1"/>
                <a:gd name="T1" fmla="*/ 0 h 2"/>
                <a:gd name="T2" fmla="*/ 0 w 1"/>
                <a:gd name="T3" fmla="*/ 2147483646 h 2"/>
                <a:gd name="T4" fmla="*/ 2147483646 w 1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4" name="Freeform 610"/>
            <p:cNvSpPr/>
            <p:nvPr/>
          </p:nvSpPr>
          <p:spPr bwMode="auto">
            <a:xfrm>
              <a:off x="4044058" y="2553866"/>
              <a:ext cx="22225" cy="14288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2147483646 h 2"/>
                <a:gd name="T4" fmla="*/ 2147483646 w 3"/>
                <a:gd name="T5" fmla="*/ 0 h 2"/>
                <a:gd name="T6" fmla="*/ 2147483646 w 3"/>
                <a:gd name="T7" fmla="*/ 2147483646 h 2"/>
                <a:gd name="T8" fmla="*/ 2147483646 w 3"/>
                <a:gd name="T9" fmla="*/ 2147483646 h 2"/>
                <a:gd name="T10" fmla="*/ 2147483646 w 3"/>
                <a:gd name="T11" fmla="*/ 2147483646 h 2"/>
                <a:gd name="T12" fmla="*/ 0 w 3"/>
                <a:gd name="T13" fmla="*/ 2147483646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5" name="Freeform 611"/>
            <p:cNvSpPr/>
            <p:nvPr/>
          </p:nvSpPr>
          <p:spPr bwMode="auto">
            <a:xfrm>
              <a:off x="4012308" y="2553866"/>
              <a:ext cx="47625" cy="42863"/>
            </a:xfrm>
            <a:custGeom>
              <a:avLst/>
              <a:gdLst>
                <a:gd name="T0" fmla="*/ 2147483646 w 6"/>
                <a:gd name="T1" fmla="*/ 2147483646 h 6"/>
                <a:gd name="T2" fmla="*/ 2147483646 w 6"/>
                <a:gd name="T3" fmla="*/ 2147483646 h 6"/>
                <a:gd name="T4" fmla="*/ 0 w 6"/>
                <a:gd name="T5" fmla="*/ 2147483646 h 6"/>
                <a:gd name="T6" fmla="*/ 2147483646 w 6"/>
                <a:gd name="T7" fmla="*/ 2147483646 h 6"/>
                <a:gd name="T8" fmla="*/ 2147483646 w 6"/>
                <a:gd name="T9" fmla="*/ 214748364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6">
                  <a:moveTo>
                    <a:pt x="4" y="4"/>
                  </a:moveTo>
                  <a:cubicBezTo>
                    <a:pt x="2" y="3"/>
                    <a:pt x="3" y="6"/>
                    <a:pt x="2" y="6"/>
                  </a:cubicBezTo>
                  <a:cubicBezTo>
                    <a:pt x="0" y="6"/>
                    <a:pt x="1" y="4"/>
                    <a:pt x="0" y="4"/>
                  </a:cubicBezTo>
                  <a:cubicBezTo>
                    <a:pt x="1" y="2"/>
                    <a:pt x="2" y="2"/>
                    <a:pt x="4" y="1"/>
                  </a:cubicBezTo>
                  <a:cubicBezTo>
                    <a:pt x="5" y="0"/>
                    <a:pt x="6" y="3"/>
                    <a:pt x="4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6" name="Freeform 612"/>
            <p:cNvSpPr>
              <a:spLocks noEditPoints="1"/>
            </p:cNvSpPr>
            <p:nvPr/>
          </p:nvSpPr>
          <p:spPr bwMode="auto">
            <a:xfrm>
              <a:off x="3999608" y="2553866"/>
              <a:ext cx="60325" cy="42863"/>
            </a:xfrm>
            <a:custGeom>
              <a:avLst/>
              <a:gdLst>
                <a:gd name="T0" fmla="*/ 2147483646 w 8"/>
                <a:gd name="T1" fmla="*/ 2147483646 h 6"/>
                <a:gd name="T2" fmla="*/ 2147483646 w 8"/>
                <a:gd name="T3" fmla="*/ 2147483646 h 6"/>
                <a:gd name="T4" fmla="*/ 2147483646 w 8"/>
                <a:gd name="T5" fmla="*/ 2147483646 h 6"/>
                <a:gd name="T6" fmla="*/ 2147483646 w 8"/>
                <a:gd name="T7" fmla="*/ 2147483646 h 6"/>
                <a:gd name="T8" fmla="*/ 0 w 8"/>
                <a:gd name="T9" fmla="*/ 2147483646 h 6"/>
                <a:gd name="T10" fmla="*/ 2147483646 w 8"/>
                <a:gd name="T11" fmla="*/ 2147483646 h 6"/>
                <a:gd name="T12" fmla="*/ 2147483646 w 8"/>
                <a:gd name="T13" fmla="*/ 2147483646 h 6"/>
                <a:gd name="T14" fmla="*/ 2147483646 w 8"/>
                <a:gd name="T15" fmla="*/ 2147483646 h 6"/>
                <a:gd name="T16" fmla="*/ 2147483646 w 8"/>
                <a:gd name="T17" fmla="*/ 2147483646 h 6"/>
                <a:gd name="T18" fmla="*/ 2147483646 w 8"/>
                <a:gd name="T19" fmla="*/ 2147483646 h 6"/>
                <a:gd name="T20" fmla="*/ 2147483646 w 8"/>
                <a:gd name="T21" fmla="*/ 2147483646 h 6"/>
                <a:gd name="T22" fmla="*/ 2147483646 w 8"/>
                <a:gd name="T23" fmla="*/ 2147483646 h 6"/>
                <a:gd name="T24" fmla="*/ 2147483646 w 8"/>
                <a:gd name="T25" fmla="*/ 2147483646 h 6"/>
                <a:gd name="T26" fmla="*/ 2147483646 w 8"/>
                <a:gd name="T27" fmla="*/ 2147483646 h 6"/>
                <a:gd name="T28" fmla="*/ 2147483646 w 8"/>
                <a:gd name="T29" fmla="*/ 2147483646 h 6"/>
                <a:gd name="T30" fmla="*/ 2147483646 w 8"/>
                <a:gd name="T31" fmla="*/ 2147483646 h 6"/>
                <a:gd name="T32" fmla="*/ 2147483646 w 8"/>
                <a:gd name="T33" fmla="*/ 2147483646 h 6"/>
                <a:gd name="T34" fmla="*/ 2147483646 w 8"/>
                <a:gd name="T35" fmla="*/ 2147483646 h 6"/>
                <a:gd name="T36" fmla="*/ 2147483646 w 8"/>
                <a:gd name="T37" fmla="*/ 2147483646 h 6"/>
                <a:gd name="T38" fmla="*/ 2147483646 w 8"/>
                <a:gd name="T39" fmla="*/ 2147483646 h 6"/>
                <a:gd name="T40" fmla="*/ 2147483646 w 8"/>
                <a:gd name="T41" fmla="*/ 2147483646 h 6"/>
                <a:gd name="T42" fmla="*/ 2147483646 w 8"/>
                <a:gd name="T43" fmla="*/ 2147483646 h 6"/>
                <a:gd name="T44" fmla="*/ 2147483646 w 8"/>
                <a:gd name="T45" fmla="*/ 2147483646 h 6"/>
                <a:gd name="T46" fmla="*/ 2147483646 w 8"/>
                <a:gd name="T47" fmla="*/ 2147483646 h 6"/>
                <a:gd name="T48" fmla="*/ 2147483646 w 8"/>
                <a:gd name="T49" fmla="*/ 2147483646 h 6"/>
                <a:gd name="T50" fmla="*/ 2147483646 w 8"/>
                <a:gd name="T51" fmla="*/ 2147483646 h 6"/>
                <a:gd name="T52" fmla="*/ 2147483646 w 8"/>
                <a:gd name="T53" fmla="*/ 2147483646 h 6"/>
                <a:gd name="T54" fmla="*/ 2147483646 w 8"/>
                <a:gd name="T55" fmla="*/ 2147483646 h 6"/>
                <a:gd name="T56" fmla="*/ 2147483646 w 8"/>
                <a:gd name="T57" fmla="*/ 2147483646 h 6"/>
                <a:gd name="T58" fmla="*/ 2147483646 w 8"/>
                <a:gd name="T59" fmla="*/ 2147483646 h 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2" y="6"/>
                    <a:pt x="2" y="5"/>
                  </a:cubicBezTo>
                  <a:cubicBezTo>
                    <a:pt x="2" y="5"/>
                    <a:pt x="2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8" y="2"/>
                    <a:pt x="8" y="4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4" y="6"/>
                    <a:pt x="4" y="6"/>
                  </a:cubicBezTo>
                  <a:close/>
                  <a:moveTo>
                    <a:pt x="3" y="4"/>
                  </a:moveTo>
                  <a:cubicBezTo>
                    <a:pt x="3" y="4"/>
                    <a:pt x="3" y="4"/>
                    <a:pt x="3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6" y="3"/>
                    <a:pt x="7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3"/>
                    <a:pt x="3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7" name="Freeform 613"/>
            <p:cNvSpPr/>
            <p:nvPr/>
          </p:nvSpPr>
          <p:spPr bwMode="auto">
            <a:xfrm>
              <a:off x="3874196" y="2372891"/>
              <a:ext cx="109537" cy="120650"/>
            </a:xfrm>
            <a:custGeom>
              <a:avLst/>
              <a:gdLst>
                <a:gd name="T0" fmla="*/ 2147483646 w 15"/>
                <a:gd name="T1" fmla="*/ 2147483646 h 16"/>
                <a:gd name="T2" fmla="*/ 2147483646 w 15"/>
                <a:gd name="T3" fmla="*/ 2147483646 h 16"/>
                <a:gd name="T4" fmla="*/ 2147483646 w 15"/>
                <a:gd name="T5" fmla="*/ 2147483646 h 16"/>
                <a:gd name="T6" fmla="*/ 2147483646 w 15"/>
                <a:gd name="T7" fmla="*/ 2147483646 h 16"/>
                <a:gd name="T8" fmla="*/ 2147483646 w 15"/>
                <a:gd name="T9" fmla="*/ 2147483646 h 16"/>
                <a:gd name="T10" fmla="*/ 2147483646 w 15"/>
                <a:gd name="T11" fmla="*/ 2147483646 h 16"/>
                <a:gd name="T12" fmla="*/ 2147483646 w 15"/>
                <a:gd name="T13" fmla="*/ 2147483646 h 16"/>
                <a:gd name="T14" fmla="*/ 2147483646 w 15"/>
                <a:gd name="T15" fmla="*/ 2147483646 h 16"/>
                <a:gd name="T16" fmla="*/ 2147483646 w 15"/>
                <a:gd name="T17" fmla="*/ 2147483646 h 16"/>
                <a:gd name="T18" fmla="*/ 2147483646 w 15"/>
                <a:gd name="T19" fmla="*/ 2147483646 h 16"/>
                <a:gd name="T20" fmla="*/ 2147483646 w 15"/>
                <a:gd name="T21" fmla="*/ 2147483646 h 16"/>
                <a:gd name="T22" fmla="*/ 2147483646 w 15"/>
                <a:gd name="T23" fmla="*/ 2147483646 h 16"/>
                <a:gd name="T24" fmla="*/ 2147483646 w 15"/>
                <a:gd name="T25" fmla="*/ 2147483646 h 16"/>
                <a:gd name="T26" fmla="*/ 2147483646 w 15"/>
                <a:gd name="T27" fmla="*/ 2147483646 h 16"/>
                <a:gd name="T28" fmla="*/ 2147483646 w 15"/>
                <a:gd name="T29" fmla="*/ 2147483646 h 16"/>
                <a:gd name="T30" fmla="*/ 2147483646 w 15"/>
                <a:gd name="T31" fmla="*/ 0 h 16"/>
                <a:gd name="T32" fmla="*/ 2147483646 w 15"/>
                <a:gd name="T33" fmla="*/ 2147483646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16">
                  <a:moveTo>
                    <a:pt x="15" y="1"/>
                  </a:moveTo>
                  <a:cubicBezTo>
                    <a:pt x="15" y="2"/>
                    <a:pt x="13" y="3"/>
                    <a:pt x="13" y="4"/>
                  </a:cubicBezTo>
                  <a:cubicBezTo>
                    <a:pt x="12" y="6"/>
                    <a:pt x="13" y="6"/>
                    <a:pt x="11" y="8"/>
                  </a:cubicBezTo>
                  <a:cubicBezTo>
                    <a:pt x="10" y="8"/>
                    <a:pt x="8" y="9"/>
                    <a:pt x="8" y="10"/>
                  </a:cubicBezTo>
                  <a:cubicBezTo>
                    <a:pt x="8" y="12"/>
                    <a:pt x="8" y="12"/>
                    <a:pt x="10" y="13"/>
                  </a:cubicBezTo>
                  <a:cubicBezTo>
                    <a:pt x="9" y="14"/>
                    <a:pt x="7" y="14"/>
                    <a:pt x="7" y="14"/>
                  </a:cubicBezTo>
                  <a:cubicBezTo>
                    <a:pt x="5" y="15"/>
                    <a:pt x="5" y="16"/>
                    <a:pt x="3" y="15"/>
                  </a:cubicBezTo>
                  <a:cubicBezTo>
                    <a:pt x="3" y="16"/>
                    <a:pt x="2" y="16"/>
                    <a:pt x="2" y="14"/>
                  </a:cubicBezTo>
                  <a:cubicBezTo>
                    <a:pt x="2" y="15"/>
                    <a:pt x="2" y="15"/>
                    <a:pt x="1" y="15"/>
                  </a:cubicBezTo>
                  <a:cubicBezTo>
                    <a:pt x="2" y="14"/>
                    <a:pt x="2" y="13"/>
                    <a:pt x="3" y="13"/>
                  </a:cubicBezTo>
                  <a:cubicBezTo>
                    <a:pt x="2" y="12"/>
                    <a:pt x="3" y="11"/>
                    <a:pt x="3" y="10"/>
                  </a:cubicBezTo>
                  <a:cubicBezTo>
                    <a:pt x="2" y="10"/>
                    <a:pt x="0" y="10"/>
                    <a:pt x="1" y="9"/>
                  </a:cubicBezTo>
                  <a:cubicBezTo>
                    <a:pt x="2" y="7"/>
                    <a:pt x="2" y="7"/>
                    <a:pt x="4" y="6"/>
                  </a:cubicBezTo>
                  <a:cubicBezTo>
                    <a:pt x="5" y="6"/>
                    <a:pt x="6" y="4"/>
                    <a:pt x="7" y="4"/>
                  </a:cubicBezTo>
                  <a:cubicBezTo>
                    <a:pt x="8" y="5"/>
                    <a:pt x="10" y="5"/>
                    <a:pt x="9" y="3"/>
                  </a:cubicBezTo>
                  <a:cubicBezTo>
                    <a:pt x="12" y="3"/>
                    <a:pt x="13" y="1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8" name="Freeform 614"/>
            <p:cNvSpPr>
              <a:spLocks noEditPoints="1"/>
            </p:cNvSpPr>
            <p:nvPr/>
          </p:nvSpPr>
          <p:spPr bwMode="auto">
            <a:xfrm>
              <a:off x="3874196" y="2368129"/>
              <a:ext cx="115887" cy="125412"/>
            </a:xfrm>
            <a:custGeom>
              <a:avLst/>
              <a:gdLst>
                <a:gd name="T0" fmla="*/ 2147483646 w 16"/>
                <a:gd name="T1" fmla="*/ 2147483646 h 17"/>
                <a:gd name="T2" fmla="*/ 2147483646 w 16"/>
                <a:gd name="T3" fmla="*/ 2147483646 h 17"/>
                <a:gd name="T4" fmla="*/ 2147483646 w 16"/>
                <a:gd name="T5" fmla="*/ 2147483646 h 17"/>
                <a:gd name="T6" fmla="*/ 0 w 16"/>
                <a:gd name="T7" fmla="*/ 2147483646 h 17"/>
                <a:gd name="T8" fmla="*/ 2147483646 w 16"/>
                <a:gd name="T9" fmla="*/ 2147483646 h 17"/>
                <a:gd name="T10" fmla="*/ 2147483646 w 16"/>
                <a:gd name="T11" fmla="*/ 2147483646 h 17"/>
                <a:gd name="T12" fmla="*/ 2147483646 w 16"/>
                <a:gd name="T13" fmla="*/ 2147483646 h 17"/>
                <a:gd name="T14" fmla="*/ 2147483646 w 16"/>
                <a:gd name="T15" fmla="*/ 2147483646 h 17"/>
                <a:gd name="T16" fmla="*/ 2147483646 w 16"/>
                <a:gd name="T17" fmla="*/ 2147483646 h 17"/>
                <a:gd name="T18" fmla="*/ 2147483646 w 16"/>
                <a:gd name="T19" fmla="*/ 0 h 17"/>
                <a:gd name="T20" fmla="*/ 2147483646 w 16"/>
                <a:gd name="T21" fmla="*/ 0 h 17"/>
                <a:gd name="T22" fmla="*/ 2147483646 w 16"/>
                <a:gd name="T23" fmla="*/ 2147483646 h 17"/>
                <a:gd name="T24" fmla="*/ 2147483646 w 16"/>
                <a:gd name="T25" fmla="*/ 2147483646 h 17"/>
                <a:gd name="T26" fmla="*/ 2147483646 w 16"/>
                <a:gd name="T27" fmla="*/ 2147483646 h 17"/>
                <a:gd name="T28" fmla="*/ 2147483646 w 16"/>
                <a:gd name="T29" fmla="*/ 2147483646 h 17"/>
                <a:gd name="T30" fmla="*/ 2147483646 w 16"/>
                <a:gd name="T31" fmla="*/ 2147483646 h 17"/>
                <a:gd name="T32" fmla="*/ 2147483646 w 16"/>
                <a:gd name="T33" fmla="*/ 2147483646 h 17"/>
                <a:gd name="T34" fmla="*/ 2147483646 w 16"/>
                <a:gd name="T35" fmla="*/ 2147483646 h 17"/>
                <a:gd name="T36" fmla="*/ 2147483646 w 16"/>
                <a:gd name="T37" fmla="*/ 2147483646 h 17"/>
                <a:gd name="T38" fmla="*/ 2147483646 w 16"/>
                <a:gd name="T39" fmla="*/ 2147483646 h 17"/>
                <a:gd name="T40" fmla="*/ 2147483646 w 16"/>
                <a:gd name="T41" fmla="*/ 2147483646 h 17"/>
                <a:gd name="T42" fmla="*/ 2147483646 w 16"/>
                <a:gd name="T43" fmla="*/ 2147483646 h 17"/>
                <a:gd name="T44" fmla="*/ 2147483646 w 16"/>
                <a:gd name="T45" fmla="*/ 2147483646 h 17"/>
                <a:gd name="T46" fmla="*/ 2147483646 w 16"/>
                <a:gd name="T47" fmla="*/ 2147483646 h 17"/>
                <a:gd name="T48" fmla="*/ 2147483646 w 16"/>
                <a:gd name="T49" fmla="*/ 2147483646 h 17"/>
                <a:gd name="T50" fmla="*/ 2147483646 w 16"/>
                <a:gd name="T51" fmla="*/ 2147483646 h 17"/>
                <a:gd name="T52" fmla="*/ 2147483646 w 16"/>
                <a:gd name="T53" fmla="*/ 2147483646 h 17"/>
                <a:gd name="T54" fmla="*/ 2147483646 w 16"/>
                <a:gd name="T55" fmla="*/ 2147483646 h 17"/>
                <a:gd name="T56" fmla="*/ 2147483646 w 16"/>
                <a:gd name="T57" fmla="*/ 2147483646 h 17"/>
                <a:gd name="T58" fmla="*/ 2147483646 w 16"/>
                <a:gd name="T59" fmla="*/ 2147483646 h 17"/>
                <a:gd name="T60" fmla="*/ 2147483646 w 16"/>
                <a:gd name="T61" fmla="*/ 2147483646 h 17"/>
                <a:gd name="T62" fmla="*/ 2147483646 w 16"/>
                <a:gd name="T63" fmla="*/ 2147483646 h 17"/>
                <a:gd name="T64" fmla="*/ 2147483646 w 16"/>
                <a:gd name="T65" fmla="*/ 2147483646 h 17"/>
                <a:gd name="T66" fmla="*/ 2147483646 w 16"/>
                <a:gd name="T67" fmla="*/ 2147483646 h 17"/>
                <a:gd name="T68" fmla="*/ 2147483646 w 16"/>
                <a:gd name="T69" fmla="*/ 2147483646 h 17"/>
                <a:gd name="T70" fmla="*/ 2147483646 w 16"/>
                <a:gd name="T71" fmla="*/ 2147483646 h 1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6" h="17">
                  <a:moveTo>
                    <a:pt x="3" y="17"/>
                  </a:move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6"/>
                    <a:pt x="2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4"/>
                    <a:pt x="2" y="14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2"/>
                    <a:pt x="0" y="12"/>
                    <a:pt x="0" y="11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1" y="8"/>
                    <a:pt x="2" y="8"/>
                    <a:pt x="2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3"/>
                    <a:pt x="12" y="2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5" y="1"/>
                    <a:pt x="15" y="1"/>
                    <a:pt x="15" y="2"/>
                  </a:cubicBezTo>
                  <a:cubicBezTo>
                    <a:pt x="16" y="3"/>
                    <a:pt x="15" y="4"/>
                    <a:pt x="14" y="4"/>
                  </a:cubicBezTo>
                  <a:cubicBezTo>
                    <a:pt x="14" y="4"/>
                    <a:pt x="13" y="5"/>
                    <a:pt x="13" y="5"/>
                  </a:cubicBezTo>
                  <a:cubicBezTo>
                    <a:pt x="13" y="6"/>
                    <a:pt x="13" y="6"/>
                    <a:pt x="13" y="7"/>
                  </a:cubicBezTo>
                  <a:cubicBezTo>
                    <a:pt x="13" y="7"/>
                    <a:pt x="13" y="8"/>
                    <a:pt x="11" y="9"/>
                  </a:cubicBezTo>
                  <a:cubicBezTo>
                    <a:pt x="11" y="9"/>
                    <a:pt x="11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8" y="12"/>
                    <a:pt x="9" y="12"/>
                    <a:pt x="10" y="13"/>
                  </a:cubicBezTo>
                  <a:cubicBezTo>
                    <a:pt x="10" y="13"/>
                    <a:pt x="10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9" y="15"/>
                    <a:pt x="8" y="15"/>
                  </a:cubicBezTo>
                  <a:cubicBezTo>
                    <a:pt x="8" y="16"/>
                    <a:pt x="7" y="16"/>
                    <a:pt x="7" y="16"/>
                  </a:cubicBezTo>
                  <a:cubicBezTo>
                    <a:pt x="6" y="17"/>
                    <a:pt x="5" y="17"/>
                    <a:pt x="4" y="17"/>
                  </a:cubicBezTo>
                  <a:cubicBezTo>
                    <a:pt x="3" y="17"/>
                    <a:pt x="3" y="17"/>
                    <a:pt x="3" y="17"/>
                  </a:cubicBezTo>
                  <a:close/>
                  <a:moveTo>
                    <a:pt x="3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5" y="16"/>
                    <a:pt x="5" y="16"/>
                    <a:pt x="6" y="15"/>
                  </a:cubicBezTo>
                  <a:cubicBezTo>
                    <a:pt x="7" y="14"/>
                    <a:pt x="7" y="14"/>
                    <a:pt x="8" y="14"/>
                  </a:cubicBezTo>
                  <a:cubicBezTo>
                    <a:pt x="8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3"/>
                    <a:pt x="7" y="13"/>
                    <a:pt x="7" y="11"/>
                  </a:cubicBezTo>
                  <a:cubicBezTo>
                    <a:pt x="7" y="10"/>
                    <a:pt x="8" y="10"/>
                    <a:pt x="9" y="9"/>
                  </a:cubicBezTo>
                  <a:cubicBezTo>
                    <a:pt x="10" y="9"/>
                    <a:pt x="10" y="8"/>
                    <a:pt x="11" y="8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2" y="6"/>
                    <a:pt x="12" y="6"/>
                    <a:pt x="12" y="5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3"/>
                    <a:pt x="12" y="4"/>
                    <a:pt x="10" y="4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10" y="6"/>
                    <a:pt x="9" y="6"/>
                    <a:pt x="8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6" y="6"/>
                    <a:pt x="5" y="6"/>
                    <a:pt x="5" y="7"/>
                  </a:cubicBezTo>
                  <a:cubicBezTo>
                    <a:pt x="5" y="7"/>
                    <a:pt x="5" y="8"/>
                    <a:pt x="4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2" y="9"/>
                    <a:pt x="2" y="9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2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2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9" name="Freeform 615"/>
            <p:cNvSpPr/>
            <p:nvPr/>
          </p:nvSpPr>
          <p:spPr bwMode="auto">
            <a:xfrm>
              <a:off x="3901183" y="2471316"/>
              <a:ext cx="66675" cy="87313"/>
            </a:xfrm>
            <a:custGeom>
              <a:avLst/>
              <a:gdLst>
                <a:gd name="T0" fmla="*/ 2147483646 w 9"/>
                <a:gd name="T1" fmla="*/ 0 h 12"/>
                <a:gd name="T2" fmla="*/ 2147483646 w 9"/>
                <a:gd name="T3" fmla="*/ 2147483646 h 12"/>
                <a:gd name="T4" fmla="*/ 2147483646 w 9"/>
                <a:gd name="T5" fmla="*/ 2147483646 h 12"/>
                <a:gd name="T6" fmla="*/ 2147483646 w 9"/>
                <a:gd name="T7" fmla="*/ 2147483646 h 12"/>
                <a:gd name="T8" fmla="*/ 2147483646 w 9"/>
                <a:gd name="T9" fmla="*/ 2147483646 h 12"/>
                <a:gd name="T10" fmla="*/ 2147483646 w 9"/>
                <a:gd name="T11" fmla="*/ 2147483646 h 12"/>
                <a:gd name="T12" fmla="*/ 2147483646 w 9"/>
                <a:gd name="T13" fmla="*/ 2147483646 h 12"/>
                <a:gd name="T14" fmla="*/ 2147483646 w 9"/>
                <a:gd name="T15" fmla="*/ 2147483646 h 12"/>
                <a:gd name="T16" fmla="*/ 2147483646 w 9"/>
                <a:gd name="T17" fmla="*/ 2147483646 h 12"/>
                <a:gd name="T18" fmla="*/ 2147483646 w 9"/>
                <a:gd name="T19" fmla="*/ 2147483646 h 12"/>
                <a:gd name="T20" fmla="*/ 2147483646 w 9"/>
                <a:gd name="T21" fmla="*/ 2147483646 h 12"/>
                <a:gd name="T22" fmla="*/ 2147483646 w 9"/>
                <a:gd name="T23" fmla="*/ 2147483646 h 12"/>
                <a:gd name="T24" fmla="*/ 2147483646 w 9"/>
                <a:gd name="T25" fmla="*/ 2147483646 h 12"/>
                <a:gd name="T26" fmla="*/ 2147483646 w 9"/>
                <a:gd name="T27" fmla="*/ 2147483646 h 12"/>
                <a:gd name="T28" fmla="*/ 2147483646 w 9"/>
                <a:gd name="T29" fmla="*/ 2147483646 h 12"/>
                <a:gd name="T30" fmla="*/ 2147483646 w 9"/>
                <a:gd name="T31" fmla="*/ 2147483646 h 12"/>
                <a:gd name="T32" fmla="*/ 2147483646 w 9"/>
                <a:gd name="T33" fmla="*/ 0 h 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" h="12">
                  <a:moveTo>
                    <a:pt x="6" y="0"/>
                  </a:moveTo>
                  <a:cubicBezTo>
                    <a:pt x="7" y="2"/>
                    <a:pt x="9" y="5"/>
                    <a:pt x="8" y="8"/>
                  </a:cubicBezTo>
                  <a:cubicBezTo>
                    <a:pt x="8" y="10"/>
                    <a:pt x="8" y="9"/>
                    <a:pt x="6" y="10"/>
                  </a:cubicBezTo>
                  <a:cubicBezTo>
                    <a:pt x="5" y="10"/>
                    <a:pt x="6" y="11"/>
                    <a:pt x="5" y="11"/>
                  </a:cubicBezTo>
                  <a:cubicBezTo>
                    <a:pt x="4" y="10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2" y="12"/>
                    <a:pt x="1" y="12"/>
                  </a:cubicBezTo>
                  <a:cubicBezTo>
                    <a:pt x="1" y="12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2" y="8"/>
                    <a:pt x="2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4"/>
                    <a:pt x="1" y="3"/>
                    <a:pt x="2" y="2"/>
                  </a:cubicBezTo>
                  <a:cubicBezTo>
                    <a:pt x="3" y="1"/>
                    <a:pt x="5" y="1"/>
                    <a:pt x="6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0" name="Freeform 616"/>
            <p:cNvSpPr>
              <a:spLocks noEditPoints="1"/>
            </p:cNvSpPr>
            <p:nvPr/>
          </p:nvSpPr>
          <p:spPr bwMode="auto">
            <a:xfrm>
              <a:off x="3901183" y="2464966"/>
              <a:ext cx="76200" cy="115888"/>
            </a:xfrm>
            <a:custGeom>
              <a:avLst/>
              <a:gdLst>
                <a:gd name="T0" fmla="*/ 2147483646 w 10"/>
                <a:gd name="T1" fmla="*/ 2147483646 h 16"/>
                <a:gd name="T2" fmla="*/ 2147483646 w 10"/>
                <a:gd name="T3" fmla="*/ 2147483646 h 16"/>
                <a:gd name="T4" fmla="*/ 2147483646 w 10"/>
                <a:gd name="T5" fmla="*/ 2147483646 h 16"/>
                <a:gd name="T6" fmla="*/ 2147483646 w 10"/>
                <a:gd name="T7" fmla="*/ 2147483646 h 16"/>
                <a:gd name="T8" fmla="*/ 0 w 10"/>
                <a:gd name="T9" fmla="*/ 2147483646 h 16"/>
                <a:gd name="T10" fmla="*/ 0 w 10"/>
                <a:gd name="T11" fmla="*/ 2147483646 h 16"/>
                <a:gd name="T12" fmla="*/ 0 w 10"/>
                <a:gd name="T13" fmla="*/ 2147483646 h 16"/>
                <a:gd name="T14" fmla="*/ 2147483646 w 10"/>
                <a:gd name="T15" fmla="*/ 2147483646 h 16"/>
                <a:gd name="T16" fmla="*/ 2147483646 w 10"/>
                <a:gd name="T17" fmla="*/ 2147483646 h 16"/>
                <a:gd name="T18" fmla="*/ 2147483646 w 10"/>
                <a:gd name="T19" fmla="*/ 2147483646 h 16"/>
                <a:gd name="T20" fmla="*/ 0 w 10"/>
                <a:gd name="T21" fmla="*/ 2147483646 h 16"/>
                <a:gd name="T22" fmla="*/ 0 w 10"/>
                <a:gd name="T23" fmla="*/ 2147483646 h 16"/>
                <a:gd name="T24" fmla="*/ 2147483646 w 10"/>
                <a:gd name="T25" fmla="*/ 2147483646 h 16"/>
                <a:gd name="T26" fmla="*/ 2147483646 w 10"/>
                <a:gd name="T27" fmla="*/ 2147483646 h 16"/>
                <a:gd name="T28" fmla="*/ 2147483646 w 10"/>
                <a:gd name="T29" fmla="*/ 2147483646 h 16"/>
                <a:gd name="T30" fmla="*/ 2147483646 w 10"/>
                <a:gd name="T31" fmla="*/ 2147483646 h 16"/>
                <a:gd name="T32" fmla="*/ 2147483646 w 10"/>
                <a:gd name="T33" fmla="*/ 0 h 16"/>
                <a:gd name="T34" fmla="*/ 2147483646 w 10"/>
                <a:gd name="T35" fmla="*/ 2147483646 h 16"/>
                <a:gd name="T36" fmla="*/ 2147483646 w 10"/>
                <a:gd name="T37" fmla="*/ 2147483646 h 16"/>
                <a:gd name="T38" fmla="*/ 2147483646 w 10"/>
                <a:gd name="T39" fmla="*/ 2147483646 h 16"/>
                <a:gd name="T40" fmla="*/ 2147483646 w 10"/>
                <a:gd name="T41" fmla="*/ 2147483646 h 16"/>
                <a:gd name="T42" fmla="*/ 2147483646 w 10"/>
                <a:gd name="T43" fmla="*/ 2147483646 h 16"/>
                <a:gd name="T44" fmla="*/ 2147483646 w 10"/>
                <a:gd name="T45" fmla="*/ 2147483646 h 16"/>
                <a:gd name="T46" fmla="*/ 2147483646 w 10"/>
                <a:gd name="T47" fmla="*/ 2147483646 h 16"/>
                <a:gd name="T48" fmla="*/ 2147483646 w 10"/>
                <a:gd name="T49" fmla="*/ 2147483646 h 16"/>
                <a:gd name="T50" fmla="*/ 2147483646 w 10"/>
                <a:gd name="T51" fmla="*/ 2147483646 h 16"/>
                <a:gd name="T52" fmla="*/ 2147483646 w 10"/>
                <a:gd name="T53" fmla="*/ 2147483646 h 16"/>
                <a:gd name="T54" fmla="*/ 2147483646 w 10"/>
                <a:gd name="T55" fmla="*/ 2147483646 h 16"/>
                <a:gd name="T56" fmla="*/ 2147483646 w 10"/>
                <a:gd name="T57" fmla="*/ 2147483646 h 16"/>
                <a:gd name="T58" fmla="*/ 2147483646 w 10"/>
                <a:gd name="T59" fmla="*/ 2147483646 h 16"/>
                <a:gd name="T60" fmla="*/ 2147483646 w 10"/>
                <a:gd name="T61" fmla="*/ 2147483646 h 16"/>
                <a:gd name="T62" fmla="*/ 2147483646 w 10"/>
                <a:gd name="T63" fmla="*/ 2147483646 h 16"/>
                <a:gd name="T64" fmla="*/ 2147483646 w 10"/>
                <a:gd name="T65" fmla="*/ 2147483646 h 16"/>
                <a:gd name="T66" fmla="*/ 2147483646 w 10"/>
                <a:gd name="T67" fmla="*/ 2147483646 h 16"/>
                <a:gd name="T68" fmla="*/ 2147483646 w 10"/>
                <a:gd name="T69" fmla="*/ 2147483646 h 16"/>
                <a:gd name="T70" fmla="*/ 2147483646 w 10"/>
                <a:gd name="T71" fmla="*/ 2147483646 h 16"/>
                <a:gd name="T72" fmla="*/ 2147483646 w 10"/>
                <a:gd name="T73" fmla="*/ 2147483646 h 16"/>
                <a:gd name="T74" fmla="*/ 2147483646 w 10"/>
                <a:gd name="T75" fmla="*/ 2147483646 h 16"/>
                <a:gd name="T76" fmla="*/ 2147483646 w 10"/>
                <a:gd name="T77" fmla="*/ 2147483646 h 16"/>
                <a:gd name="T78" fmla="*/ 2147483646 w 10"/>
                <a:gd name="T79" fmla="*/ 2147483646 h 16"/>
                <a:gd name="T80" fmla="*/ 2147483646 w 10"/>
                <a:gd name="T81" fmla="*/ 2147483646 h 16"/>
                <a:gd name="T82" fmla="*/ 2147483646 w 10"/>
                <a:gd name="T83" fmla="*/ 2147483646 h 16"/>
                <a:gd name="T84" fmla="*/ 2147483646 w 10"/>
                <a:gd name="T85" fmla="*/ 2147483646 h 16"/>
                <a:gd name="T86" fmla="*/ 2147483646 w 10"/>
                <a:gd name="T87" fmla="*/ 2147483646 h 16"/>
                <a:gd name="T88" fmla="*/ 2147483646 w 10"/>
                <a:gd name="T89" fmla="*/ 2147483646 h 16"/>
                <a:gd name="T90" fmla="*/ 2147483646 w 10"/>
                <a:gd name="T91" fmla="*/ 2147483646 h 16"/>
                <a:gd name="T92" fmla="*/ 2147483646 w 10"/>
                <a:gd name="T93" fmla="*/ 2147483646 h 16"/>
                <a:gd name="T94" fmla="*/ 2147483646 w 10"/>
                <a:gd name="T95" fmla="*/ 2147483646 h 16"/>
                <a:gd name="T96" fmla="*/ 2147483646 w 10"/>
                <a:gd name="T97" fmla="*/ 2147483646 h 16"/>
                <a:gd name="T98" fmla="*/ 2147483646 w 10"/>
                <a:gd name="T99" fmla="*/ 2147483646 h 16"/>
                <a:gd name="T100" fmla="*/ 2147483646 w 10"/>
                <a:gd name="T101" fmla="*/ 2147483646 h 1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0" h="16">
                  <a:moveTo>
                    <a:pt x="3" y="16"/>
                  </a:moveTo>
                  <a:cubicBezTo>
                    <a:pt x="3" y="14"/>
                    <a:pt x="3" y="14"/>
                    <a:pt x="3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1" y="11"/>
                    <a:pt x="1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6"/>
                    <a:pt x="1" y="5"/>
                    <a:pt x="1" y="5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3"/>
                    <a:pt x="10" y="6"/>
                    <a:pt x="9" y="9"/>
                  </a:cubicBezTo>
                  <a:cubicBezTo>
                    <a:pt x="8" y="10"/>
                    <a:pt x="8" y="11"/>
                    <a:pt x="7" y="11"/>
                  </a:cubicBezTo>
                  <a:cubicBezTo>
                    <a:pt x="7" y="11"/>
                    <a:pt x="7" y="11"/>
                    <a:pt x="6" y="11"/>
                  </a:cubicBezTo>
                  <a:cubicBezTo>
                    <a:pt x="6" y="11"/>
                    <a:pt x="6" y="11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3"/>
                    <a:pt x="4" y="13"/>
                    <a:pt x="4" y="13"/>
                  </a:cubicBezTo>
                  <a:lnTo>
                    <a:pt x="3" y="16"/>
                  </a:lnTo>
                  <a:close/>
                  <a:moveTo>
                    <a:pt x="2" y="7"/>
                  </a:moveTo>
                  <a:cubicBezTo>
                    <a:pt x="2" y="8"/>
                    <a:pt x="2" y="9"/>
                    <a:pt x="2" y="11"/>
                  </a:cubicBezTo>
                  <a:cubicBezTo>
                    <a:pt x="1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5" y="11"/>
                    <a:pt x="5" y="10"/>
                    <a:pt x="6" y="10"/>
                  </a:cubicBezTo>
                  <a:cubicBezTo>
                    <a:pt x="6" y="10"/>
                    <a:pt x="6" y="10"/>
                    <a:pt x="7" y="10"/>
                  </a:cubicBezTo>
                  <a:cubicBezTo>
                    <a:pt x="7" y="10"/>
                    <a:pt x="7" y="10"/>
                    <a:pt x="8" y="8"/>
                  </a:cubicBezTo>
                  <a:cubicBezTo>
                    <a:pt x="8" y="6"/>
                    <a:pt x="7" y="4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1" name="Freeform 617"/>
            <p:cNvSpPr/>
            <p:nvPr/>
          </p:nvSpPr>
          <p:spPr bwMode="auto">
            <a:xfrm>
              <a:off x="3455096" y="2788817"/>
              <a:ext cx="134937" cy="157163"/>
            </a:xfrm>
            <a:custGeom>
              <a:avLst/>
              <a:gdLst>
                <a:gd name="T0" fmla="*/ 2147483646 w 18"/>
                <a:gd name="T1" fmla="*/ 2147483646 h 21"/>
                <a:gd name="T2" fmla="*/ 2147483646 w 18"/>
                <a:gd name="T3" fmla="*/ 2147483646 h 21"/>
                <a:gd name="T4" fmla="*/ 2147483646 w 18"/>
                <a:gd name="T5" fmla="*/ 2147483646 h 21"/>
                <a:gd name="T6" fmla="*/ 2147483646 w 18"/>
                <a:gd name="T7" fmla="*/ 2147483646 h 21"/>
                <a:gd name="T8" fmla="*/ 2147483646 w 18"/>
                <a:gd name="T9" fmla="*/ 2147483646 h 21"/>
                <a:gd name="T10" fmla="*/ 2147483646 w 18"/>
                <a:gd name="T11" fmla="*/ 2147483646 h 21"/>
                <a:gd name="T12" fmla="*/ 2147483646 w 18"/>
                <a:gd name="T13" fmla="*/ 2147483646 h 21"/>
                <a:gd name="T14" fmla="*/ 2147483646 w 18"/>
                <a:gd name="T15" fmla="*/ 2147483646 h 21"/>
                <a:gd name="T16" fmla="*/ 2147483646 w 18"/>
                <a:gd name="T17" fmla="*/ 2147483646 h 21"/>
                <a:gd name="T18" fmla="*/ 2147483646 w 18"/>
                <a:gd name="T19" fmla="*/ 2147483646 h 21"/>
                <a:gd name="T20" fmla="*/ 2147483646 w 18"/>
                <a:gd name="T21" fmla="*/ 2147483646 h 21"/>
                <a:gd name="T22" fmla="*/ 2147483646 w 18"/>
                <a:gd name="T23" fmla="*/ 2147483646 h 21"/>
                <a:gd name="T24" fmla="*/ 2147483646 w 18"/>
                <a:gd name="T25" fmla="*/ 2147483646 h 21"/>
                <a:gd name="T26" fmla="*/ 2147483646 w 18"/>
                <a:gd name="T27" fmla="*/ 2147483646 h 21"/>
                <a:gd name="T28" fmla="*/ 2147483646 w 18"/>
                <a:gd name="T29" fmla="*/ 2147483646 h 21"/>
                <a:gd name="T30" fmla="*/ 2147483646 w 18"/>
                <a:gd name="T31" fmla="*/ 2147483646 h 21"/>
                <a:gd name="T32" fmla="*/ 2147483646 w 18"/>
                <a:gd name="T33" fmla="*/ 2147483646 h 21"/>
                <a:gd name="T34" fmla="*/ 2147483646 w 18"/>
                <a:gd name="T35" fmla="*/ 2147483646 h 21"/>
                <a:gd name="T36" fmla="*/ 2147483646 w 18"/>
                <a:gd name="T37" fmla="*/ 0 h 21"/>
                <a:gd name="T38" fmla="*/ 2147483646 w 18"/>
                <a:gd name="T39" fmla="*/ 2147483646 h 21"/>
                <a:gd name="T40" fmla="*/ 2147483646 w 18"/>
                <a:gd name="T41" fmla="*/ 2147483646 h 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8" h="2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1" y="8"/>
                    <a:pt x="3" y="7"/>
                    <a:pt x="3" y="8"/>
                  </a:cubicBezTo>
                  <a:cubicBezTo>
                    <a:pt x="2" y="10"/>
                    <a:pt x="2" y="11"/>
                    <a:pt x="2" y="12"/>
                  </a:cubicBezTo>
                  <a:cubicBezTo>
                    <a:pt x="3" y="12"/>
                    <a:pt x="3" y="11"/>
                    <a:pt x="4" y="11"/>
                  </a:cubicBezTo>
                  <a:cubicBezTo>
                    <a:pt x="5" y="10"/>
                    <a:pt x="6" y="12"/>
                    <a:pt x="6" y="11"/>
                  </a:cubicBezTo>
                  <a:cubicBezTo>
                    <a:pt x="8" y="10"/>
                    <a:pt x="8" y="10"/>
                    <a:pt x="10" y="12"/>
                  </a:cubicBezTo>
                  <a:cubicBezTo>
                    <a:pt x="11" y="13"/>
                    <a:pt x="10" y="15"/>
                    <a:pt x="11" y="16"/>
                  </a:cubicBezTo>
                  <a:cubicBezTo>
                    <a:pt x="12" y="17"/>
                    <a:pt x="14" y="19"/>
                    <a:pt x="12" y="20"/>
                  </a:cubicBezTo>
                  <a:cubicBezTo>
                    <a:pt x="12" y="21"/>
                    <a:pt x="13" y="21"/>
                    <a:pt x="14" y="21"/>
                  </a:cubicBezTo>
                  <a:cubicBezTo>
                    <a:pt x="15" y="20"/>
                    <a:pt x="15" y="21"/>
                    <a:pt x="16" y="20"/>
                  </a:cubicBezTo>
                  <a:cubicBezTo>
                    <a:pt x="18" y="19"/>
                    <a:pt x="17" y="18"/>
                    <a:pt x="17" y="16"/>
                  </a:cubicBezTo>
                  <a:cubicBezTo>
                    <a:pt x="16" y="15"/>
                    <a:pt x="15" y="15"/>
                    <a:pt x="15" y="15"/>
                  </a:cubicBezTo>
                  <a:cubicBezTo>
                    <a:pt x="15" y="14"/>
                    <a:pt x="15" y="13"/>
                    <a:pt x="14" y="13"/>
                  </a:cubicBezTo>
                  <a:cubicBezTo>
                    <a:pt x="13" y="12"/>
                    <a:pt x="12" y="10"/>
                    <a:pt x="10" y="9"/>
                  </a:cubicBezTo>
                  <a:cubicBezTo>
                    <a:pt x="7" y="7"/>
                    <a:pt x="11" y="8"/>
                    <a:pt x="11" y="7"/>
                  </a:cubicBezTo>
                  <a:cubicBezTo>
                    <a:pt x="12" y="4"/>
                    <a:pt x="8" y="5"/>
                    <a:pt x="7" y="4"/>
                  </a:cubicBezTo>
                  <a:cubicBezTo>
                    <a:pt x="6" y="3"/>
                    <a:pt x="7" y="1"/>
                    <a:pt x="5" y="0"/>
                  </a:cubicBezTo>
                  <a:cubicBezTo>
                    <a:pt x="3" y="0"/>
                    <a:pt x="5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2" name="Freeform 618"/>
            <p:cNvSpPr>
              <a:spLocks noEditPoints="1"/>
            </p:cNvSpPr>
            <p:nvPr/>
          </p:nvSpPr>
          <p:spPr bwMode="auto">
            <a:xfrm>
              <a:off x="3455096" y="2788817"/>
              <a:ext cx="134937" cy="157163"/>
            </a:xfrm>
            <a:custGeom>
              <a:avLst/>
              <a:gdLst>
                <a:gd name="T0" fmla="*/ 2147483646 w 18"/>
                <a:gd name="T1" fmla="*/ 2147483646 h 21"/>
                <a:gd name="T2" fmla="*/ 2147483646 w 18"/>
                <a:gd name="T3" fmla="*/ 2147483646 h 21"/>
                <a:gd name="T4" fmla="*/ 2147483646 w 18"/>
                <a:gd name="T5" fmla="*/ 2147483646 h 21"/>
                <a:gd name="T6" fmla="*/ 2147483646 w 18"/>
                <a:gd name="T7" fmla="*/ 2147483646 h 21"/>
                <a:gd name="T8" fmla="*/ 2147483646 w 18"/>
                <a:gd name="T9" fmla="*/ 2147483646 h 21"/>
                <a:gd name="T10" fmla="*/ 2147483646 w 18"/>
                <a:gd name="T11" fmla="*/ 2147483646 h 21"/>
                <a:gd name="T12" fmla="*/ 2147483646 w 18"/>
                <a:gd name="T13" fmla="*/ 2147483646 h 21"/>
                <a:gd name="T14" fmla="*/ 2147483646 w 18"/>
                <a:gd name="T15" fmla="*/ 2147483646 h 21"/>
                <a:gd name="T16" fmla="*/ 2147483646 w 18"/>
                <a:gd name="T17" fmla="*/ 2147483646 h 21"/>
                <a:gd name="T18" fmla="*/ 2147483646 w 18"/>
                <a:gd name="T19" fmla="*/ 2147483646 h 21"/>
                <a:gd name="T20" fmla="*/ 0 w 18"/>
                <a:gd name="T21" fmla="*/ 2147483646 h 21"/>
                <a:gd name="T22" fmla="*/ 2147483646 w 18"/>
                <a:gd name="T23" fmla="*/ 2147483646 h 21"/>
                <a:gd name="T24" fmla="*/ 2147483646 w 18"/>
                <a:gd name="T25" fmla="*/ 2147483646 h 21"/>
                <a:gd name="T26" fmla="*/ 2147483646 w 18"/>
                <a:gd name="T27" fmla="*/ 2147483646 h 21"/>
                <a:gd name="T28" fmla="*/ 2147483646 w 18"/>
                <a:gd name="T29" fmla="*/ 0 h 21"/>
                <a:gd name="T30" fmla="*/ 2147483646 w 18"/>
                <a:gd name="T31" fmla="*/ 2147483646 h 21"/>
                <a:gd name="T32" fmla="*/ 2147483646 w 18"/>
                <a:gd name="T33" fmla="*/ 2147483646 h 21"/>
                <a:gd name="T34" fmla="*/ 2147483646 w 18"/>
                <a:gd name="T35" fmla="*/ 2147483646 h 21"/>
                <a:gd name="T36" fmla="*/ 2147483646 w 18"/>
                <a:gd name="T37" fmla="*/ 2147483646 h 21"/>
                <a:gd name="T38" fmla="*/ 2147483646 w 18"/>
                <a:gd name="T39" fmla="*/ 2147483646 h 21"/>
                <a:gd name="T40" fmla="*/ 2147483646 w 18"/>
                <a:gd name="T41" fmla="*/ 2147483646 h 21"/>
                <a:gd name="T42" fmla="*/ 2147483646 w 18"/>
                <a:gd name="T43" fmla="*/ 2147483646 h 21"/>
                <a:gd name="T44" fmla="*/ 2147483646 w 18"/>
                <a:gd name="T45" fmla="*/ 2147483646 h 21"/>
                <a:gd name="T46" fmla="*/ 2147483646 w 18"/>
                <a:gd name="T47" fmla="*/ 2147483646 h 21"/>
                <a:gd name="T48" fmla="*/ 2147483646 w 18"/>
                <a:gd name="T49" fmla="*/ 2147483646 h 21"/>
                <a:gd name="T50" fmla="*/ 2147483646 w 18"/>
                <a:gd name="T51" fmla="*/ 2147483646 h 21"/>
                <a:gd name="T52" fmla="*/ 2147483646 w 18"/>
                <a:gd name="T53" fmla="*/ 2147483646 h 21"/>
                <a:gd name="T54" fmla="*/ 2147483646 w 18"/>
                <a:gd name="T55" fmla="*/ 2147483646 h 21"/>
                <a:gd name="T56" fmla="*/ 2147483646 w 18"/>
                <a:gd name="T57" fmla="*/ 2147483646 h 21"/>
                <a:gd name="T58" fmla="*/ 2147483646 w 18"/>
                <a:gd name="T59" fmla="*/ 2147483646 h 21"/>
                <a:gd name="T60" fmla="*/ 2147483646 w 18"/>
                <a:gd name="T61" fmla="*/ 2147483646 h 21"/>
                <a:gd name="T62" fmla="*/ 2147483646 w 18"/>
                <a:gd name="T63" fmla="*/ 2147483646 h 21"/>
                <a:gd name="T64" fmla="*/ 2147483646 w 18"/>
                <a:gd name="T65" fmla="*/ 2147483646 h 21"/>
                <a:gd name="T66" fmla="*/ 2147483646 w 18"/>
                <a:gd name="T67" fmla="*/ 2147483646 h 21"/>
                <a:gd name="T68" fmla="*/ 2147483646 w 18"/>
                <a:gd name="T69" fmla="*/ 2147483646 h 21"/>
                <a:gd name="T70" fmla="*/ 2147483646 w 18"/>
                <a:gd name="T71" fmla="*/ 2147483646 h 21"/>
                <a:gd name="T72" fmla="*/ 2147483646 w 18"/>
                <a:gd name="T73" fmla="*/ 2147483646 h 21"/>
                <a:gd name="T74" fmla="*/ 2147483646 w 18"/>
                <a:gd name="T75" fmla="*/ 2147483646 h 21"/>
                <a:gd name="T76" fmla="*/ 2147483646 w 18"/>
                <a:gd name="T77" fmla="*/ 2147483646 h 21"/>
                <a:gd name="T78" fmla="*/ 2147483646 w 18"/>
                <a:gd name="T79" fmla="*/ 2147483646 h 21"/>
                <a:gd name="T80" fmla="*/ 2147483646 w 18"/>
                <a:gd name="T81" fmla="*/ 2147483646 h 21"/>
                <a:gd name="T82" fmla="*/ 2147483646 w 18"/>
                <a:gd name="T83" fmla="*/ 2147483646 h 21"/>
                <a:gd name="T84" fmla="*/ 2147483646 w 18"/>
                <a:gd name="T85" fmla="*/ 2147483646 h 21"/>
                <a:gd name="T86" fmla="*/ 2147483646 w 18"/>
                <a:gd name="T87" fmla="*/ 2147483646 h 21"/>
                <a:gd name="T88" fmla="*/ 2147483646 w 18"/>
                <a:gd name="T89" fmla="*/ 2147483646 h 21"/>
                <a:gd name="T90" fmla="*/ 2147483646 w 18"/>
                <a:gd name="T91" fmla="*/ 2147483646 h 2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8" h="21">
                  <a:moveTo>
                    <a:pt x="13" y="21"/>
                  </a:moveTo>
                  <a:cubicBezTo>
                    <a:pt x="13" y="21"/>
                    <a:pt x="12" y="21"/>
                    <a:pt x="12" y="2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8"/>
                    <a:pt x="11" y="16"/>
                    <a:pt x="11" y="16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0" y="13"/>
                    <a:pt x="10" y="12"/>
                    <a:pt x="9" y="12"/>
                  </a:cubicBezTo>
                  <a:cubicBezTo>
                    <a:pt x="9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6" y="12"/>
                    <a:pt x="5" y="12"/>
                    <a:pt x="5" y="12"/>
                  </a:cubicBezTo>
                  <a:cubicBezTo>
                    <a:pt x="5" y="11"/>
                    <a:pt x="5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3" y="12"/>
                    <a:pt x="2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9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6"/>
                    <a:pt x="1" y="6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7" y="1"/>
                    <a:pt x="7" y="2"/>
                  </a:cubicBezTo>
                  <a:cubicBezTo>
                    <a:pt x="7" y="3"/>
                    <a:pt x="7" y="3"/>
                    <a:pt x="8" y="4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10" y="4"/>
                    <a:pt x="11" y="4"/>
                    <a:pt x="11" y="5"/>
                  </a:cubicBezTo>
                  <a:cubicBezTo>
                    <a:pt x="12" y="5"/>
                    <a:pt x="12" y="6"/>
                    <a:pt x="12" y="7"/>
                  </a:cubicBezTo>
                  <a:cubicBezTo>
                    <a:pt x="11" y="8"/>
                    <a:pt x="11" y="8"/>
                    <a:pt x="10" y="8"/>
                  </a:cubicBezTo>
                  <a:cubicBezTo>
                    <a:pt x="10" y="8"/>
                    <a:pt x="10" y="8"/>
                    <a:pt x="11" y="8"/>
                  </a:cubicBezTo>
                  <a:cubicBezTo>
                    <a:pt x="12" y="9"/>
                    <a:pt x="12" y="10"/>
                    <a:pt x="13" y="10"/>
                  </a:cubicBezTo>
                  <a:cubicBezTo>
                    <a:pt x="13" y="11"/>
                    <a:pt x="14" y="12"/>
                    <a:pt x="14" y="12"/>
                  </a:cubicBezTo>
                  <a:cubicBezTo>
                    <a:pt x="15" y="13"/>
                    <a:pt x="15" y="13"/>
                    <a:pt x="15" y="14"/>
                  </a:cubicBezTo>
                  <a:cubicBezTo>
                    <a:pt x="15" y="14"/>
                    <a:pt x="15" y="14"/>
                    <a:pt x="16" y="14"/>
                  </a:cubicBezTo>
                  <a:cubicBezTo>
                    <a:pt x="16" y="14"/>
                    <a:pt x="16" y="15"/>
                    <a:pt x="16" y="15"/>
                  </a:cubicBezTo>
                  <a:cubicBezTo>
                    <a:pt x="16" y="15"/>
                    <a:pt x="17" y="15"/>
                    <a:pt x="17" y="15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8"/>
                    <a:pt x="18" y="19"/>
                    <a:pt x="16" y="20"/>
                  </a:cubicBezTo>
                  <a:cubicBezTo>
                    <a:pt x="16" y="21"/>
                    <a:pt x="16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4" y="21"/>
                    <a:pt x="14" y="21"/>
                    <a:pt x="13" y="21"/>
                  </a:cubicBezTo>
                  <a:close/>
                  <a:moveTo>
                    <a:pt x="13" y="20"/>
                  </a:moveTo>
                  <a:cubicBezTo>
                    <a:pt x="13" y="20"/>
                    <a:pt x="13" y="20"/>
                    <a:pt x="13" y="20"/>
                  </a:cubicBezTo>
                  <a:cubicBezTo>
                    <a:pt x="14" y="20"/>
                    <a:pt x="15" y="19"/>
                    <a:pt x="15" y="20"/>
                  </a:cubicBezTo>
                  <a:cubicBezTo>
                    <a:pt x="15" y="20"/>
                    <a:pt x="15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19"/>
                    <a:pt x="17" y="18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16"/>
                    <a:pt x="15" y="15"/>
                    <a:pt x="15" y="15"/>
                  </a:cubicBezTo>
                  <a:cubicBezTo>
                    <a:pt x="14" y="15"/>
                    <a:pt x="14" y="14"/>
                    <a:pt x="1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2" y="12"/>
                    <a:pt x="12" y="11"/>
                  </a:cubicBezTo>
                  <a:cubicBezTo>
                    <a:pt x="11" y="11"/>
                    <a:pt x="11" y="10"/>
                    <a:pt x="10" y="9"/>
                  </a:cubicBezTo>
                  <a:cubicBezTo>
                    <a:pt x="9" y="9"/>
                    <a:pt x="9" y="8"/>
                    <a:pt x="9" y="8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0" y="7"/>
                    <a:pt x="10" y="7"/>
                    <a:pt x="10" y="6"/>
                  </a:cubicBezTo>
                  <a:cubicBezTo>
                    <a:pt x="11" y="6"/>
                    <a:pt x="11" y="6"/>
                    <a:pt x="10" y="5"/>
                  </a:cubicBezTo>
                  <a:cubicBezTo>
                    <a:pt x="10" y="5"/>
                    <a:pt x="9" y="5"/>
                    <a:pt x="9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5" y="2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5" y="10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0"/>
                    <a:pt x="7" y="10"/>
                  </a:cubicBezTo>
                  <a:cubicBezTo>
                    <a:pt x="7" y="10"/>
                    <a:pt x="8" y="10"/>
                    <a:pt x="8" y="10"/>
                  </a:cubicBezTo>
                  <a:cubicBezTo>
                    <a:pt x="9" y="10"/>
                    <a:pt x="9" y="10"/>
                    <a:pt x="10" y="11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1" y="14"/>
                    <a:pt x="11" y="15"/>
                    <a:pt x="12" y="15"/>
                  </a:cubicBezTo>
                  <a:cubicBezTo>
                    <a:pt x="12" y="16"/>
                    <a:pt x="13" y="17"/>
                    <a:pt x="13" y="19"/>
                  </a:cubicBezTo>
                  <a:cubicBezTo>
                    <a:pt x="13" y="19"/>
                    <a:pt x="13" y="20"/>
                    <a:pt x="13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3" name="Freeform 619"/>
            <p:cNvSpPr/>
            <p:nvPr/>
          </p:nvSpPr>
          <p:spPr bwMode="auto">
            <a:xfrm>
              <a:off x="3618608" y="3066629"/>
              <a:ext cx="173038" cy="119062"/>
            </a:xfrm>
            <a:custGeom>
              <a:avLst/>
              <a:gdLst>
                <a:gd name="T0" fmla="*/ 0 w 23"/>
                <a:gd name="T1" fmla="*/ 2147483646 h 16"/>
                <a:gd name="T2" fmla="*/ 2147483646 w 23"/>
                <a:gd name="T3" fmla="*/ 2147483646 h 16"/>
                <a:gd name="T4" fmla="*/ 2147483646 w 23"/>
                <a:gd name="T5" fmla="*/ 2147483646 h 16"/>
                <a:gd name="T6" fmla="*/ 2147483646 w 23"/>
                <a:gd name="T7" fmla="*/ 2147483646 h 16"/>
                <a:gd name="T8" fmla="*/ 2147483646 w 23"/>
                <a:gd name="T9" fmla="*/ 2147483646 h 16"/>
                <a:gd name="T10" fmla="*/ 2147483646 w 23"/>
                <a:gd name="T11" fmla="*/ 2147483646 h 16"/>
                <a:gd name="T12" fmla="*/ 2147483646 w 23"/>
                <a:gd name="T13" fmla="*/ 2147483646 h 16"/>
                <a:gd name="T14" fmla="*/ 2147483646 w 23"/>
                <a:gd name="T15" fmla="*/ 0 h 16"/>
                <a:gd name="T16" fmla="*/ 2147483646 w 23"/>
                <a:gd name="T17" fmla="*/ 2147483646 h 16"/>
                <a:gd name="T18" fmla="*/ 2147483646 w 23"/>
                <a:gd name="T19" fmla="*/ 0 h 16"/>
                <a:gd name="T20" fmla="*/ 2147483646 w 23"/>
                <a:gd name="T21" fmla="*/ 2147483646 h 16"/>
                <a:gd name="T22" fmla="*/ 2147483646 w 23"/>
                <a:gd name="T23" fmla="*/ 2147483646 h 16"/>
                <a:gd name="T24" fmla="*/ 2147483646 w 23"/>
                <a:gd name="T25" fmla="*/ 2147483646 h 16"/>
                <a:gd name="T26" fmla="*/ 2147483646 w 23"/>
                <a:gd name="T27" fmla="*/ 2147483646 h 16"/>
                <a:gd name="T28" fmla="*/ 2147483646 w 23"/>
                <a:gd name="T29" fmla="*/ 2147483646 h 16"/>
                <a:gd name="T30" fmla="*/ 2147483646 w 23"/>
                <a:gd name="T31" fmla="*/ 2147483646 h 16"/>
                <a:gd name="T32" fmla="*/ 2147483646 w 23"/>
                <a:gd name="T33" fmla="*/ 2147483646 h 16"/>
                <a:gd name="T34" fmla="*/ 2147483646 w 23"/>
                <a:gd name="T35" fmla="*/ 2147483646 h 16"/>
                <a:gd name="T36" fmla="*/ 2147483646 w 23"/>
                <a:gd name="T37" fmla="*/ 2147483646 h 16"/>
                <a:gd name="T38" fmla="*/ 0 w 23"/>
                <a:gd name="T39" fmla="*/ 2147483646 h 1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3" h="16">
                  <a:moveTo>
                    <a:pt x="0" y="12"/>
                  </a:moveTo>
                  <a:cubicBezTo>
                    <a:pt x="3" y="14"/>
                    <a:pt x="4" y="12"/>
                    <a:pt x="5" y="10"/>
                  </a:cubicBezTo>
                  <a:cubicBezTo>
                    <a:pt x="5" y="9"/>
                    <a:pt x="7" y="10"/>
                    <a:pt x="8" y="9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1" y="6"/>
                    <a:pt x="11" y="7"/>
                    <a:pt x="12" y="7"/>
                  </a:cubicBezTo>
                  <a:cubicBezTo>
                    <a:pt x="12" y="7"/>
                    <a:pt x="12" y="6"/>
                    <a:pt x="13" y="5"/>
                  </a:cubicBezTo>
                  <a:cubicBezTo>
                    <a:pt x="13" y="6"/>
                    <a:pt x="13" y="6"/>
                    <a:pt x="14" y="6"/>
                  </a:cubicBezTo>
                  <a:cubicBezTo>
                    <a:pt x="13" y="5"/>
                    <a:pt x="16" y="2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8" y="0"/>
                  </a:cubicBezTo>
                  <a:cubicBezTo>
                    <a:pt x="18" y="1"/>
                    <a:pt x="19" y="2"/>
                    <a:pt x="19" y="3"/>
                  </a:cubicBezTo>
                  <a:cubicBezTo>
                    <a:pt x="19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2" y="4"/>
                    <a:pt x="23" y="4"/>
                  </a:cubicBezTo>
                  <a:cubicBezTo>
                    <a:pt x="22" y="5"/>
                    <a:pt x="21" y="5"/>
                    <a:pt x="20" y="5"/>
                  </a:cubicBezTo>
                  <a:cubicBezTo>
                    <a:pt x="21" y="5"/>
                    <a:pt x="21" y="6"/>
                    <a:pt x="21" y="6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3" y="7"/>
                    <a:pt x="13" y="11"/>
                    <a:pt x="12" y="12"/>
                  </a:cubicBezTo>
                  <a:cubicBezTo>
                    <a:pt x="10" y="15"/>
                    <a:pt x="8" y="12"/>
                    <a:pt x="5" y="14"/>
                  </a:cubicBezTo>
                  <a:cubicBezTo>
                    <a:pt x="3" y="16"/>
                    <a:pt x="1" y="13"/>
                    <a:pt x="0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4" name="Freeform 620"/>
            <p:cNvSpPr>
              <a:spLocks noEditPoints="1"/>
            </p:cNvSpPr>
            <p:nvPr/>
          </p:nvSpPr>
          <p:spPr bwMode="auto">
            <a:xfrm>
              <a:off x="3618608" y="3057104"/>
              <a:ext cx="179388" cy="119062"/>
            </a:xfrm>
            <a:custGeom>
              <a:avLst/>
              <a:gdLst>
                <a:gd name="T0" fmla="*/ 0 w 24"/>
                <a:gd name="T1" fmla="*/ 2147483646 h 16"/>
                <a:gd name="T2" fmla="*/ 2147483646 w 24"/>
                <a:gd name="T3" fmla="*/ 2147483646 h 16"/>
                <a:gd name="T4" fmla="*/ 2147483646 w 24"/>
                <a:gd name="T5" fmla="*/ 2147483646 h 16"/>
                <a:gd name="T6" fmla="*/ 2147483646 w 24"/>
                <a:gd name="T7" fmla="*/ 2147483646 h 16"/>
                <a:gd name="T8" fmla="*/ 2147483646 w 24"/>
                <a:gd name="T9" fmla="*/ 2147483646 h 16"/>
                <a:gd name="T10" fmla="*/ 2147483646 w 24"/>
                <a:gd name="T11" fmla="*/ 2147483646 h 16"/>
                <a:gd name="T12" fmla="*/ 2147483646 w 24"/>
                <a:gd name="T13" fmla="*/ 2147483646 h 16"/>
                <a:gd name="T14" fmla="*/ 2147483646 w 24"/>
                <a:gd name="T15" fmla="*/ 2147483646 h 16"/>
                <a:gd name="T16" fmla="*/ 2147483646 w 24"/>
                <a:gd name="T17" fmla="*/ 2147483646 h 16"/>
                <a:gd name="T18" fmla="*/ 2147483646 w 24"/>
                <a:gd name="T19" fmla="*/ 2147483646 h 16"/>
                <a:gd name="T20" fmla="*/ 2147483646 w 24"/>
                <a:gd name="T21" fmla="*/ 2147483646 h 16"/>
                <a:gd name="T22" fmla="*/ 2147483646 w 24"/>
                <a:gd name="T23" fmla="*/ 2147483646 h 16"/>
                <a:gd name="T24" fmla="*/ 2147483646 w 24"/>
                <a:gd name="T25" fmla="*/ 2147483646 h 16"/>
                <a:gd name="T26" fmla="*/ 2147483646 w 24"/>
                <a:gd name="T27" fmla="*/ 2147483646 h 16"/>
                <a:gd name="T28" fmla="*/ 2147483646 w 24"/>
                <a:gd name="T29" fmla="*/ 2147483646 h 16"/>
                <a:gd name="T30" fmla="*/ 2147483646 w 24"/>
                <a:gd name="T31" fmla="*/ 2147483646 h 16"/>
                <a:gd name="T32" fmla="*/ 2147483646 w 24"/>
                <a:gd name="T33" fmla="*/ 2147483646 h 16"/>
                <a:gd name="T34" fmla="*/ 2147483646 w 24"/>
                <a:gd name="T35" fmla="*/ 2147483646 h 16"/>
                <a:gd name="T36" fmla="*/ 2147483646 w 24"/>
                <a:gd name="T37" fmla="*/ 2147483646 h 16"/>
                <a:gd name="T38" fmla="*/ 2147483646 w 24"/>
                <a:gd name="T39" fmla="*/ 2147483646 h 16"/>
                <a:gd name="T40" fmla="*/ 2147483646 w 24"/>
                <a:gd name="T41" fmla="*/ 2147483646 h 16"/>
                <a:gd name="T42" fmla="*/ 2147483646 w 24"/>
                <a:gd name="T43" fmla="*/ 2147483646 h 16"/>
                <a:gd name="T44" fmla="*/ 2147483646 w 24"/>
                <a:gd name="T45" fmla="*/ 2147483646 h 16"/>
                <a:gd name="T46" fmla="*/ 2147483646 w 24"/>
                <a:gd name="T47" fmla="*/ 2147483646 h 16"/>
                <a:gd name="T48" fmla="*/ 2147483646 w 24"/>
                <a:gd name="T49" fmla="*/ 2147483646 h 16"/>
                <a:gd name="T50" fmla="*/ 2147483646 w 24"/>
                <a:gd name="T51" fmla="*/ 2147483646 h 16"/>
                <a:gd name="T52" fmla="*/ 2147483646 w 24"/>
                <a:gd name="T53" fmla="*/ 2147483646 h 16"/>
                <a:gd name="T54" fmla="*/ 2147483646 w 24"/>
                <a:gd name="T55" fmla="*/ 2147483646 h 16"/>
                <a:gd name="T56" fmla="*/ 2147483646 w 24"/>
                <a:gd name="T57" fmla="*/ 2147483646 h 16"/>
                <a:gd name="T58" fmla="*/ 2147483646 w 24"/>
                <a:gd name="T59" fmla="*/ 2147483646 h 16"/>
                <a:gd name="T60" fmla="*/ 2147483646 w 24"/>
                <a:gd name="T61" fmla="*/ 2147483646 h 16"/>
                <a:gd name="T62" fmla="*/ 2147483646 w 24"/>
                <a:gd name="T63" fmla="*/ 2147483646 h 16"/>
                <a:gd name="T64" fmla="*/ 2147483646 w 24"/>
                <a:gd name="T65" fmla="*/ 2147483646 h 16"/>
                <a:gd name="T66" fmla="*/ 2147483646 w 24"/>
                <a:gd name="T67" fmla="*/ 2147483646 h 16"/>
                <a:gd name="T68" fmla="*/ 2147483646 w 24"/>
                <a:gd name="T69" fmla="*/ 2147483646 h 16"/>
                <a:gd name="T70" fmla="*/ 2147483646 w 24"/>
                <a:gd name="T71" fmla="*/ 2147483646 h 16"/>
                <a:gd name="T72" fmla="*/ 2147483646 w 24"/>
                <a:gd name="T73" fmla="*/ 2147483646 h 16"/>
                <a:gd name="T74" fmla="*/ 2147483646 w 24"/>
                <a:gd name="T75" fmla="*/ 2147483646 h 16"/>
                <a:gd name="T76" fmla="*/ 2147483646 w 24"/>
                <a:gd name="T77" fmla="*/ 2147483646 h 16"/>
                <a:gd name="T78" fmla="*/ 2147483646 w 24"/>
                <a:gd name="T79" fmla="*/ 2147483646 h 16"/>
                <a:gd name="T80" fmla="*/ 2147483646 w 24"/>
                <a:gd name="T81" fmla="*/ 2147483646 h 16"/>
                <a:gd name="T82" fmla="*/ 2147483646 w 24"/>
                <a:gd name="T83" fmla="*/ 2147483646 h 16"/>
                <a:gd name="T84" fmla="*/ 2147483646 w 24"/>
                <a:gd name="T85" fmla="*/ 2147483646 h 16"/>
                <a:gd name="T86" fmla="*/ 2147483646 w 24"/>
                <a:gd name="T87" fmla="*/ 2147483646 h 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4" h="16">
                  <a:moveTo>
                    <a:pt x="4" y="16"/>
                  </a:moveTo>
                  <a:cubicBezTo>
                    <a:pt x="2" y="16"/>
                    <a:pt x="0" y="14"/>
                    <a:pt x="0" y="1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3" y="13"/>
                    <a:pt x="4" y="12"/>
                    <a:pt x="4" y="11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8" y="10"/>
                    <a:pt x="8" y="9"/>
                    <a:pt x="8" y="9"/>
                  </a:cubicBezTo>
                  <a:cubicBezTo>
                    <a:pt x="9" y="8"/>
                    <a:pt x="10" y="8"/>
                    <a:pt x="10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5"/>
                    <a:pt x="14" y="4"/>
                    <a:pt x="15" y="2"/>
                  </a:cubicBezTo>
                  <a:cubicBezTo>
                    <a:pt x="16" y="2"/>
                    <a:pt x="16" y="2"/>
                    <a:pt x="16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2"/>
                    <a:pt x="19" y="2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4"/>
                    <a:pt x="22" y="4"/>
                    <a:pt x="2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2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7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4" y="9"/>
                    <a:pt x="14" y="11"/>
                  </a:cubicBezTo>
                  <a:cubicBezTo>
                    <a:pt x="13" y="12"/>
                    <a:pt x="13" y="13"/>
                    <a:pt x="12" y="14"/>
                  </a:cubicBezTo>
                  <a:cubicBezTo>
                    <a:pt x="11" y="15"/>
                    <a:pt x="10" y="15"/>
                    <a:pt x="10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8" y="15"/>
                    <a:pt x="8" y="15"/>
                    <a:pt x="7" y="15"/>
                  </a:cubicBezTo>
                  <a:cubicBezTo>
                    <a:pt x="7" y="15"/>
                    <a:pt x="6" y="15"/>
                    <a:pt x="6" y="15"/>
                  </a:cubicBezTo>
                  <a:cubicBezTo>
                    <a:pt x="5" y="16"/>
                    <a:pt x="4" y="16"/>
                    <a:pt x="4" y="16"/>
                  </a:cubicBezTo>
                  <a:close/>
                  <a:moveTo>
                    <a:pt x="2" y="14"/>
                  </a:moveTo>
                  <a:cubicBezTo>
                    <a:pt x="3" y="15"/>
                    <a:pt x="4" y="15"/>
                    <a:pt x="5" y="15"/>
                  </a:cubicBezTo>
                  <a:cubicBezTo>
                    <a:pt x="6" y="14"/>
                    <a:pt x="6" y="14"/>
                    <a:pt x="7" y="14"/>
                  </a:cubicBezTo>
                  <a:cubicBezTo>
                    <a:pt x="8" y="14"/>
                    <a:pt x="8" y="14"/>
                    <a:pt x="9" y="14"/>
                  </a:cubicBezTo>
                  <a:cubicBezTo>
                    <a:pt x="9" y="14"/>
                    <a:pt x="9" y="14"/>
                    <a:pt x="10" y="14"/>
                  </a:cubicBezTo>
                  <a:cubicBezTo>
                    <a:pt x="10" y="14"/>
                    <a:pt x="11" y="14"/>
                    <a:pt x="11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3" y="9"/>
                    <a:pt x="14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7"/>
                    <a:pt x="17" y="7"/>
                    <a:pt x="18" y="7"/>
                  </a:cubicBezTo>
                  <a:cubicBezTo>
                    <a:pt x="19" y="7"/>
                    <a:pt x="19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1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5"/>
                    <a:pt x="14" y="6"/>
                    <a:pt x="14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3" y="7"/>
                    <a:pt x="13" y="8"/>
                    <a:pt x="13" y="8"/>
                  </a:cubicBezTo>
                  <a:cubicBezTo>
                    <a:pt x="13" y="8"/>
                    <a:pt x="12" y="8"/>
                    <a:pt x="12" y="8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9"/>
                    <a:pt x="10" y="9"/>
                    <a:pt x="9" y="10"/>
                  </a:cubicBezTo>
                  <a:cubicBezTo>
                    <a:pt x="9" y="10"/>
                    <a:pt x="9" y="10"/>
                    <a:pt x="8" y="11"/>
                  </a:cubicBezTo>
                  <a:cubicBezTo>
                    <a:pt x="8" y="11"/>
                    <a:pt x="7" y="11"/>
                    <a:pt x="6" y="11"/>
                  </a:cubicBezTo>
                  <a:cubicBezTo>
                    <a:pt x="6" y="11"/>
                    <a:pt x="6" y="11"/>
                    <a:pt x="5" y="11"/>
                  </a:cubicBezTo>
                  <a:cubicBezTo>
                    <a:pt x="5" y="13"/>
                    <a:pt x="4" y="14"/>
                    <a:pt x="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5" name="Freeform 621"/>
            <p:cNvSpPr/>
            <p:nvPr/>
          </p:nvSpPr>
          <p:spPr bwMode="auto">
            <a:xfrm>
              <a:off x="3455096" y="3072980"/>
              <a:ext cx="74612" cy="90487"/>
            </a:xfrm>
            <a:custGeom>
              <a:avLst/>
              <a:gdLst>
                <a:gd name="T0" fmla="*/ 2147483646 w 10"/>
                <a:gd name="T1" fmla="*/ 2147483646 h 12"/>
                <a:gd name="T2" fmla="*/ 2147483646 w 10"/>
                <a:gd name="T3" fmla="*/ 2147483646 h 12"/>
                <a:gd name="T4" fmla="*/ 2147483646 w 10"/>
                <a:gd name="T5" fmla="*/ 2147483646 h 12"/>
                <a:gd name="T6" fmla="*/ 2147483646 w 10"/>
                <a:gd name="T7" fmla="*/ 2147483646 h 12"/>
                <a:gd name="T8" fmla="*/ 0 w 10"/>
                <a:gd name="T9" fmla="*/ 0 h 12"/>
                <a:gd name="T10" fmla="*/ 2147483646 w 10"/>
                <a:gd name="T11" fmla="*/ 2147483646 h 12"/>
                <a:gd name="T12" fmla="*/ 2147483646 w 10"/>
                <a:gd name="T13" fmla="*/ 2147483646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12">
                  <a:moveTo>
                    <a:pt x="5" y="1"/>
                  </a:moveTo>
                  <a:cubicBezTo>
                    <a:pt x="7" y="2"/>
                    <a:pt x="8" y="4"/>
                    <a:pt x="8" y="5"/>
                  </a:cubicBezTo>
                  <a:cubicBezTo>
                    <a:pt x="8" y="7"/>
                    <a:pt x="8" y="8"/>
                    <a:pt x="8" y="9"/>
                  </a:cubicBezTo>
                  <a:cubicBezTo>
                    <a:pt x="9" y="10"/>
                    <a:pt x="10" y="11"/>
                    <a:pt x="10" y="12"/>
                  </a:cubicBezTo>
                  <a:cubicBezTo>
                    <a:pt x="3" y="11"/>
                    <a:pt x="2" y="6"/>
                    <a:pt x="0" y="0"/>
                  </a:cubicBezTo>
                  <a:cubicBezTo>
                    <a:pt x="2" y="0"/>
                    <a:pt x="3" y="1"/>
                    <a:pt x="3" y="2"/>
                  </a:cubicBezTo>
                  <a:cubicBezTo>
                    <a:pt x="4" y="2"/>
                    <a:pt x="4" y="2"/>
                    <a:pt x="5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6" name="Freeform 622"/>
            <p:cNvSpPr>
              <a:spLocks noEditPoints="1"/>
            </p:cNvSpPr>
            <p:nvPr/>
          </p:nvSpPr>
          <p:spPr bwMode="auto">
            <a:xfrm>
              <a:off x="3455096" y="3066629"/>
              <a:ext cx="80962" cy="103187"/>
            </a:xfrm>
            <a:custGeom>
              <a:avLst/>
              <a:gdLst>
                <a:gd name="T0" fmla="*/ 2147483646 w 11"/>
                <a:gd name="T1" fmla="*/ 2147483646 h 14"/>
                <a:gd name="T2" fmla="*/ 2147483646 w 11"/>
                <a:gd name="T3" fmla="*/ 2147483646 h 14"/>
                <a:gd name="T4" fmla="*/ 0 w 11"/>
                <a:gd name="T5" fmla="*/ 2147483646 h 14"/>
                <a:gd name="T6" fmla="*/ 0 w 11"/>
                <a:gd name="T7" fmla="*/ 0 h 14"/>
                <a:gd name="T8" fmla="*/ 2147483646 w 11"/>
                <a:gd name="T9" fmla="*/ 0 h 14"/>
                <a:gd name="T10" fmla="*/ 2147483646 w 11"/>
                <a:gd name="T11" fmla="*/ 2147483646 h 14"/>
                <a:gd name="T12" fmla="*/ 2147483646 w 11"/>
                <a:gd name="T13" fmla="*/ 2147483646 h 14"/>
                <a:gd name="T14" fmla="*/ 2147483646 w 11"/>
                <a:gd name="T15" fmla="*/ 2147483646 h 14"/>
                <a:gd name="T16" fmla="*/ 2147483646 w 11"/>
                <a:gd name="T17" fmla="*/ 2147483646 h 14"/>
                <a:gd name="T18" fmla="*/ 2147483646 w 11"/>
                <a:gd name="T19" fmla="*/ 2147483646 h 14"/>
                <a:gd name="T20" fmla="*/ 2147483646 w 11"/>
                <a:gd name="T21" fmla="*/ 2147483646 h 14"/>
                <a:gd name="T22" fmla="*/ 2147483646 w 11"/>
                <a:gd name="T23" fmla="*/ 2147483646 h 14"/>
                <a:gd name="T24" fmla="*/ 2147483646 w 11"/>
                <a:gd name="T25" fmla="*/ 2147483646 h 14"/>
                <a:gd name="T26" fmla="*/ 2147483646 w 11"/>
                <a:gd name="T27" fmla="*/ 2147483646 h 14"/>
                <a:gd name="T28" fmla="*/ 2147483646 w 11"/>
                <a:gd name="T29" fmla="*/ 2147483646 h 14"/>
                <a:gd name="T30" fmla="*/ 2147483646 w 11"/>
                <a:gd name="T31" fmla="*/ 2147483646 h 14"/>
                <a:gd name="T32" fmla="*/ 2147483646 w 11"/>
                <a:gd name="T33" fmla="*/ 2147483646 h 14"/>
                <a:gd name="T34" fmla="*/ 2147483646 w 11"/>
                <a:gd name="T35" fmla="*/ 2147483646 h 14"/>
                <a:gd name="T36" fmla="*/ 2147483646 w 11"/>
                <a:gd name="T37" fmla="*/ 2147483646 h 14"/>
                <a:gd name="T38" fmla="*/ 2147483646 w 11"/>
                <a:gd name="T39" fmla="*/ 2147483646 h 14"/>
                <a:gd name="T40" fmla="*/ 2147483646 w 11"/>
                <a:gd name="T41" fmla="*/ 2147483646 h 14"/>
                <a:gd name="T42" fmla="*/ 2147483646 w 11"/>
                <a:gd name="T43" fmla="*/ 2147483646 h 14"/>
                <a:gd name="T44" fmla="*/ 2147483646 w 11"/>
                <a:gd name="T45" fmla="*/ 2147483646 h 14"/>
                <a:gd name="T46" fmla="*/ 2147483646 w 11"/>
                <a:gd name="T47" fmla="*/ 2147483646 h 14"/>
                <a:gd name="T48" fmla="*/ 2147483646 w 11"/>
                <a:gd name="T49" fmla="*/ 2147483646 h 14"/>
                <a:gd name="T50" fmla="*/ 2147483646 w 11"/>
                <a:gd name="T51" fmla="*/ 2147483646 h 14"/>
                <a:gd name="T52" fmla="*/ 2147483646 w 11"/>
                <a:gd name="T53" fmla="*/ 2147483646 h 14"/>
                <a:gd name="T54" fmla="*/ 2147483646 w 11"/>
                <a:gd name="T55" fmla="*/ 2147483646 h 1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1" h="14">
                  <a:moveTo>
                    <a:pt x="10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3" y="13"/>
                    <a:pt x="1" y="7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3" y="1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7" y="2"/>
                    <a:pt x="9" y="4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8" y="9"/>
                    <a:pt x="9" y="9"/>
                  </a:cubicBezTo>
                  <a:cubicBezTo>
                    <a:pt x="9" y="9"/>
                    <a:pt x="9" y="10"/>
                    <a:pt x="9" y="10"/>
                  </a:cubicBezTo>
                  <a:cubicBezTo>
                    <a:pt x="10" y="11"/>
                    <a:pt x="11" y="12"/>
                    <a:pt x="10" y="13"/>
                  </a:cubicBezTo>
                  <a:lnTo>
                    <a:pt x="10" y="14"/>
                  </a:lnTo>
                  <a:close/>
                  <a:moveTo>
                    <a:pt x="1" y="2"/>
                  </a:moveTo>
                  <a:cubicBezTo>
                    <a:pt x="2" y="7"/>
                    <a:pt x="4" y="12"/>
                    <a:pt x="9" y="12"/>
                  </a:cubicBezTo>
                  <a:cubicBezTo>
                    <a:pt x="9" y="12"/>
                    <a:pt x="9" y="11"/>
                    <a:pt x="8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9"/>
                    <a:pt x="7" y="8"/>
                    <a:pt x="7" y="7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7" y="4"/>
                    <a:pt x="5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7" name="Freeform 623"/>
            <p:cNvSpPr/>
            <p:nvPr/>
          </p:nvSpPr>
          <p:spPr bwMode="auto">
            <a:xfrm>
              <a:off x="3115371" y="2641179"/>
              <a:ext cx="138112" cy="82550"/>
            </a:xfrm>
            <a:custGeom>
              <a:avLst/>
              <a:gdLst>
                <a:gd name="T0" fmla="*/ 2147483646 w 19"/>
                <a:gd name="T1" fmla="*/ 0 h 11"/>
                <a:gd name="T2" fmla="*/ 2147483646 w 19"/>
                <a:gd name="T3" fmla="*/ 2147483646 h 11"/>
                <a:gd name="T4" fmla="*/ 2147483646 w 19"/>
                <a:gd name="T5" fmla="*/ 0 h 11"/>
                <a:gd name="T6" fmla="*/ 2147483646 w 19"/>
                <a:gd name="T7" fmla="*/ 2147483646 h 11"/>
                <a:gd name="T8" fmla="*/ 2147483646 w 19"/>
                <a:gd name="T9" fmla="*/ 2147483646 h 11"/>
                <a:gd name="T10" fmla="*/ 2147483646 w 19"/>
                <a:gd name="T11" fmla="*/ 2147483646 h 11"/>
                <a:gd name="T12" fmla="*/ 2147483646 w 19"/>
                <a:gd name="T13" fmla="*/ 2147483646 h 11"/>
                <a:gd name="T14" fmla="*/ 2147483646 w 19"/>
                <a:gd name="T15" fmla="*/ 2147483646 h 11"/>
                <a:gd name="T16" fmla="*/ 2147483646 w 19"/>
                <a:gd name="T17" fmla="*/ 2147483646 h 11"/>
                <a:gd name="T18" fmla="*/ 2147483646 w 19"/>
                <a:gd name="T19" fmla="*/ 2147483646 h 11"/>
                <a:gd name="T20" fmla="*/ 2147483646 w 19"/>
                <a:gd name="T21" fmla="*/ 2147483646 h 11"/>
                <a:gd name="T22" fmla="*/ 2147483646 w 19"/>
                <a:gd name="T23" fmla="*/ 2147483646 h 11"/>
                <a:gd name="T24" fmla="*/ 2147483646 w 19"/>
                <a:gd name="T25" fmla="*/ 2147483646 h 11"/>
                <a:gd name="T26" fmla="*/ 0 w 19"/>
                <a:gd name="T27" fmla="*/ 2147483646 h 11"/>
                <a:gd name="T28" fmla="*/ 2147483646 w 19"/>
                <a:gd name="T29" fmla="*/ 0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" h="11">
                  <a:moveTo>
                    <a:pt x="2" y="0"/>
                  </a:move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5" y="1"/>
                    <a:pt x="5" y="1"/>
                    <a:pt x="7" y="2"/>
                  </a:cubicBezTo>
                  <a:cubicBezTo>
                    <a:pt x="8" y="3"/>
                    <a:pt x="8" y="4"/>
                    <a:pt x="9" y="3"/>
                  </a:cubicBezTo>
                  <a:cubicBezTo>
                    <a:pt x="9" y="4"/>
                    <a:pt x="9" y="4"/>
                    <a:pt x="10" y="4"/>
                  </a:cubicBezTo>
                  <a:cubicBezTo>
                    <a:pt x="12" y="5"/>
                    <a:pt x="11" y="5"/>
                    <a:pt x="12" y="6"/>
                  </a:cubicBezTo>
                  <a:cubicBezTo>
                    <a:pt x="14" y="6"/>
                    <a:pt x="16" y="7"/>
                    <a:pt x="18" y="7"/>
                  </a:cubicBezTo>
                  <a:cubicBezTo>
                    <a:pt x="18" y="9"/>
                    <a:pt x="19" y="10"/>
                    <a:pt x="16" y="10"/>
                  </a:cubicBezTo>
                  <a:cubicBezTo>
                    <a:pt x="15" y="11"/>
                    <a:pt x="14" y="10"/>
                    <a:pt x="12" y="10"/>
                  </a:cubicBezTo>
                  <a:cubicBezTo>
                    <a:pt x="11" y="9"/>
                    <a:pt x="11" y="8"/>
                    <a:pt x="10" y="8"/>
                  </a:cubicBezTo>
                  <a:cubicBezTo>
                    <a:pt x="9" y="8"/>
                    <a:pt x="7" y="8"/>
                    <a:pt x="6" y="8"/>
                  </a:cubicBezTo>
                  <a:cubicBezTo>
                    <a:pt x="5" y="7"/>
                    <a:pt x="3" y="6"/>
                    <a:pt x="2" y="6"/>
                  </a:cubicBezTo>
                  <a:cubicBezTo>
                    <a:pt x="1" y="5"/>
                    <a:pt x="0" y="5"/>
                    <a:pt x="0" y="3"/>
                  </a:cubicBezTo>
                  <a:cubicBezTo>
                    <a:pt x="0" y="2"/>
                    <a:pt x="1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8" name="Freeform 624"/>
            <p:cNvSpPr>
              <a:spLocks noEditPoints="1"/>
            </p:cNvSpPr>
            <p:nvPr/>
          </p:nvSpPr>
          <p:spPr bwMode="auto">
            <a:xfrm>
              <a:off x="3105846" y="2641179"/>
              <a:ext cx="147637" cy="82550"/>
            </a:xfrm>
            <a:custGeom>
              <a:avLst/>
              <a:gdLst>
                <a:gd name="T0" fmla="*/ 2147483646 w 20"/>
                <a:gd name="T1" fmla="*/ 2147483646 h 11"/>
                <a:gd name="T2" fmla="*/ 2147483646 w 20"/>
                <a:gd name="T3" fmla="*/ 2147483646 h 11"/>
                <a:gd name="T4" fmla="*/ 2147483646 w 20"/>
                <a:gd name="T5" fmla="*/ 2147483646 h 11"/>
                <a:gd name="T6" fmla="*/ 2147483646 w 20"/>
                <a:gd name="T7" fmla="*/ 2147483646 h 11"/>
                <a:gd name="T8" fmla="*/ 2147483646 w 20"/>
                <a:gd name="T9" fmla="*/ 2147483646 h 11"/>
                <a:gd name="T10" fmla="*/ 2147483646 w 20"/>
                <a:gd name="T11" fmla="*/ 2147483646 h 11"/>
                <a:gd name="T12" fmla="*/ 2147483646 w 20"/>
                <a:gd name="T13" fmla="*/ 2147483646 h 11"/>
                <a:gd name="T14" fmla="*/ 2147483646 w 20"/>
                <a:gd name="T15" fmla="*/ 2147483646 h 11"/>
                <a:gd name="T16" fmla="*/ 2147483646 w 20"/>
                <a:gd name="T17" fmla="*/ 2147483646 h 11"/>
                <a:gd name="T18" fmla="*/ 2147483646 w 20"/>
                <a:gd name="T19" fmla="*/ 2147483646 h 11"/>
                <a:gd name="T20" fmla="*/ 0 w 20"/>
                <a:gd name="T21" fmla="*/ 2147483646 h 11"/>
                <a:gd name="T22" fmla="*/ 2147483646 w 20"/>
                <a:gd name="T23" fmla="*/ 0 h 11"/>
                <a:gd name="T24" fmla="*/ 2147483646 w 20"/>
                <a:gd name="T25" fmla="*/ 0 h 11"/>
                <a:gd name="T26" fmla="*/ 2147483646 w 20"/>
                <a:gd name="T27" fmla="*/ 0 h 11"/>
                <a:gd name="T28" fmla="*/ 2147483646 w 20"/>
                <a:gd name="T29" fmla="*/ 0 h 11"/>
                <a:gd name="T30" fmla="*/ 2147483646 w 20"/>
                <a:gd name="T31" fmla="*/ 0 h 11"/>
                <a:gd name="T32" fmla="*/ 2147483646 w 20"/>
                <a:gd name="T33" fmla="*/ 2147483646 h 11"/>
                <a:gd name="T34" fmla="*/ 2147483646 w 20"/>
                <a:gd name="T35" fmla="*/ 2147483646 h 11"/>
                <a:gd name="T36" fmla="*/ 2147483646 w 20"/>
                <a:gd name="T37" fmla="*/ 2147483646 h 11"/>
                <a:gd name="T38" fmla="*/ 2147483646 w 20"/>
                <a:gd name="T39" fmla="*/ 2147483646 h 11"/>
                <a:gd name="T40" fmla="*/ 2147483646 w 20"/>
                <a:gd name="T41" fmla="*/ 2147483646 h 11"/>
                <a:gd name="T42" fmla="*/ 2147483646 w 20"/>
                <a:gd name="T43" fmla="*/ 2147483646 h 11"/>
                <a:gd name="T44" fmla="*/ 2147483646 w 20"/>
                <a:gd name="T45" fmla="*/ 2147483646 h 11"/>
                <a:gd name="T46" fmla="*/ 2147483646 w 20"/>
                <a:gd name="T47" fmla="*/ 2147483646 h 11"/>
                <a:gd name="T48" fmla="*/ 2147483646 w 20"/>
                <a:gd name="T49" fmla="*/ 2147483646 h 11"/>
                <a:gd name="T50" fmla="*/ 2147483646 w 20"/>
                <a:gd name="T51" fmla="*/ 2147483646 h 11"/>
                <a:gd name="T52" fmla="*/ 2147483646 w 20"/>
                <a:gd name="T53" fmla="*/ 2147483646 h 11"/>
                <a:gd name="T54" fmla="*/ 2147483646 w 20"/>
                <a:gd name="T55" fmla="*/ 2147483646 h 11"/>
                <a:gd name="T56" fmla="*/ 2147483646 w 20"/>
                <a:gd name="T57" fmla="*/ 2147483646 h 11"/>
                <a:gd name="T58" fmla="*/ 2147483646 w 20"/>
                <a:gd name="T59" fmla="*/ 2147483646 h 11"/>
                <a:gd name="T60" fmla="*/ 2147483646 w 20"/>
                <a:gd name="T61" fmla="*/ 2147483646 h 11"/>
                <a:gd name="T62" fmla="*/ 2147483646 w 20"/>
                <a:gd name="T63" fmla="*/ 2147483646 h 11"/>
                <a:gd name="T64" fmla="*/ 2147483646 w 20"/>
                <a:gd name="T65" fmla="*/ 2147483646 h 11"/>
                <a:gd name="T66" fmla="*/ 2147483646 w 20"/>
                <a:gd name="T67" fmla="*/ 2147483646 h 11"/>
                <a:gd name="T68" fmla="*/ 2147483646 w 20"/>
                <a:gd name="T69" fmla="*/ 2147483646 h 11"/>
                <a:gd name="T70" fmla="*/ 2147483646 w 20"/>
                <a:gd name="T71" fmla="*/ 2147483646 h 11"/>
                <a:gd name="T72" fmla="*/ 2147483646 w 20"/>
                <a:gd name="T73" fmla="*/ 2147483646 h 11"/>
                <a:gd name="T74" fmla="*/ 2147483646 w 20"/>
                <a:gd name="T75" fmla="*/ 2147483646 h 11"/>
                <a:gd name="T76" fmla="*/ 2147483646 w 20"/>
                <a:gd name="T77" fmla="*/ 2147483646 h 11"/>
                <a:gd name="T78" fmla="*/ 2147483646 w 20"/>
                <a:gd name="T79" fmla="*/ 2147483646 h 11"/>
                <a:gd name="T80" fmla="*/ 2147483646 w 20"/>
                <a:gd name="T81" fmla="*/ 2147483646 h 11"/>
                <a:gd name="T82" fmla="*/ 2147483646 w 20"/>
                <a:gd name="T83" fmla="*/ 2147483646 h 11"/>
                <a:gd name="T84" fmla="*/ 2147483646 w 20"/>
                <a:gd name="T85" fmla="*/ 2147483646 h 11"/>
                <a:gd name="T86" fmla="*/ 2147483646 w 20"/>
                <a:gd name="T87" fmla="*/ 2147483646 h 11"/>
                <a:gd name="T88" fmla="*/ 2147483646 w 20"/>
                <a:gd name="T89" fmla="*/ 2147483646 h 11"/>
                <a:gd name="T90" fmla="*/ 2147483646 w 20"/>
                <a:gd name="T91" fmla="*/ 2147483646 h 11"/>
                <a:gd name="T92" fmla="*/ 2147483646 w 20"/>
                <a:gd name="T93" fmla="*/ 2147483646 h 11"/>
                <a:gd name="T94" fmla="*/ 2147483646 w 20"/>
                <a:gd name="T95" fmla="*/ 2147483646 h 11"/>
                <a:gd name="T96" fmla="*/ 2147483646 w 20"/>
                <a:gd name="T97" fmla="*/ 2147483646 h 11"/>
                <a:gd name="T98" fmla="*/ 2147483646 w 20"/>
                <a:gd name="T99" fmla="*/ 2147483646 h 11"/>
                <a:gd name="T100" fmla="*/ 2147483646 w 20"/>
                <a:gd name="T101" fmla="*/ 2147483646 h 11"/>
                <a:gd name="T102" fmla="*/ 2147483646 w 20"/>
                <a:gd name="T103" fmla="*/ 2147483646 h 11"/>
                <a:gd name="T104" fmla="*/ 2147483646 w 20"/>
                <a:gd name="T105" fmla="*/ 2147483646 h 11"/>
                <a:gd name="T106" fmla="*/ 2147483646 w 20"/>
                <a:gd name="T107" fmla="*/ 2147483646 h 11"/>
                <a:gd name="T108" fmla="*/ 2147483646 w 20"/>
                <a:gd name="T109" fmla="*/ 2147483646 h 11"/>
                <a:gd name="T110" fmla="*/ 2147483646 w 20"/>
                <a:gd name="T111" fmla="*/ 2147483646 h 11"/>
                <a:gd name="T112" fmla="*/ 2147483646 w 20"/>
                <a:gd name="T113" fmla="*/ 2147483646 h 11"/>
                <a:gd name="T114" fmla="*/ 2147483646 w 20"/>
                <a:gd name="T115" fmla="*/ 2147483646 h 1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" h="11">
                  <a:moveTo>
                    <a:pt x="17" y="11"/>
                  </a:moveTo>
                  <a:cubicBezTo>
                    <a:pt x="16" y="11"/>
                    <a:pt x="15" y="11"/>
                    <a:pt x="14" y="11"/>
                  </a:cubicBezTo>
                  <a:cubicBezTo>
                    <a:pt x="14" y="10"/>
                    <a:pt x="14" y="10"/>
                    <a:pt x="13" y="10"/>
                  </a:cubicBezTo>
                  <a:cubicBezTo>
                    <a:pt x="12" y="10"/>
                    <a:pt x="12" y="10"/>
                    <a:pt x="11" y="9"/>
                  </a:cubicBezTo>
                  <a:cubicBezTo>
                    <a:pt x="11" y="9"/>
                    <a:pt x="11" y="9"/>
                    <a:pt x="10" y="8"/>
                  </a:cubicBezTo>
                  <a:cubicBezTo>
                    <a:pt x="10" y="8"/>
                    <a:pt x="9" y="8"/>
                    <a:pt x="9" y="8"/>
                  </a:cubicBezTo>
                  <a:cubicBezTo>
                    <a:pt x="8" y="9"/>
                    <a:pt x="7" y="9"/>
                    <a:pt x="7" y="8"/>
                  </a:cubicBezTo>
                  <a:cubicBezTo>
                    <a:pt x="6" y="8"/>
                    <a:pt x="5" y="7"/>
                    <a:pt x="4" y="7"/>
                  </a:cubicBezTo>
                  <a:cubicBezTo>
                    <a:pt x="4" y="7"/>
                    <a:pt x="3" y="6"/>
                    <a:pt x="3" y="6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1" y="5"/>
                    <a:pt x="0" y="5"/>
                    <a:pt x="0" y="3"/>
                  </a:cubicBezTo>
                  <a:cubicBezTo>
                    <a:pt x="1" y="1"/>
                    <a:pt x="1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10" y="3"/>
                    <a:pt x="10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3" y="4"/>
                    <a:pt x="13" y="4"/>
                    <a:pt x="13" y="5"/>
                  </a:cubicBezTo>
                  <a:cubicBezTo>
                    <a:pt x="13" y="5"/>
                    <a:pt x="13" y="5"/>
                    <a:pt x="14" y="5"/>
                  </a:cubicBezTo>
                  <a:cubicBezTo>
                    <a:pt x="15" y="6"/>
                    <a:pt x="16" y="6"/>
                    <a:pt x="18" y="6"/>
                  </a:cubicBezTo>
                  <a:cubicBezTo>
                    <a:pt x="18" y="6"/>
                    <a:pt x="19" y="6"/>
                    <a:pt x="19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8"/>
                  </a:cubicBezTo>
                  <a:cubicBezTo>
                    <a:pt x="20" y="9"/>
                    <a:pt x="20" y="11"/>
                    <a:pt x="18" y="11"/>
                  </a:cubicBezTo>
                  <a:cubicBezTo>
                    <a:pt x="17" y="11"/>
                    <a:pt x="17" y="11"/>
                    <a:pt x="17" y="11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1" y="7"/>
                  </a:cubicBezTo>
                  <a:cubicBezTo>
                    <a:pt x="11" y="8"/>
                    <a:pt x="12" y="8"/>
                    <a:pt x="12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9"/>
                    <a:pt x="14" y="9"/>
                    <a:pt x="15" y="9"/>
                  </a:cubicBezTo>
                  <a:cubicBezTo>
                    <a:pt x="16" y="10"/>
                    <a:pt x="17" y="10"/>
                    <a:pt x="17" y="10"/>
                  </a:cubicBezTo>
                  <a:cubicBezTo>
                    <a:pt x="19" y="10"/>
                    <a:pt x="19" y="9"/>
                    <a:pt x="19" y="8"/>
                  </a:cubicBezTo>
                  <a:cubicBezTo>
                    <a:pt x="19" y="8"/>
                    <a:pt x="19" y="7"/>
                    <a:pt x="19" y="7"/>
                  </a:cubicBezTo>
                  <a:cubicBezTo>
                    <a:pt x="17" y="8"/>
                    <a:pt x="15" y="7"/>
                    <a:pt x="13" y="6"/>
                  </a:cubicBezTo>
                  <a:cubicBezTo>
                    <a:pt x="12" y="6"/>
                    <a:pt x="12" y="6"/>
                    <a:pt x="12" y="5"/>
                  </a:cubicBezTo>
                  <a:cubicBezTo>
                    <a:pt x="12" y="5"/>
                    <a:pt x="12" y="5"/>
                    <a:pt x="11" y="5"/>
                  </a:cubicBezTo>
                  <a:cubicBezTo>
                    <a:pt x="11" y="5"/>
                    <a:pt x="10" y="5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4"/>
                    <a:pt x="8" y="3"/>
                  </a:cubicBezTo>
                  <a:cubicBezTo>
                    <a:pt x="8" y="3"/>
                    <a:pt x="8" y="3"/>
                    <a:pt x="7" y="2"/>
                  </a:cubicBezTo>
                  <a:cubicBezTo>
                    <a:pt x="6" y="1"/>
                    <a:pt x="6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1" y="4"/>
                    <a:pt x="2" y="4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6"/>
                    <a:pt x="5" y="6"/>
                  </a:cubicBezTo>
                  <a:cubicBezTo>
                    <a:pt x="6" y="6"/>
                    <a:pt x="6" y="7"/>
                    <a:pt x="7" y="7"/>
                  </a:cubicBezTo>
                  <a:cubicBezTo>
                    <a:pt x="8" y="7"/>
                    <a:pt x="8" y="7"/>
                    <a:pt x="9" y="7"/>
                  </a:cubicBezTo>
                  <a:cubicBezTo>
                    <a:pt x="9" y="7"/>
                    <a:pt x="9" y="7"/>
                    <a:pt x="10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9" name="Freeform 625"/>
            <p:cNvSpPr/>
            <p:nvPr/>
          </p:nvSpPr>
          <p:spPr bwMode="auto">
            <a:xfrm>
              <a:off x="3520183" y="316346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0" name="Freeform 626"/>
            <p:cNvSpPr/>
            <p:nvPr/>
          </p:nvSpPr>
          <p:spPr bwMode="auto">
            <a:xfrm>
              <a:off x="3515421" y="3153941"/>
              <a:ext cx="42862" cy="15875"/>
            </a:xfrm>
            <a:custGeom>
              <a:avLst/>
              <a:gdLst>
                <a:gd name="T0" fmla="*/ 0 w 6"/>
                <a:gd name="T1" fmla="*/ 2147483646 h 2"/>
                <a:gd name="T2" fmla="*/ 0 w 6"/>
                <a:gd name="T3" fmla="*/ 2147483646 h 2"/>
                <a:gd name="T4" fmla="*/ 2147483646 w 6"/>
                <a:gd name="T5" fmla="*/ 0 h 2"/>
                <a:gd name="T6" fmla="*/ 2147483646 w 6"/>
                <a:gd name="T7" fmla="*/ 0 h 2"/>
                <a:gd name="T8" fmla="*/ 2147483646 w 6"/>
                <a:gd name="T9" fmla="*/ 0 h 2"/>
                <a:gd name="T10" fmla="*/ 2147483646 w 6"/>
                <a:gd name="T11" fmla="*/ 2147483646 h 2"/>
                <a:gd name="T12" fmla="*/ 2147483646 w 6"/>
                <a:gd name="T13" fmla="*/ 2147483646 h 2"/>
                <a:gd name="T14" fmla="*/ 0 w 6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1" name="Freeform 627"/>
            <p:cNvSpPr/>
            <p:nvPr/>
          </p:nvSpPr>
          <p:spPr bwMode="auto">
            <a:xfrm>
              <a:off x="3410646" y="2826916"/>
              <a:ext cx="147637" cy="261938"/>
            </a:xfrm>
            <a:custGeom>
              <a:avLst/>
              <a:gdLst>
                <a:gd name="T0" fmla="*/ 2147483646 w 20"/>
                <a:gd name="T1" fmla="*/ 2147483646 h 35"/>
                <a:gd name="T2" fmla="*/ 2147483646 w 20"/>
                <a:gd name="T3" fmla="*/ 2147483646 h 35"/>
                <a:gd name="T4" fmla="*/ 2147483646 w 20"/>
                <a:gd name="T5" fmla="*/ 2147483646 h 35"/>
                <a:gd name="T6" fmla="*/ 2147483646 w 20"/>
                <a:gd name="T7" fmla="*/ 2147483646 h 35"/>
                <a:gd name="T8" fmla="*/ 2147483646 w 20"/>
                <a:gd name="T9" fmla="*/ 2147483646 h 35"/>
                <a:gd name="T10" fmla="*/ 2147483646 w 20"/>
                <a:gd name="T11" fmla="*/ 2147483646 h 35"/>
                <a:gd name="T12" fmla="*/ 2147483646 w 20"/>
                <a:gd name="T13" fmla="*/ 2147483646 h 35"/>
                <a:gd name="T14" fmla="*/ 2147483646 w 20"/>
                <a:gd name="T15" fmla="*/ 2147483646 h 35"/>
                <a:gd name="T16" fmla="*/ 2147483646 w 20"/>
                <a:gd name="T17" fmla="*/ 2147483646 h 35"/>
                <a:gd name="T18" fmla="*/ 2147483646 w 20"/>
                <a:gd name="T19" fmla="*/ 2147483646 h 35"/>
                <a:gd name="T20" fmla="*/ 2147483646 w 20"/>
                <a:gd name="T21" fmla="*/ 2147483646 h 35"/>
                <a:gd name="T22" fmla="*/ 2147483646 w 20"/>
                <a:gd name="T23" fmla="*/ 2147483646 h 35"/>
                <a:gd name="T24" fmla="*/ 2147483646 w 20"/>
                <a:gd name="T25" fmla="*/ 2147483646 h 35"/>
                <a:gd name="T26" fmla="*/ 2147483646 w 20"/>
                <a:gd name="T27" fmla="*/ 2147483646 h 35"/>
                <a:gd name="T28" fmla="*/ 2147483646 w 20"/>
                <a:gd name="T29" fmla="*/ 2147483646 h 35"/>
                <a:gd name="T30" fmla="*/ 2147483646 w 20"/>
                <a:gd name="T31" fmla="*/ 2147483646 h 35"/>
                <a:gd name="T32" fmla="*/ 2147483646 w 20"/>
                <a:gd name="T33" fmla="*/ 2147483646 h 35"/>
                <a:gd name="T34" fmla="*/ 2147483646 w 20"/>
                <a:gd name="T35" fmla="*/ 2147483646 h 35"/>
                <a:gd name="T36" fmla="*/ 2147483646 w 20"/>
                <a:gd name="T37" fmla="*/ 2147483646 h 35"/>
                <a:gd name="T38" fmla="*/ 2147483646 w 20"/>
                <a:gd name="T39" fmla="*/ 2147483646 h 35"/>
                <a:gd name="T40" fmla="*/ 2147483646 w 20"/>
                <a:gd name="T41" fmla="*/ 2147483646 h 35"/>
                <a:gd name="T42" fmla="*/ 2147483646 w 20"/>
                <a:gd name="T43" fmla="*/ 2147483646 h 35"/>
                <a:gd name="T44" fmla="*/ 2147483646 w 20"/>
                <a:gd name="T45" fmla="*/ 0 h 35"/>
                <a:gd name="T46" fmla="*/ 2147483646 w 20"/>
                <a:gd name="T47" fmla="*/ 2147483646 h 35"/>
                <a:gd name="T48" fmla="*/ 2147483646 w 20"/>
                <a:gd name="T49" fmla="*/ 2147483646 h 35"/>
                <a:gd name="T50" fmla="*/ 2147483646 w 20"/>
                <a:gd name="T51" fmla="*/ 2147483646 h 35"/>
                <a:gd name="T52" fmla="*/ 2147483646 w 20"/>
                <a:gd name="T53" fmla="*/ 2147483646 h 35"/>
                <a:gd name="T54" fmla="*/ 2147483646 w 20"/>
                <a:gd name="T55" fmla="*/ 2147483646 h 35"/>
                <a:gd name="T56" fmla="*/ 2147483646 w 20"/>
                <a:gd name="T57" fmla="*/ 2147483646 h 35"/>
                <a:gd name="T58" fmla="*/ 2147483646 w 20"/>
                <a:gd name="T59" fmla="*/ 2147483646 h 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" h="35">
                  <a:moveTo>
                    <a:pt x="18" y="15"/>
                  </a:moveTo>
                  <a:cubicBezTo>
                    <a:pt x="16" y="15"/>
                    <a:pt x="13" y="14"/>
                    <a:pt x="12" y="16"/>
                  </a:cubicBezTo>
                  <a:cubicBezTo>
                    <a:pt x="10" y="19"/>
                    <a:pt x="13" y="19"/>
                    <a:pt x="13" y="21"/>
                  </a:cubicBezTo>
                  <a:cubicBezTo>
                    <a:pt x="12" y="21"/>
                    <a:pt x="11" y="19"/>
                    <a:pt x="10" y="19"/>
                  </a:cubicBezTo>
                  <a:cubicBezTo>
                    <a:pt x="9" y="19"/>
                    <a:pt x="8" y="19"/>
                    <a:pt x="8" y="19"/>
                  </a:cubicBezTo>
                  <a:cubicBezTo>
                    <a:pt x="8" y="18"/>
                    <a:pt x="8" y="17"/>
                    <a:pt x="8" y="17"/>
                  </a:cubicBezTo>
                  <a:cubicBezTo>
                    <a:pt x="6" y="17"/>
                    <a:pt x="6" y="18"/>
                    <a:pt x="6" y="20"/>
                  </a:cubicBezTo>
                  <a:cubicBezTo>
                    <a:pt x="6" y="21"/>
                    <a:pt x="5" y="23"/>
                    <a:pt x="4" y="25"/>
                  </a:cubicBezTo>
                  <a:cubicBezTo>
                    <a:pt x="4" y="25"/>
                    <a:pt x="4" y="26"/>
                    <a:pt x="4" y="27"/>
                  </a:cubicBezTo>
                  <a:cubicBezTo>
                    <a:pt x="4" y="28"/>
                    <a:pt x="5" y="27"/>
                    <a:pt x="6" y="27"/>
                  </a:cubicBezTo>
                  <a:cubicBezTo>
                    <a:pt x="6" y="28"/>
                    <a:pt x="6" y="30"/>
                    <a:pt x="7" y="31"/>
                  </a:cubicBezTo>
                  <a:cubicBezTo>
                    <a:pt x="8" y="33"/>
                    <a:pt x="9" y="32"/>
                    <a:pt x="10" y="33"/>
                  </a:cubicBezTo>
                  <a:cubicBezTo>
                    <a:pt x="12" y="35"/>
                    <a:pt x="10" y="35"/>
                    <a:pt x="9" y="35"/>
                  </a:cubicBezTo>
                  <a:cubicBezTo>
                    <a:pt x="9" y="34"/>
                    <a:pt x="8" y="33"/>
                    <a:pt x="6" y="33"/>
                  </a:cubicBezTo>
                  <a:cubicBezTo>
                    <a:pt x="7" y="33"/>
                    <a:pt x="7" y="33"/>
                    <a:pt x="7" y="34"/>
                  </a:cubicBezTo>
                  <a:cubicBezTo>
                    <a:pt x="6" y="32"/>
                    <a:pt x="4" y="29"/>
                    <a:pt x="2" y="29"/>
                  </a:cubicBezTo>
                  <a:cubicBezTo>
                    <a:pt x="2" y="28"/>
                    <a:pt x="3" y="26"/>
                    <a:pt x="3" y="25"/>
                  </a:cubicBezTo>
                  <a:cubicBezTo>
                    <a:pt x="3" y="24"/>
                    <a:pt x="5" y="21"/>
                    <a:pt x="5" y="21"/>
                  </a:cubicBezTo>
                  <a:cubicBezTo>
                    <a:pt x="4" y="19"/>
                    <a:pt x="4" y="18"/>
                    <a:pt x="4" y="16"/>
                  </a:cubicBezTo>
                  <a:cubicBezTo>
                    <a:pt x="4" y="15"/>
                    <a:pt x="1" y="15"/>
                    <a:pt x="2" y="13"/>
                  </a:cubicBezTo>
                  <a:cubicBezTo>
                    <a:pt x="3" y="11"/>
                    <a:pt x="3" y="11"/>
                    <a:pt x="3" y="9"/>
                  </a:cubicBezTo>
                  <a:cubicBezTo>
                    <a:pt x="2" y="8"/>
                    <a:pt x="1" y="7"/>
                    <a:pt x="1" y="5"/>
                  </a:cubicBezTo>
                  <a:cubicBezTo>
                    <a:pt x="0" y="2"/>
                    <a:pt x="5" y="2"/>
                    <a:pt x="7" y="0"/>
                  </a:cubicBezTo>
                  <a:cubicBezTo>
                    <a:pt x="7" y="1"/>
                    <a:pt x="7" y="2"/>
                    <a:pt x="8" y="2"/>
                  </a:cubicBezTo>
                  <a:cubicBezTo>
                    <a:pt x="9" y="3"/>
                    <a:pt x="8" y="6"/>
                    <a:pt x="8" y="7"/>
                  </a:cubicBezTo>
                  <a:cubicBezTo>
                    <a:pt x="9" y="7"/>
                    <a:pt x="9" y="6"/>
                    <a:pt x="10" y="6"/>
                  </a:cubicBezTo>
                  <a:cubicBezTo>
                    <a:pt x="11" y="5"/>
                    <a:pt x="12" y="7"/>
                    <a:pt x="12" y="6"/>
                  </a:cubicBezTo>
                  <a:cubicBezTo>
                    <a:pt x="14" y="5"/>
                    <a:pt x="14" y="5"/>
                    <a:pt x="16" y="7"/>
                  </a:cubicBezTo>
                  <a:cubicBezTo>
                    <a:pt x="17" y="8"/>
                    <a:pt x="16" y="10"/>
                    <a:pt x="17" y="11"/>
                  </a:cubicBezTo>
                  <a:cubicBezTo>
                    <a:pt x="18" y="12"/>
                    <a:pt x="20" y="14"/>
                    <a:pt x="18" y="1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2" name="Freeform 628"/>
            <p:cNvSpPr>
              <a:spLocks noEditPoints="1"/>
            </p:cNvSpPr>
            <p:nvPr/>
          </p:nvSpPr>
          <p:spPr bwMode="auto">
            <a:xfrm>
              <a:off x="3410646" y="2814216"/>
              <a:ext cx="141287" cy="280988"/>
            </a:xfrm>
            <a:custGeom>
              <a:avLst/>
              <a:gdLst>
                <a:gd name="T0" fmla="*/ 2147483646 w 19"/>
                <a:gd name="T1" fmla="*/ 2147483646 h 38"/>
                <a:gd name="T2" fmla="*/ 2147483646 w 19"/>
                <a:gd name="T3" fmla="*/ 2147483646 h 38"/>
                <a:gd name="T4" fmla="*/ 2147483646 w 19"/>
                <a:gd name="T5" fmla="*/ 2147483646 h 38"/>
                <a:gd name="T6" fmla="*/ 2147483646 w 19"/>
                <a:gd name="T7" fmla="*/ 2147483646 h 38"/>
                <a:gd name="T8" fmla="*/ 2147483646 w 19"/>
                <a:gd name="T9" fmla="*/ 2147483646 h 38"/>
                <a:gd name="T10" fmla="*/ 2147483646 w 19"/>
                <a:gd name="T11" fmla="*/ 2147483646 h 38"/>
                <a:gd name="T12" fmla="*/ 2147483646 w 19"/>
                <a:gd name="T13" fmla="*/ 2147483646 h 38"/>
                <a:gd name="T14" fmla="*/ 2147483646 w 19"/>
                <a:gd name="T15" fmla="*/ 2147483646 h 38"/>
                <a:gd name="T16" fmla="*/ 2147483646 w 19"/>
                <a:gd name="T17" fmla="*/ 2147483646 h 38"/>
                <a:gd name="T18" fmla="*/ 0 w 19"/>
                <a:gd name="T19" fmla="*/ 2147483646 h 38"/>
                <a:gd name="T20" fmla="*/ 2147483646 w 19"/>
                <a:gd name="T21" fmla="*/ 2147483646 h 38"/>
                <a:gd name="T22" fmla="*/ 2147483646 w 19"/>
                <a:gd name="T23" fmla="*/ 2147483646 h 38"/>
                <a:gd name="T24" fmla="*/ 2147483646 w 19"/>
                <a:gd name="T25" fmla="*/ 2147483646 h 38"/>
                <a:gd name="T26" fmla="*/ 2147483646 w 19"/>
                <a:gd name="T27" fmla="*/ 2147483646 h 38"/>
                <a:gd name="T28" fmla="*/ 2147483646 w 19"/>
                <a:gd name="T29" fmla="*/ 2147483646 h 38"/>
                <a:gd name="T30" fmla="*/ 2147483646 w 19"/>
                <a:gd name="T31" fmla="*/ 2147483646 h 38"/>
                <a:gd name="T32" fmla="*/ 2147483646 w 19"/>
                <a:gd name="T33" fmla="*/ 2147483646 h 38"/>
                <a:gd name="T34" fmla="*/ 2147483646 w 19"/>
                <a:gd name="T35" fmla="*/ 2147483646 h 38"/>
                <a:gd name="T36" fmla="*/ 2147483646 w 19"/>
                <a:gd name="T37" fmla="*/ 2147483646 h 38"/>
                <a:gd name="T38" fmla="*/ 2147483646 w 19"/>
                <a:gd name="T39" fmla="*/ 2147483646 h 38"/>
                <a:gd name="T40" fmla="*/ 2147483646 w 19"/>
                <a:gd name="T41" fmla="*/ 2147483646 h 38"/>
                <a:gd name="T42" fmla="*/ 2147483646 w 19"/>
                <a:gd name="T43" fmla="*/ 2147483646 h 38"/>
                <a:gd name="T44" fmla="*/ 2147483646 w 19"/>
                <a:gd name="T45" fmla="*/ 2147483646 h 38"/>
                <a:gd name="T46" fmla="*/ 2147483646 w 19"/>
                <a:gd name="T47" fmla="*/ 2147483646 h 38"/>
                <a:gd name="T48" fmla="*/ 2147483646 w 19"/>
                <a:gd name="T49" fmla="*/ 2147483646 h 38"/>
                <a:gd name="T50" fmla="*/ 2147483646 w 19"/>
                <a:gd name="T51" fmla="*/ 2147483646 h 38"/>
                <a:gd name="T52" fmla="*/ 2147483646 w 19"/>
                <a:gd name="T53" fmla="*/ 2147483646 h 38"/>
                <a:gd name="T54" fmla="*/ 2147483646 w 19"/>
                <a:gd name="T55" fmla="*/ 2147483646 h 38"/>
                <a:gd name="T56" fmla="*/ 2147483646 w 19"/>
                <a:gd name="T57" fmla="*/ 2147483646 h 38"/>
                <a:gd name="T58" fmla="*/ 2147483646 w 19"/>
                <a:gd name="T59" fmla="*/ 2147483646 h 38"/>
                <a:gd name="T60" fmla="*/ 2147483646 w 19"/>
                <a:gd name="T61" fmla="*/ 2147483646 h 38"/>
                <a:gd name="T62" fmla="*/ 2147483646 w 19"/>
                <a:gd name="T63" fmla="*/ 2147483646 h 38"/>
                <a:gd name="T64" fmla="*/ 2147483646 w 19"/>
                <a:gd name="T65" fmla="*/ 2147483646 h 38"/>
                <a:gd name="T66" fmla="*/ 2147483646 w 19"/>
                <a:gd name="T67" fmla="*/ 2147483646 h 38"/>
                <a:gd name="T68" fmla="*/ 2147483646 w 19"/>
                <a:gd name="T69" fmla="*/ 2147483646 h 38"/>
                <a:gd name="T70" fmla="*/ 2147483646 w 19"/>
                <a:gd name="T71" fmla="*/ 2147483646 h 38"/>
                <a:gd name="T72" fmla="*/ 2147483646 w 19"/>
                <a:gd name="T73" fmla="*/ 2147483646 h 38"/>
                <a:gd name="T74" fmla="*/ 2147483646 w 19"/>
                <a:gd name="T75" fmla="*/ 2147483646 h 38"/>
                <a:gd name="T76" fmla="*/ 2147483646 w 19"/>
                <a:gd name="T77" fmla="*/ 2147483646 h 38"/>
                <a:gd name="T78" fmla="*/ 2147483646 w 19"/>
                <a:gd name="T79" fmla="*/ 2147483646 h 38"/>
                <a:gd name="T80" fmla="*/ 2147483646 w 19"/>
                <a:gd name="T81" fmla="*/ 2147483646 h 38"/>
                <a:gd name="T82" fmla="*/ 2147483646 w 19"/>
                <a:gd name="T83" fmla="*/ 2147483646 h 38"/>
                <a:gd name="T84" fmla="*/ 2147483646 w 19"/>
                <a:gd name="T85" fmla="*/ 2147483646 h 38"/>
                <a:gd name="T86" fmla="*/ 2147483646 w 19"/>
                <a:gd name="T87" fmla="*/ 2147483646 h 38"/>
                <a:gd name="T88" fmla="*/ 2147483646 w 19"/>
                <a:gd name="T89" fmla="*/ 2147483646 h 38"/>
                <a:gd name="T90" fmla="*/ 2147483646 w 19"/>
                <a:gd name="T91" fmla="*/ 2147483646 h 38"/>
                <a:gd name="T92" fmla="*/ 2147483646 w 19"/>
                <a:gd name="T93" fmla="*/ 2147483646 h 38"/>
                <a:gd name="T94" fmla="*/ 2147483646 w 19"/>
                <a:gd name="T95" fmla="*/ 2147483646 h 38"/>
                <a:gd name="T96" fmla="*/ 2147483646 w 19"/>
                <a:gd name="T97" fmla="*/ 2147483646 h 38"/>
                <a:gd name="T98" fmla="*/ 2147483646 w 19"/>
                <a:gd name="T99" fmla="*/ 2147483646 h 38"/>
                <a:gd name="T100" fmla="*/ 2147483646 w 19"/>
                <a:gd name="T101" fmla="*/ 2147483646 h 38"/>
                <a:gd name="T102" fmla="*/ 2147483646 w 19"/>
                <a:gd name="T103" fmla="*/ 2147483646 h 38"/>
                <a:gd name="T104" fmla="*/ 2147483646 w 19"/>
                <a:gd name="T105" fmla="*/ 2147483646 h 38"/>
                <a:gd name="T106" fmla="*/ 2147483646 w 19"/>
                <a:gd name="T107" fmla="*/ 2147483646 h 38"/>
                <a:gd name="T108" fmla="*/ 2147483646 w 19"/>
                <a:gd name="T109" fmla="*/ 2147483646 h 38"/>
                <a:gd name="T110" fmla="*/ 2147483646 w 19"/>
                <a:gd name="T111" fmla="*/ 2147483646 h 38"/>
                <a:gd name="T112" fmla="*/ 2147483646 w 19"/>
                <a:gd name="T113" fmla="*/ 2147483646 h 38"/>
                <a:gd name="T114" fmla="*/ 2147483646 w 19"/>
                <a:gd name="T115" fmla="*/ 2147483646 h 38"/>
                <a:gd name="T116" fmla="*/ 2147483646 w 19"/>
                <a:gd name="T117" fmla="*/ 2147483646 h 38"/>
                <a:gd name="T118" fmla="*/ 2147483646 w 19"/>
                <a:gd name="T119" fmla="*/ 2147483646 h 38"/>
                <a:gd name="T120" fmla="*/ 2147483646 w 19"/>
                <a:gd name="T121" fmla="*/ 2147483646 h 38"/>
                <a:gd name="T122" fmla="*/ 2147483646 w 19"/>
                <a:gd name="T123" fmla="*/ 2147483646 h 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9" h="38">
                  <a:moveTo>
                    <a:pt x="8" y="38"/>
                  </a:move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6"/>
                    <a:pt x="7" y="36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5"/>
                    <a:pt x="5" y="35"/>
                  </a:cubicBezTo>
                  <a:cubicBezTo>
                    <a:pt x="5" y="34"/>
                    <a:pt x="3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0"/>
                    <a:pt x="2" y="29"/>
                    <a:pt x="2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6"/>
                    <a:pt x="3" y="26"/>
                    <a:pt x="3" y="25"/>
                  </a:cubicBezTo>
                  <a:cubicBezTo>
                    <a:pt x="4" y="24"/>
                    <a:pt x="4" y="23"/>
                    <a:pt x="4" y="23"/>
                  </a:cubicBezTo>
                  <a:cubicBezTo>
                    <a:pt x="4" y="21"/>
                    <a:pt x="3" y="20"/>
                    <a:pt x="3" y="18"/>
                  </a:cubicBezTo>
                  <a:cubicBezTo>
                    <a:pt x="3" y="18"/>
                    <a:pt x="3" y="18"/>
                    <a:pt x="3" y="17"/>
                  </a:cubicBezTo>
                  <a:cubicBezTo>
                    <a:pt x="2" y="17"/>
                    <a:pt x="1" y="16"/>
                    <a:pt x="2" y="15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2" y="11"/>
                    <a:pt x="2" y="10"/>
                    <a:pt x="1" y="10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0" y="5"/>
                    <a:pt x="2" y="4"/>
                    <a:pt x="3" y="3"/>
                  </a:cubicBezTo>
                  <a:cubicBezTo>
                    <a:pt x="4" y="3"/>
                    <a:pt x="5" y="2"/>
                    <a:pt x="6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9" y="4"/>
                    <a:pt x="9" y="6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1" y="7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3" y="7"/>
                    <a:pt x="14" y="7"/>
                    <a:pt x="14" y="7"/>
                  </a:cubicBezTo>
                  <a:cubicBezTo>
                    <a:pt x="15" y="7"/>
                    <a:pt x="15" y="7"/>
                    <a:pt x="16" y="8"/>
                  </a:cubicBezTo>
                  <a:cubicBezTo>
                    <a:pt x="17" y="9"/>
                    <a:pt x="17" y="10"/>
                    <a:pt x="17" y="10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3"/>
                    <a:pt x="19" y="14"/>
                    <a:pt x="19" y="16"/>
                  </a:cubicBezTo>
                  <a:cubicBezTo>
                    <a:pt x="19" y="16"/>
                    <a:pt x="19" y="17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8"/>
                  </a:cubicBezTo>
                  <a:cubicBezTo>
                    <a:pt x="16" y="18"/>
                    <a:pt x="15" y="17"/>
                    <a:pt x="15" y="17"/>
                  </a:cubicBezTo>
                  <a:cubicBezTo>
                    <a:pt x="14" y="17"/>
                    <a:pt x="13" y="18"/>
                    <a:pt x="12" y="19"/>
                  </a:cubicBezTo>
                  <a:cubicBezTo>
                    <a:pt x="12" y="20"/>
                    <a:pt x="12" y="20"/>
                    <a:pt x="13" y="21"/>
                  </a:cubicBezTo>
                  <a:cubicBezTo>
                    <a:pt x="13" y="22"/>
                    <a:pt x="13" y="22"/>
                    <a:pt x="13" y="24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3"/>
                    <a:pt x="11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1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8" y="20"/>
                    <a:pt x="8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6" y="20"/>
                    <a:pt x="6" y="21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3"/>
                    <a:pt x="6" y="24"/>
                    <a:pt x="5" y="25"/>
                  </a:cubicBezTo>
                  <a:cubicBezTo>
                    <a:pt x="5" y="26"/>
                    <a:pt x="5" y="26"/>
                    <a:pt x="5" y="27"/>
                  </a:cubicBezTo>
                  <a:cubicBezTo>
                    <a:pt x="5" y="27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6" y="28"/>
                    <a:pt x="6" y="29"/>
                  </a:cubicBezTo>
                  <a:cubicBezTo>
                    <a:pt x="7" y="29"/>
                    <a:pt x="7" y="30"/>
                    <a:pt x="7" y="31"/>
                  </a:cubicBezTo>
                  <a:cubicBezTo>
                    <a:pt x="7" y="32"/>
                    <a:pt x="7" y="33"/>
                    <a:pt x="8" y="33"/>
                  </a:cubicBezTo>
                  <a:cubicBezTo>
                    <a:pt x="8" y="34"/>
                    <a:pt x="9" y="34"/>
                    <a:pt x="9" y="34"/>
                  </a:cubicBezTo>
                  <a:cubicBezTo>
                    <a:pt x="10" y="34"/>
                    <a:pt x="10" y="34"/>
                    <a:pt x="11" y="35"/>
                  </a:cubicBezTo>
                  <a:cubicBezTo>
                    <a:pt x="11" y="35"/>
                    <a:pt x="12" y="36"/>
                    <a:pt x="11" y="36"/>
                  </a:cubicBezTo>
                  <a:cubicBezTo>
                    <a:pt x="11" y="37"/>
                    <a:pt x="11" y="37"/>
                    <a:pt x="10" y="37"/>
                  </a:cubicBezTo>
                  <a:cubicBezTo>
                    <a:pt x="10" y="38"/>
                    <a:pt x="10" y="38"/>
                    <a:pt x="9" y="38"/>
                  </a:cubicBezTo>
                  <a:lnTo>
                    <a:pt x="8" y="38"/>
                  </a:lnTo>
                  <a:close/>
                  <a:moveTo>
                    <a:pt x="6" y="34"/>
                  </a:moveTo>
                  <a:cubicBezTo>
                    <a:pt x="7" y="34"/>
                    <a:pt x="7" y="34"/>
                    <a:pt x="7" y="34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5"/>
                    <a:pt x="9" y="35"/>
                    <a:pt x="9" y="35"/>
                  </a:cubicBezTo>
                  <a:cubicBezTo>
                    <a:pt x="8" y="35"/>
                    <a:pt x="7" y="35"/>
                    <a:pt x="7" y="34"/>
                  </a:cubicBezTo>
                  <a:cubicBezTo>
                    <a:pt x="6" y="33"/>
                    <a:pt x="6" y="32"/>
                    <a:pt x="6" y="31"/>
                  </a:cubicBezTo>
                  <a:cubicBezTo>
                    <a:pt x="6" y="31"/>
                    <a:pt x="6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4" y="30"/>
                    <a:pt x="4" y="29"/>
                  </a:cubicBezTo>
                  <a:cubicBezTo>
                    <a:pt x="4" y="29"/>
                    <a:pt x="4" y="28"/>
                    <a:pt x="4" y="28"/>
                  </a:cubicBezTo>
                  <a:cubicBezTo>
                    <a:pt x="4" y="28"/>
                    <a:pt x="4" y="28"/>
                    <a:pt x="4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9"/>
                    <a:pt x="3" y="30"/>
                    <a:pt x="3" y="31"/>
                  </a:cubicBezTo>
                  <a:cubicBezTo>
                    <a:pt x="4" y="31"/>
                    <a:pt x="5" y="33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lose/>
                  <a:moveTo>
                    <a:pt x="6" y="3"/>
                  </a:moveTo>
                  <a:cubicBezTo>
                    <a:pt x="6" y="3"/>
                    <a:pt x="5" y="4"/>
                    <a:pt x="4" y="4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8"/>
                    <a:pt x="2" y="8"/>
                    <a:pt x="2" y="9"/>
                  </a:cubicBezTo>
                  <a:cubicBezTo>
                    <a:pt x="3" y="10"/>
                    <a:pt x="3" y="10"/>
                    <a:pt x="3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4"/>
                    <a:pt x="3" y="15"/>
                  </a:cubicBezTo>
                  <a:cubicBezTo>
                    <a:pt x="2" y="16"/>
                    <a:pt x="3" y="16"/>
                    <a:pt x="3" y="16"/>
                  </a:cubicBezTo>
                  <a:cubicBezTo>
                    <a:pt x="4" y="17"/>
                    <a:pt x="4" y="17"/>
                    <a:pt x="4" y="18"/>
                  </a:cubicBezTo>
                  <a:cubicBezTo>
                    <a:pt x="4" y="20"/>
                    <a:pt x="5" y="21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0"/>
                    <a:pt x="5" y="18"/>
                    <a:pt x="7" y="18"/>
                  </a:cubicBezTo>
                  <a:cubicBezTo>
                    <a:pt x="7" y="18"/>
                    <a:pt x="7" y="18"/>
                    <a:pt x="8" y="18"/>
                  </a:cubicBezTo>
                  <a:cubicBezTo>
                    <a:pt x="9" y="19"/>
                    <a:pt x="9" y="20"/>
                    <a:pt x="9" y="20"/>
                  </a:cubicBezTo>
                  <a:cubicBezTo>
                    <a:pt x="9" y="20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1"/>
                    <a:pt x="11" y="21"/>
                    <a:pt x="11" y="21"/>
                  </a:cubicBezTo>
                  <a:cubicBezTo>
                    <a:pt x="11" y="20"/>
                    <a:pt x="11" y="19"/>
                    <a:pt x="11" y="18"/>
                  </a:cubicBezTo>
                  <a:cubicBezTo>
                    <a:pt x="12" y="16"/>
                    <a:pt x="14" y="16"/>
                    <a:pt x="15" y="16"/>
                  </a:cubicBezTo>
                  <a:cubicBezTo>
                    <a:pt x="16" y="16"/>
                    <a:pt x="16" y="16"/>
                    <a:pt x="17" y="16"/>
                  </a:cubicBezTo>
                  <a:cubicBezTo>
                    <a:pt x="17" y="16"/>
                    <a:pt x="17" y="17"/>
                    <a:pt x="18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7" y="13"/>
                    <a:pt x="17" y="13"/>
                  </a:cubicBezTo>
                  <a:cubicBezTo>
                    <a:pt x="16" y="12"/>
                    <a:pt x="16" y="11"/>
                    <a:pt x="16" y="11"/>
                  </a:cubicBezTo>
                  <a:cubicBezTo>
                    <a:pt x="16" y="10"/>
                    <a:pt x="16" y="9"/>
                    <a:pt x="15" y="9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9"/>
                    <a:pt x="13" y="9"/>
                  </a:cubicBezTo>
                  <a:cubicBezTo>
                    <a:pt x="12" y="9"/>
                    <a:pt x="11" y="9"/>
                    <a:pt x="11" y="9"/>
                  </a:cubicBezTo>
                  <a:cubicBezTo>
                    <a:pt x="11" y="8"/>
                    <a:pt x="11" y="8"/>
                    <a:pt x="10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8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8" y="8"/>
                    <a:pt x="8" y="5"/>
                    <a:pt x="8" y="5"/>
                  </a:cubicBezTo>
                  <a:cubicBezTo>
                    <a:pt x="7" y="4"/>
                    <a:pt x="7" y="4"/>
                    <a:pt x="6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3" name="Freeform 629"/>
            <p:cNvSpPr/>
            <p:nvPr/>
          </p:nvSpPr>
          <p:spPr bwMode="auto">
            <a:xfrm>
              <a:off x="3493196" y="2776116"/>
              <a:ext cx="125412" cy="268288"/>
            </a:xfrm>
            <a:custGeom>
              <a:avLst/>
              <a:gdLst>
                <a:gd name="T0" fmla="*/ 0 w 17"/>
                <a:gd name="T1" fmla="*/ 2147483646 h 36"/>
                <a:gd name="T2" fmla="*/ 2147483646 w 17"/>
                <a:gd name="T3" fmla="*/ 2147483646 h 36"/>
                <a:gd name="T4" fmla="*/ 2147483646 w 17"/>
                <a:gd name="T5" fmla="*/ 0 h 36"/>
                <a:gd name="T6" fmla="*/ 2147483646 w 17"/>
                <a:gd name="T7" fmla="*/ 2147483646 h 36"/>
                <a:gd name="T8" fmla="*/ 2147483646 w 17"/>
                <a:gd name="T9" fmla="*/ 2147483646 h 36"/>
                <a:gd name="T10" fmla="*/ 2147483646 w 17"/>
                <a:gd name="T11" fmla="*/ 2147483646 h 36"/>
                <a:gd name="T12" fmla="*/ 2147483646 w 17"/>
                <a:gd name="T13" fmla="*/ 2147483646 h 36"/>
                <a:gd name="T14" fmla="*/ 2147483646 w 17"/>
                <a:gd name="T15" fmla="*/ 2147483646 h 36"/>
                <a:gd name="T16" fmla="*/ 2147483646 w 17"/>
                <a:gd name="T17" fmla="*/ 2147483646 h 36"/>
                <a:gd name="T18" fmla="*/ 2147483646 w 17"/>
                <a:gd name="T19" fmla="*/ 2147483646 h 36"/>
                <a:gd name="T20" fmla="*/ 2147483646 w 17"/>
                <a:gd name="T21" fmla="*/ 2147483646 h 36"/>
                <a:gd name="T22" fmla="*/ 2147483646 w 17"/>
                <a:gd name="T23" fmla="*/ 2147483646 h 36"/>
                <a:gd name="T24" fmla="*/ 2147483646 w 17"/>
                <a:gd name="T25" fmla="*/ 2147483646 h 36"/>
                <a:gd name="T26" fmla="*/ 2147483646 w 17"/>
                <a:gd name="T27" fmla="*/ 2147483646 h 36"/>
                <a:gd name="T28" fmla="*/ 2147483646 w 17"/>
                <a:gd name="T29" fmla="*/ 2147483646 h 36"/>
                <a:gd name="T30" fmla="*/ 2147483646 w 17"/>
                <a:gd name="T31" fmla="*/ 2147483646 h 36"/>
                <a:gd name="T32" fmla="*/ 2147483646 w 17"/>
                <a:gd name="T33" fmla="*/ 2147483646 h 36"/>
                <a:gd name="T34" fmla="*/ 2147483646 w 17"/>
                <a:gd name="T35" fmla="*/ 2147483646 h 36"/>
                <a:gd name="T36" fmla="*/ 2147483646 w 17"/>
                <a:gd name="T37" fmla="*/ 2147483646 h 36"/>
                <a:gd name="T38" fmla="*/ 2147483646 w 17"/>
                <a:gd name="T39" fmla="*/ 2147483646 h 36"/>
                <a:gd name="T40" fmla="*/ 2147483646 w 17"/>
                <a:gd name="T41" fmla="*/ 2147483646 h 36"/>
                <a:gd name="T42" fmla="*/ 2147483646 w 17"/>
                <a:gd name="T43" fmla="*/ 2147483646 h 36"/>
                <a:gd name="T44" fmla="*/ 0 w 17"/>
                <a:gd name="T45" fmla="*/ 2147483646 h 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" h="36">
                  <a:moveTo>
                    <a:pt x="0" y="3"/>
                  </a:moveTo>
                  <a:cubicBezTo>
                    <a:pt x="0" y="1"/>
                    <a:pt x="2" y="2"/>
                    <a:pt x="3" y="2"/>
                  </a:cubicBezTo>
                  <a:cubicBezTo>
                    <a:pt x="4" y="2"/>
                    <a:pt x="6" y="0"/>
                    <a:pt x="7" y="0"/>
                  </a:cubicBezTo>
                  <a:cubicBezTo>
                    <a:pt x="11" y="0"/>
                    <a:pt x="10" y="4"/>
                    <a:pt x="13" y="5"/>
                  </a:cubicBezTo>
                  <a:cubicBezTo>
                    <a:pt x="11" y="5"/>
                    <a:pt x="7" y="9"/>
                    <a:pt x="8" y="12"/>
                  </a:cubicBezTo>
                  <a:cubicBezTo>
                    <a:pt x="8" y="13"/>
                    <a:pt x="10" y="15"/>
                    <a:pt x="11" y="16"/>
                  </a:cubicBezTo>
                  <a:cubicBezTo>
                    <a:pt x="12" y="17"/>
                    <a:pt x="13" y="18"/>
                    <a:pt x="14" y="19"/>
                  </a:cubicBezTo>
                  <a:cubicBezTo>
                    <a:pt x="17" y="22"/>
                    <a:pt x="16" y="25"/>
                    <a:pt x="16" y="28"/>
                  </a:cubicBezTo>
                  <a:cubicBezTo>
                    <a:pt x="16" y="31"/>
                    <a:pt x="9" y="30"/>
                    <a:pt x="10" y="33"/>
                  </a:cubicBezTo>
                  <a:cubicBezTo>
                    <a:pt x="10" y="33"/>
                    <a:pt x="9" y="33"/>
                    <a:pt x="9" y="32"/>
                  </a:cubicBezTo>
                  <a:cubicBezTo>
                    <a:pt x="9" y="34"/>
                    <a:pt x="8" y="36"/>
                    <a:pt x="7" y="35"/>
                  </a:cubicBezTo>
                  <a:cubicBezTo>
                    <a:pt x="5" y="35"/>
                    <a:pt x="8" y="32"/>
                    <a:pt x="5" y="31"/>
                  </a:cubicBezTo>
                  <a:cubicBezTo>
                    <a:pt x="6" y="30"/>
                    <a:pt x="9" y="30"/>
                    <a:pt x="9" y="29"/>
                  </a:cubicBezTo>
                  <a:cubicBezTo>
                    <a:pt x="9" y="28"/>
                    <a:pt x="12" y="27"/>
                    <a:pt x="12" y="27"/>
                  </a:cubicBezTo>
                  <a:cubicBezTo>
                    <a:pt x="13" y="25"/>
                    <a:pt x="12" y="22"/>
                    <a:pt x="12" y="21"/>
                  </a:cubicBezTo>
                  <a:cubicBezTo>
                    <a:pt x="12" y="20"/>
                    <a:pt x="12" y="19"/>
                    <a:pt x="12" y="18"/>
                  </a:cubicBezTo>
                  <a:cubicBezTo>
                    <a:pt x="11" y="17"/>
                    <a:pt x="10" y="17"/>
                    <a:pt x="10" y="16"/>
                  </a:cubicBezTo>
                  <a:cubicBezTo>
                    <a:pt x="10" y="15"/>
                    <a:pt x="8" y="14"/>
                    <a:pt x="7" y="12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3" y="9"/>
                    <a:pt x="5" y="9"/>
                    <a:pt x="5" y="9"/>
                  </a:cubicBezTo>
                  <a:cubicBezTo>
                    <a:pt x="6" y="8"/>
                    <a:pt x="6" y="9"/>
                    <a:pt x="5" y="7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1" y="6"/>
                    <a:pt x="1" y="4"/>
                    <a:pt x="0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4" name="Freeform 630"/>
            <p:cNvSpPr>
              <a:spLocks noEditPoints="1"/>
            </p:cNvSpPr>
            <p:nvPr/>
          </p:nvSpPr>
          <p:spPr bwMode="auto">
            <a:xfrm>
              <a:off x="3493196" y="2776116"/>
              <a:ext cx="141287" cy="268288"/>
            </a:xfrm>
            <a:custGeom>
              <a:avLst/>
              <a:gdLst>
                <a:gd name="T0" fmla="*/ 2147483646 w 19"/>
                <a:gd name="T1" fmla="*/ 2147483646 h 36"/>
                <a:gd name="T2" fmla="*/ 2147483646 w 19"/>
                <a:gd name="T3" fmla="*/ 2147483646 h 36"/>
                <a:gd name="T4" fmla="*/ 2147483646 w 19"/>
                <a:gd name="T5" fmla="*/ 2147483646 h 36"/>
                <a:gd name="T6" fmla="*/ 2147483646 w 19"/>
                <a:gd name="T7" fmla="*/ 2147483646 h 36"/>
                <a:gd name="T8" fmla="*/ 2147483646 w 19"/>
                <a:gd name="T9" fmla="*/ 2147483646 h 36"/>
                <a:gd name="T10" fmla="*/ 2147483646 w 19"/>
                <a:gd name="T11" fmla="*/ 2147483646 h 36"/>
                <a:gd name="T12" fmla="*/ 2147483646 w 19"/>
                <a:gd name="T13" fmla="*/ 2147483646 h 36"/>
                <a:gd name="T14" fmla="*/ 2147483646 w 19"/>
                <a:gd name="T15" fmla="*/ 2147483646 h 36"/>
                <a:gd name="T16" fmla="*/ 2147483646 w 19"/>
                <a:gd name="T17" fmla="*/ 2147483646 h 36"/>
                <a:gd name="T18" fmla="*/ 2147483646 w 19"/>
                <a:gd name="T19" fmla="*/ 2147483646 h 36"/>
                <a:gd name="T20" fmla="*/ 2147483646 w 19"/>
                <a:gd name="T21" fmla="*/ 2147483646 h 36"/>
                <a:gd name="T22" fmla="*/ 2147483646 w 19"/>
                <a:gd name="T23" fmla="*/ 2147483646 h 36"/>
                <a:gd name="T24" fmla="*/ 2147483646 w 19"/>
                <a:gd name="T25" fmla="*/ 2147483646 h 36"/>
                <a:gd name="T26" fmla="*/ 2147483646 w 19"/>
                <a:gd name="T27" fmla="*/ 2147483646 h 36"/>
                <a:gd name="T28" fmla="*/ 2147483646 w 19"/>
                <a:gd name="T29" fmla="*/ 2147483646 h 36"/>
                <a:gd name="T30" fmla="*/ 0 w 19"/>
                <a:gd name="T31" fmla="*/ 2147483646 h 36"/>
                <a:gd name="T32" fmla="*/ 2147483646 w 19"/>
                <a:gd name="T33" fmla="*/ 2147483646 h 36"/>
                <a:gd name="T34" fmla="*/ 2147483646 w 19"/>
                <a:gd name="T35" fmla="*/ 2147483646 h 36"/>
                <a:gd name="T36" fmla="*/ 2147483646 w 19"/>
                <a:gd name="T37" fmla="*/ 0 h 36"/>
                <a:gd name="T38" fmla="*/ 2147483646 w 19"/>
                <a:gd name="T39" fmla="*/ 2147483646 h 36"/>
                <a:gd name="T40" fmla="*/ 2147483646 w 19"/>
                <a:gd name="T41" fmla="*/ 2147483646 h 36"/>
                <a:gd name="T42" fmla="*/ 2147483646 w 19"/>
                <a:gd name="T43" fmla="*/ 2147483646 h 36"/>
                <a:gd name="T44" fmla="*/ 2147483646 w 19"/>
                <a:gd name="T45" fmla="*/ 2147483646 h 36"/>
                <a:gd name="T46" fmla="*/ 2147483646 w 19"/>
                <a:gd name="T47" fmla="*/ 2147483646 h 36"/>
                <a:gd name="T48" fmla="*/ 2147483646 w 19"/>
                <a:gd name="T49" fmla="*/ 2147483646 h 36"/>
                <a:gd name="T50" fmla="*/ 2147483646 w 19"/>
                <a:gd name="T51" fmla="*/ 2147483646 h 36"/>
                <a:gd name="T52" fmla="*/ 2147483646 w 19"/>
                <a:gd name="T53" fmla="*/ 2147483646 h 36"/>
                <a:gd name="T54" fmla="*/ 2147483646 w 19"/>
                <a:gd name="T55" fmla="*/ 2147483646 h 36"/>
                <a:gd name="T56" fmla="*/ 2147483646 w 19"/>
                <a:gd name="T57" fmla="*/ 2147483646 h 36"/>
                <a:gd name="T58" fmla="*/ 2147483646 w 19"/>
                <a:gd name="T59" fmla="*/ 2147483646 h 36"/>
                <a:gd name="T60" fmla="*/ 2147483646 w 19"/>
                <a:gd name="T61" fmla="*/ 2147483646 h 36"/>
                <a:gd name="T62" fmla="*/ 2147483646 w 19"/>
                <a:gd name="T63" fmla="*/ 2147483646 h 36"/>
                <a:gd name="T64" fmla="*/ 2147483646 w 19"/>
                <a:gd name="T65" fmla="*/ 2147483646 h 36"/>
                <a:gd name="T66" fmla="*/ 2147483646 w 19"/>
                <a:gd name="T67" fmla="*/ 2147483646 h 36"/>
                <a:gd name="T68" fmla="*/ 2147483646 w 19"/>
                <a:gd name="T69" fmla="*/ 2147483646 h 36"/>
                <a:gd name="T70" fmla="*/ 2147483646 w 19"/>
                <a:gd name="T71" fmla="*/ 2147483646 h 36"/>
                <a:gd name="T72" fmla="*/ 2147483646 w 19"/>
                <a:gd name="T73" fmla="*/ 2147483646 h 36"/>
                <a:gd name="T74" fmla="*/ 2147483646 w 19"/>
                <a:gd name="T75" fmla="*/ 2147483646 h 36"/>
                <a:gd name="T76" fmla="*/ 2147483646 w 19"/>
                <a:gd name="T77" fmla="*/ 2147483646 h 36"/>
                <a:gd name="T78" fmla="*/ 2147483646 w 19"/>
                <a:gd name="T79" fmla="*/ 2147483646 h 36"/>
                <a:gd name="T80" fmla="*/ 2147483646 w 19"/>
                <a:gd name="T81" fmla="*/ 2147483646 h 36"/>
                <a:gd name="T82" fmla="*/ 2147483646 w 19"/>
                <a:gd name="T83" fmla="*/ 2147483646 h 36"/>
                <a:gd name="T84" fmla="*/ 2147483646 w 19"/>
                <a:gd name="T85" fmla="*/ 2147483646 h 36"/>
                <a:gd name="T86" fmla="*/ 2147483646 w 19"/>
                <a:gd name="T87" fmla="*/ 2147483646 h 36"/>
                <a:gd name="T88" fmla="*/ 2147483646 w 19"/>
                <a:gd name="T89" fmla="*/ 2147483646 h 36"/>
                <a:gd name="T90" fmla="*/ 2147483646 w 19"/>
                <a:gd name="T91" fmla="*/ 2147483646 h 36"/>
                <a:gd name="T92" fmla="*/ 2147483646 w 19"/>
                <a:gd name="T93" fmla="*/ 2147483646 h 36"/>
                <a:gd name="T94" fmla="*/ 2147483646 w 19"/>
                <a:gd name="T95" fmla="*/ 2147483646 h 36"/>
                <a:gd name="T96" fmla="*/ 2147483646 w 19"/>
                <a:gd name="T97" fmla="*/ 2147483646 h 36"/>
                <a:gd name="T98" fmla="*/ 2147483646 w 19"/>
                <a:gd name="T99" fmla="*/ 2147483646 h 36"/>
                <a:gd name="T100" fmla="*/ 2147483646 w 19"/>
                <a:gd name="T101" fmla="*/ 2147483646 h 36"/>
                <a:gd name="T102" fmla="*/ 2147483646 w 19"/>
                <a:gd name="T103" fmla="*/ 2147483646 h 36"/>
                <a:gd name="T104" fmla="*/ 2147483646 w 19"/>
                <a:gd name="T105" fmla="*/ 2147483646 h 36"/>
                <a:gd name="T106" fmla="*/ 2147483646 w 19"/>
                <a:gd name="T107" fmla="*/ 2147483646 h 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9" h="36">
                  <a:moveTo>
                    <a:pt x="7" y="36"/>
                  </a:moveTo>
                  <a:cubicBezTo>
                    <a:pt x="7" y="36"/>
                    <a:pt x="7" y="36"/>
                    <a:pt x="6" y="36"/>
                  </a:cubicBezTo>
                  <a:cubicBezTo>
                    <a:pt x="5" y="36"/>
                    <a:pt x="5" y="34"/>
                    <a:pt x="6" y="34"/>
                  </a:cubicBezTo>
                  <a:cubicBezTo>
                    <a:pt x="6" y="32"/>
                    <a:pt x="6" y="32"/>
                    <a:pt x="5" y="3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0"/>
                    <a:pt x="6" y="30"/>
                    <a:pt x="6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8"/>
                    <a:pt x="9" y="28"/>
                    <a:pt x="10" y="27"/>
                  </a:cubicBezTo>
                  <a:cubicBezTo>
                    <a:pt x="11" y="27"/>
                    <a:pt x="12" y="27"/>
                    <a:pt x="12" y="26"/>
                  </a:cubicBezTo>
                  <a:cubicBezTo>
                    <a:pt x="12" y="26"/>
                    <a:pt x="12" y="24"/>
                    <a:pt x="12" y="23"/>
                  </a:cubicBezTo>
                  <a:cubicBezTo>
                    <a:pt x="12" y="22"/>
                    <a:pt x="12" y="21"/>
                    <a:pt x="12" y="21"/>
                  </a:cubicBezTo>
                  <a:cubicBezTo>
                    <a:pt x="12" y="20"/>
                    <a:pt x="12" y="19"/>
                    <a:pt x="11" y="18"/>
                  </a:cubicBezTo>
                  <a:cubicBezTo>
                    <a:pt x="11" y="18"/>
                    <a:pt x="11" y="18"/>
                    <a:pt x="10" y="18"/>
                  </a:cubicBezTo>
                  <a:cubicBezTo>
                    <a:pt x="10" y="17"/>
                    <a:pt x="10" y="17"/>
                    <a:pt x="9" y="17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7" y="13"/>
                    <a:pt x="7" y="13"/>
                    <a:pt x="6" y="12"/>
                  </a:cubicBezTo>
                  <a:cubicBezTo>
                    <a:pt x="6" y="12"/>
                    <a:pt x="6" y="12"/>
                    <a:pt x="5" y="11"/>
                  </a:cubicBezTo>
                  <a:cubicBezTo>
                    <a:pt x="5" y="11"/>
                    <a:pt x="5" y="11"/>
                    <a:pt x="4" y="11"/>
                  </a:cubicBezTo>
                  <a:cubicBezTo>
                    <a:pt x="4" y="11"/>
                    <a:pt x="3" y="10"/>
                    <a:pt x="4" y="10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1" y="5"/>
                    <a:pt x="1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5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2" y="3"/>
                    <a:pt x="12" y="4"/>
                    <a:pt x="13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6"/>
                    <a:pt x="11" y="7"/>
                    <a:pt x="10" y="8"/>
                  </a:cubicBezTo>
                  <a:cubicBezTo>
                    <a:pt x="9" y="10"/>
                    <a:pt x="8" y="11"/>
                    <a:pt x="9" y="12"/>
                  </a:cubicBezTo>
                  <a:cubicBezTo>
                    <a:pt x="9" y="12"/>
                    <a:pt x="10" y="13"/>
                    <a:pt x="11" y="14"/>
                  </a:cubicBezTo>
                  <a:cubicBezTo>
                    <a:pt x="11" y="15"/>
                    <a:pt x="11" y="15"/>
                    <a:pt x="12" y="15"/>
                  </a:cubicBezTo>
                  <a:cubicBezTo>
                    <a:pt x="12" y="16"/>
                    <a:pt x="13" y="16"/>
                    <a:pt x="13" y="17"/>
                  </a:cubicBezTo>
                  <a:cubicBezTo>
                    <a:pt x="14" y="17"/>
                    <a:pt x="14" y="18"/>
                    <a:pt x="15" y="18"/>
                  </a:cubicBezTo>
                  <a:cubicBezTo>
                    <a:pt x="17" y="21"/>
                    <a:pt x="17" y="24"/>
                    <a:pt x="17" y="26"/>
                  </a:cubicBezTo>
                  <a:cubicBezTo>
                    <a:pt x="17" y="27"/>
                    <a:pt x="17" y="27"/>
                    <a:pt x="17" y="28"/>
                  </a:cubicBezTo>
                  <a:cubicBezTo>
                    <a:pt x="17" y="30"/>
                    <a:pt x="15" y="31"/>
                    <a:pt x="13" y="31"/>
                  </a:cubicBezTo>
                  <a:cubicBezTo>
                    <a:pt x="11" y="32"/>
                    <a:pt x="10" y="32"/>
                    <a:pt x="10" y="33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5"/>
                    <a:pt x="8" y="36"/>
                    <a:pt x="7" y="36"/>
                  </a:cubicBezTo>
                  <a:close/>
                  <a:moveTo>
                    <a:pt x="7" y="31"/>
                  </a:moveTo>
                  <a:cubicBezTo>
                    <a:pt x="7" y="32"/>
                    <a:pt x="7" y="33"/>
                    <a:pt x="7" y="34"/>
                  </a:cubicBezTo>
                  <a:cubicBezTo>
                    <a:pt x="7" y="34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8" y="34"/>
                    <a:pt x="8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lose/>
                  <a:moveTo>
                    <a:pt x="8" y="31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0" y="31"/>
                    <a:pt x="11" y="31"/>
                    <a:pt x="13" y="30"/>
                  </a:cubicBezTo>
                  <a:cubicBezTo>
                    <a:pt x="14" y="30"/>
                    <a:pt x="16" y="29"/>
                    <a:pt x="16" y="28"/>
                  </a:cubicBezTo>
                  <a:cubicBezTo>
                    <a:pt x="16" y="27"/>
                    <a:pt x="16" y="27"/>
                    <a:pt x="16" y="26"/>
                  </a:cubicBezTo>
                  <a:cubicBezTo>
                    <a:pt x="16" y="24"/>
                    <a:pt x="16" y="21"/>
                    <a:pt x="14" y="19"/>
                  </a:cubicBezTo>
                  <a:cubicBezTo>
                    <a:pt x="14" y="19"/>
                    <a:pt x="13" y="18"/>
                    <a:pt x="13" y="18"/>
                  </a:cubicBezTo>
                  <a:cubicBezTo>
                    <a:pt x="12" y="17"/>
                    <a:pt x="11" y="17"/>
                    <a:pt x="11" y="16"/>
                  </a:cubicBezTo>
                  <a:cubicBezTo>
                    <a:pt x="11" y="16"/>
                    <a:pt x="10" y="16"/>
                    <a:pt x="10" y="15"/>
                  </a:cubicBezTo>
                  <a:cubicBezTo>
                    <a:pt x="10" y="16"/>
                    <a:pt x="10" y="16"/>
                    <a:pt x="11" y="16"/>
                  </a:cubicBezTo>
                  <a:cubicBezTo>
                    <a:pt x="11" y="16"/>
                    <a:pt x="11" y="17"/>
                    <a:pt x="11" y="17"/>
                  </a:cubicBezTo>
                  <a:cubicBezTo>
                    <a:pt x="11" y="17"/>
                    <a:pt x="12" y="17"/>
                    <a:pt x="12" y="18"/>
                  </a:cubicBezTo>
                  <a:cubicBezTo>
                    <a:pt x="13" y="19"/>
                    <a:pt x="13" y="20"/>
                    <a:pt x="13" y="21"/>
                  </a:cubicBezTo>
                  <a:cubicBezTo>
                    <a:pt x="13" y="21"/>
                    <a:pt x="13" y="22"/>
                    <a:pt x="13" y="23"/>
                  </a:cubicBezTo>
                  <a:cubicBezTo>
                    <a:pt x="13" y="24"/>
                    <a:pt x="13" y="26"/>
                    <a:pt x="13" y="27"/>
                  </a:cubicBezTo>
                  <a:cubicBezTo>
                    <a:pt x="13" y="27"/>
                    <a:pt x="12" y="28"/>
                    <a:pt x="11" y="28"/>
                  </a:cubicBezTo>
                  <a:cubicBezTo>
                    <a:pt x="10" y="28"/>
                    <a:pt x="9" y="29"/>
                    <a:pt x="9" y="29"/>
                  </a:cubicBezTo>
                  <a:cubicBezTo>
                    <a:pt x="9" y="30"/>
                    <a:pt x="9" y="30"/>
                    <a:pt x="8" y="31"/>
                  </a:cubicBezTo>
                  <a:close/>
                  <a:moveTo>
                    <a:pt x="5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1"/>
                    <a:pt x="7" y="11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7" y="11"/>
                    <a:pt x="8" y="9"/>
                    <a:pt x="9" y="8"/>
                  </a:cubicBezTo>
                  <a:cubicBezTo>
                    <a:pt x="9" y="7"/>
                    <a:pt x="10" y="6"/>
                    <a:pt x="12" y="5"/>
                  </a:cubicBezTo>
                  <a:cubicBezTo>
                    <a:pt x="11" y="4"/>
                    <a:pt x="10" y="4"/>
                    <a:pt x="10" y="3"/>
                  </a:cubicBezTo>
                  <a:cubicBezTo>
                    <a:pt x="9" y="2"/>
                    <a:pt x="9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5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2" y="4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6" y="7"/>
                  </a:cubicBezTo>
                  <a:cubicBezTo>
                    <a:pt x="6" y="8"/>
                    <a:pt x="6" y="8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5" name="Freeform 631"/>
            <p:cNvSpPr/>
            <p:nvPr/>
          </p:nvSpPr>
          <p:spPr bwMode="auto">
            <a:xfrm>
              <a:off x="3372546" y="3088854"/>
              <a:ext cx="201612" cy="201612"/>
            </a:xfrm>
            <a:custGeom>
              <a:avLst/>
              <a:gdLst>
                <a:gd name="T0" fmla="*/ 0 w 27"/>
                <a:gd name="T1" fmla="*/ 2147483646 h 27"/>
                <a:gd name="T2" fmla="*/ 2147483646 w 27"/>
                <a:gd name="T3" fmla="*/ 2147483646 h 27"/>
                <a:gd name="T4" fmla="*/ 2147483646 w 27"/>
                <a:gd name="T5" fmla="*/ 2147483646 h 27"/>
                <a:gd name="T6" fmla="*/ 2147483646 w 27"/>
                <a:gd name="T7" fmla="*/ 2147483646 h 27"/>
                <a:gd name="T8" fmla="*/ 2147483646 w 27"/>
                <a:gd name="T9" fmla="*/ 2147483646 h 27"/>
                <a:gd name="T10" fmla="*/ 2147483646 w 27"/>
                <a:gd name="T11" fmla="*/ 2147483646 h 27"/>
                <a:gd name="T12" fmla="*/ 2147483646 w 27"/>
                <a:gd name="T13" fmla="*/ 2147483646 h 27"/>
                <a:gd name="T14" fmla="*/ 2147483646 w 27"/>
                <a:gd name="T15" fmla="*/ 2147483646 h 27"/>
                <a:gd name="T16" fmla="*/ 2147483646 w 27"/>
                <a:gd name="T17" fmla="*/ 2147483646 h 27"/>
                <a:gd name="T18" fmla="*/ 2147483646 w 27"/>
                <a:gd name="T19" fmla="*/ 2147483646 h 27"/>
                <a:gd name="T20" fmla="*/ 2147483646 w 27"/>
                <a:gd name="T21" fmla="*/ 2147483646 h 27"/>
                <a:gd name="T22" fmla="*/ 2147483646 w 27"/>
                <a:gd name="T23" fmla="*/ 2147483646 h 27"/>
                <a:gd name="T24" fmla="*/ 2147483646 w 27"/>
                <a:gd name="T25" fmla="*/ 2147483646 h 27"/>
                <a:gd name="T26" fmla="*/ 2147483646 w 27"/>
                <a:gd name="T27" fmla="*/ 2147483646 h 27"/>
                <a:gd name="T28" fmla="*/ 2147483646 w 27"/>
                <a:gd name="T29" fmla="*/ 2147483646 h 27"/>
                <a:gd name="T30" fmla="*/ 2147483646 w 27"/>
                <a:gd name="T31" fmla="*/ 2147483646 h 27"/>
                <a:gd name="T32" fmla="*/ 0 w 27"/>
                <a:gd name="T33" fmla="*/ 2147483646 h 2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7" h="27">
                  <a:moveTo>
                    <a:pt x="0" y="1"/>
                  </a:moveTo>
                  <a:cubicBezTo>
                    <a:pt x="1" y="0"/>
                    <a:pt x="2" y="1"/>
                    <a:pt x="4" y="1"/>
                  </a:cubicBezTo>
                  <a:cubicBezTo>
                    <a:pt x="6" y="2"/>
                    <a:pt x="6" y="2"/>
                    <a:pt x="7" y="4"/>
                  </a:cubicBezTo>
                  <a:cubicBezTo>
                    <a:pt x="8" y="5"/>
                    <a:pt x="13" y="9"/>
                    <a:pt x="14" y="8"/>
                  </a:cubicBezTo>
                  <a:cubicBezTo>
                    <a:pt x="15" y="10"/>
                    <a:pt x="19" y="10"/>
                    <a:pt x="18" y="13"/>
                  </a:cubicBezTo>
                  <a:cubicBezTo>
                    <a:pt x="19" y="12"/>
                    <a:pt x="21" y="13"/>
                    <a:pt x="19" y="14"/>
                  </a:cubicBezTo>
                  <a:cubicBezTo>
                    <a:pt x="19" y="15"/>
                    <a:pt x="19" y="15"/>
                    <a:pt x="20" y="16"/>
                  </a:cubicBezTo>
                  <a:cubicBezTo>
                    <a:pt x="22" y="16"/>
                    <a:pt x="22" y="18"/>
                    <a:pt x="22" y="19"/>
                  </a:cubicBezTo>
                  <a:cubicBezTo>
                    <a:pt x="27" y="19"/>
                    <a:pt x="25" y="24"/>
                    <a:pt x="25" y="27"/>
                  </a:cubicBezTo>
                  <a:cubicBezTo>
                    <a:pt x="24" y="26"/>
                    <a:pt x="22" y="26"/>
                    <a:pt x="22" y="27"/>
                  </a:cubicBezTo>
                  <a:cubicBezTo>
                    <a:pt x="20" y="25"/>
                    <a:pt x="18" y="23"/>
                    <a:pt x="16" y="21"/>
                  </a:cubicBezTo>
                  <a:cubicBezTo>
                    <a:pt x="14" y="20"/>
                    <a:pt x="14" y="19"/>
                    <a:pt x="13" y="17"/>
                  </a:cubicBezTo>
                  <a:cubicBezTo>
                    <a:pt x="12" y="16"/>
                    <a:pt x="12" y="14"/>
                    <a:pt x="10" y="13"/>
                  </a:cubicBezTo>
                  <a:cubicBezTo>
                    <a:pt x="9" y="12"/>
                    <a:pt x="9" y="11"/>
                    <a:pt x="8" y="9"/>
                  </a:cubicBezTo>
                  <a:cubicBezTo>
                    <a:pt x="8" y="9"/>
                    <a:pt x="8" y="9"/>
                    <a:pt x="7" y="8"/>
                  </a:cubicBezTo>
                  <a:cubicBezTo>
                    <a:pt x="6" y="8"/>
                    <a:pt x="6" y="8"/>
                    <a:pt x="6" y="7"/>
                  </a:cubicBezTo>
                  <a:cubicBezTo>
                    <a:pt x="4" y="5"/>
                    <a:pt x="1" y="3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6" name="Freeform 632"/>
            <p:cNvSpPr>
              <a:spLocks noEditPoints="1"/>
            </p:cNvSpPr>
            <p:nvPr/>
          </p:nvSpPr>
          <p:spPr bwMode="auto">
            <a:xfrm>
              <a:off x="3366196" y="3088854"/>
              <a:ext cx="201612" cy="207962"/>
            </a:xfrm>
            <a:custGeom>
              <a:avLst/>
              <a:gdLst>
                <a:gd name="T0" fmla="*/ 2147483646 w 27"/>
                <a:gd name="T1" fmla="*/ 2147483646 h 28"/>
                <a:gd name="T2" fmla="*/ 2147483646 w 27"/>
                <a:gd name="T3" fmla="*/ 2147483646 h 28"/>
                <a:gd name="T4" fmla="*/ 2147483646 w 27"/>
                <a:gd name="T5" fmla="*/ 2147483646 h 28"/>
                <a:gd name="T6" fmla="*/ 2147483646 w 27"/>
                <a:gd name="T7" fmla="*/ 2147483646 h 28"/>
                <a:gd name="T8" fmla="*/ 2147483646 w 27"/>
                <a:gd name="T9" fmla="*/ 2147483646 h 28"/>
                <a:gd name="T10" fmla="*/ 2147483646 w 27"/>
                <a:gd name="T11" fmla="*/ 2147483646 h 28"/>
                <a:gd name="T12" fmla="*/ 2147483646 w 27"/>
                <a:gd name="T13" fmla="*/ 2147483646 h 28"/>
                <a:gd name="T14" fmla="*/ 0 w 27"/>
                <a:gd name="T15" fmla="*/ 0 h 28"/>
                <a:gd name="T16" fmla="*/ 2147483646 w 27"/>
                <a:gd name="T17" fmla="*/ 0 h 28"/>
                <a:gd name="T18" fmla="*/ 2147483646 w 27"/>
                <a:gd name="T19" fmla="*/ 2147483646 h 28"/>
                <a:gd name="T20" fmla="*/ 2147483646 w 27"/>
                <a:gd name="T21" fmla="*/ 2147483646 h 28"/>
                <a:gd name="T22" fmla="*/ 2147483646 w 27"/>
                <a:gd name="T23" fmla="*/ 2147483646 h 28"/>
                <a:gd name="T24" fmla="*/ 2147483646 w 27"/>
                <a:gd name="T25" fmla="*/ 2147483646 h 28"/>
                <a:gd name="T26" fmla="*/ 2147483646 w 27"/>
                <a:gd name="T27" fmla="*/ 2147483646 h 28"/>
                <a:gd name="T28" fmla="*/ 2147483646 w 27"/>
                <a:gd name="T29" fmla="*/ 2147483646 h 28"/>
                <a:gd name="T30" fmla="*/ 2147483646 w 27"/>
                <a:gd name="T31" fmla="*/ 2147483646 h 28"/>
                <a:gd name="T32" fmla="*/ 2147483646 w 27"/>
                <a:gd name="T33" fmla="*/ 2147483646 h 28"/>
                <a:gd name="T34" fmla="*/ 2147483646 w 27"/>
                <a:gd name="T35" fmla="*/ 2147483646 h 28"/>
                <a:gd name="T36" fmla="*/ 2147483646 w 27"/>
                <a:gd name="T37" fmla="*/ 2147483646 h 28"/>
                <a:gd name="T38" fmla="*/ 2147483646 w 27"/>
                <a:gd name="T39" fmla="*/ 2147483646 h 28"/>
                <a:gd name="T40" fmla="*/ 2147483646 w 27"/>
                <a:gd name="T41" fmla="*/ 2147483646 h 28"/>
                <a:gd name="T42" fmla="*/ 2147483646 w 27"/>
                <a:gd name="T43" fmla="*/ 2147483646 h 28"/>
                <a:gd name="T44" fmla="*/ 2147483646 w 27"/>
                <a:gd name="T45" fmla="*/ 2147483646 h 28"/>
                <a:gd name="T46" fmla="*/ 2147483646 w 27"/>
                <a:gd name="T47" fmla="*/ 2147483646 h 28"/>
                <a:gd name="T48" fmla="*/ 2147483646 w 27"/>
                <a:gd name="T49" fmla="*/ 2147483646 h 28"/>
                <a:gd name="T50" fmla="*/ 2147483646 w 27"/>
                <a:gd name="T51" fmla="*/ 2147483646 h 28"/>
                <a:gd name="T52" fmla="*/ 2147483646 w 27"/>
                <a:gd name="T53" fmla="*/ 2147483646 h 28"/>
                <a:gd name="T54" fmla="*/ 2147483646 w 27"/>
                <a:gd name="T55" fmla="*/ 2147483646 h 28"/>
                <a:gd name="T56" fmla="*/ 2147483646 w 27"/>
                <a:gd name="T57" fmla="*/ 2147483646 h 28"/>
                <a:gd name="T58" fmla="*/ 2147483646 w 27"/>
                <a:gd name="T59" fmla="*/ 2147483646 h 28"/>
                <a:gd name="T60" fmla="*/ 2147483646 w 27"/>
                <a:gd name="T61" fmla="*/ 2147483646 h 28"/>
                <a:gd name="T62" fmla="*/ 2147483646 w 27"/>
                <a:gd name="T63" fmla="*/ 2147483646 h 28"/>
                <a:gd name="T64" fmla="*/ 2147483646 w 27"/>
                <a:gd name="T65" fmla="*/ 2147483646 h 28"/>
                <a:gd name="T66" fmla="*/ 2147483646 w 27"/>
                <a:gd name="T67" fmla="*/ 2147483646 h 28"/>
                <a:gd name="T68" fmla="*/ 2147483646 w 27"/>
                <a:gd name="T69" fmla="*/ 2147483646 h 28"/>
                <a:gd name="T70" fmla="*/ 2147483646 w 27"/>
                <a:gd name="T71" fmla="*/ 2147483646 h 28"/>
                <a:gd name="T72" fmla="*/ 2147483646 w 27"/>
                <a:gd name="T73" fmla="*/ 2147483646 h 28"/>
                <a:gd name="T74" fmla="*/ 2147483646 w 27"/>
                <a:gd name="T75" fmla="*/ 2147483646 h 2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27" h="28">
                  <a:moveTo>
                    <a:pt x="24" y="28"/>
                  </a:moveTo>
                  <a:cubicBezTo>
                    <a:pt x="23" y="27"/>
                    <a:pt x="23" y="27"/>
                    <a:pt x="23" y="27"/>
                  </a:cubicBezTo>
                  <a:cubicBezTo>
                    <a:pt x="22" y="27"/>
                    <a:pt x="21" y="26"/>
                    <a:pt x="20" y="25"/>
                  </a:cubicBezTo>
                  <a:cubicBezTo>
                    <a:pt x="19" y="24"/>
                    <a:pt x="18" y="23"/>
                    <a:pt x="16" y="22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0"/>
                    <a:pt x="14" y="19"/>
                    <a:pt x="13" y="18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2" y="14"/>
                    <a:pt x="11" y="14"/>
                  </a:cubicBezTo>
                  <a:cubicBezTo>
                    <a:pt x="10" y="13"/>
                    <a:pt x="10" y="12"/>
                    <a:pt x="10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8" y="9"/>
                    <a:pt x="8" y="9"/>
                  </a:cubicBezTo>
                  <a:cubicBezTo>
                    <a:pt x="7" y="9"/>
                    <a:pt x="7" y="8"/>
                    <a:pt x="6" y="8"/>
                  </a:cubicBezTo>
                  <a:cubicBezTo>
                    <a:pt x="6" y="8"/>
                    <a:pt x="6" y="7"/>
                    <a:pt x="6" y="7"/>
                  </a:cubicBezTo>
                  <a:cubicBezTo>
                    <a:pt x="6" y="7"/>
                    <a:pt x="5" y="6"/>
                    <a:pt x="4" y="5"/>
                  </a:cubicBezTo>
                  <a:cubicBezTo>
                    <a:pt x="3" y="4"/>
                    <a:pt x="1" y="3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7" y="1"/>
                    <a:pt x="7" y="2"/>
                    <a:pt x="8" y="2"/>
                  </a:cubicBezTo>
                  <a:cubicBezTo>
                    <a:pt x="8" y="3"/>
                    <a:pt x="8" y="3"/>
                    <a:pt x="9" y="4"/>
                  </a:cubicBezTo>
                  <a:cubicBezTo>
                    <a:pt x="10" y="5"/>
                    <a:pt x="14" y="8"/>
                    <a:pt x="14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9"/>
                    <a:pt x="16" y="9"/>
                    <a:pt x="17" y="10"/>
                  </a:cubicBezTo>
                  <a:cubicBezTo>
                    <a:pt x="18" y="10"/>
                    <a:pt x="19" y="11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1" y="12"/>
                    <a:pt x="21" y="13"/>
                  </a:cubicBezTo>
                  <a:cubicBezTo>
                    <a:pt x="21" y="13"/>
                    <a:pt x="22" y="14"/>
                    <a:pt x="21" y="14"/>
                  </a:cubicBezTo>
                  <a:cubicBezTo>
                    <a:pt x="21" y="14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3" y="16"/>
                    <a:pt x="24" y="17"/>
                    <a:pt x="24" y="18"/>
                  </a:cubicBezTo>
                  <a:cubicBezTo>
                    <a:pt x="25" y="18"/>
                    <a:pt x="25" y="19"/>
                    <a:pt x="26" y="19"/>
                  </a:cubicBezTo>
                  <a:cubicBezTo>
                    <a:pt x="27" y="21"/>
                    <a:pt x="27" y="23"/>
                    <a:pt x="26" y="25"/>
                  </a:cubicBezTo>
                  <a:cubicBezTo>
                    <a:pt x="26" y="26"/>
                    <a:pt x="26" y="26"/>
                    <a:pt x="26" y="27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lnTo>
                    <a:pt x="24" y="28"/>
                  </a:lnTo>
                  <a:close/>
                  <a:moveTo>
                    <a:pt x="2" y="1"/>
                  </a:moveTo>
                  <a:cubicBezTo>
                    <a:pt x="3" y="2"/>
                    <a:pt x="4" y="3"/>
                    <a:pt x="5" y="4"/>
                  </a:cubicBezTo>
                  <a:cubicBezTo>
                    <a:pt x="6" y="5"/>
                    <a:pt x="6" y="6"/>
                    <a:pt x="7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10" y="9"/>
                  </a:cubicBezTo>
                  <a:cubicBezTo>
                    <a:pt x="10" y="10"/>
                    <a:pt x="11" y="10"/>
                    <a:pt x="11" y="11"/>
                  </a:cubicBezTo>
                  <a:cubicBezTo>
                    <a:pt x="11" y="12"/>
                    <a:pt x="11" y="12"/>
                    <a:pt x="12" y="13"/>
                  </a:cubicBezTo>
                  <a:cubicBezTo>
                    <a:pt x="13" y="14"/>
                    <a:pt x="14" y="15"/>
                    <a:pt x="14" y="16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8"/>
                    <a:pt x="16" y="19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2"/>
                    <a:pt x="20" y="23"/>
                    <a:pt x="21" y="24"/>
                  </a:cubicBezTo>
                  <a:cubicBezTo>
                    <a:pt x="22" y="25"/>
                    <a:pt x="22" y="25"/>
                    <a:pt x="23" y="26"/>
                  </a:cubicBezTo>
                  <a:cubicBezTo>
                    <a:pt x="23" y="26"/>
                    <a:pt x="24" y="26"/>
                    <a:pt x="25" y="26"/>
                  </a:cubicBezTo>
                  <a:cubicBezTo>
                    <a:pt x="25" y="26"/>
                    <a:pt x="25" y="25"/>
                    <a:pt x="25" y="25"/>
                  </a:cubicBezTo>
                  <a:cubicBezTo>
                    <a:pt x="26" y="23"/>
                    <a:pt x="26" y="21"/>
                    <a:pt x="25" y="20"/>
                  </a:cubicBezTo>
                  <a:cubicBezTo>
                    <a:pt x="25" y="20"/>
                    <a:pt x="24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8"/>
                    <a:pt x="22" y="17"/>
                    <a:pt x="21" y="16"/>
                  </a:cubicBezTo>
                  <a:cubicBezTo>
                    <a:pt x="20" y="16"/>
                    <a:pt x="20" y="16"/>
                    <a:pt x="20" y="15"/>
                  </a:cubicBezTo>
                  <a:cubicBezTo>
                    <a:pt x="20" y="15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19" y="13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8" y="11"/>
                    <a:pt x="18" y="11"/>
                    <a:pt x="17" y="11"/>
                  </a:cubicBezTo>
                  <a:cubicBezTo>
                    <a:pt x="16" y="10"/>
                    <a:pt x="15" y="10"/>
                    <a:pt x="14" y="9"/>
                  </a:cubicBezTo>
                  <a:cubicBezTo>
                    <a:pt x="12" y="9"/>
                    <a:pt x="8" y="4"/>
                    <a:pt x="8" y="4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7" name="Freeform 633"/>
            <p:cNvSpPr/>
            <p:nvPr/>
          </p:nvSpPr>
          <p:spPr bwMode="auto">
            <a:xfrm>
              <a:off x="3990083" y="3192041"/>
              <a:ext cx="179388" cy="157163"/>
            </a:xfrm>
            <a:custGeom>
              <a:avLst/>
              <a:gdLst>
                <a:gd name="T0" fmla="*/ 2147483646 w 24"/>
                <a:gd name="T1" fmla="*/ 2147483646 h 21"/>
                <a:gd name="T2" fmla="*/ 2147483646 w 24"/>
                <a:gd name="T3" fmla="*/ 2147483646 h 21"/>
                <a:gd name="T4" fmla="*/ 2147483646 w 24"/>
                <a:gd name="T5" fmla="*/ 2147483646 h 21"/>
                <a:gd name="T6" fmla="*/ 2147483646 w 24"/>
                <a:gd name="T7" fmla="*/ 2147483646 h 21"/>
                <a:gd name="T8" fmla="*/ 2147483646 w 24"/>
                <a:gd name="T9" fmla="*/ 2147483646 h 21"/>
                <a:gd name="T10" fmla="*/ 2147483646 w 24"/>
                <a:gd name="T11" fmla="*/ 2147483646 h 21"/>
                <a:gd name="T12" fmla="*/ 2147483646 w 24"/>
                <a:gd name="T13" fmla="*/ 2147483646 h 21"/>
                <a:gd name="T14" fmla="*/ 2147483646 w 24"/>
                <a:gd name="T15" fmla="*/ 2147483646 h 21"/>
                <a:gd name="T16" fmla="*/ 0 w 24"/>
                <a:gd name="T17" fmla="*/ 2147483646 h 21"/>
                <a:gd name="T18" fmla="*/ 2147483646 w 24"/>
                <a:gd name="T19" fmla="*/ 2147483646 h 21"/>
                <a:gd name="T20" fmla="*/ 2147483646 w 24"/>
                <a:gd name="T21" fmla="*/ 2147483646 h 21"/>
                <a:gd name="T22" fmla="*/ 2147483646 w 24"/>
                <a:gd name="T23" fmla="*/ 2147483646 h 21"/>
                <a:gd name="T24" fmla="*/ 2147483646 w 24"/>
                <a:gd name="T25" fmla="*/ 2147483646 h 21"/>
                <a:gd name="T26" fmla="*/ 2147483646 w 24"/>
                <a:gd name="T27" fmla="*/ 2147483646 h 21"/>
                <a:gd name="T28" fmla="*/ 2147483646 w 24"/>
                <a:gd name="T29" fmla="*/ 2147483646 h 21"/>
                <a:gd name="T30" fmla="*/ 2147483646 w 24"/>
                <a:gd name="T31" fmla="*/ 2147483646 h 21"/>
                <a:gd name="T32" fmla="*/ 2147483646 w 24"/>
                <a:gd name="T33" fmla="*/ 2147483646 h 21"/>
                <a:gd name="T34" fmla="*/ 2147483646 w 24"/>
                <a:gd name="T35" fmla="*/ 2147483646 h 21"/>
                <a:gd name="T36" fmla="*/ 2147483646 w 24"/>
                <a:gd name="T37" fmla="*/ 2147483646 h 21"/>
                <a:gd name="T38" fmla="*/ 2147483646 w 24"/>
                <a:gd name="T39" fmla="*/ 2147483646 h 21"/>
                <a:gd name="T40" fmla="*/ 2147483646 w 24"/>
                <a:gd name="T41" fmla="*/ 2147483646 h 21"/>
                <a:gd name="T42" fmla="*/ 2147483646 w 24"/>
                <a:gd name="T43" fmla="*/ 2147483646 h 2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4" h="21">
                  <a:moveTo>
                    <a:pt x="23" y="11"/>
                  </a:moveTo>
                  <a:cubicBezTo>
                    <a:pt x="23" y="10"/>
                    <a:pt x="24" y="5"/>
                    <a:pt x="23" y="5"/>
                  </a:cubicBezTo>
                  <a:cubicBezTo>
                    <a:pt x="20" y="5"/>
                    <a:pt x="18" y="4"/>
                    <a:pt x="16" y="3"/>
                  </a:cubicBezTo>
                  <a:cubicBezTo>
                    <a:pt x="16" y="3"/>
                    <a:pt x="12" y="5"/>
                    <a:pt x="12" y="5"/>
                  </a:cubicBezTo>
                  <a:cubicBezTo>
                    <a:pt x="10" y="7"/>
                    <a:pt x="9" y="8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7" y="4"/>
                    <a:pt x="7" y="3"/>
                  </a:cubicBezTo>
                  <a:cubicBezTo>
                    <a:pt x="7" y="1"/>
                    <a:pt x="6" y="2"/>
                    <a:pt x="5" y="1"/>
                  </a:cubicBezTo>
                  <a:cubicBezTo>
                    <a:pt x="3" y="0"/>
                    <a:pt x="1" y="0"/>
                    <a:pt x="0" y="3"/>
                  </a:cubicBezTo>
                  <a:cubicBezTo>
                    <a:pt x="2" y="3"/>
                    <a:pt x="1" y="4"/>
                    <a:pt x="2" y="5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6" y="6"/>
                    <a:pt x="3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4" y="7"/>
                    <a:pt x="4" y="8"/>
                  </a:cubicBezTo>
                  <a:cubicBezTo>
                    <a:pt x="5" y="10"/>
                    <a:pt x="6" y="7"/>
                    <a:pt x="6" y="6"/>
                  </a:cubicBezTo>
                  <a:cubicBezTo>
                    <a:pt x="5" y="10"/>
                    <a:pt x="21" y="11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7"/>
                  </a:cubicBezTo>
                  <a:cubicBezTo>
                    <a:pt x="17" y="16"/>
                    <a:pt x="16" y="18"/>
                    <a:pt x="16" y="19"/>
                  </a:cubicBezTo>
                  <a:cubicBezTo>
                    <a:pt x="17" y="19"/>
                    <a:pt x="18" y="18"/>
                    <a:pt x="19" y="18"/>
                  </a:cubicBezTo>
                  <a:cubicBezTo>
                    <a:pt x="21" y="18"/>
                    <a:pt x="22" y="20"/>
                    <a:pt x="24" y="21"/>
                  </a:cubicBezTo>
                  <a:cubicBezTo>
                    <a:pt x="23" y="17"/>
                    <a:pt x="23" y="14"/>
                    <a:pt x="23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8" name="Freeform 634"/>
            <p:cNvSpPr>
              <a:spLocks noEditPoints="1"/>
            </p:cNvSpPr>
            <p:nvPr/>
          </p:nvSpPr>
          <p:spPr bwMode="auto">
            <a:xfrm>
              <a:off x="3983733" y="3192041"/>
              <a:ext cx="185738" cy="163513"/>
            </a:xfrm>
            <a:custGeom>
              <a:avLst/>
              <a:gdLst>
                <a:gd name="T0" fmla="*/ 2147483646 w 25"/>
                <a:gd name="T1" fmla="*/ 2147483646 h 22"/>
                <a:gd name="T2" fmla="*/ 2147483646 w 25"/>
                <a:gd name="T3" fmla="*/ 2147483646 h 22"/>
                <a:gd name="T4" fmla="*/ 2147483646 w 25"/>
                <a:gd name="T5" fmla="*/ 2147483646 h 22"/>
                <a:gd name="T6" fmla="*/ 2147483646 w 25"/>
                <a:gd name="T7" fmla="*/ 2147483646 h 22"/>
                <a:gd name="T8" fmla="*/ 2147483646 w 25"/>
                <a:gd name="T9" fmla="*/ 2147483646 h 22"/>
                <a:gd name="T10" fmla="*/ 2147483646 w 25"/>
                <a:gd name="T11" fmla="*/ 2147483646 h 22"/>
                <a:gd name="T12" fmla="*/ 2147483646 w 25"/>
                <a:gd name="T13" fmla="*/ 2147483646 h 22"/>
                <a:gd name="T14" fmla="*/ 2147483646 w 25"/>
                <a:gd name="T15" fmla="*/ 2147483646 h 22"/>
                <a:gd name="T16" fmla="*/ 2147483646 w 25"/>
                <a:gd name="T17" fmla="*/ 2147483646 h 22"/>
                <a:gd name="T18" fmla="*/ 2147483646 w 25"/>
                <a:gd name="T19" fmla="*/ 2147483646 h 22"/>
                <a:gd name="T20" fmla="*/ 2147483646 w 25"/>
                <a:gd name="T21" fmla="*/ 2147483646 h 22"/>
                <a:gd name="T22" fmla="*/ 2147483646 w 25"/>
                <a:gd name="T23" fmla="*/ 2147483646 h 22"/>
                <a:gd name="T24" fmla="*/ 2147483646 w 25"/>
                <a:gd name="T25" fmla="*/ 2147483646 h 22"/>
                <a:gd name="T26" fmla="*/ 0 w 25"/>
                <a:gd name="T27" fmla="*/ 2147483646 h 22"/>
                <a:gd name="T28" fmla="*/ 2147483646 w 25"/>
                <a:gd name="T29" fmla="*/ 2147483646 h 22"/>
                <a:gd name="T30" fmla="*/ 2147483646 w 25"/>
                <a:gd name="T31" fmla="*/ 2147483646 h 22"/>
                <a:gd name="T32" fmla="*/ 2147483646 w 25"/>
                <a:gd name="T33" fmla="*/ 2147483646 h 22"/>
                <a:gd name="T34" fmla="*/ 2147483646 w 25"/>
                <a:gd name="T35" fmla="*/ 2147483646 h 22"/>
                <a:gd name="T36" fmla="*/ 2147483646 w 25"/>
                <a:gd name="T37" fmla="*/ 2147483646 h 22"/>
                <a:gd name="T38" fmla="*/ 2147483646 w 25"/>
                <a:gd name="T39" fmla="*/ 2147483646 h 22"/>
                <a:gd name="T40" fmla="*/ 2147483646 w 25"/>
                <a:gd name="T41" fmla="*/ 2147483646 h 22"/>
                <a:gd name="T42" fmla="*/ 2147483646 w 25"/>
                <a:gd name="T43" fmla="*/ 2147483646 h 22"/>
                <a:gd name="T44" fmla="*/ 2147483646 w 25"/>
                <a:gd name="T45" fmla="*/ 2147483646 h 22"/>
                <a:gd name="T46" fmla="*/ 2147483646 w 25"/>
                <a:gd name="T47" fmla="*/ 2147483646 h 22"/>
                <a:gd name="T48" fmla="*/ 2147483646 w 25"/>
                <a:gd name="T49" fmla="*/ 2147483646 h 22"/>
                <a:gd name="T50" fmla="*/ 2147483646 w 25"/>
                <a:gd name="T51" fmla="*/ 2147483646 h 22"/>
                <a:gd name="T52" fmla="*/ 2147483646 w 25"/>
                <a:gd name="T53" fmla="*/ 2147483646 h 22"/>
                <a:gd name="T54" fmla="*/ 2147483646 w 25"/>
                <a:gd name="T55" fmla="*/ 2147483646 h 22"/>
                <a:gd name="T56" fmla="*/ 2147483646 w 25"/>
                <a:gd name="T57" fmla="*/ 2147483646 h 22"/>
                <a:gd name="T58" fmla="*/ 2147483646 w 25"/>
                <a:gd name="T59" fmla="*/ 2147483646 h 22"/>
                <a:gd name="T60" fmla="*/ 2147483646 w 25"/>
                <a:gd name="T61" fmla="*/ 2147483646 h 22"/>
                <a:gd name="T62" fmla="*/ 2147483646 w 25"/>
                <a:gd name="T63" fmla="*/ 2147483646 h 22"/>
                <a:gd name="T64" fmla="*/ 2147483646 w 25"/>
                <a:gd name="T65" fmla="*/ 2147483646 h 22"/>
                <a:gd name="T66" fmla="*/ 2147483646 w 25"/>
                <a:gd name="T67" fmla="*/ 2147483646 h 22"/>
                <a:gd name="T68" fmla="*/ 2147483646 w 25"/>
                <a:gd name="T69" fmla="*/ 2147483646 h 22"/>
                <a:gd name="T70" fmla="*/ 2147483646 w 25"/>
                <a:gd name="T71" fmla="*/ 2147483646 h 22"/>
                <a:gd name="T72" fmla="*/ 2147483646 w 25"/>
                <a:gd name="T73" fmla="*/ 2147483646 h 22"/>
                <a:gd name="T74" fmla="*/ 2147483646 w 25"/>
                <a:gd name="T75" fmla="*/ 2147483646 h 22"/>
                <a:gd name="T76" fmla="*/ 2147483646 w 25"/>
                <a:gd name="T77" fmla="*/ 2147483646 h 22"/>
                <a:gd name="T78" fmla="*/ 2147483646 w 25"/>
                <a:gd name="T79" fmla="*/ 2147483646 h 22"/>
                <a:gd name="T80" fmla="*/ 2147483646 w 25"/>
                <a:gd name="T81" fmla="*/ 2147483646 h 22"/>
                <a:gd name="T82" fmla="*/ 2147483646 w 25"/>
                <a:gd name="T83" fmla="*/ 2147483646 h 22"/>
                <a:gd name="T84" fmla="*/ 2147483646 w 25"/>
                <a:gd name="T85" fmla="*/ 2147483646 h 22"/>
                <a:gd name="T86" fmla="*/ 2147483646 w 25"/>
                <a:gd name="T87" fmla="*/ 2147483646 h 2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5" h="22">
                  <a:moveTo>
                    <a:pt x="25" y="22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4" y="21"/>
                    <a:pt x="23" y="20"/>
                  </a:cubicBezTo>
                  <a:cubicBezTo>
                    <a:pt x="23" y="19"/>
                    <a:pt x="22" y="19"/>
                    <a:pt x="21" y="19"/>
                  </a:cubicBezTo>
                  <a:cubicBezTo>
                    <a:pt x="20" y="19"/>
                    <a:pt x="19" y="19"/>
                    <a:pt x="19" y="19"/>
                  </a:cubicBezTo>
                  <a:cubicBezTo>
                    <a:pt x="18" y="19"/>
                    <a:pt x="18" y="19"/>
                    <a:pt x="17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7" y="17"/>
                    <a:pt x="17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3"/>
                    <a:pt x="15" y="12"/>
                    <a:pt x="13" y="11"/>
                  </a:cubicBezTo>
                  <a:cubicBezTo>
                    <a:pt x="11" y="10"/>
                    <a:pt x="8" y="9"/>
                    <a:pt x="7" y="8"/>
                  </a:cubicBezTo>
                  <a:cubicBezTo>
                    <a:pt x="7" y="9"/>
                    <a:pt x="6" y="10"/>
                    <a:pt x="6" y="10"/>
                  </a:cubicBezTo>
                  <a:cubicBezTo>
                    <a:pt x="5" y="10"/>
                    <a:pt x="5" y="9"/>
                    <a:pt x="5" y="9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4"/>
                    <a:pt x="2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9" y="1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1" y="6"/>
                    <a:pt x="12" y="6"/>
                    <a:pt x="12" y="5"/>
                  </a:cubicBezTo>
                  <a:cubicBezTo>
                    <a:pt x="13" y="5"/>
                    <a:pt x="16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20" y="4"/>
                    <a:pt x="21" y="4"/>
                    <a:pt x="24" y="5"/>
                  </a:cubicBezTo>
                  <a:cubicBezTo>
                    <a:pt x="25" y="5"/>
                    <a:pt x="25" y="6"/>
                    <a:pt x="25" y="10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5"/>
                    <a:pt x="25" y="18"/>
                    <a:pt x="25" y="21"/>
                  </a:cubicBezTo>
                  <a:lnTo>
                    <a:pt x="25" y="22"/>
                  </a:lnTo>
                  <a:close/>
                  <a:moveTo>
                    <a:pt x="21" y="18"/>
                  </a:moveTo>
                  <a:cubicBezTo>
                    <a:pt x="22" y="18"/>
                    <a:pt x="23" y="18"/>
                    <a:pt x="24" y="19"/>
                  </a:cubicBezTo>
                  <a:cubicBezTo>
                    <a:pt x="24" y="17"/>
                    <a:pt x="24" y="14"/>
                    <a:pt x="24" y="11"/>
                  </a:cubicBezTo>
                  <a:cubicBezTo>
                    <a:pt x="24" y="11"/>
                    <a:pt x="24" y="11"/>
                    <a:pt x="24" y="10"/>
                  </a:cubicBezTo>
                  <a:cubicBezTo>
                    <a:pt x="24" y="9"/>
                    <a:pt x="24" y="7"/>
                    <a:pt x="24" y="6"/>
                  </a:cubicBezTo>
                  <a:cubicBezTo>
                    <a:pt x="21" y="5"/>
                    <a:pt x="19" y="5"/>
                    <a:pt x="17" y="3"/>
                  </a:cubicBezTo>
                  <a:cubicBezTo>
                    <a:pt x="16" y="4"/>
                    <a:pt x="14" y="5"/>
                    <a:pt x="13" y="6"/>
                  </a:cubicBezTo>
                  <a:cubicBezTo>
                    <a:pt x="13" y="7"/>
                    <a:pt x="12" y="8"/>
                    <a:pt x="11" y="8"/>
                  </a:cubicBezTo>
                  <a:cubicBezTo>
                    <a:pt x="10" y="8"/>
                    <a:pt x="10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5"/>
                    <a:pt x="8" y="5"/>
                  </a:cubicBezTo>
                  <a:cubicBezTo>
                    <a:pt x="7" y="6"/>
                    <a:pt x="6" y="6"/>
                    <a:pt x="5" y="6"/>
                  </a:cubicBezTo>
                  <a:cubicBezTo>
                    <a:pt x="5" y="7"/>
                    <a:pt x="6" y="8"/>
                    <a:pt x="6" y="8"/>
                  </a:cubicBezTo>
                  <a:cubicBezTo>
                    <a:pt x="6" y="8"/>
                    <a:pt x="7" y="7"/>
                    <a:pt x="7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11" y="9"/>
                    <a:pt x="13" y="10"/>
                  </a:cubicBezTo>
                  <a:cubicBezTo>
                    <a:pt x="16" y="11"/>
                    <a:pt x="19" y="12"/>
                    <a:pt x="19" y="14"/>
                  </a:cubicBezTo>
                  <a:cubicBezTo>
                    <a:pt x="20" y="14"/>
                    <a:pt x="19" y="15"/>
                    <a:pt x="19" y="15"/>
                  </a:cubicBezTo>
                  <a:cubicBezTo>
                    <a:pt x="19" y="15"/>
                    <a:pt x="20" y="15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7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lnTo>
                    <a:pt x="21" y="18"/>
                  </a:lnTo>
                  <a:close/>
                  <a:moveTo>
                    <a:pt x="18" y="17"/>
                  </a:move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8" y="17"/>
                  </a:cubicBezTo>
                  <a:close/>
                  <a:moveTo>
                    <a:pt x="2" y="2"/>
                  </a:moveTo>
                  <a:cubicBezTo>
                    <a:pt x="2" y="2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9" name="Freeform 635"/>
            <p:cNvSpPr/>
            <p:nvPr/>
          </p:nvSpPr>
          <p:spPr bwMode="auto">
            <a:xfrm>
              <a:off x="3858321" y="321426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0" name="Freeform 636"/>
            <p:cNvSpPr/>
            <p:nvPr/>
          </p:nvSpPr>
          <p:spPr bwMode="auto">
            <a:xfrm>
              <a:off x="3836096" y="3207917"/>
              <a:ext cx="28575" cy="12700"/>
            </a:xfrm>
            <a:custGeom>
              <a:avLst/>
              <a:gdLst>
                <a:gd name="T0" fmla="*/ 2147483646 w 4"/>
                <a:gd name="T1" fmla="*/ 2147483646 h 2"/>
                <a:gd name="T2" fmla="*/ 2147483646 w 4"/>
                <a:gd name="T3" fmla="*/ 2147483646 h 2"/>
                <a:gd name="T4" fmla="*/ 0 w 4"/>
                <a:gd name="T5" fmla="*/ 2147483646 h 2"/>
                <a:gd name="T6" fmla="*/ 2147483646 w 4"/>
                <a:gd name="T7" fmla="*/ 0 h 2"/>
                <a:gd name="T8" fmla="*/ 2147483646 w 4"/>
                <a:gd name="T9" fmla="*/ 2147483646 h 2"/>
                <a:gd name="T10" fmla="*/ 2147483646 w 4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3" y="2"/>
                    <a:pt x="3" y="1"/>
                    <a:pt x="3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1" name="Freeform 637"/>
            <p:cNvSpPr/>
            <p:nvPr/>
          </p:nvSpPr>
          <p:spPr bwMode="auto">
            <a:xfrm>
              <a:off x="3848796" y="3207917"/>
              <a:ext cx="9525" cy="635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1"/>
                    <a:pt x="0" y="1"/>
                  </a:cubicBezTo>
                  <a:cubicBezTo>
                    <a:pt x="0" y="0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2" name="Freeform 638"/>
            <p:cNvSpPr/>
            <p:nvPr/>
          </p:nvSpPr>
          <p:spPr bwMode="auto">
            <a:xfrm>
              <a:off x="3842446" y="3207917"/>
              <a:ext cx="15875" cy="12700"/>
            </a:xfrm>
            <a:custGeom>
              <a:avLst/>
              <a:gdLst>
                <a:gd name="T0" fmla="*/ 2147483646 w 2"/>
                <a:gd name="T1" fmla="*/ 2147483646 h 2"/>
                <a:gd name="T2" fmla="*/ 0 w 2"/>
                <a:gd name="T3" fmla="*/ 2147483646 h 2"/>
                <a:gd name="T4" fmla="*/ 2147483646 w 2"/>
                <a:gd name="T5" fmla="*/ 0 h 2"/>
                <a:gd name="T6" fmla="*/ 2147483646 w 2"/>
                <a:gd name="T7" fmla="*/ 0 h 2"/>
                <a:gd name="T8" fmla="*/ 2147483646 w 2"/>
                <a:gd name="T9" fmla="*/ 0 h 2"/>
                <a:gd name="T10" fmla="*/ 2147483646 w 2"/>
                <a:gd name="T11" fmla="*/ 0 h 2"/>
                <a:gd name="T12" fmla="*/ 2147483646 w 2"/>
                <a:gd name="T13" fmla="*/ 0 h 2"/>
                <a:gd name="T14" fmla="*/ 2147483646 w 2"/>
                <a:gd name="T15" fmla="*/ 0 h 2"/>
                <a:gd name="T16" fmla="*/ 2147483646 w 2"/>
                <a:gd name="T17" fmla="*/ 0 h 2"/>
                <a:gd name="T18" fmla="*/ 2147483646 w 2"/>
                <a:gd name="T19" fmla="*/ 2147483646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3" name="Freeform 639"/>
            <p:cNvSpPr/>
            <p:nvPr/>
          </p:nvSpPr>
          <p:spPr bwMode="auto">
            <a:xfrm>
              <a:off x="3775771" y="3153941"/>
              <a:ext cx="131762" cy="136525"/>
            </a:xfrm>
            <a:custGeom>
              <a:avLst/>
              <a:gdLst>
                <a:gd name="T0" fmla="*/ 2147483646 w 18"/>
                <a:gd name="T1" fmla="*/ 2147483646 h 18"/>
                <a:gd name="T2" fmla="*/ 2147483646 w 18"/>
                <a:gd name="T3" fmla="*/ 2147483646 h 18"/>
                <a:gd name="T4" fmla="*/ 2147483646 w 18"/>
                <a:gd name="T5" fmla="*/ 2147483646 h 18"/>
                <a:gd name="T6" fmla="*/ 2147483646 w 18"/>
                <a:gd name="T7" fmla="*/ 2147483646 h 18"/>
                <a:gd name="T8" fmla="*/ 2147483646 w 18"/>
                <a:gd name="T9" fmla="*/ 2147483646 h 18"/>
                <a:gd name="T10" fmla="*/ 2147483646 w 18"/>
                <a:gd name="T11" fmla="*/ 2147483646 h 18"/>
                <a:gd name="T12" fmla="*/ 2147483646 w 18"/>
                <a:gd name="T13" fmla="*/ 2147483646 h 18"/>
                <a:gd name="T14" fmla="*/ 2147483646 w 18"/>
                <a:gd name="T15" fmla="*/ 2147483646 h 18"/>
                <a:gd name="T16" fmla="*/ 2147483646 w 18"/>
                <a:gd name="T17" fmla="*/ 2147483646 h 18"/>
                <a:gd name="T18" fmla="*/ 2147483646 w 18"/>
                <a:gd name="T19" fmla="*/ 2147483646 h 18"/>
                <a:gd name="T20" fmla="*/ 2147483646 w 18"/>
                <a:gd name="T21" fmla="*/ 2147483646 h 18"/>
                <a:gd name="T22" fmla="*/ 2147483646 w 18"/>
                <a:gd name="T23" fmla="*/ 2147483646 h 18"/>
                <a:gd name="T24" fmla="*/ 2147483646 w 18"/>
                <a:gd name="T25" fmla="*/ 2147483646 h 18"/>
                <a:gd name="T26" fmla="*/ 2147483646 w 18"/>
                <a:gd name="T27" fmla="*/ 2147483646 h 18"/>
                <a:gd name="T28" fmla="*/ 2147483646 w 18"/>
                <a:gd name="T29" fmla="*/ 0 h 18"/>
                <a:gd name="T30" fmla="*/ 2147483646 w 18"/>
                <a:gd name="T31" fmla="*/ 2147483646 h 1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8" h="18">
                  <a:moveTo>
                    <a:pt x="6" y="1"/>
                  </a:moveTo>
                  <a:cubicBezTo>
                    <a:pt x="5" y="3"/>
                    <a:pt x="4" y="2"/>
                    <a:pt x="3" y="4"/>
                  </a:cubicBezTo>
                  <a:cubicBezTo>
                    <a:pt x="2" y="6"/>
                    <a:pt x="2" y="8"/>
                    <a:pt x="1" y="10"/>
                  </a:cubicBezTo>
                  <a:cubicBezTo>
                    <a:pt x="0" y="13"/>
                    <a:pt x="3" y="12"/>
                    <a:pt x="2" y="14"/>
                  </a:cubicBezTo>
                  <a:cubicBezTo>
                    <a:pt x="2" y="15"/>
                    <a:pt x="1" y="17"/>
                    <a:pt x="3" y="17"/>
                  </a:cubicBezTo>
                  <a:cubicBezTo>
                    <a:pt x="4" y="18"/>
                    <a:pt x="4" y="17"/>
                    <a:pt x="4" y="16"/>
                  </a:cubicBezTo>
                  <a:cubicBezTo>
                    <a:pt x="4" y="15"/>
                    <a:pt x="3" y="10"/>
                    <a:pt x="5" y="10"/>
                  </a:cubicBezTo>
                  <a:cubicBezTo>
                    <a:pt x="5" y="10"/>
                    <a:pt x="7" y="15"/>
                    <a:pt x="7" y="15"/>
                  </a:cubicBezTo>
                  <a:cubicBezTo>
                    <a:pt x="7" y="16"/>
                    <a:pt x="8" y="15"/>
                    <a:pt x="9" y="15"/>
                  </a:cubicBezTo>
                  <a:cubicBezTo>
                    <a:pt x="11" y="14"/>
                    <a:pt x="9" y="14"/>
                    <a:pt x="9" y="14"/>
                  </a:cubicBezTo>
                  <a:cubicBezTo>
                    <a:pt x="9" y="14"/>
                    <a:pt x="9" y="11"/>
                    <a:pt x="9" y="12"/>
                  </a:cubicBezTo>
                  <a:cubicBezTo>
                    <a:pt x="8" y="11"/>
                    <a:pt x="7" y="10"/>
                    <a:pt x="7" y="9"/>
                  </a:cubicBezTo>
                  <a:cubicBezTo>
                    <a:pt x="9" y="9"/>
                    <a:pt x="9" y="6"/>
                    <a:pt x="11" y="7"/>
                  </a:cubicBezTo>
                  <a:cubicBezTo>
                    <a:pt x="11" y="4"/>
                    <a:pt x="3" y="12"/>
                    <a:pt x="4" y="4"/>
                  </a:cubicBezTo>
                  <a:cubicBezTo>
                    <a:pt x="4" y="2"/>
                    <a:pt x="18" y="5"/>
                    <a:pt x="15" y="0"/>
                  </a:cubicBezTo>
                  <a:cubicBezTo>
                    <a:pt x="12" y="3"/>
                    <a:pt x="10" y="2"/>
                    <a:pt x="6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4" name="Freeform 640"/>
            <p:cNvSpPr>
              <a:spLocks noEditPoints="1"/>
            </p:cNvSpPr>
            <p:nvPr/>
          </p:nvSpPr>
          <p:spPr bwMode="auto">
            <a:xfrm>
              <a:off x="3775771" y="3153941"/>
              <a:ext cx="119062" cy="136525"/>
            </a:xfrm>
            <a:custGeom>
              <a:avLst/>
              <a:gdLst>
                <a:gd name="T0" fmla="*/ 2147483646 w 16"/>
                <a:gd name="T1" fmla="*/ 2147483646 h 18"/>
                <a:gd name="T2" fmla="*/ 2147483646 w 16"/>
                <a:gd name="T3" fmla="*/ 2147483646 h 18"/>
                <a:gd name="T4" fmla="*/ 2147483646 w 16"/>
                <a:gd name="T5" fmla="*/ 2147483646 h 18"/>
                <a:gd name="T6" fmla="*/ 2147483646 w 16"/>
                <a:gd name="T7" fmla="*/ 2147483646 h 18"/>
                <a:gd name="T8" fmla="*/ 2147483646 w 16"/>
                <a:gd name="T9" fmla="*/ 2147483646 h 18"/>
                <a:gd name="T10" fmla="*/ 2147483646 w 16"/>
                <a:gd name="T11" fmla="*/ 2147483646 h 18"/>
                <a:gd name="T12" fmla="*/ 2147483646 w 16"/>
                <a:gd name="T13" fmla="*/ 0 h 18"/>
                <a:gd name="T14" fmla="*/ 2147483646 w 16"/>
                <a:gd name="T15" fmla="*/ 2147483646 h 18"/>
                <a:gd name="T16" fmla="*/ 2147483646 w 16"/>
                <a:gd name="T17" fmla="*/ 2147483646 h 18"/>
                <a:gd name="T18" fmla="*/ 2147483646 w 16"/>
                <a:gd name="T19" fmla="*/ 2147483646 h 18"/>
                <a:gd name="T20" fmla="*/ 2147483646 w 16"/>
                <a:gd name="T21" fmla="*/ 2147483646 h 18"/>
                <a:gd name="T22" fmla="*/ 2147483646 w 16"/>
                <a:gd name="T23" fmla="*/ 2147483646 h 18"/>
                <a:gd name="T24" fmla="*/ 2147483646 w 16"/>
                <a:gd name="T25" fmla="*/ 2147483646 h 18"/>
                <a:gd name="T26" fmla="*/ 2147483646 w 16"/>
                <a:gd name="T27" fmla="*/ 2147483646 h 18"/>
                <a:gd name="T28" fmla="*/ 2147483646 w 16"/>
                <a:gd name="T29" fmla="*/ 2147483646 h 18"/>
                <a:gd name="T30" fmla="*/ 2147483646 w 16"/>
                <a:gd name="T31" fmla="*/ 2147483646 h 18"/>
                <a:gd name="T32" fmla="*/ 2147483646 w 16"/>
                <a:gd name="T33" fmla="*/ 2147483646 h 18"/>
                <a:gd name="T34" fmla="*/ 2147483646 w 16"/>
                <a:gd name="T35" fmla="*/ 2147483646 h 18"/>
                <a:gd name="T36" fmla="*/ 2147483646 w 16"/>
                <a:gd name="T37" fmla="*/ 2147483646 h 18"/>
                <a:gd name="T38" fmla="*/ 2147483646 w 16"/>
                <a:gd name="T39" fmla="*/ 2147483646 h 18"/>
                <a:gd name="T40" fmla="*/ 2147483646 w 16"/>
                <a:gd name="T41" fmla="*/ 2147483646 h 18"/>
                <a:gd name="T42" fmla="*/ 2147483646 w 16"/>
                <a:gd name="T43" fmla="*/ 2147483646 h 18"/>
                <a:gd name="T44" fmla="*/ 2147483646 w 16"/>
                <a:gd name="T45" fmla="*/ 2147483646 h 18"/>
                <a:gd name="T46" fmla="*/ 2147483646 w 16"/>
                <a:gd name="T47" fmla="*/ 2147483646 h 18"/>
                <a:gd name="T48" fmla="*/ 2147483646 w 16"/>
                <a:gd name="T49" fmla="*/ 2147483646 h 18"/>
                <a:gd name="T50" fmla="*/ 2147483646 w 16"/>
                <a:gd name="T51" fmla="*/ 2147483646 h 18"/>
                <a:gd name="T52" fmla="*/ 2147483646 w 16"/>
                <a:gd name="T53" fmla="*/ 2147483646 h 18"/>
                <a:gd name="T54" fmla="*/ 2147483646 w 16"/>
                <a:gd name="T55" fmla="*/ 2147483646 h 18"/>
                <a:gd name="T56" fmla="*/ 2147483646 w 16"/>
                <a:gd name="T57" fmla="*/ 2147483646 h 18"/>
                <a:gd name="T58" fmla="*/ 2147483646 w 16"/>
                <a:gd name="T59" fmla="*/ 2147483646 h 18"/>
                <a:gd name="T60" fmla="*/ 2147483646 w 16"/>
                <a:gd name="T61" fmla="*/ 2147483646 h 18"/>
                <a:gd name="T62" fmla="*/ 2147483646 w 16"/>
                <a:gd name="T63" fmla="*/ 2147483646 h 18"/>
                <a:gd name="T64" fmla="*/ 2147483646 w 16"/>
                <a:gd name="T65" fmla="*/ 2147483646 h 18"/>
                <a:gd name="T66" fmla="*/ 2147483646 w 16"/>
                <a:gd name="T67" fmla="*/ 2147483646 h 18"/>
                <a:gd name="T68" fmla="*/ 2147483646 w 16"/>
                <a:gd name="T69" fmla="*/ 2147483646 h 18"/>
                <a:gd name="T70" fmla="*/ 2147483646 w 16"/>
                <a:gd name="T71" fmla="*/ 2147483646 h 18"/>
                <a:gd name="T72" fmla="*/ 2147483646 w 16"/>
                <a:gd name="T73" fmla="*/ 2147483646 h 18"/>
                <a:gd name="T74" fmla="*/ 2147483646 w 16"/>
                <a:gd name="T75" fmla="*/ 2147483646 h 18"/>
                <a:gd name="T76" fmla="*/ 2147483646 w 16"/>
                <a:gd name="T77" fmla="*/ 2147483646 h 18"/>
                <a:gd name="T78" fmla="*/ 2147483646 w 16"/>
                <a:gd name="T79" fmla="*/ 2147483646 h 18"/>
                <a:gd name="T80" fmla="*/ 2147483646 w 16"/>
                <a:gd name="T81" fmla="*/ 2147483646 h 18"/>
                <a:gd name="T82" fmla="*/ 2147483646 w 16"/>
                <a:gd name="T83" fmla="*/ 2147483646 h 18"/>
                <a:gd name="T84" fmla="*/ 2147483646 w 16"/>
                <a:gd name="T85" fmla="*/ 2147483646 h 18"/>
                <a:gd name="T86" fmla="*/ 2147483646 w 16"/>
                <a:gd name="T87" fmla="*/ 2147483646 h 18"/>
                <a:gd name="T88" fmla="*/ 2147483646 w 16"/>
                <a:gd name="T89" fmla="*/ 2147483646 h 18"/>
                <a:gd name="T90" fmla="*/ 2147483646 w 16"/>
                <a:gd name="T91" fmla="*/ 2147483646 h 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6" h="18">
                  <a:moveTo>
                    <a:pt x="3" y="18"/>
                  </a:moveTo>
                  <a:cubicBezTo>
                    <a:pt x="3" y="18"/>
                    <a:pt x="3" y="18"/>
                    <a:pt x="2" y="18"/>
                  </a:cubicBezTo>
                  <a:cubicBezTo>
                    <a:pt x="1" y="17"/>
                    <a:pt x="1" y="16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3"/>
                    <a:pt x="2" y="13"/>
                    <a:pt x="1" y="13"/>
                  </a:cubicBezTo>
                  <a:cubicBezTo>
                    <a:pt x="1" y="12"/>
                    <a:pt x="0" y="11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ubicBezTo>
                    <a:pt x="2" y="6"/>
                    <a:pt x="2" y="5"/>
                    <a:pt x="2" y="4"/>
                  </a:cubicBezTo>
                  <a:cubicBezTo>
                    <a:pt x="3" y="3"/>
                    <a:pt x="4" y="2"/>
                    <a:pt x="4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10" y="2"/>
                    <a:pt x="12" y="2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1"/>
                    <a:pt x="16" y="2"/>
                    <a:pt x="16" y="2"/>
                  </a:cubicBezTo>
                  <a:cubicBezTo>
                    <a:pt x="15" y="4"/>
                    <a:pt x="12" y="4"/>
                    <a:pt x="9" y="4"/>
                  </a:cubicBezTo>
                  <a:cubicBezTo>
                    <a:pt x="7" y="4"/>
                    <a:pt x="5" y="4"/>
                    <a:pt x="5" y="4"/>
                  </a:cubicBezTo>
                  <a:cubicBezTo>
                    <a:pt x="4" y="6"/>
                    <a:pt x="4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7" y="6"/>
                    <a:pt x="8" y="6"/>
                  </a:cubicBezTo>
                  <a:cubicBezTo>
                    <a:pt x="9" y="6"/>
                    <a:pt x="10" y="5"/>
                    <a:pt x="10" y="5"/>
                  </a:cubicBezTo>
                  <a:cubicBezTo>
                    <a:pt x="11" y="5"/>
                    <a:pt x="12" y="6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0" y="7"/>
                    <a:pt x="9" y="8"/>
                  </a:cubicBezTo>
                  <a:cubicBezTo>
                    <a:pt x="9" y="8"/>
                    <a:pt x="8" y="9"/>
                    <a:pt x="8" y="9"/>
                  </a:cubicBezTo>
                  <a:cubicBezTo>
                    <a:pt x="8" y="9"/>
                    <a:pt x="8" y="10"/>
                    <a:pt x="8" y="10"/>
                  </a:cubicBezTo>
                  <a:cubicBezTo>
                    <a:pt x="9" y="10"/>
                    <a:pt x="9" y="10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5"/>
                    <a:pt x="10" y="15"/>
                    <a:pt x="9" y="15"/>
                  </a:cubicBezTo>
                  <a:cubicBezTo>
                    <a:pt x="9" y="15"/>
                    <a:pt x="9" y="16"/>
                    <a:pt x="9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6"/>
                    <a:pt x="7" y="16"/>
                    <a:pt x="7" y="15"/>
                  </a:cubicBezTo>
                  <a:cubicBezTo>
                    <a:pt x="6" y="15"/>
                    <a:pt x="6" y="13"/>
                    <a:pt x="5" y="12"/>
                  </a:cubicBezTo>
                  <a:cubicBezTo>
                    <a:pt x="5" y="12"/>
                    <a:pt x="5" y="11"/>
                    <a:pt x="5" y="11"/>
                  </a:cubicBezTo>
                  <a:cubicBezTo>
                    <a:pt x="4" y="12"/>
                    <a:pt x="5" y="14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7"/>
                    <a:pt x="5" y="17"/>
                    <a:pt x="4" y="18"/>
                  </a:cubicBezTo>
                  <a:cubicBezTo>
                    <a:pt x="4" y="18"/>
                    <a:pt x="4" y="18"/>
                    <a:pt x="3" y="18"/>
                  </a:cubicBezTo>
                  <a:close/>
                  <a:moveTo>
                    <a:pt x="3" y="4"/>
                  </a:moveTo>
                  <a:cubicBezTo>
                    <a:pt x="3" y="4"/>
                    <a:pt x="3" y="4"/>
                    <a:pt x="3" y="5"/>
                  </a:cubicBezTo>
                  <a:cubicBezTo>
                    <a:pt x="3" y="5"/>
                    <a:pt x="3" y="6"/>
                    <a:pt x="3" y="7"/>
                  </a:cubicBezTo>
                  <a:cubicBezTo>
                    <a:pt x="3" y="8"/>
                    <a:pt x="2" y="9"/>
                    <a:pt x="2" y="10"/>
                  </a:cubicBezTo>
                  <a:cubicBezTo>
                    <a:pt x="1" y="11"/>
                    <a:pt x="2" y="11"/>
                    <a:pt x="2" y="12"/>
                  </a:cubicBezTo>
                  <a:cubicBezTo>
                    <a:pt x="3" y="12"/>
                    <a:pt x="3" y="13"/>
                    <a:pt x="3" y="14"/>
                  </a:cubicBezTo>
                  <a:cubicBezTo>
                    <a:pt x="3" y="14"/>
                    <a:pt x="3" y="15"/>
                    <a:pt x="3" y="15"/>
                  </a:cubicBezTo>
                  <a:cubicBezTo>
                    <a:pt x="2" y="16"/>
                    <a:pt x="2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4" y="17"/>
                    <a:pt x="4" y="17"/>
                    <a:pt x="4" y="16"/>
                  </a:cubicBezTo>
                  <a:cubicBezTo>
                    <a:pt x="4" y="16"/>
                    <a:pt x="4" y="16"/>
                    <a:pt x="4" y="15"/>
                  </a:cubicBezTo>
                  <a:cubicBezTo>
                    <a:pt x="3" y="13"/>
                    <a:pt x="3" y="11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2"/>
                  </a:cubicBezTo>
                  <a:cubicBezTo>
                    <a:pt x="7" y="13"/>
                    <a:pt x="8" y="14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8" y="13"/>
                    <a:pt x="8" y="12"/>
                  </a:cubicBezTo>
                  <a:cubicBezTo>
                    <a:pt x="8" y="11"/>
                    <a:pt x="7" y="10"/>
                    <a:pt x="6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4" y="8"/>
                    <a:pt x="4" y="7"/>
                  </a:cubicBezTo>
                  <a:cubicBezTo>
                    <a:pt x="3" y="7"/>
                    <a:pt x="3" y="6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lose/>
                  <a:moveTo>
                    <a:pt x="6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8" y="7"/>
                  </a:cubicBezTo>
                  <a:cubicBezTo>
                    <a:pt x="8" y="7"/>
                    <a:pt x="7" y="8"/>
                    <a:pt x="6" y="8"/>
                  </a:cubicBezTo>
                  <a:close/>
                  <a:moveTo>
                    <a:pt x="6" y="2"/>
                  </a:moveTo>
                  <a:cubicBezTo>
                    <a:pt x="6" y="2"/>
                    <a:pt x="5" y="3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5" y="3"/>
                    <a:pt x="7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lose/>
                  <a:moveTo>
                    <a:pt x="15" y="1"/>
                  </a:moveTo>
                  <a:cubicBezTo>
                    <a:pt x="14" y="2"/>
                    <a:pt x="13" y="2"/>
                    <a:pt x="12" y="3"/>
                  </a:cubicBezTo>
                  <a:cubicBezTo>
                    <a:pt x="13" y="3"/>
                    <a:pt x="14" y="2"/>
                    <a:pt x="15" y="2"/>
                  </a:cubicBezTo>
                  <a:cubicBezTo>
                    <a:pt x="15" y="2"/>
                    <a:pt x="15" y="2"/>
                    <a:pt x="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5" name="Freeform 641"/>
            <p:cNvSpPr/>
            <p:nvPr/>
          </p:nvSpPr>
          <p:spPr bwMode="auto">
            <a:xfrm>
              <a:off x="3678933" y="3303166"/>
              <a:ext cx="22225" cy="7938"/>
            </a:xfrm>
            <a:custGeom>
              <a:avLst/>
              <a:gdLst>
                <a:gd name="T0" fmla="*/ 0 w 3"/>
                <a:gd name="T1" fmla="*/ 0 h 1"/>
                <a:gd name="T2" fmla="*/ 2147483646 w 3"/>
                <a:gd name="T3" fmla="*/ 2147483646 h 1"/>
                <a:gd name="T4" fmla="*/ 0 w 3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0"/>
                    <a:pt x="2" y="0"/>
                    <a:pt x="3" y="1"/>
                  </a:cubicBezTo>
                  <a:cubicBezTo>
                    <a:pt x="2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6" name="Freeform 642"/>
            <p:cNvSpPr/>
            <p:nvPr/>
          </p:nvSpPr>
          <p:spPr bwMode="auto">
            <a:xfrm>
              <a:off x="3663058" y="3303166"/>
              <a:ext cx="38100" cy="14288"/>
            </a:xfrm>
            <a:custGeom>
              <a:avLst/>
              <a:gdLst>
                <a:gd name="T0" fmla="*/ 2147483646 w 5"/>
                <a:gd name="T1" fmla="*/ 2147483646 h 2"/>
                <a:gd name="T2" fmla="*/ 2147483646 w 5"/>
                <a:gd name="T3" fmla="*/ 2147483646 h 2"/>
                <a:gd name="T4" fmla="*/ 0 w 5"/>
                <a:gd name="T5" fmla="*/ 0 h 2"/>
                <a:gd name="T6" fmla="*/ 2147483646 w 5"/>
                <a:gd name="T7" fmla="*/ 0 h 2"/>
                <a:gd name="T8" fmla="*/ 2147483646 w 5"/>
                <a:gd name="T9" fmla="*/ 0 h 2"/>
                <a:gd name="T10" fmla="*/ 2147483646 w 5"/>
                <a:gd name="T11" fmla="*/ 0 h 2"/>
                <a:gd name="T12" fmla="*/ 2147483646 w 5"/>
                <a:gd name="T13" fmla="*/ 0 h 2"/>
                <a:gd name="T14" fmla="*/ 2147483646 w 5"/>
                <a:gd name="T15" fmla="*/ 2147483646 h 2"/>
                <a:gd name="T16" fmla="*/ 2147483646 w 5"/>
                <a:gd name="T17" fmla="*/ 2147483646 h 2"/>
                <a:gd name="T18" fmla="*/ 2147483646 w 5"/>
                <a:gd name="T19" fmla="*/ 2147483646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2" y="2"/>
                    <a:pt x="2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2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7" name="Freeform 643"/>
            <p:cNvSpPr/>
            <p:nvPr/>
          </p:nvSpPr>
          <p:spPr bwMode="auto">
            <a:xfrm>
              <a:off x="3709096" y="3323804"/>
              <a:ext cx="12700" cy="15875"/>
            </a:xfrm>
            <a:custGeom>
              <a:avLst/>
              <a:gdLst>
                <a:gd name="T0" fmla="*/ 2147483646 w 2"/>
                <a:gd name="T1" fmla="*/ 0 h 2"/>
                <a:gd name="T2" fmla="*/ 2147483646 w 2"/>
                <a:gd name="T3" fmla="*/ 2147483646 h 2"/>
                <a:gd name="T4" fmla="*/ 0 w 2"/>
                <a:gd name="T5" fmla="*/ 2147483646 h 2"/>
                <a:gd name="T6" fmla="*/ 0 w 2"/>
                <a:gd name="T7" fmla="*/ 0 h 2"/>
                <a:gd name="T8" fmla="*/ 2147483646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2" y="0"/>
                    <a:pt x="2" y="1"/>
                    <a:pt x="1" y="2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8" name="Freeform 644"/>
            <p:cNvSpPr/>
            <p:nvPr/>
          </p:nvSpPr>
          <p:spPr bwMode="auto">
            <a:xfrm>
              <a:off x="3701158" y="3323804"/>
              <a:ext cx="30163" cy="25400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0 w 4"/>
                <a:gd name="T7" fmla="*/ 2147483646 h 3"/>
                <a:gd name="T8" fmla="*/ 0 w 4"/>
                <a:gd name="T9" fmla="*/ 0 h 3"/>
                <a:gd name="T10" fmla="*/ 2147483646 w 4"/>
                <a:gd name="T11" fmla="*/ 0 h 3"/>
                <a:gd name="T12" fmla="*/ 2147483646 w 4"/>
                <a:gd name="T13" fmla="*/ 0 h 3"/>
                <a:gd name="T14" fmla="*/ 2147483646 w 4"/>
                <a:gd name="T15" fmla="*/ 2147483646 h 3"/>
                <a:gd name="T16" fmla="*/ 2147483646 w 4"/>
                <a:gd name="T17" fmla="*/ 2147483646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1"/>
                    <a:pt x="4" y="1"/>
                    <a:pt x="3" y="2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9" name="Freeform 645"/>
            <p:cNvSpPr/>
            <p:nvPr/>
          </p:nvSpPr>
          <p:spPr bwMode="auto">
            <a:xfrm>
              <a:off x="3782121" y="3349204"/>
              <a:ext cx="31750" cy="22226"/>
            </a:xfrm>
            <a:custGeom>
              <a:avLst/>
              <a:gdLst>
                <a:gd name="T0" fmla="*/ 2147483646 w 4"/>
                <a:gd name="T1" fmla="*/ 0 h 3"/>
                <a:gd name="T2" fmla="*/ 2147483646 w 4"/>
                <a:gd name="T3" fmla="*/ 2147483646 h 3"/>
                <a:gd name="T4" fmla="*/ 0 w 4"/>
                <a:gd name="T5" fmla="*/ 0 h 3"/>
                <a:gd name="T6" fmla="*/ 2147483646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3" y="3"/>
                    <a:pt x="0" y="1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0" name="Freeform 646"/>
            <p:cNvSpPr>
              <a:spLocks noEditPoints="1"/>
            </p:cNvSpPr>
            <p:nvPr/>
          </p:nvSpPr>
          <p:spPr bwMode="auto">
            <a:xfrm>
              <a:off x="3775771" y="3339679"/>
              <a:ext cx="44450" cy="31750"/>
            </a:xfrm>
            <a:custGeom>
              <a:avLst/>
              <a:gdLst>
                <a:gd name="T0" fmla="*/ 2147483646 w 6"/>
                <a:gd name="T1" fmla="*/ 2147483646 h 4"/>
                <a:gd name="T2" fmla="*/ 2147483646 w 6"/>
                <a:gd name="T3" fmla="*/ 2147483646 h 4"/>
                <a:gd name="T4" fmla="*/ 0 w 6"/>
                <a:gd name="T5" fmla="*/ 2147483646 h 4"/>
                <a:gd name="T6" fmla="*/ 2147483646 w 6"/>
                <a:gd name="T7" fmla="*/ 2147483646 h 4"/>
                <a:gd name="T8" fmla="*/ 2147483646 w 6"/>
                <a:gd name="T9" fmla="*/ 2147483646 h 4"/>
                <a:gd name="T10" fmla="*/ 2147483646 w 6"/>
                <a:gd name="T11" fmla="*/ 0 h 4"/>
                <a:gd name="T12" fmla="*/ 2147483646 w 6"/>
                <a:gd name="T13" fmla="*/ 0 h 4"/>
                <a:gd name="T14" fmla="*/ 2147483646 w 6"/>
                <a:gd name="T15" fmla="*/ 2147483646 h 4"/>
                <a:gd name="T16" fmla="*/ 2147483646 w 6"/>
                <a:gd name="T17" fmla="*/ 2147483646 h 4"/>
                <a:gd name="T18" fmla="*/ 2147483646 w 6"/>
                <a:gd name="T19" fmla="*/ 2147483646 h 4"/>
                <a:gd name="T20" fmla="*/ 2147483646 w 6"/>
                <a:gd name="T21" fmla="*/ 2147483646 h 4"/>
                <a:gd name="T22" fmla="*/ 2147483646 w 6"/>
                <a:gd name="T23" fmla="*/ 2147483646 h 4"/>
                <a:gd name="T24" fmla="*/ 2147483646 w 6"/>
                <a:gd name="T25" fmla="*/ 2147483646 h 4"/>
                <a:gd name="T26" fmla="*/ 2147483646 w 6"/>
                <a:gd name="T27" fmla="*/ 2147483646 h 4"/>
                <a:gd name="T28" fmla="*/ 2147483646 w 6"/>
                <a:gd name="T29" fmla="*/ 2147483646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cubicBezTo>
                    <a:pt x="3" y="4"/>
                    <a:pt x="1" y="3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1"/>
                    <a:pt x="5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4" y="4"/>
                  </a:cubicBezTo>
                  <a:close/>
                  <a:moveTo>
                    <a:pt x="2" y="2"/>
                  </a:move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1" name="Freeform 647"/>
            <p:cNvSpPr/>
            <p:nvPr/>
          </p:nvSpPr>
          <p:spPr bwMode="auto">
            <a:xfrm>
              <a:off x="3797996" y="3323804"/>
              <a:ext cx="60325" cy="25400"/>
            </a:xfrm>
            <a:custGeom>
              <a:avLst/>
              <a:gdLst>
                <a:gd name="T0" fmla="*/ 0 w 8"/>
                <a:gd name="T1" fmla="*/ 2147483646 h 3"/>
                <a:gd name="T2" fmla="*/ 2147483646 w 8"/>
                <a:gd name="T3" fmla="*/ 0 h 3"/>
                <a:gd name="T4" fmla="*/ 0 w 8"/>
                <a:gd name="T5" fmla="*/ 2147483646 h 3"/>
                <a:gd name="T6" fmla="*/ 0 w 8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3">
                  <a:moveTo>
                    <a:pt x="0" y="1"/>
                  </a:moveTo>
                  <a:cubicBezTo>
                    <a:pt x="2" y="0"/>
                    <a:pt x="7" y="3"/>
                    <a:pt x="7" y="0"/>
                  </a:cubicBezTo>
                  <a:cubicBezTo>
                    <a:pt x="8" y="3"/>
                    <a:pt x="1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2" name="Freeform 648"/>
            <p:cNvSpPr>
              <a:spLocks noEditPoints="1"/>
            </p:cNvSpPr>
            <p:nvPr/>
          </p:nvSpPr>
          <p:spPr bwMode="auto">
            <a:xfrm>
              <a:off x="3791646" y="3303166"/>
              <a:ext cx="66675" cy="46038"/>
            </a:xfrm>
            <a:custGeom>
              <a:avLst/>
              <a:gdLst>
                <a:gd name="T0" fmla="*/ 2147483646 w 9"/>
                <a:gd name="T1" fmla="*/ 2147483646 h 6"/>
                <a:gd name="T2" fmla="*/ 2147483646 w 9"/>
                <a:gd name="T3" fmla="*/ 2147483646 h 6"/>
                <a:gd name="T4" fmla="*/ 0 w 9"/>
                <a:gd name="T5" fmla="*/ 2147483646 h 6"/>
                <a:gd name="T6" fmla="*/ 0 w 9"/>
                <a:gd name="T7" fmla="*/ 2147483646 h 6"/>
                <a:gd name="T8" fmla="*/ 2147483646 w 9"/>
                <a:gd name="T9" fmla="*/ 2147483646 h 6"/>
                <a:gd name="T10" fmla="*/ 2147483646 w 9"/>
                <a:gd name="T11" fmla="*/ 2147483646 h 6"/>
                <a:gd name="T12" fmla="*/ 2147483646 w 9"/>
                <a:gd name="T13" fmla="*/ 2147483646 h 6"/>
                <a:gd name="T14" fmla="*/ 2147483646 w 9"/>
                <a:gd name="T15" fmla="*/ 2147483646 h 6"/>
                <a:gd name="T16" fmla="*/ 2147483646 w 9"/>
                <a:gd name="T17" fmla="*/ 2147483646 h 6"/>
                <a:gd name="T18" fmla="*/ 2147483646 w 9"/>
                <a:gd name="T19" fmla="*/ 2147483646 h 6"/>
                <a:gd name="T20" fmla="*/ 2147483646 w 9"/>
                <a:gd name="T21" fmla="*/ 0 h 6"/>
                <a:gd name="T22" fmla="*/ 2147483646 w 9"/>
                <a:gd name="T23" fmla="*/ 2147483646 h 6"/>
                <a:gd name="T24" fmla="*/ 2147483646 w 9"/>
                <a:gd name="T25" fmla="*/ 2147483646 h 6"/>
                <a:gd name="T26" fmla="*/ 2147483646 w 9"/>
                <a:gd name="T27" fmla="*/ 2147483646 h 6"/>
                <a:gd name="T28" fmla="*/ 2147483646 w 9"/>
                <a:gd name="T29" fmla="*/ 2147483646 h 6"/>
                <a:gd name="T30" fmla="*/ 2147483646 w 9"/>
                <a:gd name="T31" fmla="*/ 2147483646 h 6"/>
                <a:gd name="T32" fmla="*/ 2147483646 w 9"/>
                <a:gd name="T33" fmla="*/ 2147483646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" h="6">
                  <a:moveTo>
                    <a:pt x="4" y="6"/>
                  </a:moveTo>
                  <a:cubicBezTo>
                    <a:pt x="3" y="6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3" y="3"/>
                    <a:pt x="4" y="3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8" y="5"/>
                    <a:pt x="6" y="6"/>
                    <a:pt x="4" y="6"/>
                  </a:cubicBezTo>
                  <a:close/>
                  <a:moveTo>
                    <a:pt x="2" y="4"/>
                  </a:move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3" name="Freeform 649"/>
            <p:cNvSpPr/>
            <p:nvPr/>
          </p:nvSpPr>
          <p:spPr bwMode="auto">
            <a:xfrm>
              <a:off x="3858321" y="3323804"/>
              <a:ext cx="6350" cy="9525"/>
            </a:xfrm>
            <a:custGeom>
              <a:avLst/>
              <a:gdLst>
                <a:gd name="T0" fmla="*/ 0 w 1"/>
                <a:gd name="T1" fmla="*/ 2147483646 h 1"/>
                <a:gd name="T2" fmla="*/ 0 w 1"/>
                <a:gd name="T3" fmla="*/ 0 h 1"/>
                <a:gd name="T4" fmla="*/ 2147483646 w 1"/>
                <a:gd name="T5" fmla="*/ 0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4" name="Freeform 650"/>
            <p:cNvSpPr/>
            <p:nvPr/>
          </p:nvSpPr>
          <p:spPr bwMode="auto">
            <a:xfrm>
              <a:off x="3848796" y="3323804"/>
              <a:ext cx="25400" cy="15875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2147483646 h 2"/>
                <a:gd name="T4" fmla="*/ 2147483646 w 3"/>
                <a:gd name="T5" fmla="*/ 0 h 2"/>
                <a:gd name="T6" fmla="*/ 2147483646 w 3"/>
                <a:gd name="T7" fmla="*/ 0 h 2"/>
                <a:gd name="T8" fmla="*/ 2147483646 w 3"/>
                <a:gd name="T9" fmla="*/ 0 h 2"/>
                <a:gd name="T10" fmla="*/ 2147483646 w 3"/>
                <a:gd name="T11" fmla="*/ 0 h 2"/>
                <a:gd name="T12" fmla="*/ 2147483646 w 3"/>
                <a:gd name="T13" fmla="*/ 0 h 2"/>
                <a:gd name="T14" fmla="*/ 2147483646 w 3"/>
                <a:gd name="T15" fmla="*/ 0 h 2"/>
                <a:gd name="T16" fmla="*/ 2147483646 w 3"/>
                <a:gd name="T17" fmla="*/ 0 h 2"/>
                <a:gd name="T18" fmla="*/ 2147483646 w 3"/>
                <a:gd name="T19" fmla="*/ 2147483646 h 2"/>
                <a:gd name="T20" fmla="*/ 2147483646 w 3"/>
                <a:gd name="T21" fmla="*/ 2147483646 h 2"/>
                <a:gd name="T22" fmla="*/ 0 w 3"/>
                <a:gd name="T23" fmla="*/ 2147483646 h 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5" name="Freeform 651"/>
            <p:cNvSpPr/>
            <p:nvPr/>
          </p:nvSpPr>
          <p:spPr bwMode="auto">
            <a:xfrm>
              <a:off x="3874196" y="3323804"/>
              <a:ext cx="0" cy="15875"/>
            </a:xfrm>
            <a:custGeom>
              <a:avLst/>
              <a:gdLst>
                <a:gd name="T0" fmla="*/ 2147483646 h 2"/>
                <a:gd name="T1" fmla="*/ 0 h 2"/>
                <a:gd name="T2" fmla="*/ 2147483646 h 2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2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6" name="Freeform 652"/>
            <p:cNvSpPr/>
            <p:nvPr/>
          </p:nvSpPr>
          <p:spPr bwMode="auto">
            <a:xfrm>
              <a:off x="3848796" y="3317455"/>
              <a:ext cx="31750" cy="22226"/>
            </a:xfrm>
            <a:custGeom>
              <a:avLst/>
              <a:gdLst>
                <a:gd name="T0" fmla="*/ 0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2147483646 w 4"/>
                <a:gd name="T7" fmla="*/ 0 h 3"/>
                <a:gd name="T8" fmla="*/ 2147483646 w 4"/>
                <a:gd name="T9" fmla="*/ 2147483646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0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7" name="Freeform 653"/>
            <p:cNvSpPr/>
            <p:nvPr/>
          </p:nvSpPr>
          <p:spPr bwMode="auto">
            <a:xfrm>
              <a:off x="3880546" y="3323804"/>
              <a:ext cx="6350" cy="952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8" name="Freeform 654"/>
            <p:cNvSpPr/>
            <p:nvPr/>
          </p:nvSpPr>
          <p:spPr bwMode="auto">
            <a:xfrm>
              <a:off x="3864671" y="3323804"/>
              <a:ext cx="36512" cy="9525"/>
            </a:xfrm>
            <a:custGeom>
              <a:avLst/>
              <a:gdLst>
                <a:gd name="T0" fmla="*/ 2147483646 w 5"/>
                <a:gd name="T1" fmla="*/ 2147483646 h 1"/>
                <a:gd name="T2" fmla="*/ 2147483646 w 5"/>
                <a:gd name="T3" fmla="*/ 2147483646 h 1"/>
                <a:gd name="T4" fmla="*/ 2147483646 w 5"/>
                <a:gd name="T5" fmla="*/ 2147483646 h 1"/>
                <a:gd name="T6" fmla="*/ 0 w 5"/>
                <a:gd name="T7" fmla="*/ 0 h 1"/>
                <a:gd name="T8" fmla="*/ 2147483646 w 5"/>
                <a:gd name="T9" fmla="*/ 0 h 1"/>
                <a:gd name="T10" fmla="*/ 2147483646 w 5"/>
                <a:gd name="T11" fmla="*/ 0 h 1"/>
                <a:gd name="T12" fmla="*/ 2147483646 w 5"/>
                <a:gd name="T13" fmla="*/ 0 h 1"/>
                <a:gd name="T14" fmla="*/ 2147483646 w 5"/>
                <a:gd name="T15" fmla="*/ 0 h 1"/>
                <a:gd name="T16" fmla="*/ 2147483646 w 5"/>
                <a:gd name="T17" fmla="*/ 2147483646 h 1"/>
                <a:gd name="T18" fmla="*/ 2147483646 w 5"/>
                <a:gd name="T19" fmla="*/ 2147483646 h 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" h="1">
                  <a:moveTo>
                    <a:pt x="2" y="1"/>
                  </a:move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9" name="Freeform 655"/>
            <p:cNvSpPr/>
            <p:nvPr/>
          </p:nvSpPr>
          <p:spPr bwMode="auto">
            <a:xfrm>
              <a:off x="3848796" y="3371429"/>
              <a:ext cx="9525" cy="6350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0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0" name="Freeform 656"/>
            <p:cNvSpPr/>
            <p:nvPr/>
          </p:nvSpPr>
          <p:spPr bwMode="auto">
            <a:xfrm>
              <a:off x="3820221" y="3355554"/>
              <a:ext cx="44450" cy="44450"/>
            </a:xfrm>
            <a:custGeom>
              <a:avLst/>
              <a:gdLst>
                <a:gd name="T0" fmla="*/ 0 w 6"/>
                <a:gd name="T1" fmla="*/ 2147483646 h 6"/>
                <a:gd name="T2" fmla="*/ 2147483646 w 6"/>
                <a:gd name="T3" fmla="*/ 2147483646 h 6"/>
                <a:gd name="T4" fmla="*/ 2147483646 w 6"/>
                <a:gd name="T5" fmla="*/ 2147483646 h 6"/>
                <a:gd name="T6" fmla="*/ 2147483646 w 6"/>
                <a:gd name="T7" fmla="*/ 0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2147483646 h 6"/>
                <a:gd name="T14" fmla="*/ 0 w 6"/>
                <a:gd name="T15" fmla="*/ 2147483646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1" name="Freeform 657"/>
            <p:cNvSpPr/>
            <p:nvPr/>
          </p:nvSpPr>
          <p:spPr bwMode="auto">
            <a:xfrm>
              <a:off x="3864671" y="3333328"/>
              <a:ext cx="58737" cy="38100"/>
            </a:xfrm>
            <a:custGeom>
              <a:avLst/>
              <a:gdLst>
                <a:gd name="T0" fmla="*/ 2147483646 w 8"/>
                <a:gd name="T1" fmla="*/ 2147483646 h 5"/>
                <a:gd name="T2" fmla="*/ 0 w 8"/>
                <a:gd name="T3" fmla="*/ 2147483646 h 5"/>
                <a:gd name="T4" fmla="*/ 2147483646 w 8"/>
                <a:gd name="T5" fmla="*/ 0 h 5"/>
                <a:gd name="T6" fmla="*/ 2147483646 w 8"/>
                <a:gd name="T7" fmla="*/ 2147483646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5">
                  <a:moveTo>
                    <a:pt x="3" y="2"/>
                  </a:moveTo>
                  <a:cubicBezTo>
                    <a:pt x="3" y="4"/>
                    <a:pt x="1" y="5"/>
                    <a:pt x="0" y="4"/>
                  </a:cubicBezTo>
                  <a:cubicBezTo>
                    <a:pt x="0" y="1"/>
                    <a:pt x="5" y="0"/>
                    <a:pt x="8" y="0"/>
                  </a:cubicBezTo>
                  <a:cubicBezTo>
                    <a:pt x="8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2" name="Freeform 658"/>
            <p:cNvSpPr>
              <a:spLocks noEditPoints="1"/>
            </p:cNvSpPr>
            <p:nvPr/>
          </p:nvSpPr>
          <p:spPr bwMode="auto">
            <a:xfrm>
              <a:off x="3858321" y="3323804"/>
              <a:ext cx="71437" cy="47625"/>
            </a:xfrm>
            <a:custGeom>
              <a:avLst/>
              <a:gdLst>
                <a:gd name="T0" fmla="*/ 2147483646 w 10"/>
                <a:gd name="T1" fmla="*/ 2147483646 h 6"/>
                <a:gd name="T2" fmla="*/ 0 w 10"/>
                <a:gd name="T3" fmla="*/ 2147483646 h 6"/>
                <a:gd name="T4" fmla="*/ 0 w 10"/>
                <a:gd name="T5" fmla="*/ 2147483646 h 6"/>
                <a:gd name="T6" fmla="*/ 0 w 10"/>
                <a:gd name="T7" fmla="*/ 2147483646 h 6"/>
                <a:gd name="T8" fmla="*/ 2147483646 w 10"/>
                <a:gd name="T9" fmla="*/ 0 h 6"/>
                <a:gd name="T10" fmla="*/ 2147483646 w 10"/>
                <a:gd name="T11" fmla="*/ 0 h 6"/>
                <a:gd name="T12" fmla="*/ 2147483646 w 10"/>
                <a:gd name="T13" fmla="*/ 2147483646 h 6"/>
                <a:gd name="T14" fmla="*/ 2147483646 w 10"/>
                <a:gd name="T15" fmla="*/ 2147483646 h 6"/>
                <a:gd name="T16" fmla="*/ 2147483646 w 10"/>
                <a:gd name="T17" fmla="*/ 2147483646 h 6"/>
                <a:gd name="T18" fmla="*/ 2147483646 w 10"/>
                <a:gd name="T19" fmla="*/ 2147483646 h 6"/>
                <a:gd name="T20" fmla="*/ 2147483646 w 10"/>
                <a:gd name="T21" fmla="*/ 2147483646 h 6"/>
                <a:gd name="T22" fmla="*/ 2147483646 w 10"/>
                <a:gd name="T23" fmla="*/ 2147483646 h 6"/>
                <a:gd name="T24" fmla="*/ 2147483646 w 10"/>
                <a:gd name="T25" fmla="*/ 2147483646 h 6"/>
                <a:gd name="T26" fmla="*/ 2147483646 w 10"/>
                <a:gd name="T27" fmla="*/ 2147483646 h 6"/>
                <a:gd name="T28" fmla="*/ 2147483646 w 10"/>
                <a:gd name="T29" fmla="*/ 2147483646 h 6"/>
                <a:gd name="T30" fmla="*/ 2147483646 w 10"/>
                <a:gd name="T31" fmla="*/ 2147483646 h 6"/>
                <a:gd name="T32" fmla="*/ 2147483646 w 10"/>
                <a:gd name="T33" fmla="*/ 2147483646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" h="6">
                  <a:moveTo>
                    <a:pt x="1" y="6"/>
                  </a:moveTo>
                  <a:cubicBezTo>
                    <a:pt x="1" y="6"/>
                    <a:pt x="1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1"/>
                    <a:pt x="6" y="1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2"/>
                    <a:pt x="7" y="3"/>
                    <a:pt x="6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4" y="5"/>
                    <a:pt x="3" y="6"/>
                    <a:pt x="1" y="6"/>
                  </a:cubicBezTo>
                  <a:close/>
                  <a:moveTo>
                    <a:pt x="7" y="2"/>
                  </a:moveTo>
                  <a:cubicBezTo>
                    <a:pt x="5" y="2"/>
                    <a:pt x="2" y="3"/>
                    <a:pt x="1" y="5"/>
                  </a:cubicBezTo>
                  <a:cubicBezTo>
                    <a:pt x="2" y="5"/>
                    <a:pt x="3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2"/>
                    <a:pt x="5" y="2"/>
                  </a:cubicBezTo>
                  <a:cubicBezTo>
                    <a:pt x="6" y="2"/>
                    <a:pt x="7" y="2"/>
                    <a:pt x="7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3" name="Freeform 659"/>
            <p:cNvSpPr/>
            <p:nvPr/>
          </p:nvSpPr>
          <p:spPr bwMode="auto">
            <a:xfrm>
              <a:off x="3901183" y="3317455"/>
              <a:ext cx="15875" cy="6350"/>
            </a:xfrm>
            <a:custGeom>
              <a:avLst/>
              <a:gdLst>
                <a:gd name="T0" fmla="*/ 0 w 2"/>
                <a:gd name="T1" fmla="*/ 2147483646 h 1"/>
                <a:gd name="T2" fmla="*/ 2147483646 w 2"/>
                <a:gd name="T3" fmla="*/ 0 h 1"/>
                <a:gd name="T4" fmla="*/ 0 w 2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2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4" name="Freeform 660"/>
            <p:cNvSpPr/>
            <p:nvPr/>
          </p:nvSpPr>
          <p:spPr bwMode="auto">
            <a:xfrm>
              <a:off x="3894833" y="3311104"/>
              <a:ext cx="28575" cy="22226"/>
            </a:xfrm>
            <a:custGeom>
              <a:avLst/>
              <a:gdLst>
                <a:gd name="T0" fmla="*/ 0 w 4"/>
                <a:gd name="T1" fmla="*/ 2147483646 h 3"/>
                <a:gd name="T2" fmla="*/ 0 w 4"/>
                <a:gd name="T3" fmla="*/ 2147483646 h 3"/>
                <a:gd name="T4" fmla="*/ 2147483646 w 4"/>
                <a:gd name="T5" fmla="*/ 2147483646 h 3"/>
                <a:gd name="T6" fmla="*/ 2147483646 w 4"/>
                <a:gd name="T7" fmla="*/ 2147483646 h 3"/>
                <a:gd name="T8" fmla="*/ 2147483646 w 4"/>
                <a:gd name="T9" fmla="*/ 2147483646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0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3"/>
                    <a:pt x="1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5" name="Freeform 661"/>
            <p:cNvSpPr/>
            <p:nvPr/>
          </p:nvSpPr>
          <p:spPr bwMode="auto">
            <a:xfrm>
              <a:off x="3983733" y="3207917"/>
              <a:ext cx="6350" cy="0"/>
            </a:xfrm>
            <a:custGeom>
              <a:avLst/>
              <a:gdLst>
                <a:gd name="T0" fmla="*/ 0 w 1"/>
                <a:gd name="T1" fmla="*/ 2147483646 w 1"/>
                <a:gd name="T2" fmla="*/ 2147483646 w 1"/>
                <a:gd name="T3" fmla="*/ 0 w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6" name="Freeform 662"/>
            <p:cNvSpPr/>
            <p:nvPr/>
          </p:nvSpPr>
          <p:spPr bwMode="auto">
            <a:xfrm>
              <a:off x="3967858" y="3198391"/>
              <a:ext cx="22225" cy="15875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2147483646 w 3"/>
                <a:gd name="T5" fmla="*/ 2147483646 h 2"/>
                <a:gd name="T6" fmla="*/ 0 w 3"/>
                <a:gd name="T7" fmla="*/ 2147483646 h 2"/>
                <a:gd name="T8" fmla="*/ 2147483646 w 3"/>
                <a:gd name="T9" fmla="*/ 0 h 2"/>
                <a:gd name="T10" fmla="*/ 2147483646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7" name="Freeform 663"/>
            <p:cNvSpPr/>
            <p:nvPr/>
          </p:nvSpPr>
          <p:spPr bwMode="auto">
            <a:xfrm>
              <a:off x="3731321" y="3246016"/>
              <a:ext cx="6350" cy="12700"/>
            </a:xfrm>
            <a:custGeom>
              <a:avLst/>
              <a:gdLst>
                <a:gd name="T0" fmla="*/ 2147483646 w 1"/>
                <a:gd name="T1" fmla="*/ 0 h 2"/>
                <a:gd name="T2" fmla="*/ 2147483646 w 1"/>
                <a:gd name="T3" fmla="*/ 2147483646 h 2"/>
                <a:gd name="T4" fmla="*/ 2147483646 w 1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0" y="1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8" name="Freeform 664"/>
            <p:cNvSpPr/>
            <p:nvPr/>
          </p:nvSpPr>
          <p:spPr bwMode="auto">
            <a:xfrm>
              <a:off x="3731321" y="3230141"/>
              <a:ext cx="12700" cy="38100"/>
            </a:xfrm>
            <a:custGeom>
              <a:avLst/>
              <a:gdLst>
                <a:gd name="T0" fmla="*/ 0 w 2"/>
                <a:gd name="T1" fmla="*/ 2147483646 h 5"/>
                <a:gd name="T2" fmla="*/ 0 w 2"/>
                <a:gd name="T3" fmla="*/ 2147483646 h 5"/>
                <a:gd name="T4" fmla="*/ 0 w 2"/>
                <a:gd name="T5" fmla="*/ 2147483646 h 5"/>
                <a:gd name="T6" fmla="*/ 2147483646 w 2"/>
                <a:gd name="T7" fmla="*/ 0 h 5"/>
                <a:gd name="T8" fmla="*/ 2147483646 w 2"/>
                <a:gd name="T9" fmla="*/ 2147483646 h 5"/>
                <a:gd name="T10" fmla="*/ 2147483646 w 2"/>
                <a:gd name="T11" fmla="*/ 2147483646 h 5"/>
                <a:gd name="T12" fmla="*/ 2147483646 w 2"/>
                <a:gd name="T13" fmla="*/ 2147483646 h 5"/>
                <a:gd name="T14" fmla="*/ 0 w 2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1" y="4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9" name="Freeform 665"/>
            <p:cNvSpPr/>
            <p:nvPr/>
          </p:nvSpPr>
          <p:spPr bwMode="auto">
            <a:xfrm>
              <a:off x="3602733" y="3095204"/>
              <a:ext cx="179388" cy="163512"/>
            </a:xfrm>
            <a:custGeom>
              <a:avLst/>
              <a:gdLst>
                <a:gd name="T0" fmla="*/ 2147483646 w 24"/>
                <a:gd name="T1" fmla="*/ 2147483646 h 22"/>
                <a:gd name="T2" fmla="*/ 2147483646 w 24"/>
                <a:gd name="T3" fmla="*/ 2147483646 h 22"/>
                <a:gd name="T4" fmla="*/ 2147483646 w 24"/>
                <a:gd name="T5" fmla="*/ 2147483646 h 22"/>
                <a:gd name="T6" fmla="*/ 2147483646 w 24"/>
                <a:gd name="T7" fmla="*/ 2147483646 h 22"/>
                <a:gd name="T8" fmla="*/ 2147483646 w 24"/>
                <a:gd name="T9" fmla="*/ 2147483646 h 22"/>
                <a:gd name="T10" fmla="*/ 2147483646 w 24"/>
                <a:gd name="T11" fmla="*/ 2147483646 h 22"/>
                <a:gd name="T12" fmla="*/ 2147483646 w 24"/>
                <a:gd name="T13" fmla="*/ 2147483646 h 22"/>
                <a:gd name="T14" fmla="*/ 2147483646 w 24"/>
                <a:gd name="T15" fmla="*/ 2147483646 h 22"/>
                <a:gd name="T16" fmla="*/ 2147483646 w 24"/>
                <a:gd name="T17" fmla="*/ 2147483646 h 22"/>
                <a:gd name="T18" fmla="*/ 2147483646 w 24"/>
                <a:gd name="T19" fmla="*/ 2147483646 h 22"/>
                <a:gd name="T20" fmla="*/ 2147483646 w 24"/>
                <a:gd name="T21" fmla="*/ 2147483646 h 22"/>
                <a:gd name="T22" fmla="*/ 2147483646 w 24"/>
                <a:gd name="T23" fmla="*/ 2147483646 h 22"/>
                <a:gd name="T24" fmla="*/ 2147483646 w 24"/>
                <a:gd name="T25" fmla="*/ 2147483646 h 22"/>
                <a:gd name="T26" fmla="*/ 2147483646 w 24"/>
                <a:gd name="T27" fmla="*/ 2147483646 h 22"/>
                <a:gd name="T28" fmla="*/ 2147483646 w 24"/>
                <a:gd name="T29" fmla="*/ 2147483646 h 22"/>
                <a:gd name="T30" fmla="*/ 2147483646 w 24"/>
                <a:gd name="T31" fmla="*/ 2147483646 h 22"/>
                <a:gd name="T32" fmla="*/ 2147483646 w 24"/>
                <a:gd name="T33" fmla="*/ 2147483646 h 22"/>
                <a:gd name="T34" fmla="*/ 2147483646 w 24"/>
                <a:gd name="T35" fmla="*/ 2147483646 h 22"/>
                <a:gd name="T36" fmla="*/ 2147483646 w 24"/>
                <a:gd name="T37" fmla="*/ 2147483646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" h="22">
                  <a:moveTo>
                    <a:pt x="21" y="3"/>
                  </a:moveTo>
                  <a:cubicBezTo>
                    <a:pt x="15" y="0"/>
                    <a:pt x="16" y="8"/>
                    <a:pt x="13" y="9"/>
                  </a:cubicBezTo>
                  <a:cubicBezTo>
                    <a:pt x="11" y="10"/>
                    <a:pt x="11" y="9"/>
                    <a:pt x="10" y="9"/>
                  </a:cubicBezTo>
                  <a:cubicBezTo>
                    <a:pt x="8" y="9"/>
                    <a:pt x="8" y="10"/>
                    <a:pt x="7" y="10"/>
                  </a:cubicBezTo>
                  <a:cubicBezTo>
                    <a:pt x="5" y="11"/>
                    <a:pt x="3" y="10"/>
                    <a:pt x="2" y="8"/>
                  </a:cubicBezTo>
                  <a:cubicBezTo>
                    <a:pt x="1" y="8"/>
                    <a:pt x="1" y="10"/>
                    <a:pt x="1" y="11"/>
                  </a:cubicBezTo>
                  <a:cubicBezTo>
                    <a:pt x="0" y="13"/>
                    <a:pt x="2" y="13"/>
                    <a:pt x="3" y="14"/>
                  </a:cubicBezTo>
                  <a:cubicBezTo>
                    <a:pt x="4" y="17"/>
                    <a:pt x="3" y="21"/>
                    <a:pt x="7" y="19"/>
                  </a:cubicBezTo>
                  <a:cubicBezTo>
                    <a:pt x="7" y="22"/>
                    <a:pt x="9" y="19"/>
                    <a:pt x="10" y="19"/>
                  </a:cubicBezTo>
                  <a:cubicBezTo>
                    <a:pt x="11" y="19"/>
                    <a:pt x="11" y="20"/>
                    <a:pt x="12" y="20"/>
                  </a:cubicBezTo>
                  <a:cubicBezTo>
                    <a:pt x="12" y="21"/>
                    <a:pt x="13" y="20"/>
                    <a:pt x="14" y="21"/>
                  </a:cubicBezTo>
                  <a:cubicBezTo>
                    <a:pt x="14" y="21"/>
                    <a:pt x="14" y="22"/>
                    <a:pt x="14" y="22"/>
                  </a:cubicBezTo>
                  <a:cubicBezTo>
                    <a:pt x="15" y="22"/>
                    <a:pt x="16" y="21"/>
                    <a:pt x="17" y="21"/>
                  </a:cubicBezTo>
                  <a:cubicBezTo>
                    <a:pt x="18" y="20"/>
                    <a:pt x="19" y="18"/>
                    <a:pt x="18" y="17"/>
                  </a:cubicBezTo>
                  <a:cubicBezTo>
                    <a:pt x="20" y="15"/>
                    <a:pt x="21" y="12"/>
                    <a:pt x="22" y="10"/>
                  </a:cubicBezTo>
                  <a:cubicBezTo>
                    <a:pt x="23" y="11"/>
                    <a:pt x="23" y="10"/>
                    <a:pt x="24" y="10"/>
                  </a:cubicBezTo>
                  <a:cubicBezTo>
                    <a:pt x="22" y="8"/>
                    <a:pt x="22" y="7"/>
                    <a:pt x="20" y="4"/>
                  </a:cubicBezTo>
                  <a:cubicBezTo>
                    <a:pt x="20" y="4"/>
                    <a:pt x="21" y="4"/>
                    <a:pt x="21" y="4"/>
                  </a:cubicBezTo>
                  <a:cubicBezTo>
                    <a:pt x="20" y="4"/>
                    <a:pt x="21" y="3"/>
                    <a:pt x="21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0" name="Freeform 666"/>
            <p:cNvSpPr>
              <a:spLocks noEditPoints="1"/>
            </p:cNvSpPr>
            <p:nvPr/>
          </p:nvSpPr>
          <p:spPr bwMode="auto">
            <a:xfrm>
              <a:off x="3602733" y="3104729"/>
              <a:ext cx="188913" cy="163512"/>
            </a:xfrm>
            <a:custGeom>
              <a:avLst/>
              <a:gdLst>
                <a:gd name="T0" fmla="*/ 2147483646 w 25"/>
                <a:gd name="T1" fmla="*/ 2147483646 h 22"/>
                <a:gd name="T2" fmla="*/ 2147483646 w 25"/>
                <a:gd name="T3" fmla="*/ 2147483646 h 22"/>
                <a:gd name="T4" fmla="*/ 2147483646 w 25"/>
                <a:gd name="T5" fmla="*/ 2147483646 h 22"/>
                <a:gd name="T6" fmla="*/ 2147483646 w 25"/>
                <a:gd name="T7" fmla="*/ 2147483646 h 22"/>
                <a:gd name="T8" fmla="*/ 2147483646 w 25"/>
                <a:gd name="T9" fmla="*/ 2147483646 h 22"/>
                <a:gd name="T10" fmla="*/ 2147483646 w 25"/>
                <a:gd name="T11" fmla="*/ 2147483646 h 22"/>
                <a:gd name="T12" fmla="*/ 2147483646 w 25"/>
                <a:gd name="T13" fmla="*/ 2147483646 h 22"/>
                <a:gd name="T14" fmla="*/ 0 w 25"/>
                <a:gd name="T15" fmla="*/ 2147483646 h 22"/>
                <a:gd name="T16" fmla="*/ 2147483646 w 25"/>
                <a:gd name="T17" fmla="*/ 2147483646 h 22"/>
                <a:gd name="T18" fmla="*/ 2147483646 w 25"/>
                <a:gd name="T19" fmla="*/ 2147483646 h 22"/>
                <a:gd name="T20" fmla="*/ 2147483646 w 25"/>
                <a:gd name="T21" fmla="*/ 2147483646 h 22"/>
                <a:gd name="T22" fmla="*/ 2147483646 w 25"/>
                <a:gd name="T23" fmla="*/ 2147483646 h 22"/>
                <a:gd name="T24" fmla="*/ 2147483646 w 25"/>
                <a:gd name="T25" fmla="*/ 2147483646 h 22"/>
                <a:gd name="T26" fmla="*/ 2147483646 w 25"/>
                <a:gd name="T27" fmla="*/ 2147483646 h 22"/>
                <a:gd name="T28" fmla="*/ 2147483646 w 25"/>
                <a:gd name="T29" fmla="*/ 2147483646 h 22"/>
                <a:gd name="T30" fmla="*/ 2147483646 w 25"/>
                <a:gd name="T31" fmla="*/ 2147483646 h 22"/>
                <a:gd name="T32" fmla="*/ 2147483646 w 25"/>
                <a:gd name="T33" fmla="*/ 2147483646 h 22"/>
                <a:gd name="T34" fmla="*/ 2147483646 w 25"/>
                <a:gd name="T35" fmla="*/ 2147483646 h 22"/>
                <a:gd name="T36" fmla="*/ 2147483646 w 25"/>
                <a:gd name="T37" fmla="*/ 2147483646 h 22"/>
                <a:gd name="T38" fmla="*/ 2147483646 w 25"/>
                <a:gd name="T39" fmla="*/ 2147483646 h 22"/>
                <a:gd name="T40" fmla="*/ 2147483646 w 25"/>
                <a:gd name="T41" fmla="*/ 2147483646 h 22"/>
                <a:gd name="T42" fmla="*/ 2147483646 w 25"/>
                <a:gd name="T43" fmla="*/ 2147483646 h 22"/>
                <a:gd name="T44" fmla="*/ 2147483646 w 25"/>
                <a:gd name="T45" fmla="*/ 2147483646 h 22"/>
                <a:gd name="T46" fmla="*/ 2147483646 w 25"/>
                <a:gd name="T47" fmla="*/ 2147483646 h 22"/>
                <a:gd name="T48" fmla="*/ 2147483646 w 25"/>
                <a:gd name="T49" fmla="*/ 2147483646 h 22"/>
                <a:gd name="T50" fmla="*/ 2147483646 w 25"/>
                <a:gd name="T51" fmla="*/ 2147483646 h 22"/>
                <a:gd name="T52" fmla="*/ 2147483646 w 25"/>
                <a:gd name="T53" fmla="*/ 2147483646 h 22"/>
                <a:gd name="T54" fmla="*/ 2147483646 w 25"/>
                <a:gd name="T55" fmla="*/ 2147483646 h 22"/>
                <a:gd name="T56" fmla="*/ 2147483646 w 25"/>
                <a:gd name="T57" fmla="*/ 2147483646 h 22"/>
                <a:gd name="T58" fmla="*/ 2147483646 w 25"/>
                <a:gd name="T59" fmla="*/ 2147483646 h 22"/>
                <a:gd name="T60" fmla="*/ 2147483646 w 25"/>
                <a:gd name="T61" fmla="*/ 2147483646 h 22"/>
                <a:gd name="T62" fmla="*/ 2147483646 w 25"/>
                <a:gd name="T63" fmla="*/ 2147483646 h 22"/>
                <a:gd name="T64" fmla="*/ 2147483646 w 25"/>
                <a:gd name="T65" fmla="*/ 2147483646 h 22"/>
                <a:gd name="T66" fmla="*/ 2147483646 w 25"/>
                <a:gd name="T67" fmla="*/ 2147483646 h 22"/>
                <a:gd name="T68" fmla="*/ 2147483646 w 25"/>
                <a:gd name="T69" fmla="*/ 2147483646 h 22"/>
                <a:gd name="T70" fmla="*/ 2147483646 w 25"/>
                <a:gd name="T71" fmla="*/ 2147483646 h 22"/>
                <a:gd name="T72" fmla="*/ 2147483646 w 25"/>
                <a:gd name="T73" fmla="*/ 2147483646 h 22"/>
                <a:gd name="T74" fmla="*/ 2147483646 w 25"/>
                <a:gd name="T75" fmla="*/ 2147483646 h 22"/>
                <a:gd name="T76" fmla="*/ 2147483646 w 25"/>
                <a:gd name="T77" fmla="*/ 2147483646 h 22"/>
                <a:gd name="T78" fmla="*/ 2147483646 w 25"/>
                <a:gd name="T79" fmla="*/ 2147483646 h 22"/>
                <a:gd name="T80" fmla="*/ 2147483646 w 25"/>
                <a:gd name="T81" fmla="*/ 2147483646 h 22"/>
                <a:gd name="T82" fmla="*/ 2147483646 w 25"/>
                <a:gd name="T83" fmla="*/ 2147483646 h 22"/>
                <a:gd name="T84" fmla="*/ 2147483646 w 25"/>
                <a:gd name="T85" fmla="*/ 2147483646 h 22"/>
                <a:gd name="T86" fmla="*/ 2147483646 w 25"/>
                <a:gd name="T87" fmla="*/ 2147483646 h 22"/>
                <a:gd name="T88" fmla="*/ 2147483646 w 25"/>
                <a:gd name="T89" fmla="*/ 2147483646 h 22"/>
                <a:gd name="T90" fmla="*/ 2147483646 w 25"/>
                <a:gd name="T91" fmla="*/ 2147483646 h 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5" h="22">
                  <a:moveTo>
                    <a:pt x="14" y="22"/>
                  </a:moveTo>
                  <a:cubicBezTo>
                    <a:pt x="14" y="22"/>
                    <a:pt x="13" y="21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19"/>
                  </a:cubicBezTo>
                  <a:cubicBezTo>
                    <a:pt x="11" y="19"/>
                    <a:pt x="11" y="19"/>
                    <a:pt x="10" y="19"/>
                  </a:cubicBezTo>
                  <a:cubicBezTo>
                    <a:pt x="10" y="19"/>
                    <a:pt x="10" y="19"/>
                    <a:pt x="9" y="19"/>
                  </a:cubicBezTo>
                  <a:cubicBezTo>
                    <a:pt x="9" y="20"/>
                    <a:pt x="8" y="20"/>
                    <a:pt x="8" y="20"/>
                  </a:cubicBezTo>
                  <a:cubicBezTo>
                    <a:pt x="7" y="20"/>
                    <a:pt x="7" y="19"/>
                    <a:pt x="7" y="19"/>
                  </a:cubicBezTo>
                  <a:cubicBezTo>
                    <a:pt x="6" y="19"/>
                    <a:pt x="6" y="19"/>
                    <a:pt x="5" y="19"/>
                  </a:cubicBezTo>
                  <a:cubicBezTo>
                    <a:pt x="4" y="19"/>
                    <a:pt x="3" y="17"/>
                    <a:pt x="3" y="16"/>
                  </a:cubicBezTo>
                  <a:cubicBezTo>
                    <a:pt x="3" y="15"/>
                    <a:pt x="2" y="14"/>
                    <a:pt x="2" y="14"/>
                  </a:cubicBezTo>
                  <a:cubicBezTo>
                    <a:pt x="2" y="13"/>
                    <a:pt x="2" y="13"/>
                    <a:pt x="1" y="13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1" y="8"/>
                    <a:pt x="1" y="7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5" y="9"/>
                    <a:pt x="7" y="9"/>
                  </a:cubicBezTo>
                  <a:cubicBezTo>
                    <a:pt x="7" y="9"/>
                    <a:pt x="8" y="8"/>
                    <a:pt x="8" y="8"/>
                  </a:cubicBezTo>
                  <a:cubicBezTo>
                    <a:pt x="8" y="8"/>
                    <a:pt x="9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8"/>
                    <a:pt x="11" y="8"/>
                  </a:cubicBezTo>
                  <a:cubicBezTo>
                    <a:pt x="12" y="8"/>
                    <a:pt x="12" y="8"/>
                    <a:pt x="13" y="8"/>
                  </a:cubicBezTo>
                  <a:cubicBezTo>
                    <a:pt x="14" y="7"/>
                    <a:pt x="14" y="6"/>
                    <a:pt x="15" y="4"/>
                  </a:cubicBezTo>
                  <a:cubicBezTo>
                    <a:pt x="16" y="2"/>
                    <a:pt x="16" y="0"/>
                    <a:pt x="18" y="0"/>
                  </a:cubicBezTo>
                  <a:cubicBezTo>
                    <a:pt x="19" y="0"/>
                    <a:pt x="20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2" y="5"/>
                    <a:pt x="22" y="5"/>
                  </a:cubicBezTo>
                  <a:cubicBezTo>
                    <a:pt x="22" y="7"/>
                    <a:pt x="23" y="8"/>
                    <a:pt x="24" y="9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2" y="10"/>
                    <a:pt x="22" y="10"/>
                  </a:cubicBezTo>
                  <a:cubicBezTo>
                    <a:pt x="22" y="12"/>
                    <a:pt x="21" y="14"/>
                    <a:pt x="19" y="16"/>
                  </a:cubicBezTo>
                  <a:cubicBezTo>
                    <a:pt x="19" y="16"/>
                    <a:pt x="19" y="17"/>
                    <a:pt x="19" y="17"/>
                  </a:cubicBezTo>
                  <a:cubicBezTo>
                    <a:pt x="19" y="19"/>
                    <a:pt x="18" y="20"/>
                    <a:pt x="17" y="20"/>
                  </a:cubicBezTo>
                  <a:cubicBezTo>
                    <a:pt x="17" y="20"/>
                    <a:pt x="17" y="20"/>
                    <a:pt x="17" y="21"/>
                  </a:cubicBezTo>
                  <a:cubicBezTo>
                    <a:pt x="16" y="21"/>
                    <a:pt x="15" y="22"/>
                    <a:pt x="14" y="22"/>
                  </a:cubicBezTo>
                  <a:close/>
                  <a:moveTo>
                    <a:pt x="13" y="19"/>
                  </a:moveTo>
                  <a:cubicBezTo>
                    <a:pt x="13" y="19"/>
                    <a:pt x="13" y="19"/>
                    <a:pt x="14" y="19"/>
                  </a:cubicBezTo>
                  <a:cubicBezTo>
                    <a:pt x="14" y="19"/>
                    <a:pt x="14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6" y="20"/>
                  </a:cubicBezTo>
                  <a:cubicBezTo>
                    <a:pt x="16" y="19"/>
                    <a:pt x="16" y="19"/>
                    <a:pt x="17" y="19"/>
                  </a:cubicBezTo>
                  <a:cubicBezTo>
                    <a:pt x="17" y="19"/>
                    <a:pt x="18" y="18"/>
                    <a:pt x="18" y="17"/>
                  </a:cubicBezTo>
                  <a:cubicBezTo>
                    <a:pt x="18" y="17"/>
                    <a:pt x="18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20" y="13"/>
                    <a:pt x="21" y="11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8"/>
                    <a:pt x="21" y="7"/>
                    <a:pt x="21" y="6"/>
                  </a:cubicBezTo>
                  <a:cubicBezTo>
                    <a:pt x="20" y="5"/>
                    <a:pt x="20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2"/>
                    <a:pt x="19" y="2"/>
                    <a:pt x="18" y="2"/>
                  </a:cubicBezTo>
                  <a:cubicBezTo>
                    <a:pt x="17" y="2"/>
                    <a:pt x="17" y="3"/>
                    <a:pt x="16" y="5"/>
                  </a:cubicBezTo>
                  <a:cubicBezTo>
                    <a:pt x="15" y="6"/>
                    <a:pt x="15" y="8"/>
                    <a:pt x="13" y="9"/>
                  </a:cubicBezTo>
                  <a:cubicBezTo>
                    <a:pt x="12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10"/>
                    <a:pt x="7" y="10"/>
                  </a:cubicBezTo>
                  <a:cubicBezTo>
                    <a:pt x="5" y="10"/>
                    <a:pt x="3" y="10"/>
                    <a:pt x="2" y="8"/>
                  </a:cubicBezTo>
                  <a:cubicBezTo>
                    <a:pt x="2" y="8"/>
                    <a:pt x="2" y="9"/>
                    <a:pt x="2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2" y="11"/>
                    <a:pt x="2" y="12"/>
                  </a:cubicBezTo>
                  <a:cubicBezTo>
                    <a:pt x="2" y="12"/>
                    <a:pt x="3" y="13"/>
                    <a:pt x="3" y="13"/>
                  </a:cubicBezTo>
                  <a:cubicBezTo>
                    <a:pt x="3" y="14"/>
                    <a:pt x="4" y="15"/>
                    <a:pt x="4" y="15"/>
                  </a:cubicBezTo>
                  <a:cubicBezTo>
                    <a:pt x="4" y="17"/>
                    <a:pt x="5" y="18"/>
                    <a:pt x="5" y="18"/>
                  </a:cubicBezTo>
                  <a:cubicBezTo>
                    <a:pt x="6" y="18"/>
                    <a:pt x="6" y="18"/>
                    <a:pt x="7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9" y="18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2" y="18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3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1" name="Freeform 667"/>
            <p:cNvSpPr/>
            <p:nvPr/>
          </p:nvSpPr>
          <p:spPr bwMode="auto">
            <a:xfrm>
              <a:off x="3545583" y="3280941"/>
              <a:ext cx="163513" cy="58738"/>
            </a:xfrm>
            <a:custGeom>
              <a:avLst/>
              <a:gdLst>
                <a:gd name="T0" fmla="*/ 2147483646 w 22"/>
                <a:gd name="T1" fmla="*/ 2147483646 h 8"/>
                <a:gd name="T2" fmla="*/ 2147483646 w 22"/>
                <a:gd name="T3" fmla="*/ 2147483646 h 8"/>
                <a:gd name="T4" fmla="*/ 2147483646 w 22"/>
                <a:gd name="T5" fmla="*/ 2147483646 h 8"/>
                <a:gd name="T6" fmla="*/ 2147483646 w 22"/>
                <a:gd name="T7" fmla="*/ 2147483646 h 8"/>
                <a:gd name="T8" fmla="*/ 0 w 22"/>
                <a:gd name="T9" fmla="*/ 2147483646 h 8"/>
                <a:gd name="T10" fmla="*/ 2147483646 w 22"/>
                <a:gd name="T11" fmla="*/ 2147483646 h 8"/>
                <a:gd name="T12" fmla="*/ 2147483646 w 22"/>
                <a:gd name="T13" fmla="*/ 2147483646 h 8"/>
                <a:gd name="T14" fmla="*/ 2147483646 w 22"/>
                <a:gd name="T15" fmla="*/ 2147483646 h 8"/>
                <a:gd name="T16" fmla="*/ 2147483646 w 22"/>
                <a:gd name="T17" fmla="*/ 2147483646 h 8"/>
                <a:gd name="T18" fmla="*/ 2147483646 w 22"/>
                <a:gd name="T19" fmla="*/ 2147483646 h 8"/>
                <a:gd name="T20" fmla="*/ 2147483646 w 22"/>
                <a:gd name="T21" fmla="*/ 2147483646 h 8"/>
                <a:gd name="T22" fmla="*/ 2147483646 w 22"/>
                <a:gd name="T23" fmla="*/ 2147483646 h 8"/>
                <a:gd name="T24" fmla="*/ 2147483646 w 22"/>
                <a:gd name="T25" fmla="*/ 2147483646 h 8"/>
                <a:gd name="T26" fmla="*/ 2147483646 w 22"/>
                <a:gd name="T27" fmla="*/ 2147483646 h 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2" h="8">
                  <a:moveTo>
                    <a:pt x="16" y="7"/>
                  </a:moveTo>
                  <a:cubicBezTo>
                    <a:pt x="14" y="7"/>
                    <a:pt x="12" y="5"/>
                    <a:pt x="9" y="5"/>
                  </a:cubicBezTo>
                  <a:cubicBezTo>
                    <a:pt x="7" y="5"/>
                    <a:pt x="5" y="5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6" y="2"/>
                    <a:pt x="7" y="2"/>
                    <a:pt x="8" y="3"/>
                  </a:cubicBezTo>
                  <a:cubicBezTo>
                    <a:pt x="9" y="4"/>
                    <a:pt x="10" y="3"/>
                    <a:pt x="12" y="3"/>
                  </a:cubicBezTo>
                  <a:cubicBezTo>
                    <a:pt x="12" y="3"/>
                    <a:pt x="12" y="3"/>
                    <a:pt x="13" y="2"/>
                  </a:cubicBezTo>
                  <a:cubicBezTo>
                    <a:pt x="14" y="2"/>
                    <a:pt x="14" y="3"/>
                    <a:pt x="14" y="3"/>
                  </a:cubicBezTo>
                  <a:cubicBezTo>
                    <a:pt x="15" y="3"/>
                    <a:pt x="17" y="3"/>
                    <a:pt x="17" y="4"/>
                  </a:cubicBezTo>
                  <a:cubicBezTo>
                    <a:pt x="18" y="5"/>
                    <a:pt x="19" y="5"/>
                    <a:pt x="21" y="5"/>
                  </a:cubicBezTo>
                  <a:cubicBezTo>
                    <a:pt x="22" y="5"/>
                    <a:pt x="21" y="7"/>
                    <a:pt x="22" y="8"/>
                  </a:cubicBezTo>
                  <a:cubicBezTo>
                    <a:pt x="20" y="7"/>
                    <a:pt x="18" y="7"/>
                    <a:pt x="16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2" name="Freeform 668"/>
            <p:cNvSpPr>
              <a:spLocks noEditPoints="1"/>
            </p:cNvSpPr>
            <p:nvPr/>
          </p:nvSpPr>
          <p:spPr bwMode="auto">
            <a:xfrm>
              <a:off x="3536058" y="3280942"/>
              <a:ext cx="179388" cy="68263"/>
            </a:xfrm>
            <a:custGeom>
              <a:avLst/>
              <a:gdLst>
                <a:gd name="T0" fmla="*/ 2147483646 w 24"/>
                <a:gd name="T1" fmla="*/ 2147483646 h 9"/>
                <a:gd name="T2" fmla="*/ 2147483646 w 24"/>
                <a:gd name="T3" fmla="*/ 2147483646 h 9"/>
                <a:gd name="T4" fmla="*/ 2147483646 w 24"/>
                <a:gd name="T5" fmla="*/ 2147483646 h 9"/>
                <a:gd name="T6" fmla="*/ 2147483646 w 24"/>
                <a:gd name="T7" fmla="*/ 2147483646 h 9"/>
                <a:gd name="T8" fmla="*/ 2147483646 w 24"/>
                <a:gd name="T9" fmla="*/ 2147483646 h 9"/>
                <a:gd name="T10" fmla="*/ 0 w 24"/>
                <a:gd name="T11" fmla="*/ 2147483646 h 9"/>
                <a:gd name="T12" fmla="*/ 2147483646 w 24"/>
                <a:gd name="T13" fmla="*/ 2147483646 h 9"/>
                <a:gd name="T14" fmla="*/ 2147483646 w 24"/>
                <a:gd name="T15" fmla="*/ 2147483646 h 9"/>
                <a:gd name="T16" fmla="*/ 2147483646 w 24"/>
                <a:gd name="T17" fmla="*/ 2147483646 h 9"/>
                <a:gd name="T18" fmla="*/ 2147483646 w 24"/>
                <a:gd name="T19" fmla="*/ 2147483646 h 9"/>
                <a:gd name="T20" fmla="*/ 2147483646 w 24"/>
                <a:gd name="T21" fmla="*/ 2147483646 h 9"/>
                <a:gd name="T22" fmla="*/ 2147483646 w 24"/>
                <a:gd name="T23" fmla="*/ 2147483646 h 9"/>
                <a:gd name="T24" fmla="*/ 2147483646 w 24"/>
                <a:gd name="T25" fmla="*/ 2147483646 h 9"/>
                <a:gd name="T26" fmla="*/ 2147483646 w 24"/>
                <a:gd name="T27" fmla="*/ 2147483646 h 9"/>
                <a:gd name="T28" fmla="*/ 2147483646 w 24"/>
                <a:gd name="T29" fmla="*/ 2147483646 h 9"/>
                <a:gd name="T30" fmla="*/ 2147483646 w 24"/>
                <a:gd name="T31" fmla="*/ 2147483646 h 9"/>
                <a:gd name="T32" fmla="*/ 2147483646 w 24"/>
                <a:gd name="T33" fmla="*/ 2147483646 h 9"/>
                <a:gd name="T34" fmla="*/ 2147483646 w 24"/>
                <a:gd name="T35" fmla="*/ 2147483646 h 9"/>
                <a:gd name="T36" fmla="*/ 2147483646 w 24"/>
                <a:gd name="T37" fmla="*/ 2147483646 h 9"/>
                <a:gd name="T38" fmla="*/ 2147483646 w 24"/>
                <a:gd name="T39" fmla="*/ 2147483646 h 9"/>
                <a:gd name="T40" fmla="*/ 2147483646 w 24"/>
                <a:gd name="T41" fmla="*/ 2147483646 h 9"/>
                <a:gd name="T42" fmla="*/ 2147483646 w 24"/>
                <a:gd name="T43" fmla="*/ 2147483646 h 9"/>
                <a:gd name="T44" fmla="*/ 2147483646 w 24"/>
                <a:gd name="T45" fmla="*/ 2147483646 h 9"/>
                <a:gd name="T46" fmla="*/ 2147483646 w 24"/>
                <a:gd name="T47" fmla="*/ 2147483646 h 9"/>
                <a:gd name="T48" fmla="*/ 2147483646 w 24"/>
                <a:gd name="T49" fmla="*/ 2147483646 h 9"/>
                <a:gd name="T50" fmla="*/ 2147483646 w 24"/>
                <a:gd name="T51" fmla="*/ 2147483646 h 9"/>
                <a:gd name="T52" fmla="*/ 2147483646 w 24"/>
                <a:gd name="T53" fmla="*/ 2147483646 h 9"/>
                <a:gd name="T54" fmla="*/ 2147483646 w 24"/>
                <a:gd name="T55" fmla="*/ 2147483646 h 9"/>
                <a:gd name="T56" fmla="*/ 2147483646 w 24"/>
                <a:gd name="T57" fmla="*/ 2147483646 h 9"/>
                <a:gd name="T58" fmla="*/ 2147483646 w 24"/>
                <a:gd name="T59" fmla="*/ 2147483646 h 9"/>
                <a:gd name="T60" fmla="*/ 2147483646 w 24"/>
                <a:gd name="T61" fmla="*/ 2147483646 h 9"/>
                <a:gd name="T62" fmla="*/ 2147483646 w 24"/>
                <a:gd name="T63" fmla="*/ 2147483646 h 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" h="9">
                  <a:moveTo>
                    <a:pt x="24" y="9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1" y="8"/>
                    <a:pt x="20" y="8"/>
                  </a:cubicBezTo>
                  <a:cubicBezTo>
                    <a:pt x="19" y="8"/>
                    <a:pt x="18" y="7"/>
                    <a:pt x="17" y="7"/>
                  </a:cubicBezTo>
                  <a:cubicBezTo>
                    <a:pt x="16" y="7"/>
                    <a:pt x="14" y="7"/>
                    <a:pt x="13" y="6"/>
                  </a:cubicBezTo>
                  <a:cubicBezTo>
                    <a:pt x="12" y="6"/>
                    <a:pt x="11" y="6"/>
                    <a:pt x="10" y="6"/>
                  </a:cubicBezTo>
                  <a:cubicBezTo>
                    <a:pt x="10" y="6"/>
                    <a:pt x="10" y="6"/>
                    <a:pt x="9" y="6"/>
                  </a:cubicBezTo>
                  <a:cubicBezTo>
                    <a:pt x="7" y="6"/>
                    <a:pt x="6" y="6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1"/>
                    <a:pt x="7" y="1"/>
                    <a:pt x="8" y="1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10" y="3"/>
                    <a:pt x="11" y="3"/>
                    <a:pt x="12" y="3"/>
                  </a:cubicBezTo>
                  <a:cubicBezTo>
                    <a:pt x="12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2"/>
                    <a:pt x="13" y="2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6" y="2"/>
                    <a:pt x="16" y="2"/>
                  </a:cubicBezTo>
                  <a:cubicBezTo>
                    <a:pt x="17" y="2"/>
                    <a:pt x="18" y="2"/>
                    <a:pt x="19" y="3"/>
                  </a:cubicBezTo>
                  <a:cubicBezTo>
                    <a:pt x="20" y="5"/>
                    <a:pt x="20" y="5"/>
                    <a:pt x="2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3" y="7"/>
                    <a:pt x="23" y="7"/>
                    <a:pt x="23" y="8"/>
                  </a:cubicBezTo>
                  <a:lnTo>
                    <a:pt x="24" y="9"/>
                  </a:lnTo>
                  <a:close/>
                  <a:moveTo>
                    <a:pt x="17" y="6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9" y="6"/>
                    <a:pt x="20" y="7"/>
                  </a:cubicBezTo>
                  <a:cubicBezTo>
                    <a:pt x="20" y="7"/>
                    <a:pt x="21" y="7"/>
                    <a:pt x="22" y="7"/>
                  </a:cubicBezTo>
                  <a:cubicBezTo>
                    <a:pt x="22" y="7"/>
                    <a:pt x="22" y="7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9" y="6"/>
                    <a:pt x="19" y="6"/>
                    <a:pt x="18" y="4"/>
                  </a:cubicBezTo>
                  <a:cubicBezTo>
                    <a:pt x="17" y="4"/>
                    <a:pt x="17" y="3"/>
                    <a:pt x="16" y="3"/>
                  </a:cubicBezTo>
                  <a:cubicBezTo>
                    <a:pt x="16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0" y="4"/>
                    <a:pt x="9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5" y="1"/>
                    <a:pt x="4" y="2"/>
                    <a:pt x="3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8" y="4"/>
                    <a:pt x="9" y="5"/>
                  </a:cubicBezTo>
                  <a:cubicBezTo>
                    <a:pt x="10" y="5"/>
                    <a:pt x="10" y="5"/>
                    <a:pt x="11" y="5"/>
                  </a:cubicBezTo>
                  <a:cubicBezTo>
                    <a:pt x="12" y="5"/>
                    <a:pt x="13" y="5"/>
                    <a:pt x="14" y="5"/>
                  </a:cubicBezTo>
                  <a:cubicBezTo>
                    <a:pt x="15" y="6"/>
                    <a:pt x="16" y="6"/>
                    <a:pt x="17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3" name="Freeform 669"/>
            <p:cNvSpPr/>
            <p:nvPr/>
          </p:nvSpPr>
          <p:spPr bwMode="auto">
            <a:xfrm>
              <a:off x="3529708" y="3192042"/>
              <a:ext cx="6350" cy="6350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0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4" name="Freeform 670"/>
            <p:cNvSpPr/>
            <p:nvPr/>
          </p:nvSpPr>
          <p:spPr bwMode="auto">
            <a:xfrm>
              <a:off x="3520183" y="3185691"/>
              <a:ext cx="15875" cy="22226"/>
            </a:xfrm>
            <a:custGeom>
              <a:avLst/>
              <a:gdLst>
                <a:gd name="T0" fmla="*/ 0 w 2"/>
                <a:gd name="T1" fmla="*/ 2147483646 h 3"/>
                <a:gd name="T2" fmla="*/ 2147483646 w 2"/>
                <a:gd name="T3" fmla="*/ 2147483646 h 3"/>
                <a:gd name="T4" fmla="*/ 2147483646 w 2"/>
                <a:gd name="T5" fmla="*/ 2147483646 h 3"/>
                <a:gd name="T6" fmla="*/ 2147483646 w 2"/>
                <a:gd name="T7" fmla="*/ 0 h 3"/>
                <a:gd name="T8" fmla="*/ 2147483646 w 2"/>
                <a:gd name="T9" fmla="*/ 2147483646 h 3"/>
                <a:gd name="T10" fmla="*/ 2147483646 w 2"/>
                <a:gd name="T11" fmla="*/ 2147483646 h 3"/>
                <a:gd name="T12" fmla="*/ 2147483646 w 2"/>
                <a:gd name="T13" fmla="*/ 2147483646 h 3"/>
                <a:gd name="T14" fmla="*/ 2147483646 w 2"/>
                <a:gd name="T15" fmla="*/ 2147483646 h 3"/>
                <a:gd name="T16" fmla="*/ 2147483646 w 2"/>
                <a:gd name="T17" fmla="*/ 2147483646 h 3"/>
                <a:gd name="T18" fmla="*/ 0 w 2"/>
                <a:gd name="T19" fmla="*/ 2147483646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5" name="Freeform 671"/>
            <p:cNvSpPr/>
            <p:nvPr/>
          </p:nvSpPr>
          <p:spPr bwMode="auto">
            <a:xfrm>
              <a:off x="3529708" y="3169816"/>
              <a:ext cx="6350" cy="0"/>
            </a:xfrm>
            <a:custGeom>
              <a:avLst/>
              <a:gdLst>
                <a:gd name="T0" fmla="*/ 2147483646 w 1"/>
                <a:gd name="T1" fmla="*/ 2147483646 w 1"/>
                <a:gd name="T2" fmla="*/ 0 w 1"/>
                <a:gd name="T3" fmla="*/ 2147483646 w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6" name="Freeform 672"/>
            <p:cNvSpPr/>
            <p:nvPr/>
          </p:nvSpPr>
          <p:spPr bwMode="auto">
            <a:xfrm>
              <a:off x="3520183" y="3153941"/>
              <a:ext cx="15875" cy="31750"/>
            </a:xfrm>
            <a:custGeom>
              <a:avLst/>
              <a:gdLst>
                <a:gd name="T0" fmla="*/ 2147483646 w 5"/>
                <a:gd name="T1" fmla="*/ 2147483646 h 10"/>
                <a:gd name="T2" fmla="*/ 0 w 5"/>
                <a:gd name="T3" fmla="*/ 0 h 10"/>
                <a:gd name="T4" fmla="*/ 2147483646 w 5"/>
                <a:gd name="T5" fmla="*/ 2147483646 h 10"/>
                <a:gd name="T6" fmla="*/ 2147483646 w 5"/>
                <a:gd name="T7" fmla="*/ 2147483646 h 1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10">
                  <a:moveTo>
                    <a:pt x="5" y="10"/>
                  </a:moveTo>
                  <a:lnTo>
                    <a:pt x="0" y="0"/>
                  </a:lnTo>
                  <a:lnTo>
                    <a:pt x="5" y="5"/>
                  </a:lnTo>
                  <a:lnTo>
                    <a:pt x="5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7" name="Freeform 673"/>
            <p:cNvSpPr/>
            <p:nvPr/>
          </p:nvSpPr>
          <p:spPr bwMode="auto">
            <a:xfrm>
              <a:off x="3493196" y="3163466"/>
              <a:ext cx="6350" cy="0"/>
            </a:xfrm>
            <a:custGeom>
              <a:avLst/>
              <a:gdLst>
                <a:gd name="T0" fmla="*/ 0 w 1"/>
                <a:gd name="T1" fmla="*/ 2147483646 w 1"/>
                <a:gd name="T2" fmla="*/ 2147483646 w 1"/>
                <a:gd name="T3" fmla="*/ 0 w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8" name="Freeform 674"/>
            <p:cNvSpPr/>
            <p:nvPr/>
          </p:nvSpPr>
          <p:spPr bwMode="auto">
            <a:xfrm>
              <a:off x="3470971" y="3153941"/>
              <a:ext cx="38100" cy="15875"/>
            </a:xfrm>
            <a:custGeom>
              <a:avLst/>
              <a:gdLst>
                <a:gd name="T0" fmla="*/ 2147483646 w 5"/>
                <a:gd name="T1" fmla="*/ 2147483646 h 2"/>
                <a:gd name="T2" fmla="*/ 2147483646 w 5"/>
                <a:gd name="T3" fmla="*/ 2147483646 h 2"/>
                <a:gd name="T4" fmla="*/ 2147483646 w 5"/>
                <a:gd name="T5" fmla="*/ 2147483646 h 2"/>
                <a:gd name="T6" fmla="*/ 0 w 5"/>
                <a:gd name="T7" fmla="*/ 0 h 2"/>
                <a:gd name="T8" fmla="*/ 2147483646 w 5"/>
                <a:gd name="T9" fmla="*/ 0 h 2"/>
                <a:gd name="T10" fmla="*/ 2147483646 w 5"/>
                <a:gd name="T11" fmla="*/ 0 h 2"/>
                <a:gd name="T12" fmla="*/ 2147483646 w 5"/>
                <a:gd name="T13" fmla="*/ 0 h 2"/>
                <a:gd name="T14" fmla="*/ 2147483646 w 5"/>
                <a:gd name="T15" fmla="*/ 2147483646 h 2"/>
                <a:gd name="T16" fmla="*/ 2147483646 w 5"/>
                <a:gd name="T17" fmla="*/ 2147483646 h 2"/>
                <a:gd name="T18" fmla="*/ 2147483646 w 5"/>
                <a:gd name="T19" fmla="*/ 2147483646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lnTo>
                    <a:pt x="5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9" name="Freeform 675"/>
            <p:cNvSpPr/>
            <p:nvPr/>
          </p:nvSpPr>
          <p:spPr bwMode="auto">
            <a:xfrm>
              <a:off x="3486846" y="3153941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0" name="Freeform 676"/>
            <p:cNvSpPr/>
            <p:nvPr/>
          </p:nvSpPr>
          <p:spPr bwMode="auto">
            <a:xfrm>
              <a:off x="3470971" y="3147592"/>
              <a:ext cx="22225" cy="15875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2147483646 w 3"/>
                <a:gd name="T5" fmla="*/ 2147483646 h 2"/>
                <a:gd name="T6" fmla="*/ 0 w 3"/>
                <a:gd name="T7" fmla="*/ 0 h 2"/>
                <a:gd name="T8" fmla="*/ 2147483646 w 3"/>
                <a:gd name="T9" fmla="*/ 0 h 2"/>
                <a:gd name="T10" fmla="*/ 2147483646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1" name="Freeform 677"/>
            <p:cNvSpPr/>
            <p:nvPr/>
          </p:nvSpPr>
          <p:spPr bwMode="auto">
            <a:xfrm>
              <a:off x="2904233" y="2522117"/>
              <a:ext cx="506413" cy="544513"/>
            </a:xfrm>
            <a:custGeom>
              <a:avLst/>
              <a:gdLst>
                <a:gd name="T0" fmla="*/ 2147483646 w 68"/>
                <a:gd name="T1" fmla="*/ 2147483646 h 73"/>
                <a:gd name="T2" fmla="*/ 2147483646 w 68"/>
                <a:gd name="T3" fmla="*/ 2147483646 h 73"/>
                <a:gd name="T4" fmla="*/ 2147483646 w 68"/>
                <a:gd name="T5" fmla="*/ 2147483646 h 73"/>
                <a:gd name="T6" fmla="*/ 2147483646 w 68"/>
                <a:gd name="T7" fmla="*/ 2147483646 h 73"/>
                <a:gd name="T8" fmla="*/ 2147483646 w 68"/>
                <a:gd name="T9" fmla="*/ 2147483646 h 73"/>
                <a:gd name="T10" fmla="*/ 2147483646 w 68"/>
                <a:gd name="T11" fmla="*/ 2147483646 h 73"/>
                <a:gd name="T12" fmla="*/ 2147483646 w 68"/>
                <a:gd name="T13" fmla="*/ 2147483646 h 73"/>
                <a:gd name="T14" fmla="*/ 2147483646 w 68"/>
                <a:gd name="T15" fmla="*/ 2147483646 h 73"/>
                <a:gd name="T16" fmla="*/ 2147483646 w 68"/>
                <a:gd name="T17" fmla="*/ 2147483646 h 73"/>
                <a:gd name="T18" fmla="*/ 2147483646 w 68"/>
                <a:gd name="T19" fmla="*/ 2147483646 h 73"/>
                <a:gd name="T20" fmla="*/ 2147483646 w 68"/>
                <a:gd name="T21" fmla="*/ 2147483646 h 73"/>
                <a:gd name="T22" fmla="*/ 2147483646 w 68"/>
                <a:gd name="T23" fmla="*/ 2147483646 h 73"/>
                <a:gd name="T24" fmla="*/ 2147483646 w 68"/>
                <a:gd name="T25" fmla="*/ 2147483646 h 73"/>
                <a:gd name="T26" fmla="*/ 2147483646 w 68"/>
                <a:gd name="T27" fmla="*/ 2147483646 h 73"/>
                <a:gd name="T28" fmla="*/ 2147483646 w 68"/>
                <a:gd name="T29" fmla="*/ 2147483646 h 73"/>
                <a:gd name="T30" fmla="*/ 2147483646 w 68"/>
                <a:gd name="T31" fmla="*/ 2147483646 h 73"/>
                <a:gd name="T32" fmla="*/ 2147483646 w 68"/>
                <a:gd name="T33" fmla="*/ 2147483646 h 73"/>
                <a:gd name="T34" fmla="*/ 2147483646 w 68"/>
                <a:gd name="T35" fmla="*/ 2147483646 h 73"/>
                <a:gd name="T36" fmla="*/ 2147483646 w 68"/>
                <a:gd name="T37" fmla="*/ 2147483646 h 73"/>
                <a:gd name="T38" fmla="*/ 2147483646 w 68"/>
                <a:gd name="T39" fmla="*/ 2147483646 h 73"/>
                <a:gd name="T40" fmla="*/ 2147483646 w 68"/>
                <a:gd name="T41" fmla="*/ 2147483646 h 73"/>
                <a:gd name="T42" fmla="*/ 2147483646 w 68"/>
                <a:gd name="T43" fmla="*/ 2147483646 h 73"/>
                <a:gd name="T44" fmla="*/ 2147483646 w 68"/>
                <a:gd name="T45" fmla="*/ 2147483646 h 73"/>
                <a:gd name="T46" fmla="*/ 2147483646 w 68"/>
                <a:gd name="T47" fmla="*/ 2147483646 h 73"/>
                <a:gd name="T48" fmla="*/ 2147483646 w 68"/>
                <a:gd name="T49" fmla="*/ 2147483646 h 73"/>
                <a:gd name="T50" fmla="*/ 2147483646 w 68"/>
                <a:gd name="T51" fmla="*/ 2147483646 h 73"/>
                <a:gd name="T52" fmla="*/ 2147483646 w 68"/>
                <a:gd name="T53" fmla="*/ 2147483646 h 73"/>
                <a:gd name="T54" fmla="*/ 2147483646 w 68"/>
                <a:gd name="T55" fmla="*/ 2147483646 h 73"/>
                <a:gd name="T56" fmla="*/ 2147483646 w 68"/>
                <a:gd name="T57" fmla="*/ 2147483646 h 73"/>
                <a:gd name="T58" fmla="*/ 2147483646 w 68"/>
                <a:gd name="T59" fmla="*/ 2147483646 h 73"/>
                <a:gd name="T60" fmla="*/ 2147483646 w 68"/>
                <a:gd name="T61" fmla="*/ 2147483646 h 73"/>
                <a:gd name="T62" fmla="*/ 2147483646 w 68"/>
                <a:gd name="T63" fmla="*/ 2147483646 h 73"/>
                <a:gd name="T64" fmla="*/ 2147483646 w 68"/>
                <a:gd name="T65" fmla="*/ 2147483646 h 73"/>
                <a:gd name="T66" fmla="*/ 2147483646 w 68"/>
                <a:gd name="T67" fmla="*/ 2147483646 h 73"/>
                <a:gd name="T68" fmla="*/ 2147483646 w 68"/>
                <a:gd name="T69" fmla="*/ 2147483646 h 73"/>
                <a:gd name="T70" fmla="*/ 2147483646 w 68"/>
                <a:gd name="T71" fmla="*/ 2147483646 h 73"/>
                <a:gd name="T72" fmla="*/ 2147483646 w 68"/>
                <a:gd name="T73" fmla="*/ 2147483646 h 73"/>
                <a:gd name="T74" fmla="*/ 2147483646 w 68"/>
                <a:gd name="T75" fmla="*/ 2147483646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68" h="73">
                  <a:moveTo>
                    <a:pt x="30" y="16"/>
                  </a:moveTo>
                  <a:cubicBezTo>
                    <a:pt x="29" y="17"/>
                    <a:pt x="28" y="18"/>
                    <a:pt x="28" y="19"/>
                  </a:cubicBezTo>
                  <a:cubicBezTo>
                    <a:pt x="28" y="21"/>
                    <a:pt x="29" y="21"/>
                    <a:pt x="30" y="22"/>
                  </a:cubicBezTo>
                  <a:cubicBezTo>
                    <a:pt x="31" y="22"/>
                    <a:pt x="33" y="23"/>
                    <a:pt x="34" y="24"/>
                  </a:cubicBezTo>
                  <a:cubicBezTo>
                    <a:pt x="35" y="24"/>
                    <a:pt x="37" y="23"/>
                    <a:pt x="38" y="24"/>
                  </a:cubicBezTo>
                  <a:cubicBezTo>
                    <a:pt x="40" y="26"/>
                    <a:pt x="43" y="27"/>
                    <a:pt x="45" y="26"/>
                  </a:cubicBezTo>
                  <a:cubicBezTo>
                    <a:pt x="48" y="26"/>
                    <a:pt x="45" y="22"/>
                    <a:pt x="48" y="22"/>
                  </a:cubicBezTo>
                  <a:cubicBezTo>
                    <a:pt x="48" y="23"/>
                    <a:pt x="48" y="23"/>
                    <a:pt x="48" y="24"/>
                  </a:cubicBezTo>
                  <a:cubicBezTo>
                    <a:pt x="47" y="26"/>
                    <a:pt x="50" y="26"/>
                    <a:pt x="51" y="25"/>
                  </a:cubicBezTo>
                  <a:cubicBezTo>
                    <a:pt x="53" y="25"/>
                    <a:pt x="54" y="25"/>
                    <a:pt x="55" y="25"/>
                  </a:cubicBezTo>
                  <a:cubicBezTo>
                    <a:pt x="57" y="25"/>
                    <a:pt x="55" y="23"/>
                    <a:pt x="55" y="23"/>
                  </a:cubicBezTo>
                  <a:cubicBezTo>
                    <a:pt x="55" y="23"/>
                    <a:pt x="59" y="21"/>
                    <a:pt x="60" y="20"/>
                  </a:cubicBezTo>
                  <a:cubicBezTo>
                    <a:pt x="61" y="19"/>
                    <a:pt x="63" y="19"/>
                    <a:pt x="65" y="18"/>
                  </a:cubicBezTo>
                  <a:cubicBezTo>
                    <a:pt x="65" y="19"/>
                    <a:pt x="65" y="21"/>
                    <a:pt x="65" y="21"/>
                  </a:cubicBezTo>
                  <a:cubicBezTo>
                    <a:pt x="66" y="22"/>
                    <a:pt x="67" y="21"/>
                    <a:pt x="68" y="22"/>
                  </a:cubicBezTo>
                  <a:cubicBezTo>
                    <a:pt x="68" y="23"/>
                    <a:pt x="67" y="24"/>
                    <a:pt x="66" y="24"/>
                  </a:cubicBezTo>
                  <a:cubicBezTo>
                    <a:pt x="65" y="24"/>
                    <a:pt x="63" y="25"/>
                    <a:pt x="63" y="27"/>
                  </a:cubicBezTo>
                  <a:cubicBezTo>
                    <a:pt x="63" y="29"/>
                    <a:pt x="61" y="32"/>
                    <a:pt x="59" y="33"/>
                  </a:cubicBezTo>
                  <a:cubicBezTo>
                    <a:pt x="57" y="33"/>
                    <a:pt x="59" y="37"/>
                    <a:pt x="57" y="38"/>
                  </a:cubicBezTo>
                  <a:cubicBezTo>
                    <a:pt x="56" y="36"/>
                    <a:pt x="56" y="35"/>
                    <a:pt x="56" y="33"/>
                  </a:cubicBezTo>
                  <a:cubicBezTo>
                    <a:pt x="55" y="34"/>
                    <a:pt x="55" y="34"/>
                    <a:pt x="55" y="35"/>
                  </a:cubicBezTo>
                  <a:cubicBezTo>
                    <a:pt x="51" y="33"/>
                    <a:pt x="55" y="31"/>
                    <a:pt x="56" y="30"/>
                  </a:cubicBezTo>
                  <a:cubicBezTo>
                    <a:pt x="53" y="29"/>
                    <a:pt x="50" y="30"/>
                    <a:pt x="50" y="27"/>
                  </a:cubicBezTo>
                  <a:cubicBezTo>
                    <a:pt x="49" y="28"/>
                    <a:pt x="49" y="27"/>
                    <a:pt x="48" y="26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6"/>
                    <a:pt x="47" y="26"/>
                  </a:cubicBezTo>
                  <a:cubicBezTo>
                    <a:pt x="46" y="28"/>
                    <a:pt x="47" y="28"/>
                    <a:pt x="48" y="29"/>
                  </a:cubicBezTo>
                  <a:cubicBezTo>
                    <a:pt x="45" y="29"/>
                    <a:pt x="47" y="32"/>
                    <a:pt x="47" y="33"/>
                  </a:cubicBezTo>
                  <a:cubicBezTo>
                    <a:pt x="47" y="35"/>
                    <a:pt x="48" y="3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7" y="39"/>
                    <a:pt x="47" y="38"/>
                    <a:pt x="47" y="39"/>
                  </a:cubicBezTo>
                  <a:cubicBezTo>
                    <a:pt x="47" y="38"/>
                    <a:pt x="46" y="38"/>
                    <a:pt x="46" y="37"/>
                  </a:cubicBezTo>
                  <a:cubicBezTo>
                    <a:pt x="46" y="39"/>
                    <a:pt x="44" y="38"/>
                    <a:pt x="44" y="40"/>
                  </a:cubicBezTo>
                  <a:cubicBezTo>
                    <a:pt x="44" y="42"/>
                    <a:pt x="41" y="43"/>
                    <a:pt x="40" y="44"/>
                  </a:cubicBezTo>
                  <a:cubicBezTo>
                    <a:pt x="39" y="44"/>
                    <a:pt x="38" y="46"/>
                    <a:pt x="37" y="47"/>
                  </a:cubicBezTo>
                  <a:cubicBezTo>
                    <a:pt x="36" y="48"/>
                    <a:pt x="34" y="49"/>
                    <a:pt x="33" y="50"/>
                  </a:cubicBezTo>
                  <a:cubicBezTo>
                    <a:pt x="32" y="51"/>
                    <a:pt x="31" y="51"/>
                    <a:pt x="30" y="52"/>
                  </a:cubicBezTo>
                  <a:cubicBezTo>
                    <a:pt x="29" y="53"/>
                    <a:pt x="28" y="52"/>
                    <a:pt x="28" y="53"/>
                  </a:cubicBezTo>
                  <a:cubicBezTo>
                    <a:pt x="28" y="54"/>
                    <a:pt x="28" y="54"/>
                    <a:pt x="28" y="55"/>
                  </a:cubicBezTo>
                  <a:cubicBezTo>
                    <a:pt x="28" y="57"/>
                    <a:pt x="28" y="59"/>
                    <a:pt x="28" y="60"/>
                  </a:cubicBezTo>
                  <a:cubicBezTo>
                    <a:pt x="27" y="62"/>
                    <a:pt x="27" y="63"/>
                    <a:pt x="27" y="66"/>
                  </a:cubicBezTo>
                  <a:cubicBezTo>
                    <a:pt x="26" y="65"/>
                    <a:pt x="25" y="66"/>
                    <a:pt x="25" y="68"/>
                  </a:cubicBezTo>
                  <a:cubicBezTo>
                    <a:pt x="25" y="68"/>
                    <a:pt x="23" y="68"/>
                    <a:pt x="23" y="69"/>
                  </a:cubicBezTo>
                  <a:cubicBezTo>
                    <a:pt x="23" y="73"/>
                    <a:pt x="20" y="69"/>
                    <a:pt x="19" y="68"/>
                  </a:cubicBezTo>
                  <a:cubicBezTo>
                    <a:pt x="19" y="66"/>
                    <a:pt x="18" y="65"/>
                    <a:pt x="18" y="63"/>
                  </a:cubicBezTo>
                  <a:cubicBezTo>
                    <a:pt x="17" y="62"/>
                    <a:pt x="16" y="62"/>
                    <a:pt x="16" y="61"/>
                  </a:cubicBezTo>
                  <a:cubicBezTo>
                    <a:pt x="16" y="58"/>
                    <a:pt x="13" y="55"/>
                    <a:pt x="14" y="53"/>
                  </a:cubicBezTo>
                  <a:cubicBezTo>
                    <a:pt x="11" y="53"/>
                    <a:pt x="9" y="38"/>
                    <a:pt x="11" y="37"/>
                  </a:cubicBezTo>
                  <a:cubicBezTo>
                    <a:pt x="9" y="36"/>
                    <a:pt x="9" y="40"/>
                    <a:pt x="7" y="40"/>
                  </a:cubicBezTo>
                  <a:cubicBezTo>
                    <a:pt x="5" y="41"/>
                    <a:pt x="2" y="38"/>
                    <a:pt x="2" y="37"/>
                  </a:cubicBezTo>
                  <a:cubicBezTo>
                    <a:pt x="3" y="36"/>
                    <a:pt x="5" y="37"/>
                    <a:pt x="5" y="35"/>
                  </a:cubicBezTo>
                  <a:cubicBezTo>
                    <a:pt x="3" y="36"/>
                    <a:pt x="1" y="35"/>
                    <a:pt x="0" y="33"/>
                  </a:cubicBezTo>
                  <a:cubicBezTo>
                    <a:pt x="1" y="33"/>
                    <a:pt x="2" y="33"/>
                    <a:pt x="2" y="31"/>
                  </a:cubicBezTo>
                  <a:cubicBezTo>
                    <a:pt x="4" y="32"/>
                    <a:pt x="4" y="32"/>
                    <a:pt x="6" y="31"/>
                  </a:cubicBezTo>
                  <a:cubicBezTo>
                    <a:pt x="6" y="31"/>
                    <a:pt x="7" y="33"/>
                    <a:pt x="7" y="31"/>
                  </a:cubicBezTo>
                  <a:cubicBezTo>
                    <a:pt x="7" y="31"/>
                    <a:pt x="6" y="29"/>
                    <a:pt x="6" y="29"/>
                  </a:cubicBezTo>
                  <a:cubicBezTo>
                    <a:pt x="6" y="28"/>
                    <a:pt x="5" y="28"/>
                    <a:pt x="5" y="28"/>
                  </a:cubicBezTo>
                  <a:cubicBezTo>
                    <a:pt x="4" y="26"/>
                    <a:pt x="6" y="26"/>
                    <a:pt x="4" y="26"/>
                  </a:cubicBezTo>
                  <a:cubicBezTo>
                    <a:pt x="2" y="26"/>
                    <a:pt x="5" y="23"/>
                    <a:pt x="6" y="22"/>
                  </a:cubicBezTo>
                  <a:cubicBezTo>
                    <a:pt x="8" y="26"/>
                    <a:pt x="14" y="15"/>
                    <a:pt x="1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3"/>
                    <a:pt x="15" y="13"/>
                    <a:pt x="15" y="12"/>
                  </a:cubicBezTo>
                  <a:cubicBezTo>
                    <a:pt x="16" y="12"/>
                    <a:pt x="17" y="11"/>
                    <a:pt x="17" y="11"/>
                  </a:cubicBezTo>
                  <a:cubicBezTo>
                    <a:pt x="17" y="10"/>
                    <a:pt x="16" y="11"/>
                    <a:pt x="15" y="10"/>
                  </a:cubicBezTo>
                  <a:cubicBezTo>
                    <a:pt x="14" y="9"/>
                    <a:pt x="13" y="8"/>
                    <a:pt x="14" y="6"/>
                  </a:cubicBezTo>
                  <a:cubicBezTo>
                    <a:pt x="14" y="6"/>
                    <a:pt x="13" y="4"/>
                    <a:pt x="14" y="4"/>
                  </a:cubicBezTo>
                  <a:cubicBezTo>
                    <a:pt x="16" y="3"/>
                    <a:pt x="17" y="5"/>
                    <a:pt x="19" y="4"/>
                  </a:cubicBezTo>
                  <a:cubicBezTo>
                    <a:pt x="21" y="3"/>
                    <a:pt x="22" y="2"/>
                    <a:pt x="24" y="1"/>
                  </a:cubicBezTo>
                  <a:cubicBezTo>
                    <a:pt x="25" y="1"/>
                    <a:pt x="27" y="0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3"/>
                    <a:pt x="27" y="6"/>
                    <a:pt x="26" y="6"/>
                  </a:cubicBezTo>
                  <a:cubicBezTo>
                    <a:pt x="24" y="6"/>
                    <a:pt x="28" y="10"/>
                    <a:pt x="25" y="11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5" y="13"/>
                    <a:pt x="25" y="14"/>
                  </a:cubicBezTo>
                  <a:cubicBezTo>
                    <a:pt x="25" y="14"/>
                    <a:pt x="29" y="16"/>
                    <a:pt x="30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2" name="Freeform 678"/>
            <p:cNvSpPr>
              <a:spLocks noEditPoints="1"/>
            </p:cNvSpPr>
            <p:nvPr/>
          </p:nvSpPr>
          <p:spPr bwMode="auto">
            <a:xfrm>
              <a:off x="2897883" y="2522117"/>
              <a:ext cx="512763" cy="528638"/>
            </a:xfrm>
            <a:custGeom>
              <a:avLst/>
              <a:gdLst>
                <a:gd name="T0" fmla="*/ 2147483646 w 69"/>
                <a:gd name="T1" fmla="*/ 2147483646 h 71"/>
                <a:gd name="T2" fmla="*/ 2147483646 w 69"/>
                <a:gd name="T3" fmla="*/ 2147483646 h 71"/>
                <a:gd name="T4" fmla="*/ 2147483646 w 69"/>
                <a:gd name="T5" fmla="*/ 2147483646 h 71"/>
                <a:gd name="T6" fmla="*/ 2147483646 w 69"/>
                <a:gd name="T7" fmla="*/ 2147483646 h 71"/>
                <a:gd name="T8" fmla="*/ 2147483646 w 69"/>
                <a:gd name="T9" fmla="*/ 2147483646 h 71"/>
                <a:gd name="T10" fmla="*/ 2147483646 w 69"/>
                <a:gd name="T11" fmla="*/ 2147483646 h 71"/>
                <a:gd name="T12" fmla="*/ 2147483646 w 69"/>
                <a:gd name="T13" fmla="*/ 2147483646 h 71"/>
                <a:gd name="T14" fmla="*/ 2147483646 w 69"/>
                <a:gd name="T15" fmla="*/ 2147483646 h 71"/>
                <a:gd name="T16" fmla="*/ 2147483646 w 69"/>
                <a:gd name="T17" fmla="*/ 0 h 71"/>
                <a:gd name="T18" fmla="*/ 2147483646 w 69"/>
                <a:gd name="T19" fmla="*/ 2147483646 h 71"/>
                <a:gd name="T20" fmla="*/ 2147483646 w 69"/>
                <a:gd name="T21" fmla="*/ 2147483646 h 71"/>
                <a:gd name="T22" fmla="*/ 2147483646 w 69"/>
                <a:gd name="T23" fmla="*/ 2147483646 h 71"/>
                <a:gd name="T24" fmla="*/ 2147483646 w 69"/>
                <a:gd name="T25" fmla="*/ 2147483646 h 71"/>
                <a:gd name="T26" fmla="*/ 2147483646 w 69"/>
                <a:gd name="T27" fmla="*/ 2147483646 h 71"/>
                <a:gd name="T28" fmla="*/ 2147483646 w 69"/>
                <a:gd name="T29" fmla="*/ 2147483646 h 71"/>
                <a:gd name="T30" fmla="*/ 2147483646 w 69"/>
                <a:gd name="T31" fmla="*/ 2147483646 h 71"/>
                <a:gd name="T32" fmla="*/ 2147483646 w 69"/>
                <a:gd name="T33" fmla="*/ 2147483646 h 71"/>
                <a:gd name="T34" fmla="*/ 2147483646 w 69"/>
                <a:gd name="T35" fmla="*/ 2147483646 h 71"/>
                <a:gd name="T36" fmla="*/ 2147483646 w 69"/>
                <a:gd name="T37" fmla="*/ 2147483646 h 71"/>
                <a:gd name="T38" fmla="*/ 2147483646 w 69"/>
                <a:gd name="T39" fmla="*/ 2147483646 h 71"/>
                <a:gd name="T40" fmla="*/ 2147483646 w 69"/>
                <a:gd name="T41" fmla="*/ 2147483646 h 71"/>
                <a:gd name="T42" fmla="*/ 2147483646 w 69"/>
                <a:gd name="T43" fmla="*/ 2147483646 h 71"/>
                <a:gd name="T44" fmla="*/ 2147483646 w 69"/>
                <a:gd name="T45" fmla="*/ 2147483646 h 71"/>
                <a:gd name="T46" fmla="*/ 2147483646 w 69"/>
                <a:gd name="T47" fmla="*/ 2147483646 h 71"/>
                <a:gd name="T48" fmla="*/ 2147483646 w 69"/>
                <a:gd name="T49" fmla="*/ 2147483646 h 71"/>
                <a:gd name="T50" fmla="*/ 2147483646 w 69"/>
                <a:gd name="T51" fmla="*/ 2147483646 h 71"/>
                <a:gd name="T52" fmla="*/ 2147483646 w 69"/>
                <a:gd name="T53" fmla="*/ 2147483646 h 71"/>
                <a:gd name="T54" fmla="*/ 2147483646 w 69"/>
                <a:gd name="T55" fmla="*/ 2147483646 h 71"/>
                <a:gd name="T56" fmla="*/ 2147483646 w 69"/>
                <a:gd name="T57" fmla="*/ 2147483646 h 71"/>
                <a:gd name="T58" fmla="*/ 2147483646 w 69"/>
                <a:gd name="T59" fmla="*/ 2147483646 h 71"/>
                <a:gd name="T60" fmla="*/ 2147483646 w 69"/>
                <a:gd name="T61" fmla="*/ 2147483646 h 71"/>
                <a:gd name="T62" fmla="*/ 2147483646 w 69"/>
                <a:gd name="T63" fmla="*/ 2147483646 h 71"/>
                <a:gd name="T64" fmla="*/ 2147483646 w 69"/>
                <a:gd name="T65" fmla="*/ 2147483646 h 71"/>
                <a:gd name="T66" fmla="*/ 2147483646 w 69"/>
                <a:gd name="T67" fmla="*/ 2147483646 h 71"/>
                <a:gd name="T68" fmla="*/ 2147483646 w 69"/>
                <a:gd name="T69" fmla="*/ 2147483646 h 71"/>
                <a:gd name="T70" fmla="*/ 2147483646 w 69"/>
                <a:gd name="T71" fmla="*/ 2147483646 h 71"/>
                <a:gd name="T72" fmla="*/ 2147483646 w 69"/>
                <a:gd name="T73" fmla="*/ 2147483646 h 71"/>
                <a:gd name="T74" fmla="*/ 2147483646 w 69"/>
                <a:gd name="T75" fmla="*/ 2147483646 h 71"/>
                <a:gd name="T76" fmla="*/ 2147483646 w 69"/>
                <a:gd name="T77" fmla="*/ 2147483646 h 71"/>
                <a:gd name="T78" fmla="*/ 2147483646 w 69"/>
                <a:gd name="T79" fmla="*/ 2147483646 h 71"/>
                <a:gd name="T80" fmla="*/ 2147483646 w 69"/>
                <a:gd name="T81" fmla="*/ 2147483646 h 71"/>
                <a:gd name="T82" fmla="*/ 2147483646 w 69"/>
                <a:gd name="T83" fmla="*/ 2147483646 h 71"/>
                <a:gd name="T84" fmla="*/ 2147483646 w 69"/>
                <a:gd name="T85" fmla="*/ 2147483646 h 71"/>
                <a:gd name="T86" fmla="*/ 2147483646 w 69"/>
                <a:gd name="T87" fmla="*/ 2147483646 h 71"/>
                <a:gd name="T88" fmla="*/ 2147483646 w 69"/>
                <a:gd name="T89" fmla="*/ 2147483646 h 71"/>
                <a:gd name="T90" fmla="*/ 2147483646 w 69"/>
                <a:gd name="T91" fmla="*/ 2147483646 h 71"/>
                <a:gd name="T92" fmla="*/ 2147483646 w 69"/>
                <a:gd name="T93" fmla="*/ 2147483646 h 71"/>
                <a:gd name="T94" fmla="*/ 2147483646 w 69"/>
                <a:gd name="T95" fmla="*/ 2147483646 h 71"/>
                <a:gd name="T96" fmla="*/ 2147483646 w 69"/>
                <a:gd name="T97" fmla="*/ 2147483646 h 71"/>
                <a:gd name="T98" fmla="*/ 2147483646 w 69"/>
                <a:gd name="T99" fmla="*/ 2147483646 h 71"/>
                <a:gd name="T100" fmla="*/ 2147483646 w 69"/>
                <a:gd name="T101" fmla="*/ 2147483646 h 71"/>
                <a:gd name="T102" fmla="*/ 2147483646 w 69"/>
                <a:gd name="T103" fmla="*/ 2147483646 h 71"/>
                <a:gd name="T104" fmla="*/ 2147483646 w 69"/>
                <a:gd name="T105" fmla="*/ 2147483646 h 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9" h="71">
                  <a:moveTo>
                    <a:pt x="23" y="71"/>
                  </a:moveTo>
                  <a:cubicBezTo>
                    <a:pt x="22" y="71"/>
                    <a:pt x="20" y="69"/>
                    <a:pt x="20" y="68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18" y="63"/>
                    <a:pt x="17" y="62"/>
                  </a:cubicBezTo>
                  <a:cubicBezTo>
                    <a:pt x="17" y="62"/>
                    <a:pt x="17" y="61"/>
                    <a:pt x="17" y="61"/>
                  </a:cubicBezTo>
                  <a:cubicBezTo>
                    <a:pt x="16" y="60"/>
                    <a:pt x="16" y="59"/>
                    <a:pt x="15" y="58"/>
                  </a:cubicBezTo>
                  <a:cubicBezTo>
                    <a:pt x="15" y="56"/>
                    <a:pt x="14" y="55"/>
                    <a:pt x="14" y="54"/>
                  </a:cubicBezTo>
                  <a:cubicBezTo>
                    <a:pt x="13" y="53"/>
                    <a:pt x="13" y="53"/>
                    <a:pt x="12" y="51"/>
                  </a:cubicBezTo>
                  <a:cubicBezTo>
                    <a:pt x="11" y="48"/>
                    <a:pt x="10" y="40"/>
                    <a:pt x="11" y="37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0" y="39"/>
                    <a:pt x="10" y="41"/>
                    <a:pt x="8" y="41"/>
                  </a:cubicBezTo>
                  <a:cubicBezTo>
                    <a:pt x="6" y="41"/>
                    <a:pt x="3" y="39"/>
                    <a:pt x="2" y="37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2" y="35"/>
                    <a:pt x="1" y="3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1"/>
                    <a:pt x="5" y="31"/>
                    <a:pt x="6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8" y="31"/>
                    <a:pt x="8" y="31"/>
                  </a:cubicBezTo>
                  <a:cubicBezTo>
                    <a:pt x="8" y="31"/>
                    <a:pt x="7" y="30"/>
                    <a:pt x="7" y="29"/>
                  </a:cubicBezTo>
                  <a:cubicBezTo>
                    <a:pt x="7" y="29"/>
                    <a:pt x="7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8"/>
                    <a:pt x="5" y="2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5"/>
                    <a:pt x="4" y="24"/>
                    <a:pt x="6" y="22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8" y="22"/>
                    <a:pt x="8" y="22"/>
                  </a:cubicBezTo>
                  <a:cubicBezTo>
                    <a:pt x="9" y="22"/>
                    <a:pt x="11" y="20"/>
                    <a:pt x="13" y="17"/>
                  </a:cubicBezTo>
                  <a:cubicBezTo>
                    <a:pt x="14" y="16"/>
                    <a:pt x="15" y="15"/>
                    <a:pt x="1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2"/>
                    <a:pt x="16" y="12"/>
                  </a:cubicBezTo>
                  <a:cubicBezTo>
                    <a:pt x="16" y="11"/>
                    <a:pt x="16" y="11"/>
                    <a:pt x="17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5" y="10"/>
                    <a:pt x="14" y="8"/>
                    <a:pt x="14" y="6"/>
                  </a:cubicBezTo>
                  <a:cubicBezTo>
                    <a:pt x="14" y="6"/>
                    <a:pt x="14" y="5"/>
                    <a:pt x="14" y="4"/>
                  </a:cubicBezTo>
                  <a:cubicBezTo>
                    <a:pt x="14" y="4"/>
                    <a:pt x="14" y="3"/>
                    <a:pt x="15" y="3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8" y="4"/>
                    <a:pt x="19" y="4"/>
                    <a:pt x="20" y="3"/>
                  </a:cubicBezTo>
                  <a:cubicBezTo>
                    <a:pt x="21" y="3"/>
                    <a:pt x="21" y="3"/>
                    <a:pt x="22" y="2"/>
                  </a:cubicBezTo>
                  <a:cubicBezTo>
                    <a:pt x="23" y="2"/>
                    <a:pt x="23" y="1"/>
                    <a:pt x="24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8" y="0"/>
                    <a:pt x="29" y="0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3"/>
                    <a:pt x="29" y="6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8"/>
                    <a:pt x="28" y="9"/>
                    <a:pt x="28" y="10"/>
                  </a:cubicBezTo>
                  <a:cubicBezTo>
                    <a:pt x="28" y="11"/>
                    <a:pt x="27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2"/>
                    <a:pt x="26" y="13"/>
                    <a:pt x="27" y="14"/>
                  </a:cubicBezTo>
                  <a:cubicBezTo>
                    <a:pt x="27" y="14"/>
                    <a:pt x="28" y="14"/>
                    <a:pt x="29" y="15"/>
                  </a:cubicBezTo>
                  <a:cubicBezTo>
                    <a:pt x="30" y="15"/>
                    <a:pt x="31" y="16"/>
                    <a:pt x="31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0" y="18"/>
                    <a:pt x="30" y="18"/>
                    <a:pt x="30" y="19"/>
                  </a:cubicBezTo>
                  <a:cubicBezTo>
                    <a:pt x="29" y="20"/>
                    <a:pt x="30" y="20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2" y="21"/>
                    <a:pt x="32" y="22"/>
                    <a:pt x="33" y="22"/>
                  </a:cubicBezTo>
                  <a:cubicBezTo>
                    <a:pt x="34" y="22"/>
                    <a:pt x="34" y="23"/>
                    <a:pt x="35" y="23"/>
                  </a:cubicBezTo>
                  <a:cubicBezTo>
                    <a:pt x="36" y="23"/>
                    <a:pt x="36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38" y="23"/>
                    <a:pt x="39" y="23"/>
                    <a:pt x="39" y="24"/>
                  </a:cubicBezTo>
                  <a:cubicBezTo>
                    <a:pt x="41" y="25"/>
                    <a:pt x="44" y="26"/>
                    <a:pt x="46" y="26"/>
                  </a:cubicBezTo>
                  <a:cubicBezTo>
                    <a:pt x="47" y="26"/>
                    <a:pt x="47" y="26"/>
                    <a:pt x="47" y="24"/>
                  </a:cubicBezTo>
                  <a:cubicBezTo>
                    <a:pt x="47" y="24"/>
                    <a:pt x="46" y="23"/>
                    <a:pt x="47" y="22"/>
                  </a:cubicBezTo>
                  <a:cubicBezTo>
                    <a:pt x="47" y="22"/>
                    <a:pt x="48" y="22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3"/>
                    <a:pt x="50" y="23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1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5"/>
                    <a:pt x="52" y="25"/>
                    <a:pt x="52" y="25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5" y="24"/>
                    <a:pt x="55" y="23"/>
                    <a:pt x="55" y="23"/>
                  </a:cubicBezTo>
                  <a:cubicBezTo>
                    <a:pt x="55" y="23"/>
                    <a:pt x="56" y="22"/>
                    <a:pt x="58" y="21"/>
                  </a:cubicBezTo>
                  <a:cubicBezTo>
                    <a:pt x="59" y="20"/>
                    <a:pt x="60" y="20"/>
                    <a:pt x="60" y="20"/>
                  </a:cubicBezTo>
                  <a:cubicBezTo>
                    <a:pt x="61" y="19"/>
                    <a:pt x="62" y="19"/>
                    <a:pt x="63" y="19"/>
                  </a:cubicBezTo>
                  <a:cubicBezTo>
                    <a:pt x="64" y="18"/>
                    <a:pt x="65" y="18"/>
                    <a:pt x="65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8"/>
                    <a:pt x="67" y="19"/>
                    <a:pt x="67" y="20"/>
                  </a:cubicBezTo>
                  <a:cubicBezTo>
                    <a:pt x="67" y="20"/>
                    <a:pt x="67" y="20"/>
                    <a:pt x="67" y="21"/>
                  </a:cubicBezTo>
                  <a:cubicBezTo>
                    <a:pt x="67" y="21"/>
                    <a:pt x="67" y="21"/>
                    <a:pt x="68" y="21"/>
                  </a:cubicBezTo>
                  <a:cubicBezTo>
                    <a:pt x="68" y="21"/>
                    <a:pt x="69" y="21"/>
                    <a:pt x="69" y="22"/>
                  </a:cubicBezTo>
                  <a:cubicBezTo>
                    <a:pt x="69" y="23"/>
                    <a:pt x="69" y="23"/>
                    <a:pt x="69" y="24"/>
                  </a:cubicBezTo>
                  <a:cubicBezTo>
                    <a:pt x="69" y="24"/>
                    <a:pt x="68" y="25"/>
                    <a:pt x="67" y="25"/>
                  </a:cubicBezTo>
                  <a:cubicBezTo>
                    <a:pt x="66" y="25"/>
                    <a:pt x="65" y="26"/>
                    <a:pt x="65" y="27"/>
                  </a:cubicBezTo>
                  <a:cubicBezTo>
                    <a:pt x="64" y="29"/>
                    <a:pt x="62" y="33"/>
                    <a:pt x="60" y="34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60" y="36"/>
                    <a:pt x="60" y="38"/>
                    <a:pt x="58" y="38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5"/>
                    <a:pt x="56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4" y="35"/>
                    <a:pt x="54" y="34"/>
                    <a:pt x="54" y="34"/>
                  </a:cubicBezTo>
                  <a:cubicBezTo>
                    <a:pt x="53" y="32"/>
                    <a:pt x="55" y="31"/>
                    <a:pt x="56" y="30"/>
                  </a:cubicBezTo>
                  <a:cubicBezTo>
                    <a:pt x="56" y="30"/>
                    <a:pt x="55" y="30"/>
                    <a:pt x="55" y="30"/>
                  </a:cubicBezTo>
                  <a:cubicBezTo>
                    <a:pt x="53" y="30"/>
                    <a:pt x="51" y="30"/>
                    <a:pt x="50" y="28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8"/>
                    <a:pt x="49" y="29"/>
                    <a:pt x="49" y="29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1"/>
                    <a:pt x="48" y="31"/>
                  </a:cubicBezTo>
                  <a:cubicBezTo>
                    <a:pt x="49" y="32"/>
                    <a:pt x="49" y="32"/>
                    <a:pt x="49" y="33"/>
                  </a:cubicBezTo>
                  <a:cubicBezTo>
                    <a:pt x="49" y="34"/>
                    <a:pt x="49" y="35"/>
                    <a:pt x="49" y="37"/>
                  </a:cubicBezTo>
                  <a:cubicBezTo>
                    <a:pt x="49" y="37"/>
                    <a:pt x="50" y="38"/>
                    <a:pt x="50" y="38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6" y="39"/>
                    <a:pt x="46" y="39"/>
                  </a:cubicBezTo>
                  <a:cubicBezTo>
                    <a:pt x="46" y="39"/>
                    <a:pt x="45" y="39"/>
                    <a:pt x="45" y="40"/>
                  </a:cubicBezTo>
                  <a:cubicBezTo>
                    <a:pt x="45" y="42"/>
                    <a:pt x="43" y="43"/>
                    <a:pt x="42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0" y="45"/>
                    <a:pt x="40" y="45"/>
                    <a:pt x="40" y="46"/>
                  </a:cubicBezTo>
                  <a:cubicBezTo>
                    <a:pt x="39" y="46"/>
                    <a:pt x="39" y="47"/>
                    <a:pt x="38" y="47"/>
                  </a:cubicBezTo>
                  <a:cubicBezTo>
                    <a:pt x="38" y="47"/>
                    <a:pt x="38" y="48"/>
                    <a:pt x="37" y="48"/>
                  </a:cubicBezTo>
                  <a:cubicBezTo>
                    <a:pt x="36" y="49"/>
                    <a:pt x="35" y="49"/>
                    <a:pt x="34" y="50"/>
                  </a:cubicBezTo>
                  <a:cubicBezTo>
                    <a:pt x="34" y="51"/>
                    <a:pt x="33" y="51"/>
                    <a:pt x="33" y="52"/>
                  </a:cubicBezTo>
                  <a:cubicBezTo>
                    <a:pt x="32" y="52"/>
                    <a:pt x="32" y="52"/>
                    <a:pt x="31" y="53"/>
                  </a:cubicBezTo>
                  <a:cubicBezTo>
                    <a:pt x="31" y="53"/>
                    <a:pt x="31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4"/>
                    <a:pt x="29" y="54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6"/>
                    <a:pt x="29" y="56"/>
                    <a:pt x="29" y="57"/>
                  </a:cubicBezTo>
                  <a:cubicBezTo>
                    <a:pt x="30" y="58"/>
                    <a:pt x="30" y="59"/>
                    <a:pt x="29" y="60"/>
                  </a:cubicBezTo>
                  <a:cubicBezTo>
                    <a:pt x="29" y="62"/>
                    <a:pt x="29" y="63"/>
                    <a:pt x="29" y="65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7" y="66"/>
                    <a:pt x="27" y="67"/>
                    <a:pt x="27" y="68"/>
                  </a:cubicBezTo>
                  <a:cubicBezTo>
                    <a:pt x="27" y="68"/>
                    <a:pt x="26" y="69"/>
                    <a:pt x="26" y="69"/>
                  </a:cubicBezTo>
                  <a:cubicBezTo>
                    <a:pt x="25" y="69"/>
                    <a:pt x="25" y="69"/>
                    <a:pt x="25" y="70"/>
                  </a:cubicBezTo>
                  <a:cubicBezTo>
                    <a:pt x="24" y="71"/>
                    <a:pt x="24" y="71"/>
                    <a:pt x="23" y="71"/>
                  </a:cubicBezTo>
                  <a:close/>
                  <a:moveTo>
                    <a:pt x="15" y="53"/>
                  </a:moveTo>
                  <a:cubicBezTo>
                    <a:pt x="15" y="53"/>
                    <a:pt x="15" y="53"/>
                    <a:pt x="15" y="53"/>
                  </a:cubicBezTo>
                  <a:cubicBezTo>
                    <a:pt x="15" y="54"/>
                    <a:pt x="16" y="56"/>
                    <a:pt x="16" y="57"/>
                  </a:cubicBezTo>
                  <a:cubicBezTo>
                    <a:pt x="17" y="58"/>
                    <a:pt x="17" y="59"/>
                    <a:pt x="18" y="60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9" y="62"/>
                    <a:pt x="19" y="62"/>
                    <a:pt x="19" y="63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8"/>
                    <a:pt x="23" y="70"/>
                    <a:pt x="23" y="70"/>
                  </a:cubicBezTo>
                  <a:cubicBezTo>
                    <a:pt x="23" y="70"/>
                    <a:pt x="23" y="70"/>
                    <a:pt x="24" y="69"/>
                  </a:cubicBezTo>
                  <a:cubicBezTo>
                    <a:pt x="24" y="68"/>
                    <a:pt x="25" y="68"/>
                    <a:pt x="25" y="68"/>
                  </a:cubicBezTo>
                  <a:cubicBezTo>
                    <a:pt x="25" y="68"/>
                    <a:pt x="26" y="68"/>
                    <a:pt x="26" y="67"/>
                  </a:cubicBezTo>
                  <a:cubicBezTo>
                    <a:pt x="26" y="66"/>
                    <a:pt x="26" y="65"/>
                    <a:pt x="28" y="65"/>
                  </a:cubicBezTo>
                  <a:cubicBezTo>
                    <a:pt x="28" y="63"/>
                    <a:pt x="28" y="62"/>
                    <a:pt x="28" y="60"/>
                  </a:cubicBezTo>
                  <a:cubicBezTo>
                    <a:pt x="29" y="59"/>
                    <a:pt x="28" y="58"/>
                    <a:pt x="28" y="57"/>
                  </a:cubicBezTo>
                  <a:cubicBezTo>
                    <a:pt x="28" y="57"/>
                    <a:pt x="28" y="56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4"/>
                    <a:pt x="28" y="53"/>
                    <a:pt x="29" y="52"/>
                  </a:cubicBezTo>
                  <a:cubicBezTo>
                    <a:pt x="29" y="52"/>
                    <a:pt x="29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1" y="51"/>
                    <a:pt x="32" y="51"/>
                    <a:pt x="32" y="51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4" y="49"/>
                    <a:pt x="35" y="48"/>
                    <a:pt x="36" y="47"/>
                  </a:cubicBezTo>
                  <a:cubicBezTo>
                    <a:pt x="37" y="47"/>
                    <a:pt x="37" y="46"/>
                    <a:pt x="38" y="46"/>
                  </a:cubicBezTo>
                  <a:cubicBezTo>
                    <a:pt x="38" y="46"/>
                    <a:pt x="38" y="45"/>
                    <a:pt x="39" y="45"/>
                  </a:cubicBezTo>
                  <a:cubicBezTo>
                    <a:pt x="39" y="44"/>
                    <a:pt x="40" y="44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2" y="42"/>
                    <a:pt x="44" y="41"/>
                    <a:pt x="44" y="40"/>
                  </a:cubicBezTo>
                  <a:cubicBezTo>
                    <a:pt x="44" y="39"/>
                    <a:pt x="45" y="38"/>
                    <a:pt x="46" y="38"/>
                  </a:cubicBezTo>
                  <a:cubicBezTo>
                    <a:pt x="46" y="38"/>
                    <a:pt x="47" y="38"/>
                    <a:pt x="47" y="37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8" y="33"/>
                    <a:pt x="47" y="32"/>
                    <a:pt x="47" y="32"/>
                  </a:cubicBezTo>
                  <a:cubicBezTo>
                    <a:pt x="47" y="31"/>
                    <a:pt x="46" y="30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7"/>
                    <a:pt x="47" y="27"/>
                    <a:pt x="46" y="27"/>
                  </a:cubicBezTo>
                  <a:cubicBezTo>
                    <a:pt x="46" y="27"/>
                    <a:pt x="45" y="27"/>
                    <a:pt x="45" y="27"/>
                  </a:cubicBezTo>
                  <a:cubicBezTo>
                    <a:pt x="43" y="27"/>
                    <a:pt x="40" y="26"/>
                    <a:pt x="38" y="25"/>
                  </a:cubicBezTo>
                  <a:cubicBezTo>
                    <a:pt x="38" y="24"/>
                    <a:pt x="37" y="24"/>
                    <a:pt x="37" y="24"/>
                  </a:cubicBezTo>
                  <a:cubicBezTo>
                    <a:pt x="36" y="24"/>
                    <a:pt x="35" y="25"/>
                    <a:pt x="35" y="24"/>
                  </a:cubicBezTo>
                  <a:cubicBezTo>
                    <a:pt x="34" y="24"/>
                    <a:pt x="33" y="23"/>
                    <a:pt x="32" y="23"/>
                  </a:cubicBezTo>
                  <a:cubicBezTo>
                    <a:pt x="32" y="23"/>
                    <a:pt x="31" y="22"/>
                    <a:pt x="31" y="22"/>
                  </a:cubicBezTo>
                  <a:cubicBezTo>
                    <a:pt x="31" y="22"/>
                    <a:pt x="30" y="22"/>
                    <a:pt x="30" y="22"/>
                  </a:cubicBezTo>
                  <a:cubicBezTo>
                    <a:pt x="29" y="21"/>
                    <a:pt x="28" y="21"/>
                    <a:pt x="28" y="19"/>
                  </a:cubicBezTo>
                  <a:cubicBezTo>
                    <a:pt x="29" y="18"/>
                    <a:pt x="29" y="17"/>
                    <a:pt x="30" y="16"/>
                  </a:cubicBezTo>
                  <a:cubicBezTo>
                    <a:pt x="30" y="16"/>
                    <a:pt x="29" y="16"/>
                    <a:pt x="29" y="16"/>
                  </a:cubicBezTo>
                  <a:cubicBezTo>
                    <a:pt x="26" y="15"/>
                    <a:pt x="26" y="15"/>
                    <a:pt x="26" y="14"/>
                  </a:cubicBezTo>
                  <a:cubicBezTo>
                    <a:pt x="25" y="13"/>
                    <a:pt x="24" y="10"/>
                    <a:pt x="25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9"/>
                    <a:pt x="26" y="8"/>
                    <a:pt x="26" y="8"/>
                  </a:cubicBezTo>
                  <a:cubicBezTo>
                    <a:pt x="26" y="7"/>
                    <a:pt x="25" y="7"/>
                    <a:pt x="26" y="6"/>
                  </a:cubicBezTo>
                  <a:cubicBezTo>
                    <a:pt x="26" y="6"/>
                    <a:pt x="26" y="6"/>
                    <a:pt x="26" y="5"/>
                  </a:cubicBezTo>
                  <a:cubicBezTo>
                    <a:pt x="27" y="5"/>
                    <a:pt x="28" y="4"/>
                    <a:pt x="29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8" y="1"/>
                    <a:pt x="27" y="1"/>
                  </a:cubicBezTo>
                  <a:cubicBezTo>
                    <a:pt x="27" y="1"/>
                    <a:pt x="26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3" y="3"/>
                    <a:pt x="23" y="3"/>
                  </a:cubicBezTo>
                  <a:cubicBezTo>
                    <a:pt x="22" y="4"/>
                    <a:pt x="21" y="4"/>
                    <a:pt x="20" y="4"/>
                  </a:cubicBezTo>
                  <a:cubicBezTo>
                    <a:pt x="19" y="5"/>
                    <a:pt x="18" y="5"/>
                    <a:pt x="17" y="4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5" y="4"/>
                    <a:pt x="15" y="4"/>
                    <a:pt x="15" y="5"/>
                  </a:cubicBezTo>
                  <a:cubicBezTo>
                    <a:pt x="15" y="5"/>
                    <a:pt x="15" y="5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8"/>
                    <a:pt x="16" y="8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8" y="10"/>
                    <a:pt x="18" y="10"/>
                  </a:cubicBezTo>
                  <a:cubicBezTo>
                    <a:pt x="18" y="10"/>
                    <a:pt x="19" y="11"/>
                    <a:pt x="19" y="11"/>
                  </a:cubicBezTo>
                  <a:cubicBezTo>
                    <a:pt x="18" y="12"/>
                    <a:pt x="18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5" y="17"/>
                    <a:pt x="14" y="18"/>
                  </a:cubicBezTo>
                  <a:cubicBezTo>
                    <a:pt x="12" y="21"/>
                    <a:pt x="10" y="23"/>
                    <a:pt x="8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7" y="27"/>
                  </a:cubicBezTo>
                  <a:cubicBezTo>
                    <a:pt x="7" y="28"/>
                    <a:pt x="7" y="28"/>
                    <a:pt x="8" y="28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9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2"/>
                    <a:pt x="7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2"/>
                    <a:pt x="5" y="32"/>
                    <a:pt x="3" y="32"/>
                  </a:cubicBezTo>
                  <a:cubicBezTo>
                    <a:pt x="3" y="33"/>
                    <a:pt x="2" y="33"/>
                    <a:pt x="2" y="33"/>
                  </a:cubicBezTo>
                  <a:cubicBezTo>
                    <a:pt x="3" y="35"/>
                    <a:pt x="4" y="35"/>
                    <a:pt x="6" y="3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7"/>
                    <a:pt x="5" y="37"/>
                    <a:pt x="4" y="37"/>
                  </a:cubicBezTo>
                  <a:cubicBezTo>
                    <a:pt x="5" y="39"/>
                    <a:pt x="7" y="40"/>
                    <a:pt x="8" y="40"/>
                  </a:cubicBezTo>
                  <a:cubicBezTo>
                    <a:pt x="9" y="40"/>
                    <a:pt x="9" y="39"/>
                    <a:pt x="9" y="38"/>
                  </a:cubicBezTo>
                  <a:cubicBezTo>
                    <a:pt x="10" y="37"/>
                    <a:pt x="10" y="36"/>
                    <a:pt x="11" y="36"/>
                  </a:cubicBezTo>
                  <a:cubicBezTo>
                    <a:pt x="11" y="36"/>
                    <a:pt x="12" y="36"/>
                    <a:pt x="12" y="36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8"/>
                    <a:pt x="12" y="42"/>
                    <a:pt x="12" y="47"/>
                  </a:cubicBezTo>
                  <a:cubicBezTo>
                    <a:pt x="13" y="51"/>
                    <a:pt x="14" y="52"/>
                    <a:pt x="15" y="53"/>
                  </a:cubicBezTo>
                  <a:close/>
                  <a:moveTo>
                    <a:pt x="48" y="36"/>
                  </a:move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6"/>
                    <a:pt x="48" y="36"/>
                  </a:cubicBezTo>
                  <a:close/>
                  <a:moveTo>
                    <a:pt x="57" y="31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57" y="34"/>
                    <a:pt x="58" y="35"/>
                    <a:pt x="58" y="36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36"/>
                    <a:pt x="58" y="36"/>
                    <a:pt x="58" y="35"/>
                  </a:cubicBezTo>
                  <a:cubicBezTo>
                    <a:pt x="58" y="34"/>
                    <a:pt x="58" y="33"/>
                    <a:pt x="60" y="32"/>
                  </a:cubicBezTo>
                  <a:cubicBezTo>
                    <a:pt x="61" y="32"/>
                    <a:pt x="63" y="29"/>
                    <a:pt x="63" y="27"/>
                  </a:cubicBezTo>
                  <a:cubicBezTo>
                    <a:pt x="63" y="25"/>
                    <a:pt x="66" y="24"/>
                    <a:pt x="67" y="24"/>
                  </a:cubicBezTo>
                  <a:cubicBezTo>
                    <a:pt x="67" y="24"/>
                    <a:pt x="68" y="23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6" y="21"/>
                  </a:cubicBezTo>
                  <a:cubicBezTo>
                    <a:pt x="66" y="21"/>
                    <a:pt x="66" y="21"/>
                    <a:pt x="66" y="20"/>
                  </a:cubicBezTo>
                  <a:cubicBezTo>
                    <a:pt x="66" y="20"/>
                    <a:pt x="65" y="19"/>
                    <a:pt x="65" y="19"/>
                  </a:cubicBezTo>
                  <a:cubicBezTo>
                    <a:pt x="65" y="19"/>
                    <a:pt x="64" y="20"/>
                    <a:pt x="63" y="20"/>
                  </a:cubicBezTo>
                  <a:cubicBezTo>
                    <a:pt x="63" y="20"/>
                    <a:pt x="62" y="20"/>
                    <a:pt x="61" y="21"/>
                  </a:cubicBezTo>
                  <a:cubicBezTo>
                    <a:pt x="61" y="21"/>
                    <a:pt x="60" y="21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8" y="24"/>
                    <a:pt x="57" y="25"/>
                  </a:cubicBezTo>
                  <a:cubicBezTo>
                    <a:pt x="57" y="25"/>
                    <a:pt x="57" y="26"/>
                    <a:pt x="56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1" y="26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9"/>
                    <a:pt x="53" y="29"/>
                    <a:pt x="55" y="29"/>
                  </a:cubicBezTo>
                  <a:cubicBezTo>
                    <a:pt x="56" y="29"/>
                    <a:pt x="56" y="29"/>
                    <a:pt x="57" y="29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1"/>
                    <a:pt x="57" y="31"/>
                  </a:cubicBezTo>
                  <a:cubicBezTo>
                    <a:pt x="56" y="32"/>
                    <a:pt x="55" y="33"/>
                    <a:pt x="55" y="33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6" y="34"/>
                    <a:pt x="56" y="34"/>
                  </a:cubicBezTo>
                  <a:cubicBezTo>
                    <a:pt x="56" y="33"/>
                    <a:pt x="56" y="33"/>
                    <a:pt x="56" y="33"/>
                  </a:cubicBezTo>
                  <a:lnTo>
                    <a:pt x="57" y="31"/>
                  </a:lnTo>
                  <a:close/>
                  <a:moveTo>
                    <a:pt x="48" y="25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5"/>
                    <a:pt x="49" y="25"/>
                  </a:cubicBezTo>
                  <a:cubicBezTo>
                    <a:pt x="48" y="25"/>
                    <a:pt x="48" y="24"/>
                    <a:pt x="49" y="24"/>
                  </a:cubicBezTo>
                  <a:cubicBezTo>
                    <a:pt x="48" y="24"/>
                    <a:pt x="48" y="23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4"/>
                    <a:pt x="48" y="24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lnTo>
                    <a:pt x="48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3" name="Freeform 679"/>
            <p:cNvSpPr/>
            <p:nvPr/>
          </p:nvSpPr>
          <p:spPr bwMode="auto">
            <a:xfrm>
              <a:off x="3247133" y="2137942"/>
              <a:ext cx="544513" cy="266701"/>
            </a:xfrm>
            <a:custGeom>
              <a:avLst/>
              <a:gdLst>
                <a:gd name="T0" fmla="*/ 0 w 73"/>
                <a:gd name="T1" fmla="*/ 2147483646 h 36"/>
                <a:gd name="T2" fmla="*/ 2147483646 w 73"/>
                <a:gd name="T3" fmla="*/ 2147483646 h 36"/>
                <a:gd name="T4" fmla="*/ 2147483646 w 73"/>
                <a:gd name="T5" fmla="*/ 2147483646 h 36"/>
                <a:gd name="T6" fmla="*/ 2147483646 w 73"/>
                <a:gd name="T7" fmla="*/ 2147483646 h 36"/>
                <a:gd name="T8" fmla="*/ 2147483646 w 73"/>
                <a:gd name="T9" fmla="*/ 2147483646 h 36"/>
                <a:gd name="T10" fmla="*/ 2147483646 w 73"/>
                <a:gd name="T11" fmla="*/ 2147483646 h 36"/>
                <a:gd name="T12" fmla="*/ 2147483646 w 73"/>
                <a:gd name="T13" fmla="*/ 2147483646 h 36"/>
                <a:gd name="T14" fmla="*/ 2147483646 w 73"/>
                <a:gd name="T15" fmla="*/ 2147483646 h 36"/>
                <a:gd name="T16" fmla="*/ 2147483646 w 73"/>
                <a:gd name="T17" fmla="*/ 2147483646 h 36"/>
                <a:gd name="T18" fmla="*/ 2147483646 w 73"/>
                <a:gd name="T19" fmla="*/ 2147483646 h 36"/>
                <a:gd name="T20" fmla="*/ 2147483646 w 73"/>
                <a:gd name="T21" fmla="*/ 2147483646 h 36"/>
                <a:gd name="T22" fmla="*/ 2147483646 w 73"/>
                <a:gd name="T23" fmla="*/ 2147483646 h 36"/>
                <a:gd name="T24" fmla="*/ 2147483646 w 73"/>
                <a:gd name="T25" fmla="*/ 2147483646 h 36"/>
                <a:gd name="T26" fmla="*/ 2147483646 w 73"/>
                <a:gd name="T27" fmla="*/ 2147483646 h 36"/>
                <a:gd name="T28" fmla="*/ 2147483646 w 73"/>
                <a:gd name="T29" fmla="*/ 2147483646 h 36"/>
                <a:gd name="T30" fmla="*/ 2147483646 w 73"/>
                <a:gd name="T31" fmla="*/ 2147483646 h 36"/>
                <a:gd name="T32" fmla="*/ 2147483646 w 73"/>
                <a:gd name="T33" fmla="*/ 2147483646 h 36"/>
                <a:gd name="T34" fmla="*/ 2147483646 w 73"/>
                <a:gd name="T35" fmla="*/ 2147483646 h 36"/>
                <a:gd name="T36" fmla="*/ 2147483646 w 73"/>
                <a:gd name="T37" fmla="*/ 2147483646 h 36"/>
                <a:gd name="T38" fmla="*/ 2147483646 w 73"/>
                <a:gd name="T39" fmla="*/ 2147483646 h 36"/>
                <a:gd name="T40" fmla="*/ 2147483646 w 73"/>
                <a:gd name="T41" fmla="*/ 2147483646 h 36"/>
                <a:gd name="T42" fmla="*/ 2147483646 w 73"/>
                <a:gd name="T43" fmla="*/ 2147483646 h 36"/>
                <a:gd name="T44" fmla="*/ 2147483646 w 73"/>
                <a:gd name="T45" fmla="*/ 2147483646 h 36"/>
                <a:gd name="T46" fmla="*/ 2147483646 w 73"/>
                <a:gd name="T47" fmla="*/ 2147483646 h 36"/>
                <a:gd name="T48" fmla="*/ 2147483646 w 73"/>
                <a:gd name="T49" fmla="*/ 2147483646 h 36"/>
                <a:gd name="T50" fmla="*/ 2147483646 w 73"/>
                <a:gd name="T51" fmla="*/ 2147483646 h 36"/>
                <a:gd name="T52" fmla="*/ 2147483646 w 73"/>
                <a:gd name="T53" fmla="*/ 2147483646 h 36"/>
                <a:gd name="T54" fmla="*/ 2147483646 w 73"/>
                <a:gd name="T55" fmla="*/ 2147483646 h 36"/>
                <a:gd name="T56" fmla="*/ 2147483646 w 73"/>
                <a:gd name="T57" fmla="*/ 2147483646 h 36"/>
                <a:gd name="T58" fmla="*/ 2147483646 w 73"/>
                <a:gd name="T59" fmla="*/ 2147483646 h 36"/>
                <a:gd name="T60" fmla="*/ 2147483646 w 73"/>
                <a:gd name="T61" fmla="*/ 0 h 36"/>
                <a:gd name="T62" fmla="*/ 2147483646 w 73"/>
                <a:gd name="T63" fmla="*/ 2147483646 h 36"/>
                <a:gd name="T64" fmla="*/ 2147483646 w 73"/>
                <a:gd name="T65" fmla="*/ 2147483646 h 36"/>
                <a:gd name="T66" fmla="*/ 2147483646 w 73"/>
                <a:gd name="T67" fmla="*/ 2147483646 h 36"/>
                <a:gd name="T68" fmla="*/ 2147483646 w 73"/>
                <a:gd name="T69" fmla="*/ 2147483646 h 36"/>
                <a:gd name="T70" fmla="*/ 0 w 73"/>
                <a:gd name="T71" fmla="*/ 2147483646 h 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3" h="36">
                  <a:moveTo>
                    <a:pt x="0" y="12"/>
                  </a:moveTo>
                  <a:cubicBezTo>
                    <a:pt x="0" y="13"/>
                    <a:pt x="1" y="15"/>
                    <a:pt x="3" y="15"/>
                  </a:cubicBezTo>
                  <a:cubicBezTo>
                    <a:pt x="6" y="16"/>
                    <a:pt x="5" y="17"/>
                    <a:pt x="6" y="20"/>
                  </a:cubicBezTo>
                  <a:cubicBezTo>
                    <a:pt x="7" y="20"/>
                    <a:pt x="6" y="24"/>
                    <a:pt x="6" y="24"/>
                  </a:cubicBezTo>
                  <a:cubicBezTo>
                    <a:pt x="8" y="25"/>
                    <a:pt x="11" y="25"/>
                    <a:pt x="12" y="25"/>
                  </a:cubicBezTo>
                  <a:cubicBezTo>
                    <a:pt x="14" y="26"/>
                    <a:pt x="16" y="26"/>
                    <a:pt x="17" y="28"/>
                  </a:cubicBezTo>
                  <a:cubicBezTo>
                    <a:pt x="18" y="29"/>
                    <a:pt x="20" y="32"/>
                    <a:pt x="21" y="32"/>
                  </a:cubicBezTo>
                  <a:cubicBezTo>
                    <a:pt x="24" y="32"/>
                    <a:pt x="26" y="32"/>
                    <a:pt x="29" y="32"/>
                  </a:cubicBezTo>
                  <a:cubicBezTo>
                    <a:pt x="31" y="32"/>
                    <a:pt x="32" y="34"/>
                    <a:pt x="34" y="34"/>
                  </a:cubicBezTo>
                  <a:cubicBezTo>
                    <a:pt x="35" y="34"/>
                    <a:pt x="38" y="36"/>
                    <a:pt x="39" y="36"/>
                  </a:cubicBezTo>
                  <a:cubicBezTo>
                    <a:pt x="41" y="35"/>
                    <a:pt x="44" y="34"/>
                    <a:pt x="46" y="33"/>
                  </a:cubicBezTo>
                  <a:cubicBezTo>
                    <a:pt x="48" y="33"/>
                    <a:pt x="49" y="34"/>
                    <a:pt x="51" y="33"/>
                  </a:cubicBezTo>
                  <a:cubicBezTo>
                    <a:pt x="52" y="32"/>
                    <a:pt x="56" y="29"/>
                    <a:pt x="55" y="29"/>
                  </a:cubicBezTo>
                  <a:cubicBezTo>
                    <a:pt x="55" y="27"/>
                    <a:pt x="54" y="25"/>
                    <a:pt x="56" y="25"/>
                  </a:cubicBezTo>
                  <a:cubicBezTo>
                    <a:pt x="57" y="25"/>
                    <a:pt x="58" y="26"/>
                    <a:pt x="59" y="26"/>
                  </a:cubicBezTo>
                  <a:cubicBezTo>
                    <a:pt x="60" y="26"/>
                    <a:pt x="61" y="24"/>
                    <a:pt x="62" y="23"/>
                  </a:cubicBezTo>
                  <a:cubicBezTo>
                    <a:pt x="63" y="23"/>
                    <a:pt x="63" y="23"/>
                    <a:pt x="64" y="23"/>
                  </a:cubicBezTo>
                  <a:cubicBezTo>
                    <a:pt x="65" y="22"/>
                    <a:pt x="66" y="21"/>
                    <a:pt x="67" y="20"/>
                  </a:cubicBezTo>
                  <a:cubicBezTo>
                    <a:pt x="68" y="19"/>
                    <a:pt x="72" y="19"/>
                    <a:pt x="73" y="19"/>
                  </a:cubicBezTo>
                  <a:cubicBezTo>
                    <a:pt x="72" y="19"/>
                    <a:pt x="72" y="18"/>
                    <a:pt x="72" y="17"/>
                  </a:cubicBezTo>
                  <a:cubicBezTo>
                    <a:pt x="72" y="16"/>
                    <a:pt x="71" y="16"/>
                    <a:pt x="70" y="15"/>
                  </a:cubicBezTo>
                  <a:cubicBezTo>
                    <a:pt x="70" y="15"/>
                    <a:pt x="67" y="16"/>
                    <a:pt x="66" y="16"/>
                  </a:cubicBezTo>
                  <a:cubicBezTo>
                    <a:pt x="64" y="16"/>
                    <a:pt x="64" y="15"/>
                    <a:pt x="64" y="13"/>
                  </a:cubicBezTo>
                  <a:cubicBezTo>
                    <a:pt x="64" y="11"/>
                    <a:pt x="65" y="10"/>
                    <a:pt x="66" y="8"/>
                  </a:cubicBezTo>
                  <a:cubicBezTo>
                    <a:pt x="64" y="9"/>
                    <a:pt x="62" y="7"/>
                    <a:pt x="61" y="7"/>
                  </a:cubicBezTo>
                  <a:cubicBezTo>
                    <a:pt x="60" y="8"/>
                    <a:pt x="59" y="9"/>
                    <a:pt x="57" y="10"/>
                  </a:cubicBezTo>
                  <a:cubicBezTo>
                    <a:pt x="55" y="10"/>
                    <a:pt x="50" y="12"/>
                    <a:pt x="48" y="10"/>
                  </a:cubicBezTo>
                  <a:cubicBezTo>
                    <a:pt x="46" y="8"/>
                    <a:pt x="41" y="5"/>
                    <a:pt x="39" y="6"/>
                  </a:cubicBezTo>
                  <a:cubicBezTo>
                    <a:pt x="37" y="7"/>
                    <a:pt x="36" y="7"/>
                    <a:pt x="34" y="6"/>
                  </a:cubicBezTo>
                  <a:cubicBezTo>
                    <a:pt x="32" y="5"/>
                    <a:pt x="33" y="3"/>
                    <a:pt x="31" y="2"/>
                  </a:cubicBezTo>
                  <a:cubicBezTo>
                    <a:pt x="30" y="2"/>
                    <a:pt x="27" y="0"/>
                    <a:pt x="26" y="0"/>
                  </a:cubicBezTo>
                  <a:cubicBezTo>
                    <a:pt x="24" y="2"/>
                    <a:pt x="23" y="2"/>
                    <a:pt x="23" y="4"/>
                  </a:cubicBezTo>
                  <a:cubicBezTo>
                    <a:pt x="24" y="9"/>
                    <a:pt x="21" y="8"/>
                    <a:pt x="17" y="8"/>
                  </a:cubicBezTo>
                  <a:cubicBezTo>
                    <a:pt x="16" y="8"/>
                    <a:pt x="15" y="6"/>
                    <a:pt x="14" y="6"/>
                  </a:cubicBezTo>
                  <a:cubicBezTo>
                    <a:pt x="13" y="6"/>
                    <a:pt x="10" y="5"/>
                    <a:pt x="9" y="6"/>
                  </a:cubicBezTo>
                  <a:cubicBezTo>
                    <a:pt x="6" y="7"/>
                    <a:pt x="1" y="9"/>
                    <a:pt x="0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4" name="Freeform 680"/>
            <p:cNvSpPr>
              <a:spLocks noEditPoints="1"/>
            </p:cNvSpPr>
            <p:nvPr/>
          </p:nvSpPr>
          <p:spPr bwMode="auto">
            <a:xfrm>
              <a:off x="3240783" y="2128417"/>
              <a:ext cx="557213" cy="276226"/>
            </a:xfrm>
            <a:custGeom>
              <a:avLst/>
              <a:gdLst>
                <a:gd name="T0" fmla="*/ 2147483646 w 75"/>
                <a:gd name="T1" fmla="*/ 2147483646 h 37"/>
                <a:gd name="T2" fmla="*/ 2147483646 w 75"/>
                <a:gd name="T3" fmla="*/ 2147483646 h 37"/>
                <a:gd name="T4" fmla="*/ 2147483646 w 75"/>
                <a:gd name="T5" fmla="*/ 2147483646 h 37"/>
                <a:gd name="T6" fmla="*/ 2147483646 w 75"/>
                <a:gd name="T7" fmla="*/ 2147483646 h 37"/>
                <a:gd name="T8" fmla="*/ 2147483646 w 75"/>
                <a:gd name="T9" fmla="*/ 2147483646 h 37"/>
                <a:gd name="T10" fmla="*/ 0 w 75"/>
                <a:gd name="T11" fmla="*/ 2147483646 h 37"/>
                <a:gd name="T12" fmla="*/ 2147483646 w 75"/>
                <a:gd name="T13" fmla="*/ 2147483646 h 37"/>
                <a:gd name="T14" fmla="*/ 2147483646 w 75"/>
                <a:gd name="T15" fmla="*/ 2147483646 h 37"/>
                <a:gd name="T16" fmla="*/ 2147483646 w 75"/>
                <a:gd name="T17" fmla="*/ 2147483646 h 37"/>
                <a:gd name="T18" fmla="*/ 2147483646 w 75"/>
                <a:gd name="T19" fmla="*/ 2147483646 h 37"/>
                <a:gd name="T20" fmla="*/ 2147483646 w 75"/>
                <a:gd name="T21" fmla="*/ 2147483646 h 37"/>
                <a:gd name="T22" fmla="*/ 2147483646 w 75"/>
                <a:gd name="T23" fmla="*/ 2147483646 h 37"/>
                <a:gd name="T24" fmla="*/ 2147483646 w 75"/>
                <a:gd name="T25" fmla="*/ 2147483646 h 37"/>
                <a:gd name="T26" fmla="*/ 2147483646 w 75"/>
                <a:gd name="T27" fmla="*/ 2147483646 h 37"/>
                <a:gd name="T28" fmla="*/ 2147483646 w 75"/>
                <a:gd name="T29" fmla="*/ 2147483646 h 37"/>
                <a:gd name="T30" fmla="*/ 2147483646 w 75"/>
                <a:gd name="T31" fmla="*/ 2147483646 h 37"/>
                <a:gd name="T32" fmla="*/ 2147483646 w 75"/>
                <a:gd name="T33" fmla="*/ 2147483646 h 37"/>
                <a:gd name="T34" fmla="*/ 2147483646 w 75"/>
                <a:gd name="T35" fmla="*/ 2147483646 h 37"/>
                <a:gd name="T36" fmla="*/ 2147483646 w 75"/>
                <a:gd name="T37" fmla="*/ 2147483646 h 37"/>
                <a:gd name="T38" fmla="*/ 2147483646 w 75"/>
                <a:gd name="T39" fmla="*/ 2147483646 h 37"/>
                <a:gd name="T40" fmla="*/ 2147483646 w 75"/>
                <a:gd name="T41" fmla="*/ 2147483646 h 37"/>
                <a:gd name="T42" fmla="*/ 2147483646 w 75"/>
                <a:gd name="T43" fmla="*/ 2147483646 h 37"/>
                <a:gd name="T44" fmla="*/ 2147483646 w 75"/>
                <a:gd name="T45" fmla="*/ 2147483646 h 37"/>
                <a:gd name="T46" fmla="*/ 2147483646 w 75"/>
                <a:gd name="T47" fmla="*/ 2147483646 h 37"/>
                <a:gd name="T48" fmla="*/ 2147483646 w 75"/>
                <a:gd name="T49" fmla="*/ 2147483646 h 37"/>
                <a:gd name="T50" fmla="*/ 2147483646 w 75"/>
                <a:gd name="T51" fmla="*/ 2147483646 h 37"/>
                <a:gd name="T52" fmla="*/ 2147483646 w 75"/>
                <a:gd name="T53" fmla="*/ 2147483646 h 37"/>
                <a:gd name="T54" fmla="*/ 2147483646 w 75"/>
                <a:gd name="T55" fmla="*/ 2147483646 h 37"/>
                <a:gd name="T56" fmla="*/ 2147483646 w 75"/>
                <a:gd name="T57" fmla="*/ 2147483646 h 37"/>
                <a:gd name="T58" fmla="*/ 2147483646 w 75"/>
                <a:gd name="T59" fmla="*/ 2147483646 h 37"/>
                <a:gd name="T60" fmla="*/ 2147483646 w 75"/>
                <a:gd name="T61" fmla="*/ 2147483646 h 37"/>
                <a:gd name="T62" fmla="*/ 2147483646 w 75"/>
                <a:gd name="T63" fmla="*/ 2147483646 h 37"/>
                <a:gd name="T64" fmla="*/ 2147483646 w 75"/>
                <a:gd name="T65" fmla="*/ 2147483646 h 37"/>
                <a:gd name="T66" fmla="*/ 2147483646 w 75"/>
                <a:gd name="T67" fmla="*/ 2147483646 h 37"/>
                <a:gd name="T68" fmla="*/ 2147483646 w 75"/>
                <a:gd name="T69" fmla="*/ 2147483646 h 37"/>
                <a:gd name="T70" fmla="*/ 2147483646 w 75"/>
                <a:gd name="T71" fmla="*/ 2147483646 h 37"/>
                <a:gd name="T72" fmla="*/ 2147483646 w 75"/>
                <a:gd name="T73" fmla="*/ 2147483646 h 37"/>
                <a:gd name="T74" fmla="*/ 2147483646 w 75"/>
                <a:gd name="T75" fmla="*/ 2147483646 h 37"/>
                <a:gd name="T76" fmla="*/ 2147483646 w 75"/>
                <a:gd name="T77" fmla="*/ 2147483646 h 37"/>
                <a:gd name="T78" fmla="*/ 2147483646 w 75"/>
                <a:gd name="T79" fmla="*/ 2147483646 h 37"/>
                <a:gd name="T80" fmla="*/ 2147483646 w 75"/>
                <a:gd name="T81" fmla="*/ 2147483646 h 37"/>
                <a:gd name="T82" fmla="*/ 2147483646 w 75"/>
                <a:gd name="T83" fmla="*/ 2147483646 h 37"/>
                <a:gd name="T84" fmla="*/ 2147483646 w 75"/>
                <a:gd name="T85" fmla="*/ 2147483646 h 37"/>
                <a:gd name="T86" fmla="*/ 2147483646 w 75"/>
                <a:gd name="T87" fmla="*/ 2147483646 h 37"/>
                <a:gd name="T88" fmla="*/ 2147483646 w 75"/>
                <a:gd name="T89" fmla="*/ 2147483646 h 37"/>
                <a:gd name="T90" fmla="*/ 2147483646 w 75"/>
                <a:gd name="T91" fmla="*/ 2147483646 h 37"/>
                <a:gd name="T92" fmla="*/ 2147483646 w 75"/>
                <a:gd name="T93" fmla="*/ 2147483646 h 37"/>
                <a:gd name="T94" fmla="*/ 2147483646 w 75"/>
                <a:gd name="T95" fmla="*/ 2147483646 h 37"/>
                <a:gd name="T96" fmla="*/ 2147483646 w 75"/>
                <a:gd name="T97" fmla="*/ 2147483646 h 37"/>
                <a:gd name="T98" fmla="*/ 2147483646 w 75"/>
                <a:gd name="T99" fmla="*/ 2147483646 h 3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75" h="37">
                  <a:moveTo>
                    <a:pt x="40" y="37"/>
                  </a:moveTo>
                  <a:cubicBezTo>
                    <a:pt x="39" y="37"/>
                    <a:pt x="37" y="37"/>
                    <a:pt x="36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5"/>
                    <a:pt x="33" y="35"/>
                    <a:pt x="32" y="35"/>
                  </a:cubicBezTo>
                  <a:cubicBezTo>
                    <a:pt x="32" y="34"/>
                    <a:pt x="31" y="34"/>
                    <a:pt x="30" y="34"/>
                  </a:cubicBezTo>
                  <a:cubicBezTo>
                    <a:pt x="27" y="34"/>
                    <a:pt x="25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1" y="34"/>
                    <a:pt x="20" y="32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7" y="28"/>
                    <a:pt x="16" y="28"/>
                    <a:pt x="14" y="27"/>
                  </a:cubicBezTo>
                  <a:cubicBezTo>
                    <a:pt x="14" y="27"/>
                    <a:pt x="13" y="27"/>
                    <a:pt x="13" y="27"/>
                  </a:cubicBezTo>
                  <a:cubicBezTo>
                    <a:pt x="12" y="26"/>
                    <a:pt x="11" y="26"/>
                    <a:pt x="10" y="26"/>
                  </a:cubicBezTo>
                  <a:cubicBezTo>
                    <a:pt x="9" y="26"/>
                    <a:pt x="8" y="26"/>
                    <a:pt x="7" y="26"/>
                  </a:cubicBezTo>
                  <a:cubicBezTo>
                    <a:pt x="7" y="25"/>
                    <a:pt x="7" y="25"/>
                    <a:pt x="7" y="24"/>
                  </a:cubicBezTo>
                  <a:cubicBezTo>
                    <a:pt x="7" y="23"/>
                    <a:pt x="7" y="21"/>
                    <a:pt x="7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18"/>
                    <a:pt x="6" y="17"/>
                    <a:pt x="4" y="17"/>
                  </a:cubicBezTo>
                  <a:cubicBezTo>
                    <a:pt x="2" y="17"/>
                    <a:pt x="1" y="14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9"/>
                    <a:pt x="6" y="8"/>
                    <a:pt x="10" y="6"/>
                  </a:cubicBezTo>
                  <a:cubicBezTo>
                    <a:pt x="11" y="6"/>
                    <a:pt x="12" y="6"/>
                    <a:pt x="14" y="6"/>
                  </a:cubicBezTo>
                  <a:cubicBezTo>
                    <a:pt x="14" y="7"/>
                    <a:pt x="15" y="7"/>
                    <a:pt x="15" y="7"/>
                  </a:cubicBezTo>
                  <a:cubicBezTo>
                    <a:pt x="16" y="7"/>
                    <a:pt x="16" y="7"/>
                    <a:pt x="17" y="8"/>
                  </a:cubicBezTo>
                  <a:cubicBezTo>
                    <a:pt x="17" y="8"/>
                    <a:pt x="18" y="8"/>
                    <a:pt x="18" y="8"/>
                  </a:cubicBezTo>
                  <a:cubicBezTo>
                    <a:pt x="19" y="8"/>
                    <a:pt x="19" y="8"/>
                    <a:pt x="20" y="8"/>
                  </a:cubicBezTo>
                  <a:cubicBezTo>
                    <a:pt x="20" y="8"/>
                    <a:pt x="21" y="8"/>
                    <a:pt x="21" y="8"/>
                  </a:cubicBezTo>
                  <a:cubicBezTo>
                    <a:pt x="23" y="8"/>
                    <a:pt x="23" y="8"/>
                    <a:pt x="24" y="8"/>
                  </a:cubicBezTo>
                  <a:cubicBezTo>
                    <a:pt x="24" y="7"/>
                    <a:pt x="24" y="7"/>
                    <a:pt x="24" y="6"/>
                  </a:cubicBezTo>
                  <a:cubicBezTo>
                    <a:pt x="23" y="3"/>
                    <a:pt x="24" y="2"/>
                    <a:pt x="26" y="2"/>
                  </a:cubicBezTo>
                  <a:cubicBezTo>
                    <a:pt x="26" y="1"/>
                    <a:pt x="26" y="1"/>
                    <a:pt x="27" y="1"/>
                  </a:cubicBezTo>
                  <a:cubicBezTo>
                    <a:pt x="27" y="1"/>
                    <a:pt x="27" y="0"/>
                    <a:pt x="27" y="0"/>
                  </a:cubicBezTo>
                  <a:cubicBezTo>
                    <a:pt x="28" y="0"/>
                    <a:pt x="30" y="1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3"/>
                    <a:pt x="34" y="4"/>
                    <a:pt x="34" y="5"/>
                  </a:cubicBezTo>
                  <a:cubicBezTo>
                    <a:pt x="34" y="5"/>
                    <a:pt x="35" y="6"/>
                    <a:pt x="35" y="6"/>
                  </a:cubicBezTo>
                  <a:cubicBezTo>
                    <a:pt x="37" y="8"/>
                    <a:pt x="37" y="7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1" y="5"/>
                    <a:pt x="45" y="7"/>
                    <a:pt x="49" y="10"/>
                  </a:cubicBezTo>
                  <a:cubicBezTo>
                    <a:pt x="50" y="11"/>
                    <a:pt x="51" y="11"/>
                    <a:pt x="52" y="11"/>
                  </a:cubicBezTo>
                  <a:cubicBezTo>
                    <a:pt x="54" y="11"/>
                    <a:pt x="56" y="11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9" y="10"/>
                    <a:pt x="60" y="9"/>
                    <a:pt x="61" y="9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3" y="7"/>
                    <a:pt x="63" y="8"/>
                    <a:pt x="64" y="8"/>
                  </a:cubicBezTo>
                  <a:cubicBezTo>
                    <a:pt x="65" y="8"/>
                    <a:pt x="66" y="9"/>
                    <a:pt x="67" y="9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6" y="11"/>
                    <a:pt x="66" y="12"/>
                    <a:pt x="65" y="14"/>
                  </a:cubicBezTo>
                  <a:cubicBezTo>
                    <a:pt x="65" y="16"/>
                    <a:pt x="65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8" y="17"/>
                    <a:pt x="69" y="16"/>
                    <a:pt x="69" y="16"/>
                  </a:cubicBezTo>
                  <a:cubicBezTo>
                    <a:pt x="70" y="16"/>
                    <a:pt x="71" y="15"/>
                    <a:pt x="71" y="15"/>
                  </a:cubicBezTo>
                  <a:cubicBezTo>
                    <a:pt x="71" y="15"/>
                    <a:pt x="72" y="15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7"/>
                    <a:pt x="74" y="17"/>
                    <a:pt x="74" y="18"/>
                  </a:cubicBezTo>
                  <a:cubicBezTo>
                    <a:pt x="74" y="19"/>
                    <a:pt x="74" y="19"/>
                    <a:pt x="74" y="20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3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1" y="21"/>
                  </a:cubicBezTo>
                  <a:cubicBezTo>
                    <a:pt x="69" y="21"/>
                    <a:pt x="68" y="21"/>
                    <a:pt x="68" y="21"/>
                  </a:cubicBezTo>
                  <a:cubicBezTo>
                    <a:pt x="68" y="22"/>
                    <a:pt x="68" y="22"/>
                    <a:pt x="67" y="22"/>
                  </a:cubicBezTo>
                  <a:cubicBezTo>
                    <a:pt x="67" y="23"/>
                    <a:pt x="66" y="24"/>
                    <a:pt x="65" y="24"/>
                  </a:cubicBezTo>
                  <a:cubicBezTo>
                    <a:pt x="65" y="24"/>
                    <a:pt x="65" y="25"/>
                    <a:pt x="64" y="25"/>
                  </a:cubicBezTo>
                  <a:cubicBezTo>
                    <a:pt x="64" y="25"/>
                    <a:pt x="64" y="25"/>
                    <a:pt x="63" y="25"/>
                  </a:cubicBezTo>
                  <a:cubicBezTo>
                    <a:pt x="63" y="25"/>
                    <a:pt x="63" y="25"/>
                    <a:pt x="63" y="26"/>
                  </a:cubicBezTo>
                  <a:cubicBezTo>
                    <a:pt x="62" y="27"/>
                    <a:pt x="61" y="27"/>
                    <a:pt x="60" y="27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60" y="27"/>
                    <a:pt x="59" y="27"/>
                    <a:pt x="59" y="27"/>
                  </a:cubicBezTo>
                  <a:cubicBezTo>
                    <a:pt x="58" y="27"/>
                    <a:pt x="58" y="26"/>
                    <a:pt x="58" y="26"/>
                  </a:cubicBezTo>
                  <a:cubicBezTo>
                    <a:pt x="57" y="26"/>
                    <a:pt x="57" y="27"/>
                    <a:pt x="57" y="27"/>
                  </a:cubicBezTo>
                  <a:cubicBezTo>
                    <a:pt x="56" y="28"/>
                    <a:pt x="56" y="29"/>
                    <a:pt x="57" y="29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1"/>
                    <a:pt x="53" y="34"/>
                    <a:pt x="53" y="34"/>
                  </a:cubicBezTo>
                  <a:cubicBezTo>
                    <a:pt x="51" y="35"/>
                    <a:pt x="50" y="35"/>
                    <a:pt x="50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8" y="35"/>
                    <a:pt x="47" y="35"/>
                    <a:pt x="47" y="35"/>
                  </a:cubicBezTo>
                  <a:cubicBezTo>
                    <a:pt x="45" y="35"/>
                    <a:pt x="44" y="36"/>
                    <a:pt x="43" y="36"/>
                  </a:cubicBezTo>
                  <a:cubicBezTo>
                    <a:pt x="42" y="37"/>
                    <a:pt x="41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0" y="32"/>
                  </a:moveTo>
                  <a:cubicBezTo>
                    <a:pt x="31" y="32"/>
                    <a:pt x="32" y="33"/>
                    <a:pt x="33" y="34"/>
                  </a:cubicBezTo>
                  <a:cubicBezTo>
                    <a:pt x="34" y="34"/>
                    <a:pt x="34" y="34"/>
                    <a:pt x="35" y="35"/>
                  </a:cubicBezTo>
                  <a:cubicBezTo>
                    <a:pt x="35" y="35"/>
                    <a:pt x="36" y="35"/>
                    <a:pt x="36" y="35"/>
                  </a:cubicBezTo>
                  <a:cubicBezTo>
                    <a:pt x="37" y="36"/>
                    <a:pt x="39" y="36"/>
                    <a:pt x="40" y="36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1" y="36"/>
                    <a:pt x="41" y="36"/>
                    <a:pt x="42" y="35"/>
                  </a:cubicBezTo>
                  <a:cubicBezTo>
                    <a:pt x="44" y="35"/>
                    <a:pt x="45" y="34"/>
                    <a:pt x="47" y="34"/>
                  </a:cubicBezTo>
                  <a:cubicBezTo>
                    <a:pt x="47" y="34"/>
                    <a:pt x="48" y="34"/>
                    <a:pt x="49" y="34"/>
                  </a:cubicBezTo>
                  <a:cubicBezTo>
                    <a:pt x="50" y="34"/>
                    <a:pt x="51" y="34"/>
                    <a:pt x="52" y="33"/>
                  </a:cubicBezTo>
                  <a:cubicBezTo>
                    <a:pt x="53" y="33"/>
                    <a:pt x="55" y="31"/>
                    <a:pt x="56" y="30"/>
                  </a:cubicBezTo>
                  <a:cubicBezTo>
                    <a:pt x="55" y="29"/>
                    <a:pt x="55" y="28"/>
                    <a:pt x="55" y="27"/>
                  </a:cubicBezTo>
                  <a:cubicBezTo>
                    <a:pt x="56" y="26"/>
                    <a:pt x="56" y="25"/>
                    <a:pt x="57" y="25"/>
                  </a:cubicBezTo>
                  <a:cubicBezTo>
                    <a:pt x="58" y="25"/>
                    <a:pt x="59" y="25"/>
                    <a:pt x="59" y="26"/>
                  </a:cubicBezTo>
                  <a:cubicBezTo>
                    <a:pt x="59" y="26"/>
                    <a:pt x="60" y="26"/>
                    <a:pt x="60" y="26"/>
                  </a:cubicBezTo>
                  <a:cubicBezTo>
                    <a:pt x="61" y="26"/>
                    <a:pt x="61" y="25"/>
                    <a:pt x="62" y="25"/>
                  </a:cubicBezTo>
                  <a:cubicBezTo>
                    <a:pt x="62" y="24"/>
                    <a:pt x="62" y="24"/>
                    <a:pt x="63" y="24"/>
                  </a:cubicBezTo>
                  <a:cubicBezTo>
                    <a:pt x="63" y="24"/>
                    <a:pt x="64" y="24"/>
                    <a:pt x="64" y="24"/>
                  </a:cubicBezTo>
                  <a:cubicBezTo>
                    <a:pt x="64" y="23"/>
                    <a:pt x="65" y="23"/>
                    <a:pt x="65" y="23"/>
                  </a:cubicBezTo>
                  <a:cubicBezTo>
                    <a:pt x="65" y="23"/>
                    <a:pt x="66" y="22"/>
                    <a:pt x="66" y="2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8" y="20"/>
                    <a:pt x="69" y="20"/>
                    <a:pt x="71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9"/>
                    <a:pt x="73" y="19"/>
                    <a:pt x="73" y="18"/>
                  </a:cubicBezTo>
                  <a:cubicBezTo>
                    <a:pt x="73" y="18"/>
                    <a:pt x="72" y="17"/>
                    <a:pt x="71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70" y="17"/>
                    <a:pt x="70" y="17"/>
                  </a:cubicBezTo>
                  <a:cubicBezTo>
                    <a:pt x="69" y="17"/>
                    <a:pt x="68" y="18"/>
                    <a:pt x="67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4" y="18"/>
                    <a:pt x="64" y="16"/>
                    <a:pt x="64" y="14"/>
                  </a:cubicBezTo>
                  <a:cubicBezTo>
                    <a:pt x="64" y="12"/>
                    <a:pt x="65" y="11"/>
                    <a:pt x="66" y="10"/>
                  </a:cubicBezTo>
                  <a:cubicBezTo>
                    <a:pt x="65" y="10"/>
                    <a:pt x="64" y="9"/>
                    <a:pt x="64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7" y="12"/>
                    <a:pt x="55" y="12"/>
                    <a:pt x="52" y="12"/>
                  </a:cubicBezTo>
                  <a:cubicBezTo>
                    <a:pt x="51" y="12"/>
                    <a:pt x="49" y="12"/>
                    <a:pt x="48" y="11"/>
                  </a:cubicBezTo>
                  <a:cubicBezTo>
                    <a:pt x="44" y="8"/>
                    <a:pt x="41" y="7"/>
                    <a:pt x="40" y="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38" y="8"/>
                    <a:pt x="36" y="9"/>
                    <a:pt x="34" y="7"/>
                  </a:cubicBezTo>
                  <a:cubicBezTo>
                    <a:pt x="34" y="7"/>
                    <a:pt x="33" y="6"/>
                    <a:pt x="33" y="5"/>
                  </a:cubicBezTo>
                  <a:cubicBezTo>
                    <a:pt x="33" y="4"/>
                    <a:pt x="33" y="4"/>
                    <a:pt x="32" y="4"/>
                  </a:cubicBezTo>
                  <a:cubicBezTo>
                    <a:pt x="32" y="3"/>
                    <a:pt x="31" y="3"/>
                    <a:pt x="31" y="3"/>
                  </a:cubicBezTo>
                  <a:cubicBezTo>
                    <a:pt x="30" y="3"/>
                    <a:pt x="28" y="2"/>
                    <a:pt x="27" y="2"/>
                  </a:cubicBezTo>
                  <a:cubicBezTo>
                    <a:pt x="27" y="2"/>
                    <a:pt x="27" y="2"/>
                    <a:pt x="26" y="2"/>
                  </a:cubicBezTo>
                  <a:cubicBezTo>
                    <a:pt x="25" y="3"/>
                    <a:pt x="25" y="4"/>
                    <a:pt x="25" y="5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4" y="9"/>
                    <a:pt x="23" y="10"/>
                    <a:pt x="21" y="10"/>
                  </a:cubicBezTo>
                  <a:cubicBezTo>
                    <a:pt x="21" y="10"/>
                    <a:pt x="20" y="10"/>
                    <a:pt x="20" y="9"/>
                  </a:cubicBezTo>
                  <a:cubicBezTo>
                    <a:pt x="19" y="9"/>
                    <a:pt x="19" y="9"/>
                    <a:pt x="18" y="9"/>
                  </a:cubicBezTo>
                  <a:cubicBezTo>
                    <a:pt x="17" y="9"/>
                    <a:pt x="16" y="9"/>
                    <a:pt x="16" y="8"/>
                  </a:cubicBezTo>
                  <a:cubicBezTo>
                    <a:pt x="16" y="8"/>
                    <a:pt x="15" y="8"/>
                    <a:pt x="15" y="8"/>
                  </a:cubicBezTo>
                  <a:cubicBezTo>
                    <a:pt x="15" y="8"/>
                    <a:pt x="14" y="8"/>
                    <a:pt x="13" y="8"/>
                  </a:cubicBezTo>
                  <a:cubicBezTo>
                    <a:pt x="12" y="7"/>
                    <a:pt x="11" y="7"/>
                    <a:pt x="10" y="7"/>
                  </a:cubicBezTo>
                  <a:cubicBezTo>
                    <a:pt x="8" y="8"/>
                    <a:pt x="3" y="10"/>
                    <a:pt x="1" y="13"/>
                  </a:cubicBezTo>
                  <a:cubicBezTo>
                    <a:pt x="2" y="14"/>
                    <a:pt x="3" y="15"/>
                    <a:pt x="4" y="16"/>
                  </a:cubicBezTo>
                  <a:cubicBezTo>
                    <a:pt x="7" y="16"/>
                    <a:pt x="7" y="17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1"/>
                    <a:pt x="8" y="22"/>
                    <a:pt x="8" y="24"/>
                  </a:cubicBezTo>
                  <a:cubicBezTo>
                    <a:pt x="8" y="24"/>
                    <a:pt x="8" y="24"/>
                    <a:pt x="8" y="25"/>
                  </a:cubicBezTo>
                  <a:cubicBezTo>
                    <a:pt x="9" y="25"/>
                    <a:pt x="9" y="25"/>
                    <a:pt x="10" y="25"/>
                  </a:cubicBezTo>
                  <a:cubicBezTo>
                    <a:pt x="11" y="25"/>
                    <a:pt x="12" y="25"/>
                    <a:pt x="13" y="26"/>
                  </a:cubicBezTo>
                  <a:cubicBezTo>
                    <a:pt x="14" y="26"/>
                    <a:pt x="14" y="26"/>
                    <a:pt x="15" y="26"/>
                  </a:cubicBezTo>
                  <a:cubicBezTo>
                    <a:pt x="16" y="27"/>
                    <a:pt x="18" y="27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5" y="33"/>
                    <a:pt x="27" y="33"/>
                    <a:pt x="30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5" name="Freeform 681"/>
            <p:cNvSpPr/>
            <p:nvPr/>
          </p:nvSpPr>
          <p:spPr bwMode="auto">
            <a:xfrm>
              <a:off x="2116833" y="1898229"/>
              <a:ext cx="103188" cy="76200"/>
            </a:xfrm>
            <a:custGeom>
              <a:avLst/>
              <a:gdLst>
                <a:gd name="T0" fmla="*/ 2147483646 w 14"/>
                <a:gd name="T1" fmla="*/ 2147483646 h 10"/>
                <a:gd name="T2" fmla="*/ 2147483646 w 14"/>
                <a:gd name="T3" fmla="*/ 2147483646 h 10"/>
                <a:gd name="T4" fmla="*/ 2147483646 w 14"/>
                <a:gd name="T5" fmla="*/ 2147483646 h 10"/>
                <a:gd name="T6" fmla="*/ 2147483646 w 14"/>
                <a:gd name="T7" fmla="*/ 0 h 10"/>
                <a:gd name="T8" fmla="*/ 2147483646 w 14"/>
                <a:gd name="T9" fmla="*/ 2147483646 h 10"/>
                <a:gd name="T10" fmla="*/ 2147483646 w 14"/>
                <a:gd name="T11" fmla="*/ 2147483646 h 10"/>
                <a:gd name="T12" fmla="*/ 2147483646 w 14"/>
                <a:gd name="T13" fmla="*/ 2147483646 h 10"/>
                <a:gd name="T14" fmla="*/ 2147483646 w 14"/>
                <a:gd name="T15" fmla="*/ 2147483646 h 10"/>
                <a:gd name="T16" fmla="*/ 2147483646 w 14"/>
                <a:gd name="T17" fmla="*/ 2147483646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" h="10">
                  <a:moveTo>
                    <a:pt x="12" y="10"/>
                  </a:moveTo>
                  <a:cubicBezTo>
                    <a:pt x="13" y="8"/>
                    <a:pt x="12" y="8"/>
                    <a:pt x="12" y="6"/>
                  </a:cubicBezTo>
                  <a:cubicBezTo>
                    <a:pt x="11" y="3"/>
                    <a:pt x="12" y="5"/>
                    <a:pt x="13" y="4"/>
                  </a:cubicBezTo>
                  <a:cubicBezTo>
                    <a:pt x="14" y="3"/>
                    <a:pt x="14" y="1"/>
                    <a:pt x="13" y="0"/>
                  </a:cubicBezTo>
                  <a:cubicBezTo>
                    <a:pt x="14" y="4"/>
                    <a:pt x="9" y="1"/>
                    <a:pt x="8" y="1"/>
                  </a:cubicBezTo>
                  <a:cubicBezTo>
                    <a:pt x="7" y="1"/>
                    <a:pt x="0" y="4"/>
                    <a:pt x="3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5" y="7"/>
                    <a:pt x="5" y="8"/>
                    <a:pt x="5" y="9"/>
                  </a:cubicBezTo>
                  <a:cubicBezTo>
                    <a:pt x="8" y="8"/>
                    <a:pt x="9" y="10"/>
                    <a:pt x="12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6" name="Freeform 682"/>
            <p:cNvSpPr>
              <a:spLocks noEditPoints="1"/>
            </p:cNvSpPr>
            <p:nvPr/>
          </p:nvSpPr>
          <p:spPr bwMode="auto">
            <a:xfrm>
              <a:off x="2132708" y="1891879"/>
              <a:ext cx="93663" cy="88900"/>
            </a:xfrm>
            <a:custGeom>
              <a:avLst/>
              <a:gdLst>
                <a:gd name="T0" fmla="*/ 2147483646 w 13"/>
                <a:gd name="T1" fmla="*/ 2147483646 h 12"/>
                <a:gd name="T2" fmla="*/ 2147483646 w 13"/>
                <a:gd name="T3" fmla="*/ 2147483646 h 12"/>
                <a:gd name="T4" fmla="*/ 2147483646 w 13"/>
                <a:gd name="T5" fmla="*/ 2147483646 h 12"/>
                <a:gd name="T6" fmla="*/ 2147483646 w 13"/>
                <a:gd name="T7" fmla="*/ 2147483646 h 12"/>
                <a:gd name="T8" fmla="*/ 2147483646 w 13"/>
                <a:gd name="T9" fmla="*/ 2147483646 h 12"/>
                <a:gd name="T10" fmla="*/ 2147483646 w 13"/>
                <a:gd name="T11" fmla="*/ 2147483646 h 12"/>
                <a:gd name="T12" fmla="*/ 2147483646 w 13"/>
                <a:gd name="T13" fmla="*/ 2147483646 h 12"/>
                <a:gd name="T14" fmla="*/ 0 w 13"/>
                <a:gd name="T15" fmla="*/ 2147483646 h 12"/>
                <a:gd name="T16" fmla="*/ 0 w 13"/>
                <a:gd name="T17" fmla="*/ 2147483646 h 12"/>
                <a:gd name="T18" fmla="*/ 0 w 13"/>
                <a:gd name="T19" fmla="*/ 2147483646 h 12"/>
                <a:gd name="T20" fmla="*/ 2147483646 w 13"/>
                <a:gd name="T21" fmla="*/ 2147483646 h 12"/>
                <a:gd name="T22" fmla="*/ 2147483646 w 13"/>
                <a:gd name="T23" fmla="*/ 2147483646 h 12"/>
                <a:gd name="T24" fmla="*/ 2147483646 w 13"/>
                <a:gd name="T25" fmla="*/ 2147483646 h 12"/>
                <a:gd name="T26" fmla="*/ 2147483646 w 13"/>
                <a:gd name="T27" fmla="*/ 2147483646 h 12"/>
                <a:gd name="T28" fmla="*/ 2147483646 w 13"/>
                <a:gd name="T29" fmla="*/ 2147483646 h 12"/>
                <a:gd name="T30" fmla="*/ 2147483646 w 13"/>
                <a:gd name="T31" fmla="*/ 0 h 12"/>
                <a:gd name="T32" fmla="*/ 2147483646 w 13"/>
                <a:gd name="T33" fmla="*/ 2147483646 h 12"/>
                <a:gd name="T34" fmla="*/ 2147483646 w 13"/>
                <a:gd name="T35" fmla="*/ 2147483646 h 12"/>
                <a:gd name="T36" fmla="*/ 2147483646 w 13"/>
                <a:gd name="T37" fmla="*/ 2147483646 h 12"/>
                <a:gd name="T38" fmla="*/ 2147483646 w 13"/>
                <a:gd name="T39" fmla="*/ 2147483646 h 12"/>
                <a:gd name="T40" fmla="*/ 2147483646 w 13"/>
                <a:gd name="T41" fmla="*/ 2147483646 h 12"/>
                <a:gd name="T42" fmla="*/ 2147483646 w 13"/>
                <a:gd name="T43" fmla="*/ 2147483646 h 12"/>
                <a:gd name="T44" fmla="*/ 2147483646 w 13"/>
                <a:gd name="T45" fmla="*/ 2147483646 h 12"/>
                <a:gd name="T46" fmla="*/ 2147483646 w 13"/>
                <a:gd name="T47" fmla="*/ 2147483646 h 12"/>
                <a:gd name="T48" fmla="*/ 2147483646 w 13"/>
                <a:gd name="T49" fmla="*/ 2147483646 h 12"/>
                <a:gd name="T50" fmla="*/ 2147483646 w 13"/>
                <a:gd name="T51" fmla="*/ 2147483646 h 12"/>
                <a:gd name="T52" fmla="*/ 2147483646 w 13"/>
                <a:gd name="T53" fmla="*/ 2147483646 h 12"/>
                <a:gd name="T54" fmla="*/ 2147483646 w 13"/>
                <a:gd name="T55" fmla="*/ 2147483646 h 12"/>
                <a:gd name="T56" fmla="*/ 2147483646 w 13"/>
                <a:gd name="T57" fmla="*/ 2147483646 h 12"/>
                <a:gd name="T58" fmla="*/ 2147483646 w 13"/>
                <a:gd name="T59" fmla="*/ 2147483646 h 12"/>
                <a:gd name="T60" fmla="*/ 2147483646 w 13"/>
                <a:gd name="T61" fmla="*/ 2147483646 h 12"/>
                <a:gd name="T62" fmla="*/ 2147483646 w 13"/>
                <a:gd name="T63" fmla="*/ 2147483646 h 12"/>
                <a:gd name="T64" fmla="*/ 2147483646 w 13"/>
                <a:gd name="T65" fmla="*/ 2147483646 h 12"/>
                <a:gd name="T66" fmla="*/ 2147483646 w 13"/>
                <a:gd name="T67" fmla="*/ 2147483646 h 12"/>
                <a:gd name="T68" fmla="*/ 2147483646 w 13"/>
                <a:gd name="T69" fmla="*/ 2147483646 h 12"/>
                <a:gd name="T70" fmla="*/ 2147483646 w 13"/>
                <a:gd name="T71" fmla="*/ 2147483646 h 12"/>
                <a:gd name="T72" fmla="*/ 2147483646 w 13"/>
                <a:gd name="T73" fmla="*/ 2147483646 h 12"/>
                <a:gd name="T74" fmla="*/ 2147483646 w 13"/>
                <a:gd name="T75" fmla="*/ 2147483646 h 12"/>
                <a:gd name="T76" fmla="*/ 2147483646 w 13"/>
                <a:gd name="T77" fmla="*/ 2147483646 h 12"/>
                <a:gd name="T78" fmla="*/ 2147483646 w 13"/>
                <a:gd name="T79" fmla="*/ 2147483646 h 12"/>
                <a:gd name="T80" fmla="*/ 2147483646 w 13"/>
                <a:gd name="T81" fmla="*/ 2147483646 h 12"/>
                <a:gd name="T82" fmla="*/ 2147483646 w 13"/>
                <a:gd name="T83" fmla="*/ 2147483646 h 12"/>
                <a:gd name="T84" fmla="*/ 2147483646 w 13"/>
                <a:gd name="T85" fmla="*/ 2147483646 h 12"/>
                <a:gd name="T86" fmla="*/ 2147483646 w 13"/>
                <a:gd name="T87" fmla="*/ 2147483646 h 12"/>
                <a:gd name="T88" fmla="*/ 2147483646 w 13"/>
                <a:gd name="T89" fmla="*/ 2147483646 h 12"/>
                <a:gd name="T90" fmla="*/ 2147483646 w 13"/>
                <a:gd name="T91" fmla="*/ 2147483646 h 1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3" h="12">
                  <a:moveTo>
                    <a:pt x="11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9" y="12"/>
                    <a:pt x="8" y="11"/>
                    <a:pt x="7" y="11"/>
                  </a:cubicBezTo>
                  <a:cubicBezTo>
                    <a:pt x="6" y="10"/>
                    <a:pt x="5" y="10"/>
                    <a:pt x="3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8"/>
                  </a:cubicBezTo>
                  <a:cubicBezTo>
                    <a:pt x="1" y="8"/>
                    <a:pt x="1" y="8"/>
                    <a:pt x="0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3"/>
                    <a:pt x="5" y="1"/>
                    <a:pt x="6" y="1"/>
                  </a:cubicBezTo>
                  <a:cubicBezTo>
                    <a:pt x="6" y="1"/>
                    <a:pt x="7" y="1"/>
                    <a:pt x="8" y="2"/>
                  </a:cubicBezTo>
                  <a:cubicBezTo>
                    <a:pt x="9" y="2"/>
                    <a:pt x="10" y="2"/>
                    <a:pt x="10" y="2"/>
                  </a:cubicBezTo>
                  <a:cubicBezTo>
                    <a:pt x="10" y="2"/>
                    <a:pt x="11" y="2"/>
                    <a:pt x="11" y="2"/>
                  </a:cubicBezTo>
                  <a:cubicBezTo>
                    <a:pt x="11" y="2"/>
                    <a:pt x="11" y="2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2"/>
                    <a:pt x="13" y="2"/>
                  </a:cubicBezTo>
                  <a:cubicBezTo>
                    <a:pt x="13" y="4"/>
                    <a:pt x="12" y="5"/>
                    <a:pt x="11" y="5"/>
                  </a:cubicBezTo>
                  <a:cubicBezTo>
                    <a:pt x="11" y="6"/>
                    <a:pt x="10" y="6"/>
                    <a:pt x="10" y="6"/>
                  </a:cubicBezTo>
                  <a:cubicBezTo>
                    <a:pt x="10" y="6"/>
                    <a:pt x="10" y="7"/>
                    <a:pt x="10" y="7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1" y="9"/>
                    <a:pt x="12" y="10"/>
                    <a:pt x="11" y="11"/>
                  </a:cubicBezTo>
                  <a:lnTo>
                    <a:pt x="11" y="12"/>
                  </a:lnTo>
                  <a:close/>
                  <a:moveTo>
                    <a:pt x="5" y="9"/>
                  </a:moveTo>
                  <a:cubicBezTo>
                    <a:pt x="6" y="9"/>
                    <a:pt x="7" y="9"/>
                    <a:pt x="8" y="10"/>
                  </a:cubicBezTo>
                  <a:cubicBezTo>
                    <a:pt x="8" y="10"/>
                    <a:pt x="9" y="10"/>
                    <a:pt x="10" y="11"/>
                  </a:cubicBezTo>
                  <a:cubicBezTo>
                    <a:pt x="10" y="10"/>
                    <a:pt x="10" y="9"/>
                    <a:pt x="10" y="9"/>
                  </a:cubicBezTo>
                  <a:cubicBezTo>
                    <a:pt x="10" y="9"/>
                    <a:pt x="9" y="8"/>
                    <a:pt x="9" y="7"/>
                  </a:cubicBezTo>
                  <a:cubicBezTo>
                    <a:pt x="9" y="6"/>
                    <a:pt x="9" y="6"/>
                    <a:pt x="9" y="5"/>
                  </a:cubicBezTo>
                  <a:cubicBezTo>
                    <a:pt x="9" y="5"/>
                    <a:pt x="9" y="5"/>
                    <a:pt x="10" y="5"/>
                  </a:cubicBezTo>
                  <a:cubicBezTo>
                    <a:pt x="10" y="5"/>
                    <a:pt x="10" y="5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  <a:cubicBezTo>
                    <a:pt x="11" y="4"/>
                    <a:pt x="9" y="3"/>
                    <a:pt x="8" y="3"/>
                  </a:cubicBezTo>
                  <a:cubicBezTo>
                    <a:pt x="7" y="3"/>
                    <a:pt x="6" y="2"/>
                    <a:pt x="6" y="2"/>
                  </a:cubicBezTo>
                  <a:cubicBezTo>
                    <a:pt x="5" y="3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9"/>
                    <a:pt x="3" y="9"/>
                  </a:cubicBezTo>
                  <a:cubicBezTo>
                    <a:pt x="4" y="9"/>
                    <a:pt x="4" y="9"/>
                    <a:pt x="5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7" name="Freeform 683"/>
            <p:cNvSpPr/>
            <p:nvPr/>
          </p:nvSpPr>
          <p:spPr bwMode="auto">
            <a:xfrm>
              <a:off x="2094608" y="1958555"/>
              <a:ext cx="131763" cy="87313"/>
            </a:xfrm>
            <a:custGeom>
              <a:avLst/>
              <a:gdLst>
                <a:gd name="T0" fmla="*/ 0 w 18"/>
                <a:gd name="T1" fmla="*/ 2147483646 h 12"/>
                <a:gd name="T2" fmla="*/ 2147483646 w 18"/>
                <a:gd name="T3" fmla="*/ 2147483646 h 12"/>
                <a:gd name="T4" fmla="*/ 2147483646 w 18"/>
                <a:gd name="T5" fmla="*/ 2147483646 h 12"/>
                <a:gd name="T6" fmla="*/ 2147483646 w 18"/>
                <a:gd name="T7" fmla="*/ 2147483646 h 12"/>
                <a:gd name="T8" fmla="*/ 2147483646 w 18"/>
                <a:gd name="T9" fmla="*/ 2147483646 h 12"/>
                <a:gd name="T10" fmla="*/ 2147483646 w 18"/>
                <a:gd name="T11" fmla="*/ 2147483646 h 12"/>
                <a:gd name="T12" fmla="*/ 2147483646 w 18"/>
                <a:gd name="T13" fmla="*/ 2147483646 h 12"/>
                <a:gd name="T14" fmla="*/ 2147483646 w 18"/>
                <a:gd name="T15" fmla="*/ 2147483646 h 12"/>
                <a:gd name="T16" fmla="*/ 2147483646 w 18"/>
                <a:gd name="T17" fmla="*/ 2147483646 h 12"/>
                <a:gd name="T18" fmla="*/ 2147483646 w 18"/>
                <a:gd name="T19" fmla="*/ 2147483646 h 12"/>
                <a:gd name="T20" fmla="*/ 2147483646 w 18"/>
                <a:gd name="T21" fmla="*/ 2147483646 h 12"/>
                <a:gd name="T22" fmla="*/ 2147483646 w 18"/>
                <a:gd name="T23" fmla="*/ 2147483646 h 12"/>
                <a:gd name="T24" fmla="*/ 2147483646 w 18"/>
                <a:gd name="T25" fmla="*/ 2147483646 h 12"/>
                <a:gd name="T26" fmla="*/ 2147483646 w 18"/>
                <a:gd name="T27" fmla="*/ 2147483646 h 12"/>
                <a:gd name="T28" fmla="*/ 2147483646 w 18"/>
                <a:gd name="T29" fmla="*/ 2147483646 h 12"/>
                <a:gd name="T30" fmla="*/ 0 w 18"/>
                <a:gd name="T31" fmla="*/ 2147483646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8" h="12">
                  <a:moveTo>
                    <a:pt x="0" y="9"/>
                  </a:moveTo>
                  <a:cubicBezTo>
                    <a:pt x="0" y="8"/>
                    <a:pt x="0" y="4"/>
                    <a:pt x="2" y="4"/>
                  </a:cubicBezTo>
                  <a:cubicBezTo>
                    <a:pt x="4" y="3"/>
                    <a:pt x="3" y="3"/>
                    <a:pt x="4" y="4"/>
                  </a:cubicBezTo>
                  <a:cubicBezTo>
                    <a:pt x="5" y="5"/>
                    <a:pt x="6" y="7"/>
                    <a:pt x="7" y="6"/>
                  </a:cubicBezTo>
                  <a:cubicBezTo>
                    <a:pt x="9" y="5"/>
                    <a:pt x="7" y="0"/>
                    <a:pt x="10" y="2"/>
                  </a:cubicBezTo>
                  <a:cubicBezTo>
                    <a:pt x="11" y="2"/>
                    <a:pt x="12" y="3"/>
                    <a:pt x="13" y="4"/>
                  </a:cubicBezTo>
                  <a:cubicBezTo>
                    <a:pt x="14" y="4"/>
                    <a:pt x="15" y="3"/>
                    <a:pt x="16" y="4"/>
                  </a:cubicBezTo>
                  <a:cubicBezTo>
                    <a:pt x="16" y="5"/>
                    <a:pt x="16" y="6"/>
                    <a:pt x="16" y="7"/>
                  </a:cubicBezTo>
                  <a:cubicBezTo>
                    <a:pt x="17" y="7"/>
                    <a:pt x="18" y="10"/>
                    <a:pt x="17" y="10"/>
                  </a:cubicBezTo>
                  <a:cubicBezTo>
                    <a:pt x="16" y="10"/>
                    <a:pt x="16" y="10"/>
                    <a:pt x="16" y="11"/>
                  </a:cubicBezTo>
                  <a:cubicBezTo>
                    <a:pt x="15" y="12"/>
                    <a:pt x="15" y="11"/>
                    <a:pt x="14" y="11"/>
                  </a:cubicBezTo>
                  <a:cubicBezTo>
                    <a:pt x="14" y="11"/>
                    <a:pt x="14" y="12"/>
                    <a:pt x="13" y="12"/>
                  </a:cubicBezTo>
                  <a:cubicBezTo>
                    <a:pt x="13" y="11"/>
                    <a:pt x="12" y="11"/>
                    <a:pt x="12" y="10"/>
                  </a:cubicBezTo>
                  <a:cubicBezTo>
                    <a:pt x="10" y="9"/>
                    <a:pt x="9" y="9"/>
                    <a:pt x="7" y="9"/>
                  </a:cubicBezTo>
                  <a:cubicBezTo>
                    <a:pt x="5" y="9"/>
                    <a:pt x="4" y="8"/>
                    <a:pt x="3" y="8"/>
                  </a:cubicBezTo>
                  <a:cubicBezTo>
                    <a:pt x="2" y="9"/>
                    <a:pt x="1" y="10"/>
                    <a:pt x="0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8" name="Freeform 684"/>
            <p:cNvSpPr>
              <a:spLocks noEditPoints="1"/>
            </p:cNvSpPr>
            <p:nvPr/>
          </p:nvSpPr>
          <p:spPr bwMode="auto">
            <a:xfrm>
              <a:off x="2088258" y="1964905"/>
              <a:ext cx="138113" cy="80962"/>
            </a:xfrm>
            <a:custGeom>
              <a:avLst/>
              <a:gdLst>
                <a:gd name="T0" fmla="*/ 2147483646 w 19"/>
                <a:gd name="T1" fmla="*/ 2147483646 h 11"/>
                <a:gd name="T2" fmla="*/ 2147483646 w 19"/>
                <a:gd name="T3" fmla="*/ 2147483646 h 11"/>
                <a:gd name="T4" fmla="*/ 2147483646 w 19"/>
                <a:gd name="T5" fmla="*/ 2147483646 h 11"/>
                <a:gd name="T6" fmla="*/ 2147483646 w 19"/>
                <a:gd name="T7" fmla="*/ 2147483646 h 11"/>
                <a:gd name="T8" fmla="*/ 0 w 19"/>
                <a:gd name="T9" fmla="*/ 2147483646 h 11"/>
                <a:gd name="T10" fmla="*/ 0 w 19"/>
                <a:gd name="T11" fmla="*/ 2147483646 h 11"/>
                <a:gd name="T12" fmla="*/ 2147483646 w 19"/>
                <a:gd name="T13" fmla="*/ 2147483646 h 11"/>
                <a:gd name="T14" fmla="*/ 2147483646 w 19"/>
                <a:gd name="T15" fmla="*/ 2147483646 h 11"/>
                <a:gd name="T16" fmla="*/ 2147483646 w 19"/>
                <a:gd name="T17" fmla="*/ 2147483646 h 11"/>
                <a:gd name="T18" fmla="*/ 2147483646 w 19"/>
                <a:gd name="T19" fmla="*/ 0 h 11"/>
                <a:gd name="T20" fmla="*/ 2147483646 w 19"/>
                <a:gd name="T21" fmla="*/ 2147483646 h 11"/>
                <a:gd name="T22" fmla="*/ 2147483646 w 19"/>
                <a:gd name="T23" fmla="*/ 2147483646 h 11"/>
                <a:gd name="T24" fmla="*/ 2147483646 w 19"/>
                <a:gd name="T25" fmla="*/ 2147483646 h 11"/>
                <a:gd name="T26" fmla="*/ 2147483646 w 19"/>
                <a:gd name="T27" fmla="*/ 2147483646 h 11"/>
                <a:gd name="T28" fmla="*/ 2147483646 w 19"/>
                <a:gd name="T29" fmla="*/ 2147483646 h 11"/>
                <a:gd name="T30" fmla="*/ 2147483646 w 19"/>
                <a:gd name="T31" fmla="*/ 2147483646 h 11"/>
                <a:gd name="T32" fmla="*/ 2147483646 w 19"/>
                <a:gd name="T33" fmla="*/ 2147483646 h 11"/>
                <a:gd name="T34" fmla="*/ 2147483646 w 19"/>
                <a:gd name="T35" fmla="*/ 2147483646 h 11"/>
                <a:gd name="T36" fmla="*/ 2147483646 w 19"/>
                <a:gd name="T37" fmla="*/ 2147483646 h 11"/>
                <a:gd name="T38" fmla="*/ 2147483646 w 19"/>
                <a:gd name="T39" fmla="*/ 2147483646 h 11"/>
                <a:gd name="T40" fmla="*/ 2147483646 w 19"/>
                <a:gd name="T41" fmla="*/ 2147483646 h 11"/>
                <a:gd name="T42" fmla="*/ 2147483646 w 19"/>
                <a:gd name="T43" fmla="*/ 2147483646 h 11"/>
                <a:gd name="T44" fmla="*/ 2147483646 w 19"/>
                <a:gd name="T45" fmla="*/ 2147483646 h 11"/>
                <a:gd name="T46" fmla="*/ 2147483646 w 19"/>
                <a:gd name="T47" fmla="*/ 2147483646 h 11"/>
                <a:gd name="T48" fmla="*/ 2147483646 w 19"/>
                <a:gd name="T49" fmla="*/ 2147483646 h 11"/>
                <a:gd name="T50" fmla="*/ 2147483646 w 19"/>
                <a:gd name="T51" fmla="*/ 2147483646 h 11"/>
                <a:gd name="T52" fmla="*/ 2147483646 w 19"/>
                <a:gd name="T53" fmla="*/ 2147483646 h 11"/>
                <a:gd name="T54" fmla="*/ 2147483646 w 19"/>
                <a:gd name="T55" fmla="*/ 2147483646 h 11"/>
                <a:gd name="T56" fmla="*/ 2147483646 w 19"/>
                <a:gd name="T57" fmla="*/ 2147483646 h 11"/>
                <a:gd name="T58" fmla="*/ 2147483646 w 19"/>
                <a:gd name="T59" fmla="*/ 2147483646 h 11"/>
                <a:gd name="T60" fmla="*/ 2147483646 w 19"/>
                <a:gd name="T61" fmla="*/ 2147483646 h 11"/>
                <a:gd name="T62" fmla="*/ 2147483646 w 19"/>
                <a:gd name="T63" fmla="*/ 2147483646 h 1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9" h="11">
                  <a:moveTo>
                    <a:pt x="15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3" y="11"/>
                    <a:pt x="13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8"/>
                    <a:pt x="10" y="8"/>
                    <a:pt x="8" y="8"/>
                  </a:cubicBezTo>
                  <a:cubicBezTo>
                    <a:pt x="7" y="8"/>
                    <a:pt x="7" y="8"/>
                    <a:pt x="6" y="8"/>
                  </a:cubicBezTo>
                  <a:cubicBezTo>
                    <a:pt x="5" y="8"/>
                    <a:pt x="5" y="8"/>
                    <a:pt x="4" y="8"/>
                  </a:cubicBezTo>
                  <a:cubicBezTo>
                    <a:pt x="4" y="8"/>
                    <a:pt x="3" y="8"/>
                    <a:pt x="3" y="9"/>
                  </a:cubicBezTo>
                  <a:cubicBezTo>
                    <a:pt x="3" y="9"/>
                    <a:pt x="2" y="9"/>
                    <a:pt x="1" y="9"/>
                  </a:cubicBezTo>
                  <a:cubicBezTo>
                    <a:pt x="1" y="9"/>
                    <a:pt x="1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5" y="1"/>
                    <a:pt x="5" y="1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5"/>
                    <a:pt x="8" y="4"/>
                    <a:pt x="8" y="3"/>
                  </a:cubicBezTo>
                  <a:cubicBezTo>
                    <a:pt x="8" y="2"/>
                    <a:pt x="9" y="0"/>
                    <a:pt x="10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2"/>
                    <a:pt x="17" y="2"/>
                    <a:pt x="17" y="3"/>
                  </a:cubicBezTo>
                  <a:cubicBezTo>
                    <a:pt x="17" y="3"/>
                    <a:pt x="18" y="3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5" y="7"/>
                  </a:moveTo>
                  <a:cubicBezTo>
                    <a:pt x="5" y="7"/>
                    <a:pt x="6" y="7"/>
                    <a:pt x="6" y="7"/>
                  </a:cubicBezTo>
                  <a:cubicBezTo>
                    <a:pt x="7" y="7"/>
                    <a:pt x="7" y="7"/>
                    <a:pt x="8" y="7"/>
                  </a:cubicBezTo>
                  <a:cubicBezTo>
                    <a:pt x="10" y="7"/>
                    <a:pt x="11" y="7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9"/>
                    <a:pt x="14" y="10"/>
                    <a:pt x="14" y="10"/>
                  </a:cubicBezTo>
                  <a:cubicBezTo>
                    <a:pt x="15" y="10"/>
                    <a:pt x="15" y="10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9"/>
                    <a:pt x="17" y="8"/>
                    <a:pt x="18" y="8"/>
                  </a:cubicBezTo>
                  <a:cubicBezTo>
                    <a:pt x="18" y="8"/>
                    <a:pt x="17" y="7"/>
                    <a:pt x="17" y="7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4"/>
                    <a:pt x="16" y="4"/>
                    <a:pt x="16" y="4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2" y="2"/>
                    <a:pt x="12" y="2"/>
                    <a:pt x="11" y="1"/>
                  </a:cubicBezTo>
                  <a:cubicBezTo>
                    <a:pt x="10" y="1"/>
                    <a:pt x="10" y="1"/>
                    <a:pt x="9" y="3"/>
                  </a:cubicBezTo>
                  <a:cubicBezTo>
                    <a:pt x="9" y="4"/>
                    <a:pt x="9" y="5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6" y="5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5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9" name="Freeform 685"/>
            <p:cNvSpPr/>
            <p:nvPr/>
          </p:nvSpPr>
          <p:spPr bwMode="auto">
            <a:xfrm>
              <a:off x="2072383" y="2045866"/>
              <a:ext cx="66675" cy="22226"/>
            </a:xfrm>
            <a:custGeom>
              <a:avLst/>
              <a:gdLst>
                <a:gd name="T0" fmla="*/ 2147483646 w 9"/>
                <a:gd name="T1" fmla="*/ 2147483646 h 3"/>
                <a:gd name="T2" fmla="*/ 2147483646 w 9"/>
                <a:gd name="T3" fmla="*/ 0 h 3"/>
                <a:gd name="T4" fmla="*/ 2147483646 w 9"/>
                <a:gd name="T5" fmla="*/ 2147483646 h 3"/>
                <a:gd name="T6" fmla="*/ 2147483646 w 9"/>
                <a:gd name="T7" fmla="*/ 2147483646 h 3"/>
                <a:gd name="T8" fmla="*/ 2147483646 w 9"/>
                <a:gd name="T9" fmla="*/ 0 h 3"/>
                <a:gd name="T10" fmla="*/ 0 w 9"/>
                <a:gd name="T11" fmla="*/ 2147483646 h 3"/>
                <a:gd name="T12" fmla="*/ 2147483646 w 9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3">
                  <a:moveTo>
                    <a:pt x="7" y="3"/>
                  </a:moveTo>
                  <a:cubicBezTo>
                    <a:pt x="9" y="0"/>
                    <a:pt x="5" y="1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1"/>
                    <a:pt x="0" y="1"/>
                    <a:pt x="0" y="3"/>
                  </a:cubicBezTo>
                  <a:cubicBezTo>
                    <a:pt x="2" y="3"/>
                    <a:pt x="5" y="3"/>
                    <a:pt x="7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0" name="Freeform 686"/>
            <p:cNvSpPr>
              <a:spLocks noEditPoints="1"/>
            </p:cNvSpPr>
            <p:nvPr/>
          </p:nvSpPr>
          <p:spPr bwMode="auto">
            <a:xfrm>
              <a:off x="2062858" y="2033167"/>
              <a:ext cx="69850" cy="44450"/>
            </a:xfrm>
            <a:custGeom>
              <a:avLst/>
              <a:gdLst>
                <a:gd name="T0" fmla="*/ 2147483646 w 9"/>
                <a:gd name="T1" fmla="*/ 2147483646 h 6"/>
                <a:gd name="T2" fmla="*/ 2147483646 w 9"/>
                <a:gd name="T3" fmla="*/ 2147483646 h 6"/>
                <a:gd name="T4" fmla="*/ 2147483646 w 9"/>
                <a:gd name="T5" fmla="*/ 2147483646 h 6"/>
                <a:gd name="T6" fmla="*/ 0 w 9"/>
                <a:gd name="T7" fmla="*/ 2147483646 h 6"/>
                <a:gd name="T8" fmla="*/ 0 w 9"/>
                <a:gd name="T9" fmla="*/ 2147483646 h 6"/>
                <a:gd name="T10" fmla="*/ 2147483646 w 9"/>
                <a:gd name="T11" fmla="*/ 2147483646 h 6"/>
                <a:gd name="T12" fmla="*/ 2147483646 w 9"/>
                <a:gd name="T13" fmla="*/ 2147483646 h 6"/>
                <a:gd name="T14" fmla="*/ 2147483646 w 9"/>
                <a:gd name="T15" fmla="*/ 0 h 6"/>
                <a:gd name="T16" fmla="*/ 2147483646 w 9"/>
                <a:gd name="T17" fmla="*/ 2147483646 h 6"/>
                <a:gd name="T18" fmla="*/ 2147483646 w 9"/>
                <a:gd name="T19" fmla="*/ 2147483646 h 6"/>
                <a:gd name="T20" fmla="*/ 2147483646 w 9"/>
                <a:gd name="T21" fmla="*/ 2147483646 h 6"/>
                <a:gd name="T22" fmla="*/ 2147483646 w 9"/>
                <a:gd name="T23" fmla="*/ 2147483646 h 6"/>
                <a:gd name="T24" fmla="*/ 2147483646 w 9"/>
                <a:gd name="T25" fmla="*/ 2147483646 h 6"/>
                <a:gd name="T26" fmla="*/ 2147483646 w 9"/>
                <a:gd name="T27" fmla="*/ 2147483646 h 6"/>
                <a:gd name="T28" fmla="*/ 2147483646 w 9"/>
                <a:gd name="T29" fmla="*/ 2147483646 h 6"/>
                <a:gd name="T30" fmla="*/ 2147483646 w 9"/>
                <a:gd name="T31" fmla="*/ 2147483646 h 6"/>
                <a:gd name="T32" fmla="*/ 2147483646 w 9"/>
                <a:gd name="T33" fmla="*/ 2147483646 h 6"/>
                <a:gd name="T34" fmla="*/ 2147483646 w 9"/>
                <a:gd name="T35" fmla="*/ 2147483646 h 6"/>
                <a:gd name="T36" fmla="*/ 2147483646 w 9"/>
                <a:gd name="T37" fmla="*/ 2147483646 h 6"/>
                <a:gd name="T38" fmla="*/ 2147483646 w 9"/>
                <a:gd name="T39" fmla="*/ 2147483646 h 6"/>
                <a:gd name="T40" fmla="*/ 2147483646 w 9"/>
                <a:gd name="T41" fmla="*/ 2147483646 h 6"/>
                <a:gd name="T42" fmla="*/ 2147483646 w 9"/>
                <a:gd name="T43" fmla="*/ 2147483646 h 6"/>
                <a:gd name="T44" fmla="*/ 2147483646 w 9"/>
                <a:gd name="T45" fmla="*/ 2147483646 h 6"/>
                <a:gd name="T46" fmla="*/ 2147483646 w 9"/>
                <a:gd name="T47" fmla="*/ 2147483646 h 6"/>
                <a:gd name="T48" fmla="*/ 2147483646 w 9"/>
                <a:gd name="T49" fmla="*/ 2147483646 h 6"/>
                <a:gd name="T50" fmla="*/ 2147483646 w 9"/>
                <a:gd name="T51" fmla="*/ 2147483646 h 6"/>
                <a:gd name="T52" fmla="*/ 2147483646 w 9"/>
                <a:gd name="T53" fmla="*/ 2147483646 h 6"/>
                <a:gd name="T54" fmla="*/ 2147483646 w 9"/>
                <a:gd name="T55" fmla="*/ 2147483646 h 6"/>
                <a:gd name="T56" fmla="*/ 2147483646 w 9"/>
                <a:gd name="T57" fmla="*/ 2147483646 h 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" h="6">
                  <a:moveTo>
                    <a:pt x="5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2" y="6"/>
                    <a:pt x="1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3"/>
                    <a:pt x="2" y="2"/>
                    <a:pt x="3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2"/>
                  </a:cubicBezTo>
                  <a:cubicBezTo>
                    <a:pt x="7" y="2"/>
                    <a:pt x="9" y="2"/>
                    <a:pt x="9" y="3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6" y="6"/>
                    <a:pt x="5" y="6"/>
                  </a:cubicBezTo>
                  <a:close/>
                  <a:moveTo>
                    <a:pt x="2" y="4"/>
                  </a:moveTo>
                  <a:cubicBezTo>
                    <a:pt x="3" y="5"/>
                    <a:pt x="4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7" y="5"/>
                    <a:pt x="8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7" y="3"/>
                    <a:pt x="6" y="3"/>
                  </a:cubicBezTo>
                  <a:cubicBezTo>
                    <a:pt x="6" y="3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1" name="Freeform 687"/>
            <p:cNvSpPr/>
            <p:nvPr/>
          </p:nvSpPr>
          <p:spPr bwMode="auto">
            <a:xfrm>
              <a:off x="2094608" y="2017291"/>
              <a:ext cx="104775" cy="82550"/>
            </a:xfrm>
            <a:custGeom>
              <a:avLst/>
              <a:gdLst>
                <a:gd name="T0" fmla="*/ 2147483646 w 14"/>
                <a:gd name="T1" fmla="*/ 2147483646 h 11"/>
                <a:gd name="T2" fmla="*/ 2147483646 w 14"/>
                <a:gd name="T3" fmla="*/ 2147483646 h 11"/>
                <a:gd name="T4" fmla="*/ 0 w 14"/>
                <a:gd name="T5" fmla="*/ 2147483646 h 11"/>
                <a:gd name="T6" fmla="*/ 2147483646 w 14"/>
                <a:gd name="T7" fmla="*/ 0 h 11"/>
                <a:gd name="T8" fmla="*/ 2147483646 w 14"/>
                <a:gd name="T9" fmla="*/ 2147483646 h 11"/>
                <a:gd name="T10" fmla="*/ 2147483646 w 14"/>
                <a:gd name="T11" fmla="*/ 0 h 11"/>
                <a:gd name="T12" fmla="*/ 2147483646 w 14"/>
                <a:gd name="T13" fmla="*/ 2147483646 h 11"/>
                <a:gd name="T14" fmla="*/ 2147483646 w 14"/>
                <a:gd name="T15" fmla="*/ 2147483646 h 11"/>
                <a:gd name="T16" fmla="*/ 2147483646 w 14"/>
                <a:gd name="T17" fmla="*/ 2147483646 h 11"/>
                <a:gd name="T18" fmla="*/ 2147483646 w 14"/>
                <a:gd name="T19" fmla="*/ 2147483646 h 11"/>
                <a:gd name="T20" fmla="*/ 2147483646 w 14"/>
                <a:gd name="T21" fmla="*/ 2147483646 h 11"/>
                <a:gd name="T22" fmla="*/ 2147483646 w 14"/>
                <a:gd name="T23" fmla="*/ 2147483646 h 11"/>
                <a:gd name="T24" fmla="*/ 2147483646 w 14"/>
                <a:gd name="T25" fmla="*/ 2147483646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4" h="11">
                  <a:moveTo>
                    <a:pt x="4" y="9"/>
                  </a:moveTo>
                  <a:cubicBezTo>
                    <a:pt x="5" y="6"/>
                    <a:pt x="4" y="6"/>
                    <a:pt x="2" y="6"/>
                  </a:cubicBezTo>
                  <a:cubicBezTo>
                    <a:pt x="0" y="5"/>
                    <a:pt x="0" y="4"/>
                    <a:pt x="0" y="1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8" y="1"/>
                    <a:pt x="9" y="0"/>
                    <a:pt x="9" y="0"/>
                  </a:cubicBezTo>
                  <a:cubicBezTo>
                    <a:pt x="10" y="1"/>
                    <a:pt x="10" y="1"/>
                    <a:pt x="10" y="2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3" y="5"/>
                    <a:pt x="13" y="4"/>
                    <a:pt x="14" y="5"/>
                  </a:cubicBezTo>
                  <a:cubicBezTo>
                    <a:pt x="13" y="7"/>
                    <a:pt x="10" y="7"/>
                    <a:pt x="11" y="10"/>
                  </a:cubicBezTo>
                  <a:cubicBezTo>
                    <a:pt x="11" y="9"/>
                    <a:pt x="9" y="9"/>
                    <a:pt x="9" y="10"/>
                  </a:cubicBezTo>
                  <a:cubicBezTo>
                    <a:pt x="8" y="10"/>
                    <a:pt x="7" y="11"/>
                    <a:pt x="6" y="11"/>
                  </a:cubicBezTo>
                  <a:cubicBezTo>
                    <a:pt x="6" y="10"/>
                    <a:pt x="5" y="9"/>
                    <a:pt x="4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2" name="Freeform 688"/>
            <p:cNvSpPr>
              <a:spLocks noEditPoints="1"/>
            </p:cNvSpPr>
            <p:nvPr/>
          </p:nvSpPr>
          <p:spPr bwMode="auto">
            <a:xfrm>
              <a:off x="2088258" y="2017291"/>
              <a:ext cx="117475" cy="82550"/>
            </a:xfrm>
            <a:custGeom>
              <a:avLst/>
              <a:gdLst>
                <a:gd name="T0" fmla="*/ 2147483646 w 16"/>
                <a:gd name="T1" fmla="*/ 2147483646 h 11"/>
                <a:gd name="T2" fmla="*/ 2147483646 w 16"/>
                <a:gd name="T3" fmla="*/ 2147483646 h 11"/>
                <a:gd name="T4" fmla="*/ 2147483646 w 16"/>
                <a:gd name="T5" fmla="*/ 2147483646 h 11"/>
                <a:gd name="T6" fmla="*/ 2147483646 w 16"/>
                <a:gd name="T7" fmla="*/ 2147483646 h 11"/>
                <a:gd name="T8" fmla="*/ 0 w 16"/>
                <a:gd name="T9" fmla="*/ 2147483646 h 11"/>
                <a:gd name="T10" fmla="*/ 0 w 16"/>
                <a:gd name="T11" fmla="*/ 0 h 11"/>
                <a:gd name="T12" fmla="*/ 2147483646 w 16"/>
                <a:gd name="T13" fmla="*/ 2147483646 h 11"/>
                <a:gd name="T14" fmla="*/ 2147483646 w 16"/>
                <a:gd name="T15" fmla="*/ 0 h 11"/>
                <a:gd name="T16" fmla="*/ 2147483646 w 16"/>
                <a:gd name="T17" fmla="*/ 0 h 11"/>
                <a:gd name="T18" fmla="*/ 2147483646 w 16"/>
                <a:gd name="T19" fmla="*/ 0 h 11"/>
                <a:gd name="T20" fmla="*/ 2147483646 w 16"/>
                <a:gd name="T21" fmla="*/ 2147483646 h 11"/>
                <a:gd name="T22" fmla="*/ 2147483646 w 16"/>
                <a:gd name="T23" fmla="*/ 2147483646 h 11"/>
                <a:gd name="T24" fmla="*/ 2147483646 w 16"/>
                <a:gd name="T25" fmla="*/ 2147483646 h 11"/>
                <a:gd name="T26" fmla="*/ 2147483646 w 16"/>
                <a:gd name="T27" fmla="*/ 2147483646 h 11"/>
                <a:gd name="T28" fmla="*/ 2147483646 w 16"/>
                <a:gd name="T29" fmla="*/ 2147483646 h 11"/>
                <a:gd name="T30" fmla="*/ 2147483646 w 16"/>
                <a:gd name="T31" fmla="*/ 2147483646 h 11"/>
                <a:gd name="T32" fmla="*/ 2147483646 w 16"/>
                <a:gd name="T33" fmla="*/ 2147483646 h 11"/>
                <a:gd name="T34" fmla="*/ 2147483646 w 16"/>
                <a:gd name="T35" fmla="*/ 2147483646 h 11"/>
                <a:gd name="T36" fmla="*/ 2147483646 w 16"/>
                <a:gd name="T37" fmla="*/ 2147483646 h 11"/>
                <a:gd name="T38" fmla="*/ 2147483646 w 16"/>
                <a:gd name="T39" fmla="*/ 2147483646 h 11"/>
                <a:gd name="T40" fmla="*/ 2147483646 w 16"/>
                <a:gd name="T41" fmla="*/ 2147483646 h 11"/>
                <a:gd name="T42" fmla="*/ 2147483646 w 16"/>
                <a:gd name="T43" fmla="*/ 2147483646 h 11"/>
                <a:gd name="T44" fmla="*/ 2147483646 w 16"/>
                <a:gd name="T45" fmla="*/ 2147483646 h 11"/>
                <a:gd name="T46" fmla="*/ 2147483646 w 16"/>
                <a:gd name="T47" fmla="*/ 2147483646 h 11"/>
                <a:gd name="T48" fmla="*/ 2147483646 w 16"/>
                <a:gd name="T49" fmla="*/ 2147483646 h 11"/>
                <a:gd name="T50" fmla="*/ 2147483646 w 16"/>
                <a:gd name="T51" fmla="*/ 2147483646 h 11"/>
                <a:gd name="T52" fmla="*/ 2147483646 w 16"/>
                <a:gd name="T53" fmla="*/ 2147483646 h 11"/>
                <a:gd name="T54" fmla="*/ 2147483646 w 16"/>
                <a:gd name="T55" fmla="*/ 2147483646 h 11"/>
                <a:gd name="T56" fmla="*/ 2147483646 w 16"/>
                <a:gd name="T57" fmla="*/ 2147483646 h 11"/>
                <a:gd name="T58" fmla="*/ 2147483646 w 16"/>
                <a:gd name="T59" fmla="*/ 2147483646 h 11"/>
                <a:gd name="T60" fmla="*/ 2147483646 w 16"/>
                <a:gd name="T61" fmla="*/ 2147483646 h 11"/>
                <a:gd name="T62" fmla="*/ 2147483646 w 16"/>
                <a:gd name="T63" fmla="*/ 2147483646 h 11"/>
                <a:gd name="T64" fmla="*/ 2147483646 w 16"/>
                <a:gd name="T65" fmla="*/ 2147483646 h 1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" h="11">
                  <a:moveTo>
                    <a:pt x="8" y="11"/>
                  </a:move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6" y="10"/>
                  </a:cubicBezTo>
                  <a:cubicBezTo>
                    <a:pt x="6" y="10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4" y="7"/>
                    <a:pt x="3" y="6"/>
                    <a:pt x="3" y="6"/>
                  </a:cubicBezTo>
                  <a:cubicBezTo>
                    <a:pt x="1" y="5"/>
                    <a:pt x="1" y="4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5" y="0"/>
                    <a:pt x="7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3" y="2"/>
                    <a:pt x="14" y="2"/>
                  </a:cubicBezTo>
                  <a:cubicBezTo>
                    <a:pt x="14" y="3"/>
                    <a:pt x="15" y="3"/>
                    <a:pt x="15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6"/>
                    <a:pt x="14" y="7"/>
                    <a:pt x="14" y="7"/>
                  </a:cubicBezTo>
                  <a:cubicBezTo>
                    <a:pt x="13" y="8"/>
                    <a:pt x="12" y="8"/>
                    <a:pt x="13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9" y="11"/>
                  </a:cubicBezTo>
                  <a:cubicBezTo>
                    <a:pt x="9" y="11"/>
                    <a:pt x="8" y="11"/>
                    <a:pt x="8" y="11"/>
                  </a:cubicBezTo>
                  <a:close/>
                  <a:moveTo>
                    <a:pt x="7" y="10"/>
                  </a:moveTo>
                  <a:cubicBezTo>
                    <a:pt x="7" y="10"/>
                    <a:pt x="7" y="10"/>
                    <a:pt x="8" y="10"/>
                  </a:cubicBezTo>
                  <a:cubicBezTo>
                    <a:pt x="8" y="10"/>
                    <a:pt x="9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10" y="10"/>
                    <a:pt x="10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1" y="7"/>
                    <a:pt x="12" y="7"/>
                    <a:pt x="13" y="6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4" y="5"/>
                    <a:pt x="13" y="5"/>
                    <a:pt x="13" y="4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3" y="4"/>
                    <a:pt x="13" y="3"/>
                    <a:pt x="13" y="3"/>
                  </a:cubicBezTo>
                  <a:cubicBezTo>
                    <a:pt x="12" y="3"/>
                    <a:pt x="12" y="2"/>
                    <a:pt x="11" y="2"/>
                  </a:cubicBezTo>
                  <a:cubicBezTo>
                    <a:pt x="11" y="2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2"/>
                    <a:pt x="8" y="1"/>
                  </a:cubicBezTo>
                  <a:cubicBezTo>
                    <a:pt x="7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4"/>
                    <a:pt x="2" y="5"/>
                    <a:pt x="3" y="5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5" y="6"/>
                    <a:pt x="6" y="6"/>
                    <a:pt x="6" y="7"/>
                  </a:cubicBezTo>
                  <a:cubicBezTo>
                    <a:pt x="6" y="7"/>
                    <a:pt x="6" y="8"/>
                    <a:pt x="6" y="9"/>
                  </a:cubicBezTo>
                  <a:cubicBezTo>
                    <a:pt x="6" y="9"/>
                    <a:pt x="6" y="9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3" name="Freeform 689"/>
            <p:cNvSpPr/>
            <p:nvPr/>
          </p:nvSpPr>
          <p:spPr bwMode="auto">
            <a:xfrm>
              <a:off x="2132708" y="2001416"/>
              <a:ext cx="169863" cy="180975"/>
            </a:xfrm>
            <a:custGeom>
              <a:avLst/>
              <a:gdLst>
                <a:gd name="T0" fmla="*/ 2147483646 w 23"/>
                <a:gd name="T1" fmla="*/ 2147483646 h 24"/>
                <a:gd name="T2" fmla="*/ 2147483646 w 23"/>
                <a:gd name="T3" fmla="*/ 2147483646 h 24"/>
                <a:gd name="T4" fmla="*/ 2147483646 w 23"/>
                <a:gd name="T5" fmla="*/ 2147483646 h 24"/>
                <a:gd name="T6" fmla="*/ 2147483646 w 23"/>
                <a:gd name="T7" fmla="*/ 2147483646 h 24"/>
                <a:gd name="T8" fmla="*/ 2147483646 w 23"/>
                <a:gd name="T9" fmla="*/ 2147483646 h 24"/>
                <a:gd name="T10" fmla="*/ 2147483646 w 23"/>
                <a:gd name="T11" fmla="*/ 2147483646 h 24"/>
                <a:gd name="T12" fmla="*/ 2147483646 w 23"/>
                <a:gd name="T13" fmla="*/ 2147483646 h 24"/>
                <a:gd name="T14" fmla="*/ 2147483646 w 23"/>
                <a:gd name="T15" fmla="*/ 2147483646 h 24"/>
                <a:gd name="T16" fmla="*/ 2147483646 w 23"/>
                <a:gd name="T17" fmla="*/ 2147483646 h 24"/>
                <a:gd name="T18" fmla="*/ 2147483646 w 23"/>
                <a:gd name="T19" fmla="*/ 2147483646 h 24"/>
                <a:gd name="T20" fmla="*/ 2147483646 w 23"/>
                <a:gd name="T21" fmla="*/ 2147483646 h 24"/>
                <a:gd name="T22" fmla="*/ 2147483646 w 23"/>
                <a:gd name="T23" fmla="*/ 2147483646 h 24"/>
                <a:gd name="T24" fmla="*/ 2147483646 w 23"/>
                <a:gd name="T25" fmla="*/ 2147483646 h 24"/>
                <a:gd name="T26" fmla="*/ 2147483646 w 23"/>
                <a:gd name="T27" fmla="*/ 2147483646 h 24"/>
                <a:gd name="T28" fmla="*/ 2147483646 w 23"/>
                <a:gd name="T29" fmla="*/ 2147483646 h 24"/>
                <a:gd name="T30" fmla="*/ 2147483646 w 23"/>
                <a:gd name="T31" fmla="*/ 2147483646 h 2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3" h="24">
                  <a:moveTo>
                    <a:pt x="1" y="20"/>
                  </a:moveTo>
                  <a:cubicBezTo>
                    <a:pt x="1" y="18"/>
                    <a:pt x="0" y="18"/>
                    <a:pt x="1" y="16"/>
                  </a:cubicBezTo>
                  <a:cubicBezTo>
                    <a:pt x="2" y="15"/>
                    <a:pt x="1" y="12"/>
                    <a:pt x="1" y="11"/>
                  </a:cubicBezTo>
                  <a:cubicBezTo>
                    <a:pt x="2" y="11"/>
                    <a:pt x="3" y="11"/>
                    <a:pt x="4" y="11"/>
                  </a:cubicBezTo>
                  <a:cubicBezTo>
                    <a:pt x="4" y="10"/>
                    <a:pt x="6" y="10"/>
                    <a:pt x="6" y="10"/>
                  </a:cubicBezTo>
                  <a:cubicBezTo>
                    <a:pt x="5" y="7"/>
                    <a:pt x="8" y="7"/>
                    <a:pt x="9" y="6"/>
                  </a:cubicBezTo>
                  <a:cubicBezTo>
                    <a:pt x="6" y="4"/>
                    <a:pt x="16" y="0"/>
                    <a:pt x="15" y="4"/>
                  </a:cubicBezTo>
                  <a:cubicBezTo>
                    <a:pt x="17" y="3"/>
                    <a:pt x="18" y="4"/>
                    <a:pt x="19" y="6"/>
                  </a:cubicBezTo>
                  <a:cubicBezTo>
                    <a:pt x="19" y="7"/>
                    <a:pt x="18" y="8"/>
                    <a:pt x="19" y="9"/>
                  </a:cubicBezTo>
                  <a:cubicBezTo>
                    <a:pt x="19" y="10"/>
                    <a:pt x="20" y="12"/>
                    <a:pt x="21" y="11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21" y="14"/>
                    <a:pt x="18" y="13"/>
                    <a:pt x="19" y="14"/>
                  </a:cubicBezTo>
                  <a:cubicBezTo>
                    <a:pt x="20" y="15"/>
                    <a:pt x="20" y="17"/>
                    <a:pt x="20" y="18"/>
                  </a:cubicBezTo>
                  <a:cubicBezTo>
                    <a:pt x="18" y="18"/>
                    <a:pt x="16" y="24"/>
                    <a:pt x="14" y="20"/>
                  </a:cubicBezTo>
                  <a:cubicBezTo>
                    <a:pt x="13" y="22"/>
                    <a:pt x="10" y="20"/>
                    <a:pt x="9" y="19"/>
                  </a:cubicBezTo>
                  <a:cubicBezTo>
                    <a:pt x="5" y="18"/>
                    <a:pt x="4" y="19"/>
                    <a:pt x="1" y="2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4" name="Freeform 690"/>
            <p:cNvSpPr>
              <a:spLocks noEditPoints="1"/>
            </p:cNvSpPr>
            <p:nvPr/>
          </p:nvSpPr>
          <p:spPr bwMode="auto">
            <a:xfrm>
              <a:off x="2132708" y="2017291"/>
              <a:ext cx="169863" cy="149225"/>
            </a:xfrm>
            <a:custGeom>
              <a:avLst/>
              <a:gdLst>
                <a:gd name="T0" fmla="*/ 2147483646 w 23"/>
                <a:gd name="T1" fmla="*/ 2147483646 h 20"/>
                <a:gd name="T2" fmla="*/ 2147483646 w 23"/>
                <a:gd name="T3" fmla="*/ 2147483646 h 20"/>
                <a:gd name="T4" fmla="*/ 2147483646 w 23"/>
                <a:gd name="T5" fmla="*/ 2147483646 h 20"/>
                <a:gd name="T6" fmla="*/ 0 w 23"/>
                <a:gd name="T7" fmla="*/ 2147483646 h 20"/>
                <a:gd name="T8" fmla="*/ 0 w 23"/>
                <a:gd name="T9" fmla="*/ 2147483646 h 20"/>
                <a:gd name="T10" fmla="*/ 2147483646 w 23"/>
                <a:gd name="T11" fmla="*/ 2147483646 h 20"/>
                <a:gd name="T12" fmla="*/ 0 w 23"/>
                <a:gd name="T13" fmla="*/ 2147483646 h 20"/>
                <a:gd name="T14" fmla="*/ 2147483646 w 23"/>
                <a:gd name="T15" fmla="*/ 2147483646 h 20"/>
                <a:gd name="T16" fmla="*/ 2147483646 w 23"/>
                <a:gd name="T17" fmla="*/ 2147483646 h 20"/>
                <a:gd name="T18" fmla="*/ 2147483646 w 23"/>
                <a:gd name="T19" fmla="*/ 2147483646 h 20"/>
                <a:gd name="T20" fmla="*/ 2147483646 w 23"/>
                <a:gd name="T21" fmla="*/ 0 h 20"/>
                <a:gd name="T22" fmla="*/ 2147483646 w 23"/>
                <a:gd name="T23" fmla="*/ 2147483646 h 20"/>
                <a:gd name="T24" fmla="*/ 2147483646 w 23"/>
                <a:gd name="T25" fmla="*/ 2147483646 h 20"/>
                <a:gd name="T26" fmla="*/ 2147483646 w 23"/>
                <a:gd name="T27" fmla="*/ 2147483646 h 20"/>
                <a:gd name="T28" fmla="*/ 2147483646 w 23"/>
                <a:gd name="T29" fmla="*/ 2147483646 h 20"/>
                <a:gd name="T30" fmla="*/ 2147483646 w 23"/>
                <a:gd name="T31" fmla="*/ 2147483646 h 20"/>
                <a:gd name="T32" fmla="*/ 2147483646 w 23"/>
                <a:gd name="T33" fmla="*/ 2147483646 h 20"/>
                <a:gd name="T34" fmla="*/ 2147483646 w 23"/>
                <a:gd name="T35" fmla="*/ 2147483646 h 20"/>
                <a:gd name="T36" fmla="*/ 2147483646 w 23"/>
                <a:gd name="T37" fmla="*/ 2147483646 h 20"/>
                <a:gd name="T38" fmla="*/ 2147483646 w 23"/>
                <a:gd name="T39" fmla="*/ 2147483646 h 20"/>
                <a:gd name="T40" fmla="*/ 2147483646 w 23"/>
                <a:gd name="T41" fmla="*/ 2147483646 h 20"/>
                <a:gd name="T42" fmla="*/ 2147483646 w 23"/>
                <a:gd name="T43" fmla="*/ 2147483646 h 20"/>
                <a:gd name="T44" fmla="*/ 2147483646 w 23"/>
                <a:gd name="T45" fmla="*/ 2147483646 h 20"/>
                <a:gd name="T46" fmla="*/ 2147483646 w 23"/>
                <a:gd name="T47" fmla="*/ 2147483646 h 20"/>
                <a:gd name="T48" fmla="*/ 2147483646 w 23"/>
                <a:gd name="T49" fmla="*/ 2147483646 h 20"/>
                <a:gd name="T50" fmla="*/ 2147483646 w 23"/>
                <a:gd name="T51" fmla="*/ 2147483646 h 20"/>
                <a:gd name="T52" fmla="*/ 2147483646 w 23"/>
                <a:gd name="T53" fmla="*/ 2147483646 h 20"/>
                <a:gd name="T54" fmla="*/ 2147483646 w 23"/>
                <a:gd name="T55" fmla="*/ 2147483646 h 20"/>
                <a:gd name="T56" fmla="*/ 2147483646 w 23"/>
                <a:gd name="T57" fmla="*/ 2147483646 h 20"/>
                <a:gd name="T58" fmla="*/ 2147483646 w 23"/>
                <a:gd name="T59" fmla="*/ 2147483646 h 20"/>
                <a:gd name="T60" fmla="*/ 2147483646 w 23"/>
                <a:gd name="T61" fmla="*/ 2147483646 h 20"/>
                <a:gd name="T62" fmla="*/ 2147483646 w 23"/>
                <a:gd name="T63" fmla="*/ 2147483646 h 20"/>
                <a:gd name="T64" fmla="*/ 2147483646 w 23"/>
                <a:gd name="T65" fmla="*/ 2147483646 h 20"/>
                <a:gd name="T66" fmla="*/ 2147483646 w 23"/>
                <a:gd name="T67" fmla="*/ 2147483646 h 20"/>
                <a:gd name="T68" fmla="*/ 2147483646 w 23"/>
                <a:gd name="T69" fmla="*/ 2147483646 h 20"/>
                <a:gd name="T70" fmla="*/ 2147483646 w 23"/>
                <a:gd name="T71" fmla="*/ 2147483646 h 20"/>
                <a:gd name="T72" fmla="*/ 2147483646 w 23"/>
                <a:gd name="T73" fmla="*/ 2147483646 h 20"/>
                <a:gd name="T74" fmla="*/ 2147483646 w 23"/>
                <a:gd name="T75" fmla="*/ 2147483646 h 20"/>
                <a:gd name="T76" fmla="*/ 2147483646 w 23"/>
                <a:gd name="T77" fmla="*/ 2147483646 h 20"/>
                <a:gd name="T78" fmla="*/ 2147483646 w 23"/>
                <a:gd name="T79" fmla="*/ 2147483646 h 20"/>
                <a:gd name="T80" fmla="*/ 2147483646 w 23"/>
                <a:gd name="T81" fmla="*/ 2147483646 h 20"/>
                <a:gd name="T82" fmla="*/ 2147483646 w 23"/>
                <a:gd name="T83" fmla="*/ 2147483646 h 20"/>
                <a:gd name="T84" fmla="*/ 2147483646 w 23"/>
                <a:gd name="T85" fmla="*/ 2147483646 h 20"/>
                <a:gd name="T86" fmla="*/ 2147483646 w 23"/>
                <a:gd name="T87" fmla="*/ 2147483646 h 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3" h="20">
                  <a:moveTo>
                    <a:pt x="16" y="20"/>
                  </a:moveTo>
                  <a:cubicBezTo>
                    <a:pt x="15" y="20"/>
                    <a:pt x="15" y="19"/>
                    <a:pt x="14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2" y="19"/>
                    <a:pt x="11" y="19"/>
                    <a:pt x="10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6" y="17"/>
                    <a:pt x="5" y="17"/>
                    <a:pt x="3" y="18"/>
                  </a:cubicBezTo>
                  <a:cubicBezTo>
                    <a:pt x="2" y="18"/>
                    <a:pt x="2" y="18"/>
                    <a:pt x="1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0" y="15"/>
                    <a:pt x="0" y="15"/>
                    <a:pt x="1" y="14"/>
                  </a:cubicBezTo>
                  <a:cubicBezTo>
                    <a:pt x="1" y="13"/>
                    <a:pt x="1" y="11"/>
                    <a:pt x="1" y="10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3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5" y="6"/>
                    <a:pt x="6" y="5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4" y="0"/>
                    <a:pt x="15" y="0"/>
                    <a:pt x="15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8" y="1"/>
                    <a:pt x="19" y="3"/>
                    <a:pt x="19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6"/>
                    <a:pt x="19" y="6"/>
                    <a:pt x="20" y="7"/>
                  </a:cubicBezTo>
                  <a:cubicBezTo>
                    <a:pt x="20" y="8"/>
                    <a:pt x="21" y="9"/>
                    <a:pt x="21" y="9"/>
                  </a:cubicBezTo>
                  <a:cubicBezTo>
                    <a:pt x="22" y="9"/>
                    <a:pt x="23" y="9"/>
                    <a:pt x="23" y="10"/>
                  </a:cubicBezTo>
                  <a:cubicBezTo>
                    <a:pt x="23" y="11"/>
                    <a:pt x="23" y="12"/>
                    <a:pt x="22" y="1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3"/>
                    <a:pt x="21" y="14"/>
                    <a:pt x="21" y="15"/>
                  </a:cubicBezTo>
                  <a:cubicBezTo>
                    <a:pt x="21" y="15"/>
                    <a:pt x="21" y="15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19" y="17"/>
                    <a:pt x="18" y="18"/>
                  </a:cubicBezTo>
                  <a:cubicBezTo>
                    <a:pt x="18" y="19"/>
                    <a:pt x="17" y="20"/>
                    <a:pt x="16" y="20"/>
                  </a:cubicBezTo>
                  <a:close/>
                  <a:moveTo>
                    <a:pt x="14" y="17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9"/>
                    <a:pt x="16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18" y="16"/>
                    <a:pt x="19" y="16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9" y="14"/>
                    <a:pt x="19" y="13"/>
                    <a:pt x="19" y="13"/>
                  </a:cubicBezTo>
                  <a:cubicBezTo>
                    <a:pt x="19" y="13"/>
                    <a:pt x="18" y="12"/>
                    <a:pt x="19" y="12"/>
                  </a:cubicBezTo>
                  <a:cubicBezTo>
                    <a:pt x="19" y="11"/>
                    <a:pt x="19" y="11"/>
                    <a:pt x="20" y="11"/>
                  </a:cubicBezTo>
                  <a:cubicBezTo>
                    <a:pt x="20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1"/>
                    <a:pt x="22" y="11"/>
                    <a:pt x="22" y="10"/>
                  </a:cubicBezTo>
                  <a:cubicBezTo>
                    <a:pt x="22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19" y="9"/>
                    <a:pt x="19" y="7"/>
                  </a:cubicBezTo>
                  <a:cubicBezTo>
                    <a:pt x="18" y="6"/>
                    <a:pt x="18" y="6"/>
                    <a:pt x="18" y="5"/>
                  </a:cubicBezTo>
                  <a:cubicBezTo>
                    <a:pt x="18" y="5"/>
                    <a:pt x="18" y="5"/>
                    <a:pt x="18" y="4"/>
                  </a:cubicBezTo>
                  <a:cubicBezTo>
                    <a:pt x="18" y="2"/>
                    <a:pt x="17" y="2"/>
                    <a:pt x="16" y="2"/>
                  </a:cubicBezTo>
                  <a:cubicBezTo>
                    <a:pt x="16" y="2"/>
                    <a:pt x="16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4" y="1"/>
                    <a:pt x="14" y="1"/>
                    <a:pt x="13" y="1"/>
                  </a:cubicBezTo>
                  <a:cubicBezTo>
                    <a:pt x="11" y="1"/>
                    <a:pt x="9" y="2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7" y="6"/>
                    <a:pt x="6" y="6"/>
                    <a:pt x="7" y="8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9"/>
                    <a:pt x="3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2"/>
                    <a:pt x="2" y="13"/>
                    <a:pt x="2" y="14"/>
                  </a:cubicBezTo>
                  <a:cubicBezTo>
                    <a:pt x="1" y="15"/>
                    <a:pt x="1" y="15"/>
                    <a:pt x="1" y="16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2" y="17"/>
                    <a:pt x="2" y="17"/>
                    <a:pt x="3" y="17"/>
                  </a:cubicBezTo>
                  <a:cubicBezTo>
                    <a:pt x="4" y="17"/>
                    <a:pt x="5" y="16"/>
                    <a:pt x="6" y="16"/>
                  </a:cubicBezTo>
                  <a:cubicBezTo>
                    <a:pt x="7" y="16"/>
                    <a:pt x="8" y="16"/>
                    <a:pt x="9" y="17"/>
                  </a:cubicBezTo>
                  <a:cubicBezTo>
                    <a:pt x="9" y="17"/>
                    <a:pt x="10" y="17"/>
                    <a:pt x="10" y="17"/>
                  </a:cubicBezTo>
                  <a:cubicBezTo>
                    <a:pt x="11" y="18"/>
                    <a:pt x="12" y="18"/>
                    <a:pt x="13" y="18"/>
                  </a:cubicBezTo>
                  <a:cubicBezTo>
                    <a:pt x="13" y="18"/>
                    <a:pt x="13" y="18"/>
                    <a:pt x="14" y="18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5" name="Freeform 691"/>
            <p:cNvSpPr/>
            <p:nvPr/>
          </p:nvSpPr>
          <p:spPr bwMode="auto">
            <a:xfrm>
              <a:off x="2183508" y="2231604"/>
              <a:ext cx="68263" cy="76200"/>
            </a:xfrm>
            <a:custGeom>
              <a:avLst/>
              <a:gdLst>
                <a:gd name="T0" fmla="*/ 2147483646 w 9"/>
                <a:gd name="T1" fmla="*/ 2147483646 h 10"/>
                <a:gd name="T2" fmla="*/ 2147483646 w 9"/>
                <a:gd name="T3" fmla="*/ 2147483646 h 10"/>
                <a:gd name="T4" fmla="*/ 2147483646 w 9"/>
                <a:gd name="T5" fmla="*/ 2147483646 h 10"/>
                <a:gd name="T6" fmla="*/ 2147483646 w 9"/>
                <a:gd name="T7" fmla="*/ 2147483646 h 10"/>
                <a:gd name="T8" fmla="*/ 2147483646 w 9"/>
                <a:gd name="T9" fmla="*/ 2147483646 h 10"/>
                <a:gd name="T10" fmla="*/ 2147483646 w 9"/>
                <a:gd name="T11" fmla="*/ 0 h 10"/>
                <a:gd name="T12" fmla="*/ 2147483646 w 9"/>
                <a:gd name="T13" fmla="*/ 2147483646 h 10"/>
                <a:gd name="T14" fmla="*/ 2147483646 w 9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10">
                  <a:moveTo>
                    <a:pt x="5" y="10"/>
                  </a:moveTo>
                  <a:cubicBezTo>
                    <a:pt x="6" y="10"/>
                    <a:pt x="6" y="9"/>
                    <a:pt x="7" y="8"/>
                  </a:cubicBezTo>
                  <a:cubicBezTo>
                    <a:pt x="7" y="8"/>
                    <a:pt x="7" y="7"/>
                    <a:pt x="7" y="7"/>
                  </a:cubicBezTo>
                  <a:cubicBezTo>
                    <a:pt x="8" y="7"/>
                    <a:pt x="9" y="7"/>
                    <a:pt x="9" y="7"/>
                  </a:cubicBezTo>
                  <a:cubicBezTo>
                    <a:pt x="9" y="5"/>
                    <a:pt x="7" y="2"/>
                    <a:pt x="6" y="1"/>
                  </a:cubicBezTo>
                  <a:cubicBezTo>
                    <a:pt x="6" y="1"/>
                    <a:pt x="3" y="0"/>
                    <a:pt x="3" y="0"/>
                  </a:cubicBezTo>
                  <a:cubicBezTo>
                    <a:pt x="0" y="0"/>
                    <a:pt x="2" y="1"/>
                    <a:pt x="3" y="2"/>
                  </a:cubicBezTo>
                  <a:cubicBezTo>
                    <a:pt x="4" y="5"/>
                    <a:pt x="5" y="7"/>
                    <a:pt x="5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6" name="Freeform 692"/>
            <p:cNvSpPr>
              <a:spLocks noEditPoints="1"/>
            </p:cNvSpPr>
            <p:nvPr/>
          </p:nvSpPr>
          <p:spPr bwMode="auto">
            <a:xfrm>
              <a:off x="2193033" y="2231604"/>
              <a:ext cx="65088" cy="82550"/>
            </a:xfrm>
            <a:custGeom>
              <a:avLst/>
              <a:gdLst>
                <a:gd name="T0" fmla="*/ 2147483646 w 9"/>
                <a:gd name="T1" fmla="*/ 2147483646 h 11"/>
                <a:gd name="T2" fmla="*/ 2147483646 w 9"/>
                <a:gd name="T3" fmla="*/ 2147483646 h 11"/>
                <a:gd name="T4" fmla="*/ 2147483646 w 9"/>
                <a:gd name="T5" fmla="*/ 2147483646 h 11"/>
                <a:gd name="T6" fmla="*/ 2147483646 w 9"/>
                <a:gd name="T7" fmla="*/ 2147483646 h 11"/>
                <a:gd name="T8" fmla="*/ 0 w 9"/>
                <a:gd name="T9" fmla="*/ 0 h 11"/>
                <a:gd name="T10" fmla="*/ 2147483646 w 9"/>
                <a:gd name="T11" fmla="*/ 0 h 11"/>
                <a:gd name="T12" fmla="*/ 2147483646 w 9"/>
                <a:gd name="T13" fmla="*/ 0 h 11"/>
                <a:gd name="T14" fmla="*/ 2147483646 w 9"/>
                <a:gd name="T15" fmla="*/ 2147483646 h 11"/>
                <a:gd name="T16" fmla="*/ 2147483646 w 9"/>
                <a:gd name="T17" fmla="*/ 2147483646 h 11"/>
                <a:gd name="T18" fmla="*/ 2147483646 w 9"/>
                <a:gd name="T19" fmla="*/ 2147483646 h 11"/>
                <a:gd name="T20" fmla="*/ 2147483646 w 9"/>
                <a:gd name="T21" fmla="*/ 2147483646 h 11"/>
                <a:gd name="T22" fmla="*/ 2147483646 w 9"/>
                <a:gd name="T23" fmla="*/ 2147483646 h 11"/>
                <a:gd name="T24" fmla="*/ 2147483646 w 9"/>
                <a:gd name="T25" fmla="*/ 2147483646 h 11"/>
                <a:gd name="T26" fmla="*/ 2147483646 w 9"/>
                <a:gd name="T27" fmla="*/ 2147483646 h 11"/>
                <a:gd name="T28" fmla="*/ 2147483646 w 9"/>
                <a:gd name="T29" fmla="*/ 2147483646 h 11"/>
                <a:gd name="T30" fmla="*/ 2147483646 w 9"/>
                <a:gd name="T31" fmla="*/ 2147483646 h 11"/>
                <a:gd name="T32" fmla="*/ 2147483646 w 9"/>
                <a:gd name="T33" fmla="*/ 2147483646 h 11"/>
                <a:gd name="T34" fmla="*/ 2147483646 w 9"/>
                <a:gd name="T35" fmla="*/ 2147483646 h 11"/>
                <a:gd name="T36" fmla="*/ 2147483646 w 9"/>
                <a:gd name="T37" fmla="*/ 2147483646 h 11"/>
                <a:gd name="T38" fmla="*/ 2147483646 w 9"/>
                <a:gd name="T39" fmla="*/ 2147483646 h 11"/>
                <a:gd name="T40" fmla="*/ 2147483646 w 9"/>
                <a:gd name="T41" fmla="*/ 2147483646 h 11"/>
                <a:gd name="T42" fmla="*/ 2147483646 w 9"/>
                <a:gd name="T43" fmla="*/ 2147483646 h 11"/>
                <a:gd name="T44" fmla="*/ 2147483646 w 9"/>
                <a:gd name="T45" fmla="*/ 2147483646 h 11"/>
                <a:gd name="T46" fmla="*/ 2147483646 w 9"/>
                <a:gd name="T47" fmla="*/ 2147483646 h 11"/>
                <a:gd name="T48" fmla="*/ 2147483646 w 9"/>
                <a:gd name="T49" fmla="*/ 2147483646 h 11"/>
                <a:gd name="T50" fmla="*/ 2147483646 w 9"/>
                <a:gd name="T51" fmla="*/ 2147483646 h 11"/>
                <a:gd name="T52" fmla="*/ 2147483646 w 9"/>
                <a:gd name="T53" fmla="*/ 2147483646 h 11"/>
                <a:gd name="T54" fmla="*/ 2147483646 w 9"/>
                <a:gd name="T55" fmla="*/ 2147483646 h 11"/>
                <a:gd name="T56" fmla="*/ 2147483646 w 9"/>
                <a:gd name="T57" fmla="*/ 2147483646 h 11"/>
                <a:gd name="T58" fmla="*/ 2147483646 w 9"/>
                <a:gd name="T59" fmla="*/ 2147483646 h 1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9" h="11">
                  <a:moveTo>
                    <a:pt x="3" y="11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7"/>
                    <a:pt x="3" y="5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5" y="0"/>
                    <a:pt x="5" y="1"/>
                  </a:cubicBezTo>
                  <a:cubicBezTo>
                    <a:pt x="7" y="1"/>
                    <a:pt x="9" y="5"/>
                    <a:pt x="9" y="7"/>
                  </a:cubicBezTo>
                  <a:cubicBezTo>
                    <a:pt x="9" y="7"/>
                    <a:pt x="9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6" y="8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10"/>
                    <a:pt x="5" y="11"/>
                    <a:pt x="4" y="11"/>
                  </a:cubicBezTo>
                  <a:lnTo>
                    <a:pt x="3" y="11"/>
                  </a:lnTo>
                  <a:close/>
                  <a:moveTo>
                    <a:pt x="1" y="1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4" y="5"/>
                    <a:pt x="4" y="7"/>
                    <a:pt x="4" y="9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5" y="9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6"/>
                    <a:pt x="6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5"/>
                    <a:pt x="6" y="2"/>
                    <a:pt x="5" y="2"/>
                  </a:cubicBezTo>
                  <a:cubicBezTo>
                    <a:pt x="4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7" name="Freeform 693"/>
            <p:cNvSpPr/>
            <p:nvPr/>
          </p:nvSpPr>
          <p:spPr bwMode="auto">
            <a:xfrm>
              <a:off x="2110483" y="2122066"/>
              <a:ext cx="317500" cy="214313"/>
            </a:xfrm>
            <a:custGeom>
              <a:avLst/>
              <a:gdLst>
                <a:gd name="T0" fmla="*/ 2147483646 w 43"/>
                <a:gd name="T1" fmla="*/ 2147483646 h 29"/>
                <a:gd name="T2" fmla="*/ 2147483646 w 43"/>
                <a:gd name="T3" fmla="*/ 2147483646 h 29"/>
                <a:gd name="T4" fmla="*/ 2147483646 w 43"/>
                <a:gd name="T5" fmla="*/ 2147483646 h 29"/>
                <a:gd name="T6" fmla="*/ 2147483646 w 43"/>
                <a:gd name="T7" fmla="*/ 2147483646 h 29"/>
                <a:gd name="T8" fmla="*/ 2147483646 w 43"/>
                <a:gd name="T9" fmla="*/ 2147483646 h 29"/>
                <a:gd name="T10" fmla="*/ 2147483646 w 43"/>
                <a:gd name="T11" fmla="*/ 2147483646 h 29"/>
                <a:gd name="T12" fmla="*/ 2147483646 w 43"/>
                <a:gd name="T13" fmla="*/ 2147483646 h 29"/>
                <a:gd name="T14" fmla="*/ 2147483646 w 43"/>
                <a:gd name="T15" fmla="*/ 2147483646 h 29"/>
                <a:gd name="T16" fmla="*/ 2147483646 w 43"/>
                <a:gd name="T17" fmla="*/ 2147483646 h 29"/>
                <a:gd name="T18" fmla="*/ 2147483646 w 43"/>
                <a:gd name="T19" fmla="*/ 2147483646 h 29"/>
                <a:gd name="T20" fmla="*/ 2147483646 w 43"/>
                <a:gd name="T21" fmla="*/ 2147483646 h 29"/>
                <a:gd name="T22" fmla="*/ 2147483646 w 43"/>
                <a:gd name="T23" fmla="*/ 2147483646 h 29"/>
                <a:gd name="T24" fmla="*/ 2147483646 w 43"/>
                <a:gd name="T25" fmla="*/ 2147483646 h 29"/>
                <a:gd name="T26" fmla="*/ 2147483646 w 43"/>
                <a:gd name="T27" fmla="*/ 2147483646 h 29"/>
                <a:gd name="T28" fmla="*/ 2147483646 w 43"/>
                <a:gd name="T29" fmla="*/ 2147483646 h 29"/>
                <a:gd name="T30" fmla="*/ 2147483646 w 43"/>
                <a:gd name="T31" fmla="*/ 2147483646 h 29"/>
                <a:gd name="T32" fmla="*/ 2147483646 w 43"/>
                <a:gd name="T33" fmla="*/ 2147483646 h 29"/>
                <a:gd name="T34" fmla="*/ 2147483646 w 43"/>
                <a:gd name="T35" fmla="*/ 2147483646 h 29"/>
                <a:gd name="T36" fmla="*/ 2147483646 w 43"/>
                <a:gd name="T37" fmla="*/ 2147483646 h 29"/>
                <a:gd name="T38" fmla="*/ 2147483646 w 43"/>
                <a:gd name="T39" fmla="*/ 2147483646 h 29"/>
                <a:gd name="T40" fmla="*/ 2147483646 w 43"/>
                <a:gd name="T41" fmla="*/ 2147483646 h 29"/>
                <a:gd name="T42" fmla="*/ 2147483646 w 43"/>
                <a:gd name="T43" fmla="*/ 2147483646 h 29"/>
                <a:gd name="T44" fmla="*/ 2147483646 w 43"/>
                <a:gd name="T45" fmla="*/ 2147483646 h 29"/>
                <a:gd name="T46" fmla="*/ 2147483646 w 43"/>
                <a:gd name="T47" fmla="*/ 2147483646 h 29"/>
                <a:gd name="T48" fmla="*/ 2147483646 w 43"/>
                <a:gd name="T49" fmla="*/ 2147483646 h 29"/>
                <a:gd name="T50" fmla="*/ 2147483646 w 43"/>
                <a:gd name="T51" fmla="*/ 2147483646 h 29"/>
                <a:gd name="T52" fmla="*/ 2147483646 w 43"/>
                <a:gd name="T53" fmla="*/ 2147483646 h 29"/>
                <a:gd name="T54" fmla="*/ 2147483646 w 43"/>
                <a:gd name="T55" fmla="*/ 2147483646 h 29"/>
                <a:gd name="T56" fmla="*/ 2147483646 w 43"/>
                <a:gd name="T57" fmla="*/ 2147483646 h 29"/>
                <a:gd name="T58" fmla="*/ 2147483646 w 43"/>
                <a:gd name="T59" fmla="*/ 2147483646 h 29"/>
                <a:gd name="T60" fmla="*/ 2147483646 w 43"/>
                <a:gd name="T61" fmla="*/ 2147483646 h 29"/>
                <a:gd name="T62" fmla="*/ 2147483646 w 43"/>
                <a:gd name="T63" fmla="*/ 2147483646 h 29"/>
                <a:gd name="T64" fmla="*/ 2147483646 w 43"/>
                <a:gd name="T65" fmla="*/ 2147483646 h 29"/>
                <a:gd name="T66" fmla="*/ 2147483646 w 43"/>
                <a:gd name="T67" fmla="*/ 2147483646 h 29"/>
                <a:gd name="T68" fmla="*/ 2147483646 w 43"/>
                <a:gd name="T69" fmla="*/ 2147483646 h 29"/>
                <a:gd name="T70" fmla="*/ 2147483646 w 43"/>
                <a:gd name="T71" fmla="*/ 2147483646 h 29"/>
                <a:gd name="T72" fmla="*/ 2147483646 w 43"/>
                <a:gd name="T73" fmla="*/ 2147483646 h 29"/>
                <a:gd name="T74" fmla="*/ 2147483646 w 43"/>
                <a:gd name="T75" fmla="*/ 2147483646 h 29"/>
                <a:gd name="T76" fmla="*/ 2147483646 w 43"/>
                <a:gd name="T77" fmla="*/ 2147483646 h 29"/>
                <a:gd name="T78" fmla="*/ 2147483646 w 43"/>
                <a:gd name="T79" fmla="*/ 2147483646 h 29"/>
                <a:gd name="T80" fmla="*/ 2147483646 w 43"/>
                <a:gd name="T81" fmla="*/ 2147483646 h 29"/>
                <a:gd name="T82" fmla="*/ 2147483646 w 43"/>
                <a:gd name="T83" fmla="*/ 2147483646 h 29"/>
                <a:gd name="T84" fmla="*/ 2147483646 w 43"/>
                <a:gd name="T85" fmla="*/ 2147483646 h 29"/>
                <a:gd name="T86" fmla="*/ 2147483646 w 43"/>
                <a:gd name="T87" fmla="*/ 2147483646 h 29"/>
                <a:gd name="T88" fmla="*/ 2147483646 w 43"/>
                <a:gd name="T89" fmla="*/ 2147483646 h 29"/>
                <a:gd name="T90" fmla="*/ 2147483646 w 43"/>
                <a:gd name="T91" fmla="*/ 2147483646 h 29"/>
                <a:gd name="T92" fmla="*/ 2147483646 w 43"/>
                <a:gd name="T93" fmla="*/ 2147483646 h 29"/>
                <a:gd name="T94" fmla="*/ 2147483646 w 43"/>
                <a:gd name="T95" fmla="*/ 2147483646 h 29"/>
                <a:gd name="T96" fmla="*/ 2147483646 w 43"/>
                <a:gd name="T97" fmla="*/ 2147483646 h 29"/>
                <a:gd name="T98" fmla="*/ 2147483646 w 43"/>
                <a:gd name="T99" fmla="*/ 2147483646 h 29"/>
                <a:gd name="T100" fmla="*/ 2147483646 w 43"/>
                <a:gd name="T101" fmla="*/ 2147483646 h 29"/>
                <a:gd name="T102" fmla="*/ 2147483646 w 43"/>
                <a:gd name="T103" fmla="*/ 2147483646 h 2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3" h="29">
                  <a:moveTo>
                    <a:pt x="11" y="16"/>
                  </a:moveTo>
                  <a:cubicBezTo>
                    <a:pt x="10" y="17"/>
                    <a:pt x="0" y="19"/>
                    <a:pt x="1" y="15"/>
                  </a:cubicBezTo>
                  <a:cubicBezTo>
                    <a:pt x="1" y="14"/>
                    <a:pt x="2" y="13"/>
                    <a:pt x="2" y="13"/>
                  </a:cubicBezTo>
                  <a:cubicBezTo>
                    <a:pt x="2" y="12"/>
                    <a:pt x="2" y="11"/>
                    <a:pt x="3" y="10"/>
                  </a:cubicBezTo>
                  <a:cubicBezTo>
                    <a:pt x="5" y="7"/>
                    <a:pt x="5" y="7"/>
                    <a:pt x="4" y="4"/>
                  </a:cubicBezTo>
                  <a:cubicBezTo>
                    <a:pt x="7" y="3"/>
                    <a:pt x="8" y="2"/>
                    <a:pt x="12" y="3"/>
                  </a:cubicBezTo>
                  <a:cubicBezTo>
                    <a:pt x="13" y="4"/>
                    <a:pt x="16" y="6"/>
                    <a:pt x="17" y="4"/>
                  </a:cubicBezTo>
                  <a:cubicBezTo>
                    <a:pt x="20" y="8"/>
                    <a:pt x="21" y="1"/>
                    <a:pt x="24" y="2"/>
                  </a:cubicBezTo>
                  <a:cubicBezTo>
                    <a:pt x="24" y="2"/>
                    <a:pt x="27" y="0"/>
                    <a:pt x="28" y="1"/>
                  </a:cubicBezTo>
                  <a:cubicBezTo>
                    <a:pt x="30" y="2"/>
                    <a:pt x="29" y="3"/>
                    <a:pt x="29" y="4"/>
                  </a:cubicBezTo>
                  <a:cubicBezTo>
                    <a:pt x="29" y="6"/>
                    <a:pt x="31" y="4"/>
                    <a:pt x="32" y="6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5" y="9"/>
                    <a:pt x="36" y="8"/>
                    <a:pt x="36" y="8"/>
                  </a:cubicBezTo>
                  <a:cubicBezTo>
                    <a:pt x="37" y="9"/>
                    <a:pt x="37" y="9"/>
                    <a:pt x="38" y="9"/>
                  </a:cubicBezTo>
                  <a:cubicBezTo>
                    <a:pt x="40" y="10"/>
                    <a:pt x="41" y="10"/>
                    <a:pt x="43" y="11"/>
                  </a:cubicBezTo>
                  <a:cubicBezTo>
                    <a:pt x="43" y="12"/>
                    <a:pt x="43" y="13"/>
                    <a:pt x="42" y="13"/>
                  </a:cubicBezTo>
                  <a:cubicBezTo>
                    <a:pt x="42" y="13"/>
                    <a:pt x="42" y="14"/>
                    <a:pt x="42" y="14"/>
                  </a:cubicBezTo>
                  <a:cubicBezTo>
                    <a:pt x="41" y="14"/>
                    <a:pt x="42" y="16"/>
                    <a:pt x="42" y="17"/>
                  </a:cubicBezTo>
                  <a:cubicBezTo>
                    <a:pt x="42" y="18"/>
                    <a:pt x="41" y="17"/>
                    <a:pt x="40" y="17"/>
                  </a:cubicBezTo>
                  <a:cubicBezTo>
                    <a:pt x="40" y="17"/>
                    <a:pt x="39" y="18"/>
                    <a:pt x="39" y="18"/>
                  </a:cubicBezTo>
                  <a:cubicBezTo>
                    <a:pt x="37" y="19"/>
                    <a:pt x="39" y="20"/>
                    <a:pt x="37" y="20"/>
                  </a:cubicBezTo>
                  <a:cubicBezTo>
                    <a:pt x="35" y="21"/>
                    <a:pt x="32" y="21"/>
                    <a:pt x="31" y="23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3"/>
                    <a:pt x="30" y="23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0" y="23"/>
                    <a:pt x="29" y="24"/>
                    <a:pt x="29" y="24"/>
                  </a:cubicBezTo>
                  <a:cubicBezTo>
                    <a:pt x="29" y="23"/>
                    <a:pt x="29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4"/>
                    <a:pt x="29" y="24"/>
                    <a:pt x="30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5"/>
                    <a:pt x="30" y="26"/>
                    <a:pt x="31" y="26"/>
                  </a:cubicBezTo>
                  <a:cubicBezTo>
                    <a:pt x="32" y="26"/>
                    <a:pt x="33" y="26"/>
                    <a:pt x="34" y="25"/>
                  </a:cubicBezTo>
                  <a:cubicBezTo>
                    <a:pt x="34" y="27"/>
                    <a:pt x="33" y="27"/>
                    <a:pt x="32" y="27"/>
                  </a:cubicBezTo>
                  <a:cubicBezTo>
                    <a:pt x="31" y="26"/>
                    <a:pt x="30" y="28"/>
                    <a:pt x="29" y="28"/>
                  </a:cubicBezTo>
                  <a:cubicBezTo>
                    <a:pt x="28" y="29"/>
                    <a:pt x="27" y="29"/>
                    <a:pt x="27" y="28"/>
                  </a:cubicBezTo>
                  <a:cubicBezTo>
                    <a:pt x="27" y="26"/>
                    <a:pt x="27" y="26"/>
                    <a:pt x="25" y="26"/>
                  </a:cubicBezTo>
                  <a:cubicBezTo>
                    <a:pt x="26" y="25"/>
                    <a:pt x="27" y="24"/>
                    <a:pt x="28" y="24"/>
                  </a:cubicBezTo>
                  <a:cubicBezTo>
                    <a:pt x="27" y="23"/>
                    <a:pt x="25" y="23"/>
                    <a:pt x="23" y="23"/>
                  </a:cubicBezTo>
                  <a:cubicBezTo>
                    <a:pt x="23" y="23"/>
                    <a:pt x="24" y="23"/>
                    <a:pt x="24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4" y="22"/>
                    <a:pt x="24" y="22"/>
                  </a:cubicBezTo>
                  <a:cubicBezTo>
                    <a:pt x="23" y="20"/>
                    <a:pt x="20" y="21"/>
                    <a:pt x="20" y="23"/>
                  </a:cubicBezTo>
                  <a:cubicBezTo>
                    <a:pt x="20" y="23"/>
                    <a:pt x="20" y="23"/>
                    <a:pt x="19" y="22"/>
                  </a:cubicBezTo>
                  <a:cubicBezTo>
                    <a:pt x="20" y="23"/>
                    <a:pt x="19" y="24"/>
                    <a:pt x="18" y="25"/>
                  </a:cubicBezTo>
                  <a:cubicBezTo>
                    <a:pt x="18" y="25"/>
                    <a:pt x="18" y="24"/>
                    <a:pt x="18" y="24"/>
                  </a:cubicBezTo>
                  <a:cubicBezTo>
                    <a:pt x="18" y="26"/>
                    <a:pt x="16" y="26"/>
                    <a:pt x="15" y="25"/>
                  </a:cubicBezTo>
                  <a:cubicBezTo>
                    <a:pt x="16" y="25"/>
                    <a:pt x="16" y="23"/>
                    <a:pt x="17" y="22"/>
                  </a:cubicBezTo>
                  <a:cubicBezTo>
                    <a:pt x="18" y="22"/>
                    <a:pt x="19" y="23"/>
                    <a:pt x="19" y="22"/>
                  </a:cubicBezTo>
                  <a:cubicBezTo>
                    <a:pt x="19" y="21"/>
                    <a:pt x="19" y="21"/>
                    <a:pt x="18" y="20"/>
                  </a:cubicBezTo>
                  <a:cubicBezTo>
                    <a:pt x="18" y="18"/>
                    <a:pt x="17" y="17"/>
                    <a:pt x="16" y="16"/>
                  </a:cubicBezTo>
                  <a:cubicBezTo>
                    <a:pt x="16" y="16"/>
                    <a:pt x="14" y="16"/>
                    <a:pt x="14" y="15"/>
                  </a:cubicBezTo>
                  <a:cubicBezTo>
                    <a:pt x="13" y="15"/>
                    <a:pt x="12" y="15"/>
                    <a:pt x="11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8" name="Freeform 694"/>
            <p:cNvSpPr>
              <a:spLocks noEditPoints="1"/>
            </p:cNvSpPr>
            <p:nvPr/>
          </p:nvSpPr>
          <p:spPr bwMode="auto">
            <a:xfrm>
              <a:off x="2110483" y="2122066"/>
              <a:ext cx="327025" cy="214313"/>
            </a:xfrm>
            <a:custGeom>
              <a:avLst/>
              <a:gdLst>
                <a:gd name="T0" fmla="*/ 2147483646 w 44"/>
                <a:gd name="T1" fmla="*/ 2147483646 h 29"/>
                <a:gd name="T2" fmla="*/ 2147483646 w 44"/>
                <a:gd name="T3" fmla="*/ 2147483646 h 29"/>
                <a:gd name="T4" fmla="*/ 2147483646 w 44"/>
                <a:gd name="T5" fmla="*/ 2147483646 h 29"/>
                <a:gd name="T6" fmla="*/ 2147483646 w 44"/>
                <a:gd name="T7" fmla="*/ 2147483646 h 29"/>
                <a:gd name="T8" fmla="*/ 2147483646 w 44"/>
                <a:gd name="T9" fmla="*/ 2147483646 h 29"/>
                <a:gd name="T10" fmla="*/ 2147483646 w 44"/>
                <a:gd name="T11" fmla="*/ 2147483646 h 29"/>
                <a:gd name="T12" fmla="*/ 2147483646 w 44"/>
                <a:gd name="T13" fmla="*/ 2147483646 h 29"/>
                <a:gd name="T14" fmla="*/ 2147483646 w 44"/>
                <a:gd name="T15" fmla="*/ 2147483646 h 29"/>
                <a:gd name="T16" fmla="*/ 2147483646 w 44"/>
                <a:gd name="T17" fmla="*/ 2147483646 h 29"/>
                <a:gd name="T18" fmla="*/ 0 w 44"/>
                <a:gd name="T19" fmla="*/ 2147483646 h 29"/>
                <a:gd name="T20" fmla="*/ 2147483646 w 44"/>
                <a:gd name="T21" fmla="*/ 2147483646 h 29"/>
                <a:gd name="T22" fmla="*/ 2147483646 w 44"/>
                <a:gd name="T23" fmla="*/ 2147483646 h 29"/>
                <a:gd name="T24" fmla="*/ 2147483646 w 44"/>
                <a:gd name="T25" fmla="*/ 2147483646 h 29"/>
                <a:gd name="T26" fmla="*/ 2147483646 w 44"/>
                <a:gd name="T27" fmla="*/ 2147483646 h 29"/>
                <a:gd name="T28" fmla="*/ 2147483646 w 44"/>
                <a:gd name="T29" fmla="*/ 2147483646 h 29"/>
                <a:gd name="T30" fmla="*/ 2147483646 w 44"/>
                <a:gd name="T31" fmla="*/ 2147483646 h 29"/>
                <a:gd name="T32" fmla="*/ 2147483646 w 44"/>
                <a:gd name="T33" fmla="*/ 2147483646 h 29"/>
                <a:gd name="T34" fmla="*/ 2147483646 w 44"/>
                <a:gd name="T35" fmla="*/ 2147483646 h 29"/>
                <a:gd name="T36" fmla="*/ 2147483646 w 44"/>
                <a:gd name="T37" fmla="*/ 2147483646 h 29"/>
                <a:gd name="T38" fmla="*/ 2147483646 w 44"/>
                <a:gd name="T39" fmla="*/ 2147483646 h 29"/>
                <a:gd name="T40" fmla="*/ 2147483646 w 44"/>
                <a:gd name="T41" fmla="*/ 2147483646 h 29"/>
                <a:gd name="T42" fmla="*/ 2147483646 w 44"/>
                <a:gd name="T43" fmla="*/ 2147483646 h 29"/>
                <a:gd name="T44" fmla="*/ 2147483646 w 44"/>
                <a:gd name="T45" fmla="*/ 2147483646 h 29"/>
                <a:gd name="T46" fmla="*/ 2147483646 w 44"/>
                <a:gd name="T47" fmla="*/ 2147483646 h 29"/>
                <a:gd name="T48" fmla="*/ 2147483646 w 44"/>
                <a:gd name="T49" fmla="*/ 2147483646 h 29"/>
                <a:gd name="T50" fmla="*/ 2147483646 w 44"/>
                <a:gd name="T51" fmla="*/ 2147483646 h 29"/>
                <a:gd name="T52" fmla="*/ 2147483646 w 44"/>
                <a:gd name="T53" fmla="*/ 2147483646 h 29"/>
                <a:gd name="T54" fmla="*/ 2147483646 w 44"/>
                <a:gd name="T55" fmla="*/ 2147483646 h 29"/>
                <a:gd name="T56" fmla="*/ 2147483646 w 44"/>
                <a:gd name="T57" fmla="*/ 2147483646 h 29"/>
                <a:gd name="T58" fmla="*/ 2147483646 w 44"/>
                <a:gd name="T59" fmla="*/ 2147483646 h 29"/>
                <a:gd name="T60" fmla="*/ 2147483646 w 44"/>
                <a:gd name="T61" fmla="*/ 2147483646 h 29"/>
                <a:gd name="T62" fmla="*/ 2147483646 w 44"/>
                <a:gd name="T63" fmla="*/ 2147483646 h 29"/>
                <a:gd name="T64" fmla="*/ 2147483646 w 44"/>
                <a:gd name="T65" fmla="*/ 2147483646 h 29"/>
                <a:gd name="T66" fmla="*/ 2147483646 w 44"/>
                <a:gd name="T67" fmla="*/ 2147483646 h 29"/>
                <a:gd name="T68" fmla="*/ 2147483646 w 44"/>
                <a:gd name="T69" fmla="*/ 2147483646 h 29"/>
                <a:gd name="T70" fmla="*/ 2147483646 w 44"/>
                <a:gd name="T71" fmla="*/ 2147483646 h 29"/>
                <a:gd name="T72" fmla="*/ 2147483646 w 44"/>
                <a:gd name="T73" fmla="*/ 2147483646 h 29"/>
                <a:gd name="T74" fmla="*/ 2147483646 w 44"/>
                <a:gd name="T75" fmla="*/ 2147483646 h 29"/>
                <a:gd name="T76" fmla="*/ 2147483646 w 44"/>
                <a:gd name="T77" fmla="*/ 2147483646 h 29"/>
                <a:gd name="T78" fmla="*/ 2147483646 w 44"/>
                <a:gd name="T79" fmla="*/ 2147483646 h 29"/>
                <a:gd name="T80" fmla="*/ 2147483646 w 44"/>
                <a:gd name="T81" fmla="*/ 2147483646 h 29"/>
                <a:gd name="T82" fmla="*/ 2147483646 w 44"/>
                <a:gd name="T83" fmla="*/ 2147483646 h 29"/>
                <a:gd name="T84" fmla="*/ 2147483646 w 44"/>
                <a:gd name="T85" fmla="*/ 2147483646 h 29"/>
                <a:gd name="T86" fmla="*/ 2147483646 w 44"/>
                <a:gd name="T87" fmla="*/ 2147483646 h 29"/>
                <a:gd name="T88" fmla="*/ 2147483646 w 44"/>
                <a:gd name="T89" fmla="*/ 2147483646 h 29"/>
                <a:gd name="T90" fmla="*/ 2147483646 w 44"/>
                <a:gd name="T91" fmla="*/ 2147483646 h 29"/>
                <a:gd name="T92" fmla="*/ 2147483646 w 44"/>
                <a:gd name="T93" fmla="*/ 2147483646 h 29"/>
                <a:gd name="T94" fmla="*/ 2147483646 w 44"/>
                <a:gd name="T95" fmla="*/ 2147483646 h 29"/>
                <a:gd name="T96" fmla="*/ 2147483646 w 44"/>
                <a:gd name="T97" fmla="*/ 2147483646 h 29"/>
                <a:gd name="T98" fmla="*/ 2147483646 w 44"/>
                <a:gd name="T99" fmla="*/ 2147483646 h 29"/>
                <a:gd name="T100" fmla="*/ 2147483646 w 44"/>
                <a:gd name="T101" fmla="*/ 2147483646 h 2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4" h="29">
                  <a:moveTo>
                    <a:pt x="28" y="29"/>
                  </a:moveTo>
                  <a:cubicBezTo>
                    <a:pt x="27" y="29"/>
                    <a:pt x="27" y="29"/>
                    <a:pt x="27" y="29"/>
                  </a:cubicBezTo>
                  <a:cubicBezTo>
                    <a:pt x="26" y="29"/>
                    <a:pt x="26" y="29"/>
                    <a:pt x="26" y="28"/>
                  </a:cubicBezTo>
                  <a:cubicBezTo>
                    <a:pt x="26" y="27"/>
                    <a:pt x="26" y="27"/>
                    <a:pt x="25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5" y="24"/>
                    <a:pt x="24" y="24"/>
                  </a:cubicBezTo>
                  <a:cubicBezTo>
                    <a:pt x="24" y="24"/>
                    <a:pt x="24" y="24"/>
                    <a:pt x="23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19" y="25"/>
                    <a:pt x="19" y="25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7" y="27"/>
                    <a:pt x="15" y="27"/>
                    <a:pt x="14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4"/>
                    <a:pt x="16" y="23"/>
                  </a:cubicBezTo>
                  <a:cubicBezTo>
                    <a:pt x="16" y="23"/>
                    <a:pt x="16" y="22"/>
                    <a:pt x="17" y="22"/>
                  </a:cubicBezTo>
                  <a:cubicBezTo>
                    <a:pt x="17" y="22"/>
                    <a:pt x="17" y="22"/>
                    <a:pt x="17" y="21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2"/>
                    <a:pt x="18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0"/>
                  </a:cubicBezTo>
                  <a:cubicBezTo>
                    <a:pt x="17" y="18"/>
                    <a:pt x="17" y="17"/>
                    <a:pt x="16" y="17"/>
                  </a:cubicBezTo>
                  <a:cubicBezTo>
                    <a:pt x="16" y="16"/>
                    <a:pt x="15" y="16"/>
                    <a:pt x="15" y="16"/>
                  </a:cubicBezTo>
                  <a:cubicBezTo>
                    <a:pt x="14" y="16"/>
                    <a:pt x="14" y="16"/>
                    <a:pt x="13" y="16"/>
                  </a:cubicBezTo>
                  <a:cubicBezTo>
                    <a:pt x="13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0" y="17"/>
                    <a:pt x="7" y="18"/>
                    <a:pt x="4" y="18"/>
                  </a:cubicBezTo>
                  <a:cubicBezTo>
                    <a:pt x="3" y="18"/>
                    <a:pt x="1" y="17"/>
                    <a:pt x="1" y="16"/>
                  </a:cubicBezTo>
                  <a:cubicBezTo>
                    <a:pt x="0" y="16"/>
                    <a:pt x="0" y="15"/>
                    <a:pt x="0" y="14"/>
                  </a:cubicBezTo>
                  <a:cubicBezTo>
                    <a:pt x="1" y="14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1"/>
                    <a:pt x="2" y="10"/>
                    <a:pt x="2" y="9"/>
                  </a:cubicBezTo>
                  <a:cubicBezTo>
                    <a:pt x="4" y="7"/>
                    <a:pt x="4" y="7"/>
                    <a:pt x="3" y="5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3"/>
                    <a:pt x="6" y="3"/>
                  </a:cubicBezTo>
                  <a:cubicBezTo>
                    <a:pt x="7" y="3"/>
                    <a:pt x="8" y="2"/>
                    <a:pt x="9" y="2"/>
                  </a:cubicBezTo>
                  <a:cubicBezTo>
                    <a:pt x="10" y="2"/>
                    <a:pt x="11" y="2"/>
                    <a:pt x="12" y="3"/>
                  </a:cubicBezTo>
                  <a:cubicBezTo>
                    <a:pt x="12" y="3"/>
                    <a:pt x="13" y="3"/>
                    <a:pt x="13" y="3"/>
                  </a:cubicBezTo>
                  <a:cubicBezTo>
                    <a:pt x="14" y="4"/>
                    <a:pt x="15" y="4"/>
                    <a:pt x="16" y="4"/>
                  </a:cubicBezTo>
                  <a:cubicBezTo>
                    <a:pt x="16" y="4"/>
                    <a:pt x="16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5"/>
                    <a:pt x="19" y="5"/>
                  </a:cubicBezTo>
                  <a:cubicBezTo>
                    <a:pt x="19" y="5"/>
                    <a:pt x="20" y="4"/>
                    <a:pt x="20" y="3"/>
                  </a:cubicBezTo>
                  <a:cubicBezTo>
                    <a:pt x="21" y="2"/>
                    <a:pt x="22" y="1"/>
                    <a:pt x="23" y="1"/>
                  </a:cubicBezTo>
                  <a:cubicBezTo>
                    <a:pt x="23" y="1"/>
                    <a:pt x="23" y="1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1"/>
                    <a:pt x="27" y="0"/>
                    <a:pt x="28" y="1"/>
                  </a:cubicBezTo>
                  <a:cubicBezTo>
                    <a:pt x="30" y="1"/>
                    <a:pt x="30" y="3"/>
                    <a:pt x="30" y="3"/>
                  </a:cubicBezTo>
                  <a:cubicBezTo>
                    <a:pt x="30" y="4"/>
                    <a:pt x="29" y="4"/>
                    <a:pt x="30" y="4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5"/>
                    <a:pt x="32" y="5"/>
                    <a:pt x="32" y="6"/>
                  </a:cubicBezTo>
                  <a:cubicBezTo>
                    <a:pt x="32" y="7"/>
                    <a:pt x="33" y="8"/>
                    <a:pt x="34" y="8"/>
                  </a:cubicBezTo>
                  <a:cubicBezTo>
                    <a:pt x="34" y="8"/>
                    <a:pt x="35" y="8"/>
                    <a:pt x="35" y="8"/>
                  </a:cubicBezTo>
                  <a:cubicBezTo>
                    <a:pt x="36" y="7"/>
                    <a:pt x="36" y="7"/>
                    <a:pt x="37" y="8"/>
                  </a:cubicBezTo>
                  <a:cubicBezTo>
                    <a:pt x="37" y="9"/>
                    <a:pt x="38" y="9"/>
                    <a:pt x="38" y="9"/>
                  </a:cubicBezTo>
                  <a:cubicBezTo>
                    <a:pt x="38" y="9"/>
                    <a:pt x="38" y="9"/>
                    <a:pt x="39" y="9"/>
                  </a:cubicBezTo>
                  <a:cubicBezTo>
                    <a:pt x="39" y="9"/>
                    <a:pt x="40" y="9"/>
                    <a:pt x="40" y="10"/>
                  </a:cubicBezTo>
                  <a:cubicBezTo>
                    <a:pt x="41" y="10"/>
                    <a:pt x="42" y="10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2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2" y="14"/>
                    <a:pt x="42" y="15"/>
                    <a:pt x="42" y="16"/>
                  </a:cubicBezTo>
                  <a:cubicBezTo>
                    <a:pt x="42" y="16"/>
                    <a:pt x="42" y="17"/>
                    <a:pt x="42" y="17"/>
                  </a:cubicBezTo>
                  <a:cubicBezTo>
                    <a:pt x="42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0" y="18"/>
                    <a:pt x="40" y="18"/>
                  </a:cubicBezTo>
                  <a:cubicBezTo>
                    <a:pt x="40" y="18"/>
                    <a:pt x="39" y="18"/>
                    <a:pt x="39" y="18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20"/>
                    <a:pt x="38" y="20"/>
                    <a:pt x="37" y="21"/>
                  </a:cubicBezTo>
                  <a:cubicBezTo>
                    <a:pt x="37" y="21"/>
                    <a:pt x="36" y="21"/>
                    <a:pt x="36" y="21"/>
                  </a:cubicBezTo>
                  <a:cubicBezTo>
                    <a:pt x="34" y="22"/>
                    <a:pt x="33" y="22"/>
                    <a:pt x="32" y="23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23"/>
                    <a:pt x="31" y="24"/>
                    <a:pt x="31" y="24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2" y="25"/>
                    <a:pt x="32" y="25"/>
                    <a:pt x="33" y="25"/>
                  </a:cubicBezTo>
                  <a:cubicBezTo>
                    <a:pt x="33" y="25"/>
                    <a:pt x="34" y="25"/>
                    <a:pt x="34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4" y="27"/>
                  </a:cubicBezTo>
                  <a:cubicBezTo>
                    <a:pt x="34" y="27"/>
                    <a:pt x="33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1" y="27"/>
                    <a:pt x="30" y="28"/>
                    <a:pt x="30" y="28"/>
                  </a:cubicBezTo>
                  <a:cubicBezTo>
                    <a:pt x="30" y="29"/>
                    <a:pt x="29" y="29"/>
                    <a:pt x="29" y="29"/>
                  </a:cubicBezTo>
                  <a:cubicBezTo>
                    <a:pt x="29" y="29"/>
                    <a:pt x="28" y="29"/>
                    <a:pt x="28" y="29"/>
                  </a:cubicBezTo>
                  <a:close/>
                  <a:moveTo>
                    <a:pt x="26" y="25"/>
                  </a:moveTo>
                  <a:cubicBezTo>
                    <a:pt x="27" y="26"/>
                    <a:pt x="27" y="27"/>
                    <a:pt x="27" y="28"/>
                  </a:cubicBezTo>
                  <a:cubicBezTo>
                    <a:pt x="27" y="28"/>
                    <a:pt x="27" y="28"/>
                    <a:pt x="28" y="28"/>
                  </a:cubicBezTo>
                  <a:cubicBezTo>
                    <a:pt x="28" y="28"/>
                    <a:pt x="28" y="28"/>
                    <a:pt x="29" y="28"/>
                  </a:cubicBezTo>
                  <a:cubicBezTo>
                    <a:pt x="29" y="28"/>
                    <a:pt x="29" y="28"/>
                    <a:pt x="29" y="27"/>
                  </a:cubicBezTo>
                  <a:cubicBezTo>
                    <a:pt x="30" y="27"/>
                    <a:pt x="30" y="27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5"/>
                    <a:pt x="30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7" y="25"/>
                    <a:pt x="27" y="25"/>
                    <a:pt x="26" y="25"/>
                  </a:cubicBezTo>
                  <a:close/>
                  <a:moveTo>
                    <a:pt x="16" y="25"/>
                  </a:moveTo>
                  <a:cubicBezTo>
                    <a:pt x="16" y="25"/>
                    <a:pt x="17" y="25"/>
                    <a:pt x="17" y="25"/>
                  </a:cubicBezTo>
                  <a:cubicBezTo>
                    <a:pt x="17" y="25"/>
                    <a:pt x="18" y="25"/>
                    <a:pt x="17" y="24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4"/>
                  </a:cubicBezTo>
                  <a:cubicBezTo>
                    <a:pt x="17" y="24"/>
                    <a:pt x="16" y="25"/>
                    <a:pt x="16" y="25"/>
                  </a:cubicBezTo>
                  <a:close/>
                  <a:moveTo>
                    <a:pt x="18" y="23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19" y="24"/>
                    <a:pt x="19" y="24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lose/>
                  <a:moveTo>
                    <a:pt x="25" y="23"/>
                  </a:moveTo>
                  <a:cubicBezTo>
                    <a:pt x="26" y="23"/>
                    <a:pt x="26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2" y="21"/>
                    <a:pt x="34" y="20"/>
                    <a:pt x="35" y="20"/>
                  </a:cubicBezTo>
                  <a:cubicBezTo>
                    <a:pt x="36" y="20"/>
                    <a:pt x="36" y="20"/>
                    <a:pt x="37" y="20"/>
                  </a:cubicBezTo>
                  <a:cubicBezTo>
                    <a:pt x="37" y="20"/>
                    <a:pt x="37" y="19"/>
                    <a:pt x="37" y="19"/>
                  </a:cubicBezTo>
                  <a:cubicBezTo>
                    <a:pt x="37" y="19"/>
                    <a:pt x="37" y="18"/>
                    <a:pt x="39" y="17"/>
                  </a:cubicBezTo>
                  <a:cubicBezTo>
                    <a:pt x="39" y="17"/>
                    <a:pt x="39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1" y="17"/>
                    <a:pt x="41" y="17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5"/>
                    <a:pt x="41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2"/>
                    <a:pt x="42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1" y="11"/>
                    <a:pt x="40" y="11"/>
                    <a:pt x="40" y="11"/>
                  </a:cubicBezTo>
                  <a:cubicBezTo>
                    <a:pt x="39" y="10"/>
                    <a:pt x="39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6" y="9"/>
                  </a:cubicBezTo>
                  <a:cubicBezTo>
                    <a:pt x="36" y="9"/>
                    <a:pt x="36" y="9"/>
                    <a:pt x="35" y="9"/>
                  </a:cubicBezTo>
                  <a:cubicBezTo>
                    <a:pt x="35" y="9"/>
                    <a:pt x="35" y="9"/>
                    <a:pt x="34" y="9"/>
                  </a:cubicBezTo>
                  <a:cubicBezTo>
                    <a:pt x="32" y="9"/>
                    <a:pt x="31" y="8"/>
                    <a:pt x="31" y="6"/>
                  </a:cubicBezTo>
                  <a:cubicBezTo>
                    <a:pt x="31" y="6"/>
                    <a:pt x="31" y="6"/>
                    <a:pt x="30" y="6"/>
                  </a:cubicBezTo>
                  <a:cubicBezTo>
                    <a:pt x="30" y="6"/>
                    <a:pt x="29" y="6"/>
                    <a:pt x="28" y="5"/>
                  </a:cubicBezTo>
                  <a:cubicBezTo>
                    <a:pt x="28" y="4"/>
                    <a:pt x="28" y="4"/>
                    <a:pt x="28" y="3"/>
                  </a:cubicBezTo>
                  <a:cubicBezTo>
                    <a:pt x="29" y="3"/>
                    <a:pt x="29" y="2"/>
                    <a:pt x="28" y="2"/>
                  </a:cubicBezTo>
                  <a:cubicBezTo>
                    <a:pt x="27" y="1"/>
                    <a:pt x="26" y="2"/>
                    <a:pt x="25" y="2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2" y="2"/>
                    <a:pt x="22" y="3"/>
                    <a:pt x="21" y="4"/>
                  </a:cubicBezTo>
                  <a:cubicBezTo>
                    <a:pt x="20" y="5"/>
                    <a:pt x="20" y="6"/>
                    <a:pt x="19" y="6"/>
                  </a:cubicBezTo>
                  <a:cubicBezTo>
                    <a:pt x="18" y="6"/>
                    <a:pt x="18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5" y="5"/>
                    <a:pt x="14" y="5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9" y="3"/>
                    <a:pt x="8" y="3"/>
                    <a:pt x="6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7"/>
                    <a:pt x="6" y="8"/>
                    <a:pt x="3" y="10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3" y="12"/>
                    <a:pt x="3" y="13"/>
                    <a:pt x="2" y="13"/>
                  </a:cubicBezTo>
                  <a:cubicBezTo>
                    <a:pt x="2" y="13"/>
                    <a:pt x="2" y="13"/>
                    <a:pt x="2" y="14"/>
                  </a:cubicBezTo>
                  <a:cubicBezTo>
                    <a:pt x="2" y="14"/>
                    <a:pt x="2" y="14"/>
                    <a:pt x="1" y="15"/>
                  </a:cubicBezTo>
                  <a:cubicBezTo>
                    <a:pt x="1" y="15"/>
                    <a:pt x="1" y="16"/>
                    <a:pt x="2" y="16"/>
                  </a:cubicBezTo>
                  <a:cubicBezTo>
                    <a:pt x="2" y="16"/>
                    <a:pt x="3" y="16"/>
                    <a:pt x="4" y="16"/>
                  </a:cubicBezTo>
                  <a:cubicBezTo>
                    <a:pt x="7" y="16"/>
                    <a:pt x="10" y="16"/>
                    <a:pt x="11" y="15"/>
                  </a:cubicBezTo>
                  <a:cubicBezTo>
                    <a:pt x="12" y="15"/>
                    <a:pt x="13" y="14"/>
                    <a:pt x="14" y="15"/>
                  </a:cubicBezTo>
                  <a:cubicBezTo>
                    <a:pt x="14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6"/>
                  </a:cubicBezTo>
                  <a:cubicBezTo>
                    <a:pt x="18" y="16"/>
                    <a:pt x="18" y="18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20" y="21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2" y="21"/>
                    <a:pt x="23" y="21"/>
                  </a:cubicBezTo>
                  <a:cubicBezTo>
                    <a:pt x="24" y="21"/>
                    <a:pt x="24" y="21"/>
                    <a:pt x="25" y="22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9" name="Freeform 695"/>
            <p:cNvSpPr/>
            <p:nvPr/>
          </p:nvSpPr>
          <p:spPr bwMode="auto">
            <a:xfrm>
              <a:off x="2481958" y="2404642"/>
              <a:ext cx="50800" cy="66675"/>
            </a:xfrm>
            <a:custGeom>
              <a:avLst/>
              <a:gdLst>
                <a:gd name="T0" fmla="*/ 0 w 7"/>
                <a:gd name="T1" fmla="*/ 2147483646 h 9"/>
                <a:gd name="T2" fmla="*/ 2147483646 w 7"/>
                <a:gd name="T3" fmla="*/ 0 h 9"/>
                <a:gd name="T4" fmla="*/ 2147483646 w 7"/>
                <a:gd name="T5" fmla="*/ 2147483646 h 9"/>
                <a:gd name="T6" fmla="*/ 2147483646 w 7"/>
                <a:gd name="T7" fmla="*/ 2147483646 h 9"/>
                <a:gd name="T8" fmla="*/ 2147483646 w 7"/>
                <a:gd name="T9" fmla="*/ 2147483646 h 9"/>
                <a:gd name="T10" fmla="*/ 2147483646 w 7"/>
                <a:gd name="T11" fmla="*/ 2147483646 h 9"/>
                <a:gd name="T12" fmla="*/ 2147483646 w 7"/>
                <a:gd name="T13" fmla="*/ 2147483646 h 9"/>
                <a:gd name="T14" fmla="*/ 0 w 7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" h="9">
                  <a:moveTo>
                    <a:pt x="0" y="1"/>
                  </a:moveTo>
                  <a:cubicBezTo>
                    <a:pt x="1" y="1"/>
                    <a:pt x="2" y="1"/>
                    <a:pt x="3" y="0"/>
                  </a:cubicBezTo>
                  <a:cubicBezTo>
                    <a:pt x="5" y="0"/>
                    <a:pt x="5" y="2"/>
                    <a:pt x="5" y="3"/>
                  </a:cubicBezTo>
                  <a:cubicBezTo>
                    <a:pt x="5" y="3"/>
                    <a:pt x="6" y="3"/>
                    <a:pt x="6" y="4"/>
                  </a:cubicBezTo>
                  <a:cubicBezTo>
                    <a:pt x="6" y="5"/>
                    <a:pt x="5" y="4"/>
                    <a:pt x="6" y="5"/>
                  </a:cubicBezTo>
                  <a:cubicBezTo>
                    <a:pt x="7" y="6"/>
                    <a:pt x="7" y="7"/>
                    <a:pt x="7" y="8"/>
                  </a:cubicBezTo>
                  <a:cubicBezTo>
                    <a:pt x="5" y="9"/>
                    <a:pt x="6" y="4"/>
                    <a:pt x="3" y="5"/>
                  </a:cubicBezTo>
                  <a:cubicBezTo>
                    <a:pt x="2" y="6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0" name="Freeform 696"/>
            <p:cNvSpPr>
              <a:spLocks noEditPoints="1"/>
            </p:cNvSpPr>
            <p:nvPr/>
          </p:nvSpPr>
          <p:spPr bwMode="auto">
            <a:xfrm>
              <a:off x="2472433" y="2404642"/>
              <a:ext cx="69850" cy="66675"/>
            </a:xfrm>
            <a:custGeom>
              <a:avLst/>
              <a:gdLst>
                <a:gd name="T0" fmla="*/ 2147483646 w 9"/>
                <a:gd name="T1" fmla="*/ 2147483646 h 9"/>
                <a:gd name="T2" fmla="*/ 2147483646 w 9"/>
                <a:gd name="T3" fmla="*/ 2147483646 h 9"/>
                <a:gd name="T4" fmla="*/ 2147483646 w 9"/>
                <a:gd name="T5" fmla="*/ 2147483646 h 9"/>
                <a:gd name="T6" fmla="*/ 2147483646 w 9"/>
                <a:gd name="T7" fmla="*/ 2147483646 h 9"/>
                <a:gd name="T8" fmla="*/ 2147483646 w 9"/>
                <a:gd name="T9" fmla="*/ 2147483646 h 9"/>
                <a:gd name="T10" fmla="*/ 0 w 9"/>
                <a:gd name="T11" fmla="*/ 2147483646 h 9"/>
                <a:gd name="T12" fmla="*/ 2147483646 w 9"/>
                <a:gd name="T13" fmla="*/ 2147483646 h 9"/>
                <a:gd name="T14" fmla="*/ 2147483646 w 9"/>
                <a:gd name="T15" fmla="*/ 2147483646 h 9"/>
                <a:gd name="T16" fmla="*/ 2147483646 w 9"/>
                <a:gd name="T17" fmla="*/ 0 h 9"/>
                <a:gd name="T18" fmla="*/ 2147483646 w 9"/>
                <a:gd name="T19" fmla="*/ 0 h 9"/>
                <a:gd name="T20" fmla="*/ 2147483646 w 9"/>
                <a:gd name="T21" fmla="*/ 2147483646 h 9"/>
                <a:gd name="T22" fmla="*/ 2147483646 w 9"/>
                <a:gd name="T23" fmla="*/ 2147483646 h 9"/>
                <a:gd name="T24" fmla="*/ 2147483646 w 9"/>
                <a:gd name="T25" fmla="*/ 2147483646 h 9"/>
                <a:gd name="T26" fmla="*/ 2147483646 w 9"/>
                <a:gd name="T27" fmla="*/ 2147483646 h 9"/>
                <a:gd name="T28" fmla="*/ 2147483646 w 9"/>
                <a:gd name="T29" fmla="*/ 2147483646 h 9"/>
                <a:gd name="T30" fmla="*/ 2147483646 w 9"/>
                <a:gd name="T31" fmla="*/ 2147483646 h 9"/>
                <a:gd name="T32" fmla="*/ 2147483646 w 9"/>
                <a:gd name="T33" fmla="*/ 2147483646 h 9"/>
                <a:gd name="T34" fmla="*/ 2147483646 w 9"/>
                <a:gd name="T35" fmla="*/ 2147483646 h 9"/>
                <a:gd name="T36" fmla="*/ 2147483646 w 9"/>
                <a:gd name="T37" fmla="*/ 2147483646 h 9"/>
                <a:gd name="T38" fmla="*/ 2147483646 w 9"/>
                <a:gd name="T39" fmla="*/ 2147483646 h 9"/>
                <a:gd name="T40" fmla="*/ 2147483646 w 9"/>
                <a:gd name="T41" fmla="*/ 2147483646 h 9"/>
                <a:gd name="T42" fmla="*/ 2147483646 w 9"/>
                <a:gd name="T43" fmla="*/ 2147483646 h 9"/>
                <a:gd name="T44" fmla="*/ 2147483646 w 9"/>
                <a:gd name="T45" fmla="*/ 2147483646 h 9"/>
                <a:gd name="T46" fmla="*/ 2147483646 w 9"/>
                <a:gd name="T47" fmla="*/ 2147483646 h 9"/>
                <a:gd name="T48" fmla="*/ 2147483646 w 9"/>
                <a:gd name="T49" fmla="*/ 2147483646 h 9"/>
                <a:gd name="T50" fmla="*/ 2147483646 w 9"/>
                <a:gd name="T51" fmla="*/ 2147483646 h 9"/>
                <a:gd name="T52" fmla="*/ 2147483646 w 9"/>
                <a:gd name="T53" fmla="*/ 2147483646 h 9"/>
                <a:gd name="T54" fmla="*/ 2147483646 w 9"/>
                <a:gd name="T55" fmla="*/ 2147483646 h 9"/>
                <a:gd name="T56" fmla="*/ 2147483646 w 9"/>
                <a:gd name="T57" fmla="*/ 2147483646 h 9"/>
                <a:gd name="T58" fmla="*/ 2147483646 w 9"/>
                <a:gd name="T59" fmla="*/ 2147483646 h 9"/>
                <a:gd name="T60" fmla="*/ 2147483646 w 9"/>
                <a:gd name="T61" fmla="*/ 2147483646 h 9"/>
                <a:gd name="T62" fmla="*/ 2147483646 w 9"/>
                <a:gd name="T63" fmla="*/ 2147483646 h 9"/>
                <a:gd name="T64" fmla="*/ 2147483646 w 9"/>
                <a:gd name="T65" fmla="*/ 2147483646 h 9"/>
                <a:gd name="T66" fmla="*/ 2147483646 w 9"/>
                <a:gd name="T67" fmla="*/ 2147483646 h 9"/>
                <a:gd name="T68" fmla="*/ 2147483646 w 9"/>
                <a:gd name="T69" fmla="*/ 2147483646 h 9"/>
                <a:gd name="T70" fmla="*/ 2147483646 w 9"/>
                <a:gd name="T71" fmla="*/ 2147483646 h 9"/>
                <a:gd name="T72" fmla="*/ 2147483646 w 9"/>
                <a:gd name="T73" fmla="*/ 2147483646 h 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" h="9">
                  <a:moveTo>
                    <a:pt x="8" y="9"/>
                  </a:moveTo>
                  <a:cubicBezTo>
                    <a:pt x="7" y="9"/>
                    <a:pt x="6" y="8"/>
                    <a:pt x="6" y="7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1" y="3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6" y="2"/>
                    <a:pt x="6" y="2"/>
                    <a:pt x="6" y="3"/>
                  </a:cubicBezTo>
                  <a:cubicBezTo>
                    <a:pt x="6" y="2"/>
                    <a:pt x="6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4"/>
                    <a:pt x="7" y="4"/>
                    <a:pt x="7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5"/>
                    <a:pt x="8" y="6"/>
                    <a:pt x="9" y="6"/>
                  </a:cubicBezTo>
                  <a:cubicBezTo>
                    <a:pt x="9" y="7"/>
                    <a:pt x="9" y="7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9"/>
                    <a:pt x="8" y="9"/>
                    <a:pt x="8" y="9"/>
                  </a:cubicBezTo>
                  <a:close/>
                  <a:moveTo>
                    <a:pt x="5" y="5"/>
                  </a:moveTo>
                  <a:cubicBezTo>
                    <a:pt x="6" y="5"/>
                    <a:pt x="7" y="6"/>
                    <a:pt x="7" y="6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5"/>
                    <a:pt x="6" y="5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3"/>
                    <a:pt x="5" y="3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4" y="1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4"/>
                    <a:pt x="3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1" name="Freeform 697"/>
            <p:cNvSpPr/>
            <p:nvPr/>
          </p:nvSpPr>
          <p:spPr bwMode="auto">
            <a:xfrm>
              <a:off x="2504183" y="2439567"/>
              <a:ext cx="22225" cy="25400"/>
            </a:xfrm>
            <a:custGeom>
              <a:avLst/>
              <a:gdLst>
                <a:gd name="T0" fmla="*/ 0 w 3"/>
                <a:gd name="T1" fmla="*/ 2147483646 h 3"/>
                <a:gd name="T2" fmla="*/ 2147483646 w 3"/>
                <a:gd name="T3" fmla="*/ 2147483646 h 3"/>
                <a:gd name="T4" fmla="*/ 0 w 3"/>
                <a:gd name="T5" fmla="*/ 2147483646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2" y="0"/>
                    <a:pt x="3" y="1"/>
                    <a:pt x="3" y="3"/>
                  </a:cubicBezTo>
                  <a:cubicBezTo>
                    <a:pt x="1" y="3"/>
                    <a:pt x="1" y="2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2" name="Freeform 698"/>
            <p:cNvSpPr>
              <a:spLocks noEditPoints="1"/>
            </p:cNvSpPr>
            <p:nvPr/>
          </p:nvSpPr>
          <p:spPr bwMode="auto">
            <a:xfrm>
              <a:off x="2497833" y="2439567"/>
              <a:ext cx="34925" cy="31750"/>
            </a:xfrm>
            <a:custGeom>
              <a:avLst/>
              <a:gdLst>
                <a:gd name="T0" fmla="*/ 2147483646 w 5"/>
                <a:gd name="T1" fmla="*/ 2147483646 h 4"/>
                <a:gd name="T2" fmla="*/ 2147483646 w 5"/>
                <a:gd name="T3" fmla="*/ 2147483646 h 4"/>
                <a:gd name="T4" fmla="*/ 2147483646 w 5"/>
                <a:gd name="T5" fmla="*/ 2147483646 h 4"/>
                <a:gd name="T6" fmla="*/ 0 w 5"/>
                <a:gd name="T7" fmla="*/ 0 h 4"/>
                <a:gd name="T8" fmla="*/ 2147483646 w 5"/>
                <a:gd name="T9" fmla="*/ 0 h 4"/>
                <a:gd name="T10" fmla="*/ 2147483646 w 5"/>
                <a:gd name="T11" fmla="*/ 0 h 4"/>
                <a:gd name="T12" fmla="*/ 2147483646 w 5"/>
                <a:gd name="T13" fmla="*/ 2147483646 h 4"/>
                <a:gd name="T14" fmla="*/ 2147483646 w 5"/>
                <a:gd name="T15" fmla="*/ 2147483646 h 4"/>
                <a:gd name="T16" fmla="*/ 2147483646 w 5"/>
                <a:gd name="T17" fmla="*/ 2147483646 h 4"/>
                <a:gd name="T18" fmla="*/ 2147483646 w 5"/>
                <a:gd name="T19" fmla="*/ 2147483646 h 4"/>
                <a:gd name="T20" fmla="*/ 2147483646 w 5"/>
                <a:gd name="T21" fmla="*/ 2147483646 h 4"/>
                <a:gd name="T22" fmla="*/ 2147483646 w 5"/>
                <a:gd name="T23" fmla="*/ 2147483646 h 4"/>
                <a:gd name="T24" fmla="*/ 2147483646 w 5"/>
                <a:gd name="T25" fmla="*/ 2147483646 h 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" h="4">
                  <a:moveTo>
                    <a:pt x="4" y="4"/>
                  </a:moveTo>
                  <a:cubicBezTo>
                    <a:pt x="2" y="4"/>
                    <a:pt x="2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5" y="1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lose/>
                  <a:moveTo>
                    <a:pt x="2" y="1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3" name="Freeform 699"/>
            <p:cNvSpPr/>
            <p:nvPr/>
          </p:nvSpPr>
          <p:spPr bwMode="auto">
            <a:xfrm>
              <a:off x="2504183" y="2395116"/>
              <a:ext cx="96838" cy="76200"/>
            </a:xfrm>
            <a:custGeom>
              <a:avLst/>
              <a:gdLst>
                <a:gd name="T0" fmla="*/ 2147483646 w 13"/>
                <a:gd name="T1" fmla="*/ 2147483646 h 10"/>
                <a:gd name="T2" fmla="*/ 2147483646 w 13"/>
                <a:gd name="T3" fmla="*/ 2147483646 h 10"/>
                <a:gd name="T4" fmla="*/ 2147483646 w 13"/>
                <a:gd name="T5" fmla="*/ 2147483646 h 10"/>
                <a:gd name="T6" fmla="*/ 2147483646 w 13"/>
                <a:gd name="T7" fmla="*/ 2147483646 h 10"/>
                <a:gd name="T8" fmla="*/ 2147483646 w 13"/>
                <a:gd name="T9" fmla="*/ 2147483646 h 10"/>
                <a:gd name="T10" fmla="*/ 2147483646 w 13"/>
                <a:gd name="T11" fmla="*/ 2147483646 h 10"/>
                <a:gd name="T12" fmla="*/ 2147483646 w 13"/>
                <a:gd name="T13" fmla="*/ 2147483646 h 10"/>
                <a:gd name="T14" fmla="*/ 2147483646 w 13"/>
                <a:gd name="T15" fmla="*/ 2147483646 h 10"/>
                <a:gd name="T16" fmla="*/ 2147483646 w 13"/>
                <a:gd name="T17" fmla="*/ 0 h 10"/>
                <a:gd name="T18" fmla="*/ 2147483646 w 13"/>
                <a:gd name="T19" fmla="*/ 0 h 10"/>
                <a:gd name="T20" fmla="*/ 2147483646 w 13"/>
                <a:gd name="T21" fmla="*/ 2147483646 h 10"/>
                <a:gd name="T22" fmla="*/ 2147483646 w 13"/>
                <a:gd name="T23" fmla="*/ 2147483646 h 10"/>
                <a:gd name="T24" fmla="*/ 2147483646 w 13"/>
                <a:gd name="T25" fmla="*/ 2147483646 h 10"/>
                <a:gd name="T26" fmla="*/ 2147483646 w 13"/>
                <a:gd name="T27" fmla="*/ 2147483646 h 10"/>
                <a:gd name="T28" fmla="*/ 2147483646 w 13"/>
                <a:gd name="T29" fmla="*/ 2147483646 h 10"/>
                <a:gd name="T30" fmla="*/ 2147483646 w 13"/>
                <a:gd name="T31" fmla="*/ 2147483646 h 10"/>
                <a:gd name="T32" fmla="*/ 2147483646 w 13"/>
                <a:gd name="T33" fmla="*/ 2147483646 h 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3" h="10">
                  <a:moveTo>
                    <a:pt x="4" y="9"/>
                  </a:moveTo>
                  <a:cubicBezTo>
                    <a:pt x="4" y="9"/>
                    <a:pt x="4" y="8"/>
                    <a:pt x="4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2" y="5"/>
                    <a:pt x="3" y="5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0"/>
                    <a:pt x="4" y="2"/>
                    <a:pt x="4" y="2"/>
                  </a:cubicBezTo>
                  <a:cubicBezTo>
                    <a:pt x="4" y="1"/>
                    <a:pt x="3" y="0"/>
                    <a:pt x="4" y="0"/>
                  </a:cubicBezTo>
                  <a:cubicBezTo>
                    <a:pt x="6" y="0"/>
                    <a:pt x="7" y="3"/>
                    <a:pt x="9" y="0"/>
                  </a:cubicBezTo>
                  <a:cubicBezTo>
                    <a:pt x="10" y="1"/>
                    <a:pt x="10" y="2"/>
                    <a:pt x="11" y="3"/>
                  </a:cubicBezTo>
                  <a:cubicBezTo>
                    <a:pt x="11" y="4"/>
                    <a:pt x="12" y="3"/>
                    <a:pt x="13" y="5"/>
                  </a:cubicBezTo>
                  <a:cubicBezTo>
                    <a:pt x="11" y="4"/>
                    <a:pt x="11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9" y="9"/>
                    <a:pt x="10" y="10"/>
                  </a:cubicBezTo>
                  <a:cubicBezTo>
                    <a:pt x="9" y="10"/>
                    <a:pt x="8" y="9"/>
                    <a:pt x="8" y="9"/>
                  </a:cubicBezTo>
                  <a:cubicBezTo>
                    <a:pt x="10" y="8"/>
                    <a:pt x="6" y="5"/>
                    <a:pt x="4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4" name="Freeform 700"/>
            <p:cNvSpPr>
              <a:spLocks noEditPoints="1"/>
            </p:cNvSpPr>
            <p:nvPr/>
          </p:nvSpPr>
          <p:spPr bwMode="auto">
            <a:xfrm>
              <a:off x="2504183" y="2388767"/>
              <a:ext cx="103188" cy="88900"/>
            </a:xfrm>
            <a:custGeom>
              <a:avLst/>
              <a:gdLst>
                <a:gd name="T0" fmla="*/ 2147483646 w 14"/>
                <a:gd name="T1" fmla="*/ 2147483646 h 12"/>
                <a:gd name="T2" fmla="*/ 2147483646 w 14"/>
                <a:gd name="T3" fmla="*/ 2147483646 h 12"/>
                <a:gd name="T4" fmla="*/ 2147483646 w 14"/>
                <a:gd name="T5" fmla="*/ 2147483646 h 12"/>
                <a:gd name="T6" fmla="*/ 2147483646 w 14"/>
                <a:gd name="T7" fmla="*/ 2147483646 h 12"/>
                <a:gd name="T8" fmla="*/ 2147483646 w 14"/>
                <a:gd name="T9" fmla="*/ 2147483646 h 12"/>
                <a:gd name="T10" fmla="*/ 2147483646 w 14"/>
                <a:gd name="T11" fmla="*/ 2147483646 h 12"/>
                <a:gd name="T12" fmla="*/ 2147483646 w 14"/>
                <a:gd name="T13" fmla="*/ 2147483646 h 12"/>
                <a:gd name="T14" fmla="*/ 2147483646 w 14"/>
                <a:gd name="T15" fmla="*/ 2147483646 h 12"/>
                <a:gd name="T16" fmla="*/ 0 w 14"/>
                <a:gd name="T17" fmla="*/ 2147483646 h 12"/>
                <a:gd name="T18" fmla="*/ 2147483646 w 14"/>
                <a:gd name="T19" fmla="*/ 2147483646 h 12"/>
                <a:gd name="T20" fmla="*/ 2147483646 w 14"/>
                <a:gd name="T21" fmla="*/ 0 h 12"/>
                <a:gd name="T22" fmla="*/ 2147483646 w 14"/>
                <a:gd name="T23" fmla="*/ 2147483646 h 12"/>
                <a:gd name="T24" fmla="*/ 2147483646 w 14"/>
                <a:gd name="T25" fmla="*/ 2147483646 h 12"/>
                <a:gd name="T26" fmla="*/ 2147483646 w 14"/>
                <a:gd name="T27" fmla="*/ 2147483646 h 12"/>
                <a:gd name="T28" fmla="*/ 2147483646 w 14"/>
                <a:gd name="T29" fmla="*/ 2147483646 h 12"/>
                <a:gd name="T30" fmla="*/ 2147483646 w 14"/>
                <a:gd name="T31" fmla="*/ 2147483646 h 12"/>
                <a:gd name="T32" fmla="*/ 2147483646 w 14"/>
                <a:gd name="T33" fmla="*/ 2147483646 h 12"/>
                <a:gd name="T34" fmla="*/ 2147483646 w 14"/>
                <a:gd name="T35" fmla="*/ 2147483646 h 12"/>
                <a:gd name="T36" fmla="*/ 2147483646 w 14"/>
                <a:gd name="T37" fmla="*/ 2147483646 h 12"/>
                <a:gd name="T38" fmla="*/ 2147483646 w 14"/>
                <a:gd name="T39" fmla="*/ 2147483646 h 12"/>
                <a:gd name="T40" fmla="*/ 2147483646 w 14"/>
                <a:gd name="T41" fmla="*/ 2147483646 h 12"/>
                <a:gd name="T42" fmla="*/ 2147483646 w 14"/>
                <a:gd name="T43" fmla="*/ 2147483646 h 12"/>
                <a:gd name="T44" fmla="*/ 2147483646 w 14"/>
                <a:gd name="T45" fmla="*/ 2147483646 h 12"/>
                <a:gd name="T46" fmla="*/ 2147483646 w 14"/>
                <a:gd name="T47" fmla="*/ 2147483646 h 12"/>
                <a:gd name="T48" fmla="*/ 2147483646 w 14"/>
                <a:gd name="T49" fmla="*/ 2147483646 h 12"/>
                <a:gd name="T50" fmla="*/ 2147483646 w 14"/>
                <a:gd name="T51" fmla="*/ 2147483646 h 12"/>
                <a:gd name="T52" fmla="*/ 2147483646 w 14"/>
                <a:gd name="T53" fmla="*/ 2147483646 h 12"/>
                <a:gd name="T54" fmla="*/ 2147483646 w 14"/>
                <a:gd name="T55" fmla="*/ 2147483646 h 12"/>
                <a:gd name="T56" fmla="*/ 2147483646 w 14"/>
                <a:gd name="T57" fmla="*/ 2147483646 h 12"/>
                <a:gd name="T58" fmla="*/ 2147483646 w 14"/>
                <a:gd name="T59" fmla="*/ 2147483646 h 12"/>
                <a:gd name="T60" fmla="*/ 2147483646 w 14"/>
                <a:gd name="T61" fmla="*/ 2147483646 h 12"/>
                <a:gd name="T62" fmla="*/ 2147483646 w 14"/>
                <a:gd name="T63" fmla="*/ 2147483646 h 12"/>
                <a:gd name="T64" fmla="*/ 2147483646 w 14"/>
                <a:gd name="T65" fmla="*/ 2147483646 h 12"/>
                <a:gd name="T66" fmla="*/ 2147483646 w 14"/>
                <a:gd name="T67" fmla="*/ 2147483646 h 12"/>
                <a:gd name="T68" fmla="*/ 2147483646 w 14"/>
                <a:gd name="T69" fmla="*/ 2147483646 h 12"/>
                <a:gd name="T70" fmla="*/ 2147483646 w 14"/>
                <a:gd name="T71" fmla="*/ 2147483646 h 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4" h="12">
                  <a:moveTo>
                    <a:pt x="10" y="12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9"/>
                    <a:pt x="8" y="9"/>
                    <a:pt x="8" y="9"/>
                  </a:cubicBezTo>
                  <a:cubicBezTo>
                    <a:pt x="8" y="9"/>
                    <a:pt x="7" y="9"/>
                    <a:pt x="7" y="9"/>
                  </a:cubicBezTo>
                  <a:cubicBezTo>
                    <a:pt x="6" y="9"/>
                    <a:pt x="5" y="9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3" y="9"/>
                    <a:pt x="3" y="8"/>
                    <a:pt x="3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2" y="1"/>
                    <a:pt x="3" y="2"/>
                  </a:cubicBezTo>
                  <a:cubicBezTo>
                    <a:pt x="3" y="1"/>
                    <a:pt x="3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0" y="2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4"/>
                    <a:pt x="12" y="4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2" y="6"/>
                    <a:pt x="12" y="6"/>
                  </a:cubicBezTo>
                  <a:cubicBezTo>
                    <a:pt x="12" y="6"/>
                    <a:pt x="11" y="8"/>
                    <a:pt x="11" y="9"/>
                  </a:cubicBezTo>
                  <a:cubicBezTo>
                    <a:pt x="11" y="9"/>
                    <a:pt x="11" y="9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1"/>
                    <a:pt x="10" y="11"/>
                  </a:cubicBezTo>
                  <a:lnTo>
                    <a:pt x="10" y="12"/>
                  </a:lnTo>
                  <a:close/>
                  <a:moveTo>
                    <a:pt x="9" y="10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9"/>
                    <a:pt x="9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8"/>
                    <a:pt x="10" y="8"/>
                  </a:cubicBezTo>
                  <a:cubicBezTo>
                    <a:pt x="10" y="7"/>
                    <a:pt x="10" y="6"/>
                    <a:pt x="11" y="5"/>
                  </a:cubicBezTo>
                  <a:cubicBezTo>
                    <a:pt x="11" y="5"/>
                    <a:pt x="11" y="5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6" y="3"/>
                    <a:pt x="6" y="3"/>
                    <a:pt x="5" y="2"/>
                  </a:cubicBezTo>
                  <a:cubicBezTo>
                    <a:pt x="5" y="2"/>
                    <a:pt x="5" y="2"/>
                    <a:pt x="4" y="1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2"/>
                    <a:pt x="5" y="2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8"/>
                    <a:pt x="5" y="8"/>
                  </a:cubicBezTo>
                  <a:cubicBezTo>
                    <a:pt x="5" y="8"/>
                    <a:pt x="6" y="7"/>
                    <a:pt x="7" y="7"/>
                  </a:cubicBezTo>
                  <a:cubicBezTo>
                    <a:pt x="8" y="7"/>
                    <a:pt x="8" y="8"/>
                    <a:pt x="9" y="9"/>
                  </a:cubicBezTo>
                  <a:cubicBezTo>
                    <a:pt x="9" y="9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5" name="Freeform 701"/>
            <p:cNvSpPr/>
            <p:nvPr/>
          </p:nvSpPr>
          <p:spPr bwMode="auto">
            <a:xfrm>
              <a:off x="2421633" y="2352255"/>
              <a:ext cx="111125" cy="58737"/>
            </a:xfrm>
            <a:custGeom>
              <a:avLst/>
              <a:gdLst>
                <a:gd name="T0" fmla="*/ 2147483646 w 15"/>
                <a:gd name="T1" fmla="*/ 2147483646 h 8"/>
                <a:gd name="T2" fmla="*/ 2147483646 w 15"/>
                <a:gd name="T3" fmla="*/ 2147483646 h 8"/>
                <a:gd name="T4" fmla="*/ 0 w 15"/>
                <a:gd name="T5" fmla="*/ 2147483646 h 8"/>
                <a:gd name="T6" fmla="*/ 2147483646 w 15"/>
                <a:gd name="T7" fmla="*/ 2147483646 h 8"/>
                <a:gd name="T8" fmla="*/ 2147483646 w 15"/>
                <a:gd name="T9" fmla="*/ 2147483646 h 8"/>
                <a:gd name="T10" fmla="*/ 2147483646 w 15"/>
                <a:gd name="T11" fmla="*/ 2147483646 h 8"/>
                <a:gd name="T12" fmla="*/ 2147483646 w 15"/>
                <a:gd name="T13" fmla="*/ 2147483646 h 8"/>
                <a:gd name="T14" fmla="*/ 2147483646 w 15"/>
                <a:gd name="T15" fmla="*/ 2147483646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5" h="8">
                  <a:moveTo>
                    <a:pt x="8" y="8"/>
                  </a:moveTo>
                  <a:cubicBezTo>
                    <a:pt x="6" y="7"/>
                    <a:pt x="6" y="7"/>
                    <a:pt x="4" y="7"/>
                  </a:cubicBezTo>
                  <a:cubicBezTo>
                    <a:pt x="6" y="4"/>
                    <a:pt x="1" y="2"/>
                    <a:pt x="0" y="1"/>
                  </a:cubicBezTo>
                  <a:cubicBezTo>
                    <a:pt x="2" y="0"/>
                    <a:pt x="6" y="1"/>
                    <a:pt x="8" y="2"/>
                  </a:cubicBezTo>
                  <a:cubicBezTo>
                    <a:pt x="10" y="4"/>
                    <a:pt x="10" y="2"/>
                    <a:pt x="12" y="3"/>
                  </a:cubicBezTo>
                  <a:cubicBezTo>
                    <a:pt x="14" y="4"/>
                    <a:pt x="13" y="5"/>
                    <a:pt x="15" y="6"/>
                  </a:cubicBezTo>
                  <a:cubicBezTo>
                    <a:pt x="14" y="6"/>
                    <a:pt x="15" y="7"/>
                    <a:pt x="15" y="8"/>
                  </a:cubicBezTo>
                  <a:cubicBezTo>
                    <a:pt x="12" y="7"/>
                    <a:pt x="11" y="8"/>
                    <a:pt x="8" y="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6" name="Freeform 702"/>
            <p:cNvSpPr>
              <a:spLocks noEditPoints="1"/>
            </p:cNvSpPr>
            <p:nvPr/>
          </p:nvSpPr>
          <p:spPr bwMode="auto">
            <a:xfrm>
              <a:off x="2415283" y="2352255"/>
              <a:ext cx="127000" cy="65087"/>
            </a:xfrm>
            <a:custGeom>
              <a:avLst/>
              <a:gdLst>
                <a:gd name="T0" fmla="*/ 2147483646 w 17"/>
                <a:gd name="T1" fmla="*/ 2147483646 h 9"/>
                <a:gd name="T2" fmla="*/ 2147483646 w 17"/>
                <a:gd name="T3" fmla="*/ 2147483646 h 9"/>
                <a:gd name="T4" fmla="*/ 2147483646 w 17"/>
                <a:gd name="T5" fmla="*/ 2147483646 h 9"/>
                <a:gd name="T6" fmla="*/ 2147483646 w 17"/>
                <a:gd name="T7" fmla="*/ 2147483646 h 9"/>
                <a:gd name="T8" fmla="*/ 2147483646 w 17"/>
                <a:gd name="T9" fmla="*/ 2147483646 h 9"/>
                <a:gd name="T10" fmla="*/ 2147483646 w 17"/>
                <a:gd name="T11" fmla="*/ 2147483646 h 9"/>
                <a:gd name="T12" fmla="*/ 2147483646 w 17"/>
                <a:gd name="T13" fmla="*/ 2147483646 h 9"/>
                <a:gd name="T14" fmla="*/ 2147483646 w 17"/>
                <a:gd name="T15" fmla="*/ 2147483646 h 9"/>
                <a:gd name="T16" fmla="*/ 0 w 17"/>
                <a:gd name="T17" fmla="*/ 2147483646 h 9"/>
                <a:gd name="T18" fmla="*/ 0 w 17"/>
                <a:gd name="T19" fmla="*/ 0 h 9"/>
                <a:gd name="T20" fmla="*/ 2147483646 w 17"/>
                <a:gd name="T21" fmla="*/ 0 h 9"/>
                <a:gd name="T22" fmla="*/ 2147483646 w 17"/>
                <a:gd name="T23" fmla="*/ 0 h 9"/>
                <a:gd name="T24" fmla="*/ 2147483646 w 17"/>
                <a:gd name="T25" fmla="*/ 2147483646 h 9"/>
                <a:gd name="T26" fmla="*/ 2147483646 w 17"/>
                <a:gd name="T27" fmla="*/ 2147483646 h 9"/>
                <a:gd name="T28" fmla="*/ 2147483646 w 17"/>
                <a:gd name="T29" fmla="*/ 2147483646 h 9"/>
                <a:gd name="T30" fmla="*/ 2147483646 w 17"/>
                <a:gd name="T31" fmla="*/ 2147483646 h 9"/>
                <a:gd name="T32" fmla="*/ 2147483646 w 17"/>
                <a:gd name="T33" fmla="*/ 2147483646 h 9"/>
                <a:gd name="T34" fmla="*/ 2147483646 w 17"/>
                <a:gd name="T35" fmla="*/ 2147483646 h 9"/>
                <a:gd name="T36" fmla="*/ 2147483646 w 17"/>
                <a:gd name="T37" fmla="*/ 2147483646 h 9"/>
                <a:gd name="T38" fmla="*/ 2147483646 w 17"/>
                <a:gd name="T39" fmla="*/ 2147483646 h 9"/>
                <a:gd name="T40" fmla="*/ 2147483646 w 17"/>
                <a:gd name="T41" fmla="*/ 2147483646 h 9"/>
                <a:gd name="T42" fmla="*/ 2147483646 w 17"/>
                <a:gd name="T43" fmla="*/ 2147483646 h 9"/>
                <a:gd name="T44" fmla="*/ 2147483646 w 17"/>
                <a:gd name="T45" fmla="*/ 2147483646 h 9"/>
                <a:gd name="T46" fmla="*/ 2147483646 w 17"/>
                <a:gd name="T47" fmla="*/ 2147483646 h 9"/>
                <a:gd name="T48" fmla="*/ 2147483646 w 17"/>
                <a:gd name="T49" fmla="*/ 2147483646 h 9"/>
                <a:gd name="T50" fmla="*/ 2147483646 w 17"/>
                <a:gd name="T51" fmla="*/ 2147483646 h 9"/>
                <a:gd name="T52" fmla="*/ 2147483646 w 17"/>
                <a:gd name="T53" fmla="*/ 2147483646 h 9"/>
                <a:gd name="T54" fmla="*/ 2147483646 w 17"/>
                <a:gd name="T55" fmla="*/ 2147483646 h 9"/>
                <a:gd name="T56" fmla="*/ 2147483646 w 17"/>
                <a:gd name="T57" fmla="*/ 2147483646 h 9"/>
                <a:gd name="T58" fmla="*/ 2147483646 w 17"/>
                <a:gd name="T59" fmla="*/ 2147483646 h 9"/>
                <a:gd name="T60" fmla="*/ 2147483646 w 17"/>
                <a:gd name="T61" fmla="*/ 2147483646 h 9"/>
                <a:gd name="T62" fmla="*/ 2147483646 w 17"/>
                <a:gd name="T63" fmla="*/ 2147483646 h 9"/>
                <a:gd name="T64" fmla="*/ 2147483646 w 17"/>
                <a:gd name="T65" fmla="*/ 2147483646 h 9"/>
                <a:gd name="T66" fmla="*/ 2147483646 w 17"/>
                <a:gd name="T67" fmla="*/ 2147483646 h 9"/>
                <a:gd name="T68" fmla="*/ 2147483646 w 17"/>
                <a:gd name="T69" fmla="*/ 2147483646 h 9"/>
                <a:gd name="T70" fmla="*/ 2147483646 w 17"/>
                <a:gd name="T71" fmla="*/ 2147483646 h 9"/>
                <a:gd name="T72" fmla="*/ 2147483646 w 17"/>
                <a:gd name="T73" fmla="*/ 2147483646 h 9"/>
                <a:gd name="T74" fmla="*/ 2147483646 w 17"/>
                <a:gd name="T75" fmla="*/ 2147483646 h 9"/>
                <a:gd name="T76" fmla="*/ 2147483646 w 17"/>
                <a:gd name="T77" fmla="*/ 2147483646 h 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7" h="9"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8"/>
                  </a:cubicBezTo>
                  <a:cubicBezTo>
                    <a:pt x="6" y="8"/>
                    <a:pt x="5" y="8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6"/>
                    <a:pt x="5" y="5"/>
                  </a:cubicBezTo>
                  <a:cubicBezTo>
                    <a:pt x="5" y="4"/>
                    <a:pt x="3" y="3"/>
                    <a:pt x="2" y="2"/>
                  </a:cubicBezTo>
                  <a:cubicBezTo>
                    <a:pt x="1" y="2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4" y="0"/>
                    <a:pt x="8" y="1"/>
                    <a:pt x="9" y="2"/>
                  </a:cubicBezTo>
                  <a:cubicBezTo>
                    <a:pt x="10" y="3"/>
                    <a:pt x="11" y="2"/>
                    <a:pt x="11" y="2"/>
                  </a:cubicBezTo>
                  <a:cubicBezTo>
                    <a:pt x="12" y="2"/>
                    <a:pt x="13" y="2"/>
                    <a:pt x="13" y="3"/>
                  </a:cubicBezTo>
                  <a:cubicBezTo>
                    <a:pt x="14" y="3"/>
                    <a:pt x="15" y="3"/>
                    <a:pt x="15" y="4"/>
                  </a:cubicBezTo>
                  <a:cubicBezTo>
                    <a:pt x="15" y="4"/>
                    <a:pt x="15" y="5"/>
                    <a:pt x="16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6"/>
                    <a:pt x="16" y="6"/>
                    <a:pt x="17" y="7"/>
                  </a:cubicBezTo>
                  <a:cubicBezTo>
                    <a:pt x="17" y="7"/>
                    <a:pt x="17" y="7"/>
                    <a:pt x="1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4" y="8"/>
                    <a:pt x="13" y="8"/>
                    <a:pt x="11" y="9"/>
                  </a:cubicBezTo>
                  <a:cubicBezTo>
                    <a:pt x="10" y="9"/>
                    <a:pt x="10" y="9"/>
                    <a:pt x="9" y="9"/>
                  </a:cubicBezTo>
                  <a:close/>
                  <a:moveTo>
                    <a:pt x="6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7" y="7"/>
                    <a:pt x="8" y="7"/>
                    <a:pt x="9" y="8"/>
                  </a:cubicBezTo>
                  <a:cubicBezTo>
                    <a:pt x="10" y="8"/>
                    <a:pt x="10" y="8"/>
                    <a:pt x="11" y="7"/>
                  </a:cubicBezTo>
                  <a:cubicBezTo>
                    <a:pt x="12" y="7"/>
                    <a:pt x="14" y="7"/>
                    <a:pt x="15" y="7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2" y="3"/>
                    <a:pt x="12" y="3"/>
                    <a:pt x="11" y="3"/>
                  </a:cubicBezTo>
                  <a:cubicBezTo>
                    <a:pt x="11" y="4"/>
                    <a:pt x="10" y="4"/>
                    <a:pt x="9" y="3"/>
                  </a:cubicBezTo>
                  <a:cubicBezTo>
                    <a:pt x="8" y="2"/>
                    <a:pt x="4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4" y="2"/>
                    <a:pt x="6" y="4"/>
                    <a:pt x="6" y="5"/>
                  </a:cubicBezTo>
                  <a:cubicBezTo>
                    <a:pt x="6" y="6"/>
                    <a:pt x="6" y="6"/>
                    <a:pt x="6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7" name="Freeform 703"/>
            <p:cNvSpPr/>
            <p:nvPr/>
          </p:nvSpPr>
          <p:spPr bwMode="auto">
            <a:xfrm>
              <a:off x="2635946" y="2372892"/>
              <a:ext cx="246062" cy="174625"/>
            </a:xfrm>
            <a:custGeom>
              <a:avLst/>
              <a:gdLst>
                <a:gd name="T0" fmla="*/ 2147483646 w 33"/>
                <a:gd name="T1" fmla="*/ 2147483646 h 23"/>
                <a:gd name="T2" fmla="*/ 2147483646 w 33"/>
                <a:gd name="T3" fmla="*/ 2147483646 h 23"/>
                <a:gd name="T4" fmla="*/ 2147483646 w 33"/>
                <a:gd name="T5" fmla="*/ 2147483646 h 23"/>
                <a:gd name="T6" fmla="*/ 2147483646 w 33"/>
                <a:gd name="T7" fmla="*/ 2147483646 h 23"/>
                <a:gd name="T8" fmla="*/ 2147483646 w 33"/>
                <a:gd name="T9" fmla="*/ 2147483646 h 23"/>
                <a:gd name="T10" fmla="*/ 2147483646 w 33"/>
                <a:gd name="T11" fmla="*/ 0 h 23"/>
                <a:gd name="T12" fmla="*/ 2147483646 w 33"/>
                <a:gd name="T13" fmla="*/ 0 h 23"/>
                <a:gd name="T14" fmla="*/ 2147483646 w 33"/>
                <a:gd name="T15" fmla="*/ 2147483646 h 23"/>
                <a:gd name="T16" fmla="*/ 2147483646 w 33"/>
                <a:gd name="T17" fmla="*/ 2147483646 h 23"/>
                <a:gd name="T18" fmla="*/ 2147483646 w 33"/>
                <a:gd name="T19" fmla="*/ 2147483646 h 23"/>
                <a:gd name="T20" fmla="*/ 2147483646 w 33"/>
                <a:gd name="T21" fmla="*/ 2147483646 h 23"/>
                <a:gd name="T22" fmla="*/ 2147483646 w 33"/>
                <a:gd name="T23" fmla="*/ 2147483646 h 23"/>
                <a:gd name="T24" fmla="*/ 2147483646 w 33"/>
                <a:gd name="T25" fmla="*/ 2147483646 h 23"/>
                <a:gd name="T26" fmla="*/ 2147483646 w 33"/>
                <a:gd name="T27" fmla="*/ 2147483646 h 23"/>
                <a:gd name="T28" fmla="*/ 2147483646 w 33"/>
                <a:gd name="T29" fmla="*/ 2147483646 h 23"/>
                <a:gd name="T30" fmla="*/ 2147483646 w 33"/>
                <a:gd name="T31" fmla="*/ 2147483646 h 23"/>
                <a:gd name="T32" fmla="*/ 2147483646 w 33"/>
                <a:gd name="T33" fmla="*/ 2147483646 h 23"/>
                <a:gd name="T34" fmla="*/ 2147483646 w 33"/>
                <a:gd name="T35" fmla="*/ 2147483646 h 23"/>
                <a:gd name="T36" fmla="*/ 2147483646 w 33"/>
                <a:gd name="T37" fmla="*/ 2147483646 h 23"/>
                <a:gd name="T38" fmla="*/ 2147483646 w 33"/>
                <a:gd name="T39" fmla="*/ 2147483646 h 23"/>
                <a:gd name="T40" fmla="*/ 2147483646 w 33"/>
                <a:gd name="T41" fmla="*/ 2147483646 h 23"/>
                <a:gd name="T42" fmla="*/ 2147483646 w 33"/>
                <a:gd name="T43" fmla="*/ 2147483646 h 23"/>
                <a:gd name="T44" fmla="*/ 2147483646 w 33"/>
                <a:gd name="T45" fmla="*/ 2147483646 h 23"/>
                <a:gd name="T46" fmla="*/ 2147483646 w 33"/>
                <a:gd name="T47" fmla="*/ 2147483646 h 23"/>
                <a:gd name="T48" fmla="*/ 2147483646 w 33"/>
                <a:gd name="T49" fmla="*/ 2147483646 h 23"/>
                <a:gd name="T50" fmla="*/ 2147483646 w 33"/>
                <a:gd name="T51" fmla="*/ 2147483646 h 23"/>
                <a:gd name="T52" fmla="*/ 2147483646 w 33"/>
                <a:gd name="T53" fmla="*/ 2147483646 h 23"/>
                <a:gd name="T54" fmla="*/ 2147483646 w 33"/>
                <a:gd name="T55" fmla="*/ 2147483646 h 23"/>
                <a:gd name="T56" fmla="*/ 2147483646 w 33"/>
                <a:gd name="T57" fmla="*/ 2147483646 h 23"/>
                <a:gd name="T58" fmla="*/ 2147483646 w 33"/>
                <a:gd name="T59" fmla="*/ 2147483646 h 2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3" h="23">
                  <a:moveTo>
                    <a:pt x="33" y="16"/>
                  </a:moveTo>
                  <a:cubicBezTo>
                    <a:pt x="33" y="13"/>
                    <a:pt x="32" y="15"/>
                    <a:pt x="30" y="13"/>
                  </a:cubicBezTo>
                  <a:cubicBezTo>
                    <a:pt x="29" y="12"/>
                    <a:pt x="27" y="11"/>
                    <a:pt x="25" y="10"/>
                  </a:cubicBezTo>
                  <a:cubicBezTo>
                    <a:pt x="23" y="8"/>
                    <a:pt x="23" y="5"/>
                    <a:pt x="21" y="4"/>
                  </a:cubicBezTo>
                  <a:cubicBezTo>
                    <a:pt x="21" y="4"/>
                    <a:pt x="16" y="5"/>
                    <a:pt x="18" y="3"/>
                  </a:cubicBezTo>
                  <a:cubicBezTo>
                    <a:pt x="17" y="1"/>
                    <a:pt x="16" y="1"/>
                    <a:pt x="14" y="0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3" y="1"/>
                    <a:pt x="13" y="1"/>
                  </a:cubicBezTo>
                  <a:cubicBezTo>
                    <a:pt x="12" y="3"/>
                    <a:pt x="11" y="1"/>
                    <a:pt x="11" y="4"/>
                  </a:cubicBezTo>
                  <a:cubicBezTo>
                    <a:pt x="11" y="5"/>
                    <a:pt x="7" y="4"/>
                    <a:pt x="7" y="4"/>
                  </a:cubicBezTo>
                  <a:cubicBezTo>
                    <a:pt x="6" y="3"/>
                    <a:pt x="5" y="1"/>
                    <a:pt x="3" y="1"/>
                  </a:cubicBezTo>
                  <a:cubicBezTo>
                    <a:pt x="1" y="2"/>
                    <a:pt x="0" y="2"/>
                    <a:pt x="1" y="5"/>
                  </a:cubicBezTo>
                  <a:cubicBezTo>
                    <a:pt x="0" y="4"/>
                    <a:pt x="1" y="2"/>
                    <a:pt x="3" y="2"/>
                  </a:cubicBezTo>
                  <a:cubicBezTo>
                    <a:pt x="3" y="3"/>
                    <a:pt x="4" y="5"/>
                    <a:pt x="5" y="5"/>
                  </a:cubicBezTo>
                  <a:cubicBezTo>
                    <a:pt x="5" y="5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7"/>
                    <a:pt x="1" y="7"/>
                    <a:pt x="1" y="5"/>
                  </a:cubicBezTo>
                  <a:cubicBezTo>
                    <a:pt x="0" y="8"/>
                    <a:pt x="0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3" y="10"/>
                    <a:pt x="3" y="10"/>
                  </a:cubicBezTo>
                  <a:cubicBezTo>
                    <a:pt x="3" y="10"/>
                    <a:pt x="2" y="10"/>
                    <a:pt x="2" y="11"/>
                  </a:cubicBezTo>
                  <a:cubicBezTo>
                    <a:pt x="4" y="11"/>
                    <a:pt x="3" y="14"/>
                    <a:pt x="3" y="16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7" y="14"/>
                    <a:pt x="8" y="14"/>
                    <a:pt x="10" y="14"/>
                  </a:cubicBezTo>
                  <a:cubicBezTo>
                    <a:pt x="11" y="13"/>
                    <a:pt x="16" y="15"/>
                    <a:pt x="16" y="17"/>
                  </a:cubicBezTo>
                  <a:cubicBezTo>
                    <a:pt x="17" y="19"/>
                    <a:pt x="21" y="17"/>
                    <a:pt x="20" y="21"/>
                  </a:cubicBezTo>
                  <a:cubicBezTo>
                    <a:pt x="20" y="22"/>
                    <a:pt x="26" y="23"/>
                    <a:pt x="25" y="21"/>
                  </a:cubicBezTo>
                  <a:cubicBezTo>
                    <a:pt x="27" y="20"/>
                    <a:pt x="28" y="20"/>
                    <a:pt x="28" y="18"/>
                  </a:cubicBezTo>
                  <a:cubicBezTo>
                    <a:pt x="29" y="16"/>
                    <a:pt x="31" y="16"/>
                    <a:pt x="33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8" name="Freeform 704"/>
            <p:cNvSpPr>
              <a:spLocks noEditPoints="1"/>
            </p:cNvSpPr>
            <p:nvPr/>
          </p:nvSpPr>
          <p:spPr bwMode="auto">
            <a:xfrm>
              <a:off x="2635946" y="2368130"/>
              <a:ext cx="255587" cy="179387"/>
            </a:xfrm>
            <a:custGeom>
              <a:avLst/>
              <a:gdLst>
                <a:gd name="T0" fmla="*/ 2147483646 w 34"/>
                <a:gd name="T1" fmla="*/ 2147483646 h 24"/>
                <a:gd name="T2" fmla="*/ 2147483646 w 34"/>
                <a:gd name="T3" fmla="*/ 2147483646 h 24"/>
                <a:gd name="T4" fmla="*/ 2147483646 w 34"/>
                <a:gd name="T5" fmla="*/ 2147483646 h 24"/>
                <a:gd name="T6" fmla="*/ 2147483646 w 34"/>
                <a:gd name="T7" fmla="*/ 2147483646 h 24"/>
                <a:gd name="T8" fmla="*/ 2147483646 w 34"/>
                <a:gd name="T9" fmla="*/ 2147483646 h 24"/>
                <a:gd name="T10" fmla="*/ 2147483646 w 34"/>
                <a:gd name="T11" fmla="*/ 2147483646 h 24"/>
                <a:gd name="T12" fmla="*/ 2147483646 w 34"/>
                <a:gd name="T13" fmla="*/ 2147483646 h 24"/>
                <a:gd name="T14" fmla="*/ 0 w 34"/>
                <a:gd name="T15" fmla="*/ 2147483646 h 24"/>
                <a:gd name="T16" fmla="*/ 0 w 34"/>
                <a:gd name="T17" fmla="*/ 2147483646 h 24"/>
                <a:gd name="T18" fmla="*/ 2147483646 w 34"/>
                <a:gd name="T19" fmla="*/ 2147483646 h 24"/>
                <a:gd name="T20" fmla="*/ 2147483646 w 34"/>
                <a:gd name="T21" fmla="*/ 2147483646 h 24"/>
                <a:gd name="T22" fmla="*/ 2147483646 w 34"/>
                <a:gd name="T23" fmla="*/ 2147483646 h 24"/>
                <a:gd name="T24" fmla="*/ 2147483646 w 34"/>
                <a:gd name="T25" fmla="*/ 2147483646 h 24"/>
                <a:gd name="T26" fmla="*/ 2147483646 w 34"/>
                <a:gd name="T27" fmla="*/ 0 h 24"/>
                <a:gd name="T28" fmla="*/ 2147483646 w 34"/>
                <a:gd name="T29" fmla="*/ 2147483646 h 24"/>
                <a:gd name="T30" fmla="*/ 2147483646 w 34"/>
                <a:gd name="T31" fmla="*/ 2147483646 h 24"/>
                <a:gd name="T32" fmla="*/ 2147483646 w 34"/>
                <a:gd name="T33" fmla="*/ 2147483646 h 24"/>
                <a:gd name="T34" fmla="*/ 2147483646 w 34"/>
                <a:gd name="T35" fmla="*/ 2147483646 h 24"/>
                <a:gd name="T36" fmla="*/ 2147483646 w 34"/>
                <a:gd name="T37" fmla="*/ 2147483646 h 24"/>
                <a:gd name="T38" fmla="*/ 2147483646 w 34"/>
                <a:gd name="T39" fmla="*/ 2147483646 h 24"/>
                <a:gd name="T40" fmla="*/ 2147483646 w 34"/>
                <a:gd name="T41" fmla="*/ 2147483646 h 24"/>
                <a:gd name="T42" fmla="*/ 2147483646 w 34"/>
                <a:gd name="T43" fmla="*/ 2147483646 h 24"/>
                <a:gd name="T44" fmla="*/ 2147483646 w 34"/>
                <a:gd name="T45" fmla="*/ 2147483646 h 24"/>
                <a:gd name="T46" fmla="*/ 2147483646 w 34"/>
                <a:gd name="T47" fmla="*/ 2147483646 h 24"/>
                <a:gd name="T48" fmla="*/ 2147483646 w 34"/>
                <a:gd name="T49" fmla="*/ 2147483646 h 24"/>
                <a:gd name="T50" fmla="*/ 2147483646 w 34"/>
                <a:gd name="T51" fmla="*/ 2147483646 h 24"/>
                <a:gd name="T52" fmla="*/ 2147483646 w 34"/>
                <a:gd name="T53" fmla="*/ 2147483646 h 24"/>
                <a:gd name="T54" fmla="*/ 2147483646 w 34"/>
                <a:gd name="T55" fmla="*/ 2147483646 h 24"/>
                <a:gd name="T56" fmla="*/ 2147483646 w 34"/>
                <a:gd name="T57" fmla="*/ 2147483646 h 24"/>
                <a:gd name="T58" fmla="*/ 2147483646 w 34"/>
                <a:gd name="T59" fmla="*/ 2147483646 h 24"/>
                <a:gd name="T60" fmla="*/ 2147483646 w 34"/>
                <a:gd name="T61" fmla="*/ 2147483646 h 24"/>
                <a:gd name="T62" fmla="*/ 2147483646 w 34"/>
                <a:gd name="T63" fmla="*/ 2147483646 h 24"/>
                <a:gd name="T64" fmla="*/ 2147483646 w 34"/>
                <a:gd name="T65" fmla="*/ 2147483646 h 24"/>
                <a:gd name="T66" fmla="*/ 2147483646 w 34"/>
                <a:gd name="T67" fmla="*/ 2147483646 h 24"/>
                <a:gd name="T68" fmla="*/ 2147483646 w 34"/>
                <a:gd name="T69" fmla="*/ 2147483646 h 24"/>
                <a:gd name="T70" fmla="*/ 2147483646 w 34"/>
                <a:gd name="T71" fmla="*/ 2147483646 h 24"/>
                <a:gd name="T72" fmla="*/ 2147483646 w 34"/>
                <a:gd name="T73" fmla="*/ 2147483646 h 24"/>
                <a:gd name="T74" fmla="*/ 2147483646 w 34"/>
                <a:gd name="T75" fmla="*/ 2147483646 h 24"/>
                <a:gd name="T76" fmla="*/ 2147483646 w 34"/>
                <a:gd name="T77" fmla="*/ 2147483646 h 24"/>
                <a:gd name="T78" fmla="*/ 2147483646 w 34"/>
                <a:gd name="T79" fmla="*/ 2147483646 h 24"/>
                <a:gd name="T80" fmla="*/ 2147483646 w 34"/>
                <a:gd name="T81" fmla="*/ 2147483646 h 24"/>
                <a:gd name="T82" fmla="*/ 2147483646 w 34"/>
                <a:gd name="T83" fmla="*/ 2147483646 h 24"/>
                <a:gd name="T84" fmla="*/ 2147483646 w 34"/>
                <a:gd name="T85" fmla="*/ 2147483646 h 24"/>
                <a:gd name="T86" fmla="*/ 2147483646 w 34"/>
                <a:gd name="T87" fmla="*/ 2147483646 h 24"/>
                <a:gd name="T88" fmla="*/ 2147483646 w 34"/>
                <a:gd name="T89" fmla="*/ 2147483646 h 2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4" h="24">
                  <a:moveTo>
                    <a:pt x="23" y="24"/>
                  </a:move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1" y="24"/>
                    <a:pt x="20" y="23"/>
                  </a:cubicBezTo>
                  <a:cubicBezTo>
                    <a:pt x="20" y="23"/>
                    <a:pt x="20" y="22"/>
                    <a:pt x="20" y="22"/>
                  </a:cubicBezTo>
                  <a:cubicBezTo>
                    <a:pt x="20" y="20"/>
                    <a:pt x="19" y="20"/>
                    <a:pt x="18" y="20"/>
                  </a:cubicBezTo>
                  <a:cubicBezTo>
                    <a:pt x="17" y="20"/>
                    <a:pt x="16" y="19"/>
                    <a:pt x="16" y="18"/>
                  </a:cubicBezTo>
                  <a:cubicBezTo>
                    <a:pt x="15" y="17"/>
                    <a:pt x="11" y="15"/>
                    <a:pt x="10" y="15"/>
                  </a:cubicBezTo>
                  <a:cubicBezTo>
                    <a:pt x="10" y="15"/>
                    <a:pt x="9" y="15"/>
                    <a:pt x="9" y="15"/>
                  </a:cubicBezTo>
                  <a:cubicBezTo>
                    <a:pt x="8" y="15"/>
                    <a:pt x="7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7"/>
                    <a:pt x="4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6"/>
                    <a:pt x="3" y="16"/>
                    <a:pt x="3" y="15"/>
                  </a:cubicBezTo>
                  <a:cubicBezTo>
                    <a:pt x="3" y="13"/>
                    <a:pt x="3" y="12"/>
                    <a:pt x="2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3"/>
                    <a:pt x="1" y="2"/>
                    <a:pt x="3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5" y="2"/>
                    <a:pt x="6" y="3"/>
                    <a:pt x="7" y="4"/>
                  </a:cubicBezTo>
                  <a:cubicBezTo>
                    <a:pt x="7" y="4"/>
                    <a:pt x="7" y="5"/>
                    <a:pt x="7" y="5"/>
                  </a:cubicBezTo>
                  <a:cubicBezTo>
                    <a:pt x="8" y="5"/>
                    <a:pt x="8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11" y="3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4" y="1"/>
                  </a:cubicBezTo>
                  <a:cubicBezTo>
                    <a:pt x="14" y="1"/>
                    <a:pt x="14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"/>
                    <a:pt x="16" y="1"/>
                    <a:pt x="16" y="1"/>
                  </a:cubicBezTo>
                  <a:cubicBezTo>
                    <a:pt x="17" y="2"/>
                    <a:pt x="18" y="3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9" y="5"/>
                  </a:cubicBezTo>
                  <a:cubicBezTo>
                    <a:pt x="20" y="5"/>
                    <a:pt x="20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5"/>
                    <a:pt x="23" y="7"/>
                    <a:pt x="24" y="8"/>
                  </a:cubicBezTo>
                  <a:cubicBezTo>
                    <a:pt x="24" y="9"/>
                    <a:pt x="24" y="10"/>
                    <a:pt x="25" y="10"/>
                  </a:cubicBezTo>
                  <a:cubicBezTo>
                    <a:pt x="27" y="11"/>
                    <a:pt x="29" y="13"/>
                    <a:pt x="30" y="14"/>
                  </a:cubicBezTo>
                  <a:cubicBezTo>
                    <a:pt x="31" y="14"/>
                    <a:pt x="31" y="14"/>
                    <a:pt x="32" y="14"/>
                  </a:cubicBezTo>
                  <a:cubicBezTo>
                    <a:pt x="33" y="15"/>
                    <a:pt x="34" y="15"/>
                    <a:pt x="33" y="17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1" y="18"/>
                  </a:cubicBezTo>
                  <a:cubicBezTo>
                    <a:pt x="30" y="18"/>
                    <a:pt x="29" y="18"/>
                    <a:pt x="29" y="19"/>
                  </a:cubicBezTo>
                  <a:cubicBezTo>
                    <a:pt x="28" y="21"/>
                    <a:pt x="27" y="21"/>
                    <a:pt x="26" y="22"/>
                  </a:cubicBezTo>
                  <a:cubicBezTo>
                    <a:pt x="26" y="22"/>
                    <a:pt x="25" y="22"/>
                    <a:pt x="25" y="22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4"/>
                    <a:pt x="24" y="24"/>
                    <a:pt x="23" y="24"/>
                  </a:cubicBezTo>
                  <a:close/>
                  <a:moveTo>
                    <a:pt x="10" y="14"/>
                  </a:moveTo>
                  <a:cubicBezTo>
                    <a:pt x="11" y="14"/>
                    <a:pt x="16" y="16"/>
                    <a:pt x="17" y="17"/>
                  </a:cubicBezTo>
                  <a:cubicBezTo>
                    <a:pt x="17" y="18"/>
                    <a:pt x="18" y="18"/>
                    <a:pt x="19" y="19"/>
                  </a:cubicBezTo>
                  <a:cubicBezTo>
                    <a:pt x="20" y="19"/>
                    <a:pt x="21" y="20"/>
                    <a:pt x="21" y="22"/>
                  </a:cubicBezTo>
                  <a:cubicBezTo>
                    <a:pt x="21" y="22"/>
                    <a:pt x="22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7" y="20"/>
                    <a:pt x="27" y="20"/>
                    <a:pt x="28" y="18"/>
                  </a:cubicBezTo>
                  <a:cubicBezTo>
                    <a:pt x="28" y="17"/>
                    <a:pt x="31" y="16"/>
                    <a:pt x="32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6"/>
                    <a:pt x="30" y="15"/>
                    <a:pt x="30" y="15"/>
                  </a:cubicBezTo>
                  <a:cubicBezTo>
                    <a:pt x="28" y="13"/>
                    <a:pt x="27" y="12"/>
                    <a:pt x="25" y="11"/>
                  </a:cubicBezTo>
                  <a:cubicBezTo>
                    <a:pt x="24" y="10"/>
                    <a:pt x="23" y="9"/>
                    <a:pt x="23" y="8"/>
                  </a:cubicBezTo>
                  <a:cubicBezTo>
                    <a:pt x="22" y="7"/>
                    <a:pt x="22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6"/>
                    <a:pt x="20" y="6"/>
                    <a:pt x="19" y="6"/>
                  </a:cubicBezTo>
                  <a:cubicBezTo>
                    <a:pt x="18" y="6"/>
                    <a:pt x="17" y="6"/>
                    <a:pt x="17" y="5"/>
                  </a:cubicBezTo>
                  <a:cubicBezTo>
                    <a:pt x="17" y="5"/>
                    <a:pt x="17" y="4"/>
                    <a:pt x="17" y="4"/>
                  </a:cubicBezTo>
                  <a:cubicBezTo>
                    <a:pt x="17" y="3"/>
                    <a:pt x="16" y="3"/>
                    <a:pt x="16" y="2"/>
                  </a:cubicBezTo>
                  <a:cubicBezTo>
                    <a:pt x="15" y="2"/>
                    <a:pt x="15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3" y="3"/>
                  </a:cubicBezTo>
                  <a:cubicBezTo>
                    <a:pt x="13" y="3"/>
                    <a:pt x="12" y="3"/>
                    <a:pt x="12" y="4"/>
                  </a:cubicBezTo>
                  <a:cubicBezTo>
                    <a:pt x="12" y="4"/>
                    <a:pt x="11" y="4"/>
                    <a:pt x="11" y="5"/>
                  </a:cubicBezTo>
                  <a:cubicBezTo>
                    <a:pt x="11" y="5"/>
                    <a:pt x="11" y="5"/>
                    <a:pt x="11" y="6"/>
                  </a:cubicBezTo>
                  <a:cubicBezTo>
                    <a:pt x="11" y="6"/>
                    <a:pt x="11" y="6"/>
                    <a:pt x="9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4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2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4" y="12"/>
                    <a:pt x="4" y="14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5" y="16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4"/>
                    <a:pt x="9" y="14"/>
                  </a:cubicBezTo>
                  <a:cubicBezTo>
                    <a:pt x="9" y="14"/>
                    <a:pt x="9" y="14"/>
                    <a:pt x="10" y="14"/>
                  </a:cubicBezTo>
                  <a:close/>
                  <a:moveTo>
                    <a:pt x="1" y="5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3" y="5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9" name="Freeform 705"/>
            <p:cNvSpPr/>
            <p:nvPr/>
          </p:nvSpPr>
          <p:spPr bwMode="auto">
            <a:xfrm>
              <a:off x="2696271" y="2301454"/>
              <a:ext cx="298450" cy="198437"/>
            </a:xfrm>
            <a:custGeom>
              <a:avLst/>
              <a:gdLst>
                <a:gd name="T0" fmla="*/ 2147483646 w 40"/>
                <a:gd name="T1" fmla="*/ 2147483646 h 27"/>
                <a:gd name="T2" fmla="*/ 2147483646 w 40"/>
                <a:gd name="T3" fmla="*/ 2147483646 h 27"/>
                <a:gd name="T4" fmla="*/ 2147483646 w 40"/>
                <a:gd name="T5" fmla="*/ 2147483646 h 27"/>
                <a:gd name="T6" fmla="*/ 2147483646 w 40"/>
                <a:gd name="T7" fmla="*/ 2147483646 h 27"/>
                <a:gd name="T8" fmla="*/ 2147483646 w 40"/>
                <a:gd name="T9" fmla="*/ 2147483646 h 27"/>
                <a:gd name="T10" fmla="*/ 2147483646 w 40"/>
                <a:gd name="T11" fmla="*/ 2147483646 h 27"/>
                <a:gd name="T12" fmla="*/ 2147483646 w 40"/>
                <a:gd name="T13" fmla="*/ 2147483646 h 27"/>
                <a:gd name="T14" fmla="*/ 2147483646 w 40"/>
                <a:gd name="T15" fmla="*/ 2147483646 h 27"/>
                <a:gd name="T16" fmla="*/ 2147483646 w 40"/>
                <a:gd name="T17" fmla="*/ 2147483646 h 27"/>
                <a:gd name="T18" fmla="*/ 2147483646 w 40"/>
                <a:gd name="T19" fmla="*/ 2147483646 h 27"/>
                <a:gd name="T20" fmla="*/ 2147483646 w 40"/>
                <a:gd name="T21" fmla="*/ 2147483646 h 27"/>
                <a:gd name="T22" fmla="*/ 2147483646 w 40"/>
                <a:gd name="T23" fmla="*/ 2147483646 h 27"/>
                <a:gd name="T24" fmla="*/ 2147483646 w 40"/>
                <a:gd name="T25" fmla="*/ 2147483646 h 27"/>
                <a:gd name="T26" fmla="*/ 2147483646 w 40"/>
                <a:gd name="T27" fmla="*/ 2147483646 h 27"/>
                <a:gd name="T28" fmla="*/ 2147483646 w 40"/>
                <a:gd name="T29" fmla="*/ 2147483646 h 27"/>
                <a:gd name="T30" fmla="*/ 2147483646 w 40"/>
                <a:gd name="T31" fmla="*/ 2147483646 h 27"/>
                <a:gd name="T32" fmla="*/ 2147483646 w 40"/>
                <a:gd name="T33" fmla="*/ 2147483646 h 27"/>
                <a:gd name="T34" fmla="*/ 0 w 40"/>
                <a:gd name="T35" fmla="*/ 2147483646 h 27"/>
                <a:gd name="T36" fmla="*/ 0 w 40"/>
                <a:gd name="T37" fmla="*/ 2147483646 h 27"/>
                <a:gd name="T38" fmla="*/ 2147483646 w 40"/>
                <a:gd name="T39" fmla="*/ 2147483646 h 27"/>
                <a:gd name="T40" fmla="*/ 2147483646 w 40"/>
                <a:gd name="T41" fmla="*/ 2147483646 h 27"/>
                <a:gd name="T42" fmla="*/ 2147483646 w 40"/>
                <a:gd name="T43" fmla="*/ 2147483646 h 27"/>
                <a:gd name="T44" fmla="*/ 2147483646 w 40"/>
                <a:gd name="T45" fmla="*/ 2147483646 h 27"/>
                <a:gd name="T46" fmla="*/ 2147483646 w 40"/>
                <a:gd name="T47" fmla="*/ 2147483646 h 27"/>
                <a:gd name="T48" fmla="*/ 2147483646 w 40"/>
                <a:gd name="T49" fmla="*/ 2147483646 h 27"/>
                <a:gd name="T50" fmla="*/ 2147483646 w 40"/>
                <a:gd name="T51" fmla="*/ 2147483646 h 27"/>
                <a:gd name="T52" fmla="*/ 2147483646 w 40"/>
                <a:gd name="T53" fmla="*/ 2147483646 h 27"/>
                <a:gd name="T54" fmla="*/ 2147483646 w 40"/>
                <a:gd name="T55" fmla="*/ 2147483646 h 27"/>
                <a:gd name="T56" fmla="*/ 2147483646 w 40"/>
                <a:gd name="T57" fmla="*/ 2147483646 h 27"/>
                <a:gd name="T58" fmla="*/ 2147483646 w 40"/>
                <a:gd name="T59" fmla="*/ 2147483646 h 27"/>
                <a:gd name="T60" fmla="*/ 2147483646 w 40"/>
                <a:gd name="T61" fmla="*/ 2147483646 h 2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40" h="27">
                  <a:moveTo>
                    <a:pt x="35" y="18"/>
                  </a:moveTo>
                  <a:cubicBezTo>
                    <a:pt x="33" y="18"/>
                    <a:pt x="35" y="14"/>
                    <a:pt x="33" y="16"/>
                  </a:cubicBezTo>
                  <a:cubicBezTo>
                    <a:pt x="31" y="17"/>
                    <a:pt x="30" y="17"/>
                    <a:pt x="29" y="19"/>
                  </a:cubicBezTo>
                  <a:cubicBezTo>
                    <a:pt x="29" y="20"/>
                    <a:pt x="27" y="19"/>
                    <a:pt x="27" y="20"/>
                  </a:cubicBezTo>
                  <a:cubicBezTo>
                    <a:pt x="26" y="21"/>
                    <a:pt x="28" y="21"/>
                    <a:pt x="28" y="22"/>
                  </a:cubicBezTo>
                  <a:cubicBezTo>
                    <a:pt x="28" y="23"/>
                    <a:pt x="29" y="23"/>
                    <a:pt x="28" y="25"/>
                  </a:cubicBezTo>
                  <a:cubicBezTo>
                    <a:pt x="28" y="26"/>
                    <a:pt x="28" y="27"/>
                    <a:pt x="26" y="27"/>
                  </a:cubicBezTo>
                  <a:cubicBezTo>
                    <a:pt x="25" y="26"/>
                    <a:pt x="24" y="26"/>
                    <a:pt x="25" y="25"/>
                  </a:cubicBezTo>
                  <a:cubicBezTo>
                    <a:pt x="25" y="24"/>
                    <a:pt x="23" y="23"/>
                    <a:pt x="23" y="23"/>
                  </a:cubicBezTo>
                  <a:cubicBezTo>
                    <a:pt x="21" y="24"/>
                    <a:pt x="19" y="21"/>
                    <a:pt x="18" y="20"/>
                  </a:cubicBezTo>
                  <a:cubicBezTo>
                    <a:pt x="15" y="19"/>
                    <a:pt x="15" y="16"/>
                    <a:pt x="14" y="15"/>
                  </a:cubicBezTo>
                  <a:cubicBezTo>
                    <a:pt x="13" y="14"/>
                    <a:pt x="8" y="15"/>
                    <a:pt x="10" y="13"/>
                  </a:cubicBezTo>
                  <a:cubicBezTo>
                    <a:pt x="9" y="11"/>
                    <a:pt x="8" y="11"/>
                    <a:pt x="6" y="10"/>
                  </a:cubicBezTo>
                  <a:cubicBezTo>
                    <a:pt x="6" y="10"/>
                    <a:pt x="6" y="10"/>
                    <a:pt x="5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4" y="13"/>
                    <a:pt x="3" y="11"/>
                    <a:pt x="3" y="14"/>
                  </a:cubicBezTo>
                  <a:cubicBezTo>
                    <a:pt x="3" y="15"/>
                    <a:pt x="0" y="15"/>
                    <a:pt x="0" y="13"/>
                  </a:cubicBezTo>
                  <a:cubicBezTo>
                    <a:pt x="0" y="10"/>
                    <a:pt x="0" y="7"/>
                    <a:pt x="0" y="4"/>
                  </a:cubicBezTo>
                  <a:cubicBezTo>
                    <a:pt x="0" y="2"/>
                    <a:pt x="2" y="2"/>
                    <a:pt x="4" y="1"/>
                  </a:cubicBezTo>
                  <a:cubicBezTo>
                    <a:pt x="8" y="0"/>
                    <a:pt x="11" y="5"/>
                    <a:pt x="14" y="7"/>
                  </a:cubicBezTo>
                  <a:cubicBezTo>
                    <a:pt x="15" y="8"/>
                    <a:pt x="19" y="7"/>
                    <a:pt x="20" y="7"/>
                  </a:cubicBezTo>
                  <a:cubicBezTo>
                    <a:pt x="22" y="7"/>
                    <a:pt x="23" y="9"/>
                    <a:pt x="24" y="9"/>
                  </a:cubicBezTo>
                  <a:cubicBezTo>
                    <a:pt x="24" y="10"/>
                    <a:pt x="23" y="12"/>
                    <a:pt x="24" y="13"/>
                  </a:cubicBezTo>
                  <a:cubicBezTo>
                    <a:pt x="25" y="13"/>
                    <a:pt x="25" y="15"/>
                    <a:pt x="26" y="15"/>
                  </a:cubicBezTo>
                  <a:cubicBezTo>
                    <a:pt x="27" y="15"/>
                    <a:pt x="29" y="15"/>
                    <a:pt x="30" y="15"/>
                  </a:cubicBezTo>
                  <a:cubicBezTo>
                    <a:pt x="30" y="15"/>
                    <a:pt x="32" y="13"/>
                    <a:pt x="33" y="13"/>
                  </a:cubicBezTo>
                  <a:cubicBezTo>
                    <a:pt x="34" y="12"/>
                    <a:pt x="37" y="11"/>
                    <a:pt x="34" y="13"/>
                  </a:cubicBezTo>
                  <a:cubicBezTo>
                    <a:pt x="32" y="14"/>
                    <a:pt x="36" y="16"/>
                    <a:pt x="36" y="14"/>
                  </a:cubicBezTo>
                  <a:cubicBezTo>
                    <a:pt x="37" y="15"/>
                    <a:pt x="38" y="15"/>
                    <a:pt x="40" y="16"/>
                  </a:cubicBezTo>
                  <a:cubicBezTo>
                    <a:pt x="38" y="17"/>
                    <a:pt x="37" y="18"/>
                    <a:pt x="35" y="18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0" name="Freeform 706"/>
            <p:cNvSpPr>
              <a:spLocks noEditPoints="1"/>
            </p:cNvSpPr>
            <p:nvPr/>
          </p:nvSpPr>
          <p:spPr bwMode="auto">
            <a:xfrm>
              <a:off x="2696271" y="2307805"/>
              <a:ext cx="304800" cy="192088"/>
            </a:xfrm>
            <a:custGeom>
              <a:avLst/>
              <a:gdLst>
                <a:gd name="T0" fmla="*/ 2147483646 w 41"/>
                <a:gd name="T1" fmla="*/ 2147483646 h 26"/>
                <a:gd name="T2" fmla="*/ 2147483646 w 41"/>
                <a:gd name="T3" fmla="*/ 2147483646 h 26"/>
                <a:gd name="T4" fmla="*/ 2147483646 w 41"/>
                <a:gd name="T5" fmla="*/ 2147483646 h 26"/>
                <a:gd name="T6" fmla="*/ 2147483646 w 41"/>
                <a:gd name="T7" fmla="*/ 2147483646 h 26"/>
                <a:gd name="T8" fmla="*/ 2147483646 w 41"/>
                <a:gd name="T9" fmla="*/ 2147483646 h 26"/>
                <a:gd name="T10" fmla="*/ 2147483646 w 41"/>
                <a:gd name="T11" fmla="*/ 2147483646 h 26"/>
                <a:gd name="T12" fmla="*/ 2147483646 w 41"/>
                <a:gd name="T13" fmla="*/ 2147483646 h 26"/>
                <a:gd name="T14" fmla="*/ 2147483646 w 41"/>
                <a:gd name="T15" fmla="*/ 2147483646 h 26"/>
                <a:gd name="T16" fmla="*/ 0 w 41"/>
                <a:gd name="T17" fmla="*/ 2147483646 h 26"/>
                <a:gd name="T18" fmla="*/ 2147483646 w 41"/>
                <a:gd name="T19" fmla="*/ 0 h 26"/>
                <a:gd name="T20" fmla="*/ 2147483646 w 41"/>
                <a:gd name="T21" fmla="*/ 2147483646 h 26"/>
                <a:gd name="T22" fmla="*/ 2147483646 w 41"/>
                <a:gd name="T23" fmla="*/ 2147483646 h 26"/>
                <a:gd name="T24" fmla="*/ 2147483646 w 41"/>
                <a:gd name="T25" fmla="*/ 2147483646 h 26"/>
                <a:gd name="T26" fmla="*/ 2147483646 w 41"/>
                <a:gd name="T27" fmla="*/ 2147483646 h 26"/>
                <a:gd name="T28" fmla="*/ 2147483646 w 41"/>
                <a:gd name="T29" fmla="*/ 2147483646 h 26"/>
                <a:gd name="T30" fmla="*/ 2147483646 w 41"/>
                <a:gd name="T31" fmla="*/ 2147483646 h 26"/>
                <a:gd name="T32" fmla="*/ 2147483646 w 41"/>
                <a:gd name="T33" fmla="*/ 2147483646 h 26"/>
                <a:gd name="T34" fmla="*/ 2147483646 w 41"/>
                <a:gd name="T35" fmla="*/ 2147483646 h 26"/>
                <a:gd name="T36" fmla="*/ 2147483646 w 41"/>
                <a:gd name="T37" fmla="*/ 2147483646 h 26"/>
                <a:gd name="T38" fmla="*/ 2147483646 w 41"/>
                <a:gd name="T39" fmla="*/ 2147483646 h 26"/>
                <a:gd name="T40" fmla="*/ 2147483646 w 41"/>
                <a:gd name="T41" fmla="*/ 2147483646 h 26"/>
                <a:gd name="T42" fmla="*/ 2147483646 w 41"/>
                <a:gd name="T43" fmla="*/ 2147483646 h 26"/>
                <a:gd name="T44" fmla="*/ 2147483646 w 41"/>
                <a:gd name="T45" fmla="*/ 2147483646 h 26"/>
                <a:gd name="T46" fmla="*/ 2147483646 w 41"/>
                <a:gd name="T47" fmla="*/ 2147483646 h 26"/>
                <a:gd name="T48" fmla="*/ 2147483646 w 41"/>
                <a:gd name="T49" fmla="*/ 2147483646 h 26"/>
                <a:gd name="T50" fmla="*/ 2147483646 w 41"/>
                <a:gd name="T51" fmla="*/ 2147483646 h 26"/>
                <a:gd name="T52" fmla="*/ 2147483646 w 41"/>
                <a:gd name="T53" fmla="*/ 2147483646 h 26"/>
                <a:gd name="T54" fmla="*/ 2147483646 w 41"/>
                <a:gd name="T55" fmla="*/ 2147483646 h 26"/>
                <a:gd name="T56" fmla="*/ 2147483646 w 41"/>
                <a:gd name="T57" fmla="*/ 2147483646 h 26"/>
                <a:gd name="T58" fmla="*/ 2147483646 w 41"/>
                <a:gd name="T59" fmla="*/ 2147483646 h 26"/>
                <a:gd name="T60" fmla="*/ 2147483646 w 41"/>
                <a:gd name="T61" fmla="*/ 2147483646 h 26"/>
                <a:gd name="T62" fmla="*/ 2147483646 w 41"/>
                <a:gd name="T63" fmla="*/ 2147483646 h 26"/>
                <a:gd name="T64" fmla="*/ 2147483646 w 41"/>
                <a:gd name="T65" fmla="*/ 2147483646 h 26"/>
                <a:gd name="T66" fmla="*/ 2147483646 w 41"/>
                <a:gd name="T67" fmla="*/ 2147483646 h 26"/>
                <a:gd name="T68" fmla="*/ 2147483646 w 41"/>
                <a:gd name="T69" fmla="*/ 2147483646 h 26"/>
                <a:gd name="T70" fmla="*/ 2147483646 w 41"/>
                <a:gd name="T71" fmla="*/ 2147483646 h 26"/>
                <a:gd name="T72" fmla="*/ 2147483646 w 41"/>
                <a:gd name="T73" fmla="*/ 2147483646 h 26"/>
                <a:gd name="T74" fmla="*/ 2147483646 w 41"/>
                <a:gd name="T75" fmla="*/ 2147483646 h 26"/>
                <a:gd name="T76" fmla="*/ 2147483646 w 41"/>
                <a:gd name="T77" fmla="*/ 2147483646 h 26"/>
                <a:gd name="T78" fmla="*/ 2147483646 w 41"/>
                <a:gd name="T79" fmla="*/ 2147483646 h 26"/>
                <a:gd name="T80" fmla="*/ 2147483646 w 41"/>
                <a:gd name="T81" fmla="*/ 2147483646 h 26"/>
                <a:gd name="T82" fmla="*/ 2147483646 w 41"/>
                <a:gd name="T83" fmla="*/ 2147483646 h 26"/>
                <a:gd name="T84" fmla="*/ 2147483646 w 41"/>
                <a:gd name="T85" fmla="*/ 2147483646 h 26"/>
                <a:gd name="T86" fmla="*/ 2147483646 w 41"/>
                <a:gd name="T87" fmla="*/ 2147483646 h 26"/>
                <a:gd name="T88" fmla="*/ 2147483646 w 41"/>
                <a:gd name="T89" fmla="*/ 2147483646 h 26"/>
                <a:gd name="T90" fmla="*/ 2147483646 w 41"/>
                <a:gd name="T91" fmla="*/ 2147483646 h 26"/>
                <a:gd name="T92" fmla="*/ 2147483646 w 41"/>
                <a:gd name="T93" fmla="*/ 2147483646 h 26"/>
                <a:gd name="T94" fmla="*/ 2147483646 w 41"/>
                <a:gd name="T95" fmla="*/ 2147483646 h 26"/>
                <a:gd name="T96" fmla="*/ 2147483646 w 41"/>
                <a:gd name="T97" fmla="*/ 2147483646 h 2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1" h="26">
                  <a:moveTo>
                    <a:pt x="27" y="26"/>
                  </a:moveTo>
                  <a:cubicBezTo>
                    <a:pt x="26" y="26"/>
                    <a:pt x="26" y="26"/>
                    <a:pt x="26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5" y="26"/>
                    <a:pt x="24" y="26"/>
                    <a:pt x="24" y="25"/>
                  </a:cubicBezTo>
                  <a:cubicBezTo>
                    <a:pt x="24" y="25"/>
                    <a:pt x="24" y="24"/>
                    <a:pt x="24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2" y="23"/>
                    <a:pt x="20" y="22"/>
                    <a:pt x="19" y="21"/>
                  </a:cubicBezTo>
                  <a:cubicBezTo>
                    <a:pt x="18" y="20"/>
                    <a:pt x="18" y="20"/>
                    <a:pt x="17" y="19"/>
                  </a:cubicBezTo>
                  <a:cubicBezTo>
                    <a:pt x="16" y="19"/>
                    <a:pt x="15" y="17"/>
                    <a:pt x="15" y="16"/>
                  </a:cubicBezTo>
                  <a:cubicBezTo>
                    <a:pt x="14" y="16"/>
                    <a:pt x="14" y="15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0" y="14"/>
                    <a:pt x="9" y="13"/>
                  </a:cubicBezTo>
                  <a:cubicBezTo>
                    <a:pt x="9" y="13"/>
                    <a:pt x="9" y="12"/>
                    <a:pt x="9" y="12"/>
                  </a:cubicBezTo>
                  <a:cubicBezTo>
                    <a:pt x="9" y="11"/>
                    <a:pt x="8" y="11"/>
                    <a:pt x="8" y="10"/>
                  </a:cubicBezTo>
                  <a:cubicBezTo>
                    <a:pt x="7" y="10"/>
                    <a:pt x="7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5" y="11"/>
                    <a:pt x="4" y="11"/>
                    <a:pt x="4" y="12"/>
                  </a:cubicBezTo>
                  <a:cubicBezTo>
                    <a:pt x="4" y="12"/>
                    <a:pt x="3" y="12"/>
                    <a:pt x="3" y="13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3" y="14"/>
                    <a:pt x="3" y="14"/>
                    <a:pt x="2" y="14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1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9" y="0"/>
                    <a:pt x="11" y="2"/>
                    <a:pt x="13" y="4"/>
                  </a:cubicBezTo>
                  <a:cubicBezTo>
                    <a:pt x="13" y="5"/>
                    <a:pt x="14" y="5"/>
                    <a:pt x="14" y="6"/>
                  </a:cubicBezTo>
                  <a:cubicBezTo>
                    <a:pt x="14" y="6"/>
                    <a:pt x="15" y="6"/>
                    <a:pt x="15" y="6"/>
                  </a:cubicBezTo>
                  <a:cubicBezTo>
                    <a:pt x="16" y="6"/>
                    <a:pt x="18" y="6"/>
                    <a:pt x="19" y="6"/>
                  </a:cubicBezTo>
                  <a:cubicBezTo>
                    <a:pt x="19" y="5"/>
                    <a:pt x="20" y="5"/>
                    <a:pt x="20" y="5"/>
                  </a:cubicBezTo>
                  <a:cubicBezTo>
                    <a:pt x="22" y="5"/>
                    <a:pt x="22" y="6"/>
                    <a:pt x="23" y="7"/>
                  </a:cubicBezTo>
                  <a:cubicBezTo>
                    <a:pt x="23" y="7"/>
                    <a:pt x="24" y="8"/>
                    <a:pt x="24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4" y="11"/>
                    <a:pt x="24" y="11"/>
                  </a:cubicBezTo>
                  <a:cubicBezTo>
                    <a:pt x="25" y="11"/>
                    <a:pt x="26" y="12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7" y="13"/>
                    <a:pt x="28" y="13"/>
                  </a:cubicBezTo>
                  <a:cubicBezTo>
                    <a:pt x="29" y="14"/>
                    <a:pt x="29" y="14"/>
                    <a:pt x="30" y="14"/>
                  </a:cubicBezTo>
                  <a:cubicBezTo>
                    <a:pt x="30" y="14"/>
                    <a:pt x="31" y="12"/>
                    <a:pt x="32" y="12"/>
                  </a:cubicBezTo>
                  <a:cubicBezTo>
                    <a:pt x="32" y="12"/>
                    <a:pt x="32" y="11"/>
                    <a:pt x="33" y="11"/>
                  </a:cubicBezTo>
                  <a:cubicBezTo>
                    <a:pt x="33" y="11"/>
                    <a:pt x="35" y="10"/>
                    <a:pt x="3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4" y="12"/>
                  </a:cubicBezTo>
                  <a:cubicBezTo>
                    <a:pt x="34" y="12"/>
                    <a:pt x="34" y="13"/>
                    <a:pt x="34" y="13"/>
                  </a:cubicBezTo>
                  <a:cubicBezTo>
                    <a:pt x="34" y="13"/>
                    <a:pt x="35" y="13"/>
                    <a:pt x="35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8" y="14"/>
                    <a:pt x="39" y="14"/>
                    <a:pt x="40" y="14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7"/>
                    <a:pt x="37" y="17"/>
                    <a:pt x="35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3" y="16"/>
                    <a:pt x="33" y="16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6"/>
                    <a:pt x="32" y="16"/>
                  </a:cubicBezTo>
                  <a:cubicBezTo>
                    <a:pt x="31" y="17"/>
                    <a:pt x="30" y="17"/>
                    <a:pt x="30" y="18"/>
                  </a:cubicBezTo>
                  <a:cubicBezTo>
                    <a:pt x="30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8" y="20"/>
                    <a:pt x="28" y="20"/>
                  </a:cubicBezTo>
                  <a:cubicBezTo>
                    <a:pt x="28" y="20"/>
                    <a:pt x="29" y="20"/>
                    <a:pt x="29" y="21"/>
                  </a:cubicBezTo>
                  <a:cubicBezTo>
                    <a:pt x="29" y="21"/>
                    <a:pt x="29" y="22"/>
                    <a:pt x="29" y="22"/>
                  </a:cubicBezTo>
                  <a:cubicBezTo>
                    <a:pt x="29" y="22"/>
                    <a:pt x="29" y="23"/>
                    <a:pt x="29" y="24"/>
                  </a:cubicBezTo>
                  <a:cubicBezTo>
                    <a:pt x="29" y="24"/>
                    <a:pt x="29" y="24"/>
                    <a:pt x="28" y="25"/>
                  </a:cubicBezTo>
                  <a:cubicBezTo>
                    <a:pt x="28" y="25"/>
                    <a:pt x="28" y="26"/>
                    <a:pt x="27" y="26"/>
                  </a:cubicBezTo>
                  <a:close/>
                  <a:moveTo>
                    <a:pt x="23" y="22"/>
                  </a:moveTo>
                  <a:cubicBezTo>
                    <a:pt x="23" y="22"/>
                    <a:pt x="25" y="22"/>
                    <a:pt x="25" y="23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4"/>
                    <a:pt x="25" y="25"/>
                    <a:pt x="25" y="25"/>
                  </a:cubicBezTo>
                  <a:cubicBezTo>
                    <a:pt x="25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4"/>
                  </a:cubicBezTo>
                  <a:cubicBezTo>
                    <a:pt x="28" y="24"/>
                    <a:pt x="28" y="24"/>
                    <a:pt x="28" y="23"/>
                  </a:cubicBezTo>
                  <a:cubicBezTo>
                    <a:pt x="28" y="23"/>
                    <a:pt x="28" y="23"/>
                    <a:pt x="28" y="22"/>
                  </a:cubicBezTo>
                  <a:cubicBezTo>
                    <a:pt x="28" y="22"/>
                    <a:pt x="28" y="22"/>
                    <a:pt x="28" y="21"/>
                  </a:cubicBezTo>
                  <a:cubicBezTo>
                    <a:pt x="28" y="21"/>
                    <a:pt x="27" y="21"/>
                    <a:pt x="27" y="21"/>
                  </a:cubicBezTo>
                  <a:cubicBezTo>
                    <a:pt x="27" y="20"/>
                    <a:pt x="26" y="20"/>
                    <a:pt x="26" y="2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0" y="16"/>
                    <a:pt x="31" y="16"/>
                    <a:pt x="32" y="15"/>
                  </a:cubicBezTo>
                  <a:cubicBezTo>
                    <a:pt x="32" y="15"/>
                    <a:pt x="32" y="15"/>
                    <a:pt x="33" y="14"/>
                  </a:cubicBezTo>
                  <a:cubicBezTo>
                    <a:pt x="33" y="14"/>
                    <a:pt x="33" y="14"/>
                    <a:pt x="34" y="14"/>
                  </a:cubicBezTo>
                  <a:cubicBezTo>
                    <a:pt x="33" y="14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1" y="14"/>
                    <a:pt x="30" y="15"/>
                    <a:pt x="30" y="15"/>
                  </a:cubicBezTo>
                  <a:cubicBezTo>
                    <a:pt x="29" y="15"/>
                    <a:pt x="29" y="15"/>
                    <a:pt x="28" y="15"/>
                  </a:cubicBezTo>
                  <a:cubicBezTo>
                    <a:pt x="27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3"/>
                    <a:pt x="24" y="12"/>
                    <a:pt x="24" y="12"/>
                  </a:cubicBezTo>
                  <a:cubicBezTo>
                    <a:pt x="24" y="12"/>
                    <a:pt x="23" y="12"/>
                    <a:pt x="23" y="12"/>
                  </a:cubicBezTo>
                  <a:cubicBezTo>
                    <a:pt x="23" y="11"/>
                    <a:pt x="23" y="10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8"/>
                    <a:pt x="22" y="8"/>
                  </a:cubicBezTo>
                  <a:cubicBezTo>
                    <a:pt x="22" y="7"/>
                    <a:pt x="21" y="6"/>
                    <a:pt x="20" y="6"/>
                  </a:cubicBezTo>
                  <a:cubicBezTo>
                    <a:pt x="20" y="6"/>
                    <a:pt x="20" y="7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5" y="7"/>
                    <a:pt x="14" y="7"/>
                    <a:pt x="13" y="7"/>
                  </a:cubicBezTo>
                  <a:cubicBezTo>
                    <a:pt x="13" y="6"/>
                    <a:pt x="13" y="6"/>
                    <a:pt x="12" y="5"/>
                  </a:cubicBezTo>
                  <a:cubicBezTo>
                    <a:pt x="10" y="3"/>
                    <a:pt x="8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2" y="11"/>
                    <a:pt x="3" y="11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6" y="9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8" y="9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1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4" y="13"/>
                    <a:pt x="14" y="13"/>
                  </a:cubicBezTo>
                  <a:cubicBezTo>
                    <a:pt x="15" y="14"/>
                    <a:pt x="15" y="15"/>
                    <a:pt x="16" y="16"/>
                  </a:cubicBezTo>
                  <a:cubicBezTo>
                    <a:pt x="16" y="17"/>
                    <a:pt x="17" y="18"/>
                    <a:pt x="18" y="19"/>
                  </a:cubicBezTo>
                  <a:cubicBezTo>
                    <a:pt x="18" y="19"/>
                    <a:pt x="19" y="19"/>
                    <a:pt x="20" y="20"/>
                  </a:cubicBezTo>
                  <a:cubicBezTo>
                    <a:pt x="20" y="21"/>
                    <a:pt x="22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35" y="14"/>
                  </a:moveTo>
                  <a:cubicBezTo>
                    <a:pt x="35" y="14"/>
                    <a:pt x="35" y="15"/>
                    <a:pt x="35" y="15"/>
                  </a:cubicBezTo>
                  <a:cubicBezTo>
                    <a:pt x="35" y="15"/>
                    <a:pt x="34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7" y="16"/>
                    <a:pt x="37" y="16"/>
                    <a:pt x="39" y="15"/>
                  </a:cubicBezTo>
                  <a:cubicBezTo>
                    <a:pt x="38" y="15"/>
                    <a:pt x="37" y="14"/>
                    <a:pt x="37" y="14"/>
                  </a:cubicBezTo>
                  <a:cubicBezTo>
                    <a:pt x="36" y="14"/>
                    <a:pt x="35" y="14"/>
                    <a:pt x="35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1" name="Freeform 707"/>
            <p:cNvSpPr/>
            <p:nvPr/>
          </p:nvSpPr>
          <p:spPr bwMode="auto">
            <a:xfrm>
              <a:off x="2532758" y="2039517"/>
              <a:ext cx="708025" cy="377825"/>
            </a:xfrm>
            <a:custGeom>
              <a:avLst/>
              <a:gdLst>
                <a:gd name="T0" fmla="*/ 2147483646 w 95"/>
                <a:gd name="T1" fmla="*/ 2147483646 h 51"/>
                <a:gd name="T2" fmla="*/ 2147483646 w 95"/>
                <a:gd name="T3" fmla="*/ 2147483646 h 51"/>
                <a:gd name="T4" fmla="*/ 2147483646 w 95"/>
                <a:gd name="T5" fmla="*/ 2147483646 h 51"/>
                <a:gd name="T6" fmla="*/ 2147483646 w 95"/>
                <a:gd name="T7" fmla="*/ 2147483646 h 51"/>
                <a:gd name="T8" fmla="*/ 2147483646 w 95"/>
                <a:gd name="T9" fmla="*/ 2147483646 h 51"/>
                <a:gd name="T10" fmla="*/ 2147483646 w 95"/>
                <a:gd name="T11" fmla="*/ 2147483646 h 51"/>
                <a:gd name="T12" fmla="*/ 2147483646 w 95"/>
                <a:gd name="T13" fmla="*/ 2147483646 h 51"/>
                <a:gd name="T14" fmla="*/ 2147483646 w 95"/>
                <a:gd name="T15" fmla="*/ 2147483646 h 51"/>
                <a:gd name="T16" fmla="*/ 2147483646 w 95"/>
                <a:gd name="T17" fmla="*/ 2147483646 h 51"/>
                <a:gd name="T18" fmla="*/ 2147483646 w 95"/>
                <a:gd name="T19" fmla="*/ 2147483646 h 51"/>
                <a:gd name="T20" fmla="*/ 2147483646 w 95"/>
                <a:gd name="T21" fmla="*/ 2147483646 h 51"/>
                <a:gd name="T22" fmla="*/ 2147483646 w 95"/>
                <a:gd name="T23" fmla="*/ 2147483646 h 51"/>
                <a:gd name="T24" fmla="*/ 2147483646 w 95"/>
                <a:gd name="T25" fmla="*/ 2147483646 h 51"/>
                <a:gd name="T26" fmla="*/ 2147483646 w 95"/>
                <a:gd name="T27" fmla="*/ 2147483646 h 51"/>
                <a:gd name="T28" fmla="*/ 2147483646 w 95"/>
                <a:gd name="T29" fmla="*/ 2147483646 h 51"/>
                <a:gd name="T30" fmla="*/ 2147483646 w 95"/>
                <a:gd name="T31" fmla="*/ 2147483646 h 51"/>
                <a:gd name="T32" fmla="*/ 2147483646 w 95"/>
                <a:gd name="T33" fmla="*/ 2147483646 h 51"/>
                <a:gd name="T34" fmla="*/ 2147483646 w 95"/>
                <a:gd name="T35" fmla="*/ 2147483646 h 51"/>
                <a:gd name="T36" fmla="*/ 2147483646 w 95"/>
                <a:gd name="T37" fmla="*/ 2147483646 h 51"/>
                <a:gd name="T38" fmla="*/ 2147483646 w 95"/>
                <a:gd name="T39" fmla="*/ 2147483646 h 51"/>
                <a:gd name="T40" fmla="*/ 2147483646 w 95"/>
                <a:gd name="T41" fmla="*/ 2147483646 h 51"/>
                <a:gd name="T42" fmla="*/ 2147483646 w 95"/>
                <a:gd name="T43" fmla="*/ 2147483646 h 51"/>
                <a:gd name="T44" fmla="*/ 2147483646 w 95"/>
                <a:gd name="T45" fmla="*/ 2147483646 h 51"/>
                <a:gd name="T46" fmla="*/ 2147483646 w 95"/>
                <a:gd name="T47" fmla="*/ 2147483646 h 51"/>
                <a:gd name="T48" fmla="*/ 2147483646 w 95"/>
                <a:gd name="T49" fmla="*/ 2147483646 h 51"/>
                <a:gd name="T50" fmla="*/ 2147483646 w 95"/>
                <a:gd name="T51" fmla="*/ 2147483646 h 51"/>
                <a:gd name="T52" fmla="*/ 2147483646 w 95"/>
                <a:gd name="T53" fmla="*/ 2147483646 h 51"/>
                <a:gd name="T54" fmla="*/ 2147483646 w 95"/>
                <a:gd name="T55" fmla="*/ 2147483646 h 51"/>
                <a:gd name="T56" fmla="*/ 2147483646 w 95"/>
                <a:gd name="T57" fmla="*/ 2147483646 h 51"/>
                <a:gd name="T58" fmla="*/ 2147483646 w 95"/>
                <a:gd name="T59" fmla="*/ 2147483646 h 51"/>
                <a:gd name="T60" fmla="*/ 2147483646 w 95"/>
                <a:gd name="T61" fmla="*/ 2147483646 h 51"/>
                <a:gd name="T62" fmla="*/ 2147483646 w 95"/>
                <a:gd name="T63" fmla="*/ 2147483646 h 51"/>
                <a:gd name="T64" fmla="*/ 2147483646 w 95"/>
                <a:gd name="T65" fmla="*/ 2147483646 h 51"/>
                <a:gd name="T66" fmla="*/ 2147483646 w 95"/>
                <a:gd name="T67" fmla="*/ 2147483646 h 51"/>
                <a:gd name="T68" fmla="*/ 2147483646 w 95"/>
                <a:gd name="T69" fmla="*/ 2147483646 h 51"/>
                <a:gd name="T70" fmla="*/ 2147483646 w 95"/>
                <a:gd name="T71" fmla="*/ 2147483646 h 51"/>
                <a:gd name="T72" fmla="*/ 2147483646 w 95"/>
                <a:gd name="T73" fmla="*/ 2147483646 h 51"/>
                <a:gd name="T74" fmla="*/ 2147483646 w 95"/>
                <a:gd name="T75" fmla="*/ 2147483646 h 51"/>
                <a:gd name="T76" fmla="*/ 2147483646 w 95"/>
                <a:gd name="T77" fmla="*/ 2147483646 h 51"/>
                <a:gd name="T78" fmla="*/ 2147483646 w 95"/>
                <a:gd name="T79" fmla="*/ 2147483646 h 51"/>
                <a:gd name="T80" fmla="*/ 2147483646 w 95"/>
                <a:gd name="T81" fmla="*/ 2147483646 h 51"/>
                <a:gd name="T82" fmla="*/ 2147483646 w 95"/>
                <a:gd name="T83" fmla="*/ 2147483646 h 51"/>
                <a:gd name="T84" fmla="*/ 2147483646 w 95"/>
                <a:gd name="T85" fmla="*/ 2147483646 h 51"/>
                <a:gd name="T86" fmla="*/ 2147483646 w 95"/>
                <a:gd name="T87" fmla="*/ 2147483646 h 51"/>
                <a:gd name="T88" fmla="*/ 2147483646 w 95"/>
                <a:gd name="T89" fmla="*/ 2147483646 h 51"/>
                <a:gd name="T90" fmla="*/ 2147483646 w 95"/>
                <a:gd name="T91" fmla="*/ 2147483646 h 51"/>
                <a:gd name="T92" fmla="*/ 2147483646 w 95"/>
                <a:gd name="T93" fmla="*/ 2147483646 h 5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95" h="51">
                  <a:moveTo>
                    <a:pt x="14" y="48"/>
                  </a:moveTo>
                  <a:cubicBezTo>
                    <a:pt x="15" y="47"/>
                    <a:pt x="17" y="46"/>
                    <a:pt x="19" y="47"/>
                  </a:cubicBezTo>
                  <a:cubicBezTo>
                    <a:pt x="19" y="47"/>
                    <a:pt x="22" y="51"/>
                    <a:pt x="22" y="49"/>
                  </a:cubicBezTo>
                  <a:cubicBezTo>
                    <a:pt x="22" y="47"/>
                    <a:pt x="22" y="44"/>
                    <a:pt x="22" y="41"/>
                  </a:cubicBezTo>
                  <a:cubicBezTo>
                    <a:pt x="22" y="38"/>
                    <a:pt x="22" y="38"/>
                    <a:pt x="25" y="37"/>
                  </a:cubicBezTo>
                  <a:cubicBezTo>
                    <a:pt x="27" y="36"/>
                    <a:pt x="28" y="35"/>
                    <a:pt x="30" y="37"/>
                  </a:cubicBezTo>
                  <a:cubicBezTo>
                    <a:pt x="32" y="38"/>
                    <a:pt x="34" y="40"/>
                    <a:pt x="35" y="42"/>
                  </a:cubicBezTo>
                  <a:cubicBezTo>
                    <a:pt x="37" y="43"/>
                    <a:pt x="40" y="42"/>
                    <a:pt x="42" y="42"/>
                  </a:cubicBezTo>
                  <a:cubicBezTo>
                    <a:pt x="44" y="42"/>
                    <a:pt x="44" y="44"/>
                    <a:pt x="46" y="44"/>
                  </a:cubicBezTo>
                  <a:cubicBezTo>
                    <a:pt x="46" y="45"/>
                    <a:pt x="45" y="47"/>
                    <a:pt x="46" y="48"/>
                  </a:cubicBezTo>
                  <a:cubicBezTo>
                    <a:pt x="46" y="48"/>
                    <a:pt x="47" y="48"/>
                    <a:pt x="47" y="48"/>
                  </a:cubicBezTo>
                  <a:cubicBezTo>
                    <a:pt x="47" y="48"/>
                    <a:pt x="47" y="49"/>
                    <a:pt x="47" y="49"/>
                  </a:cubicBezTo>
                  <a:cubicBezTo>
                    <a:pt x="48" y="50"/>
                    <a:pt x="49" y="49"/>
                    <a:pt x="50" y="50"/>
                  </a:cubicBezTo>
                  <a:cubicBezTo>
                    <a:pt x="52" y="50"/>
                    <a:pt x="52" y="50"/>
                    <a:pt x="53" y="49"/>
                  </a:cubicBezTo>
                  <a:cubicBezTo>
                    <a:pt x="54" y="48"/>
                    <a:pt x="55" y="48"/>
                    <a:pt x="56" y="47"/>
                  </a:cubicBezTo>
                  <a:cubicBezTo>
                    <a:pt x="56" y="47"/>
                    <a:pt x="57" y="46"/>
                    <a:pt x="57" y="46"/>
                  </a:cubicBezTo>
                  <a:cubicBezTo>
                    <a:pt x="58" y="45"/>
                    <a:pt x="58" y="45"/>
                    <a:pt x="59" y="45"/>
                  </a:cubicBezTo>
                  <a:cubicBezTo>
                    <a:pt x="60" y="45"/>
                    <a:pt x="61" y="46"/>
                    <a:pt x="62" y="46"/>
                  </a:cubicBezTo>
                  <a:cubicBezTo>
                    <a:pt x="62" y="42"/>
                    <a:pt x="67" y="44"/>
                    <a:pt x="70" y="44"/>
                  </a:cubicBezTo>
                  <a:cubicBezTo>
                    <a:pt x="71" y="44"/>
                    <a:pt x="72" y="44"/>
                    <a:pt x="74" y="45"/>
                  </a:cubicBezTo>
                  <a:cubicBezTo>
                    <a:pt x="76" y="45"/>
                    <a:pt x="77" y="46"/>
                    <a:pt x="78" y="46"/>
                  </a:cubicBezTo>
                  <a:cubicBezTo>
                    <a:pt x="79" y="44"/>
                    <a:pt x="79" y="41"/>
                    <a:pt x="78" y="38"/>
                  </a:cubicBezTo>
                  <a:cubicBezTo>
                    <a:pt x="79" y="38"/>
                    <a:pt x="80" y="38"/>
                    <a:pt x="81" y="38"/>
                  </a:cubicBezTo>
                  <a:cubicBezTo>
                    <a:pt x="83" y="37"/>
                    <a:pt x="83" y="37"/>
                    <a:pt x="83" y="35"/>
                  </a:cubicBezTo>
                  <a:cubicBezTo>
                    <a:pt x="83" y="34"/>
                    <a:pt x="84" y="33"/>
                    <a:pt x="84" y="32"/>
                  </a:cubicBezTo>
                  <a:cubicBezTo>
                    <a:pt x="85" y="30"/>
                    <a:pt x="85" y="31"/>
                    <a:pt x="87" y="31"/>
                  </a:cubicBezTo>
                  <a:cubicBezTo>
                    <a:pt x="89" y="31"/>
                    <a:pt x="89" y="32"/>
                    <a:pt x="90" y="31"/>
                  </a:cubicBezTo>
                  <a:cubicBezTo>
                    <a:pt x="91" y="31"/>
                    <a:pt x="90" y="29"/>
                    <a:pt x="91" y="28"/>
                  </a:cubicBezTo>
                  <a:cubicBezTo>
                    <a:pt x="91" y="26"/>
                    <a:pt x="92" y="27"/>
                    <a:pt x="93" y="26"/>
                  </a:cubicBezTo>
                  <a:cubicBezTo>
                    <a:pt x="93" y="26"/>
                    <a:pt x="95" y="24"/>
                    <a:pt x="94" y="23"/>
                  </a:cubicBezTo>
                  <a:cubicBezTo>
                    <a:pt x="94" y="23"/>
                    <a:pt x="93" y="21"/>
                    <a:pt x="92" y="22"/>
                  </a:cubicBezTo>
                  <a:cubicBezTo>
                    <a:pt x="92" y="23"/>
                    <a:pt x="90" y="22"/>
                    <a:pt x="89" y="21"/>
                  </a:cubicBezTo>
                  <a:cubicBezTo>
                    <a:pt x="89" y="21"/>
                    <a:pt x="88" y="20"/>
                    <a:pt x="88" y="20"/>
                  </a:cubicBezTo>
                  <a:cubicBezTo>
                    <a:pt x="87" y="19"/>
                    <a:pt x="88" y="18"/>
                    <a:pt x="86" y="17"/>
                  </a:cubicBezTo>
                  <a:cubicBezTo>
                    <a:pt x="84" y="17"/>
                    <a:pt x="83" y="19"/>
                    <a:pt x="81" y="18"/>
                  </a:cubicBezTo>
                  <a:cubicBezTo>
                    <a:pt x="80" y="18"/>
                    <a:pt x="81" y="16"/>
                    <a:pt x="80" y="16"/>
                  </a:cubicBezTo>
                  <a:cubicBezTo>
                    <a:pt x="79" y="16"/>
                    <a:pt x="79" y="17"/>
                    <a:pt x="78" y="18"/>
                  </a:cubicBezTo>
                  <a:cubicBezTo>
                    <a:pt x="76" y="15"/>
                    <a:pt x="75" y="12"/>
                    <a:pt x="73" y="9"/>
                  </a:cubicBezTo>
                  <a:cubicBezTo>
                    <a:pt x="73" y="8"/>
                    <a:pt x="71" y="7"/>
                    <a:pt x="70" y="6"/>
                  </a:cubicBezTo>
                  <a:cubicBezTo>
                    <a:pt x="69" y="5"/>
                    <a:pt x="70" y="5"/>
                    <a:pt x="70" y="4"/>
                  </a:cubicBezTo>
                  <a:cubicBezTo>
                    <a:pt x="69" y="5"/>
                    <a:pt x="65" y="6"/>
                    <a:pt x="65" y="8"/>
                  </a:cubicBezTo>
                  <a:cubicBezTo>
                    <a:pt x="64" y="7"/>
                    <a:pt x="63" y="7"/>
                    <a:pt x="63" y="8"/>
                  </a:cubicBezTo>
                  <a:cubicBezTo>
                    <a:pt x="62" y="7"/>
                    <a:pt x="63" y="6"/>
                    <a:pt x="63" y="6"/>
                  </a:cubicBezTo>
                  <a:cubicBezTo>
                    <a:pt x="62" y="6"/>
                    <a:pt x="61" y="6"/>
                    <a:pt x="61" y="5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0" y="6"/>
                    <a:pt x="60" y="6"/>
                  </a:cubicBezTo>
                  <a:cubicBezTo>
                    <a:pt x="60" y="5"/>
                    <a:pt x="60" y="5"/>
                    <a:pt x="60" y="4"/>
                  </a:cubicBezTo>
                  <a:cubicBezTo>
                    <a:pt x="59" y="6"/>
                    <a:pt x="58" y="5"/>
                    <a:pt x="57" y="5"/>
                  </a:cubicBezTo>
                  <a:cubicBezTo>
                    <a:pt x="58" y="5"/>
                    <a:pt x="57" y="1"/>
                    <a:pt x="57" y="1"/>
                  </a:cubicBezTo>
                  <a:cubicBezTo>
                    <a:pt x="57" y="0"/>
                    <a:pt x="55" y="1"/>
                    <a:pt x="54" y="1"/>
                  </a:cubicBezTo>
                  <a:cubicBezTo>
                    <a:pt x="53" y="0"/>
                    <a:pt x="52" y="1"/>
                    <a:pt x="51" y="1"/>
                  </a:cubicBezTo>
                  <a:cubicBezTo>
                    <a:pt x="50" y="1"/>
                    <a:pt x="51" y="2"/>
                    <a:pt x="50" y="2"/>
                  </a:cubicBezTo>
                  <a:cubicBezTo>
                    <a:pt x="49" y="2"/>
                    <a:pt x="48" y="2"/>
                    <a:pt x="48" y="3"/>
                  </a:cubicBezTo>
                  <a:cubicBezTo>
                    <a:pt x="47" y="3"/>
                    <a:pt x="44" y="3"/>
                    <a:pt x="44" y="4"/>
                  </a:cubicBezTo>
                  <a:cubicBezTo>
                    <a:pt x="43" y="4"/>
                    <a:pt x="41" y="5"/>
                    <a:pt x="41" y="5"/>
                  </a:cubicBezTo>
                  <a:cubicBezTo>
                    <a:pt x="40" y="5"/>
                    <a:pt x="40" y="5"/>
                    <a:pt x="39" y="5"/>
                  </a:cubicBezTo>
                  <a:cubicBezTo>
                    <a:pt x="39" y="6"/>
                    <a:pt x="38" y="6"/>
                    <a:pt x="37" y="6"/>
                  </a:cubicBezTo>
                  <a:cubicBezTo>
                    <a:pt x="37" y="6"/>
                    <a:pt x="35" y="6"/>
                    <a:pt x="34" y="6"/>
                  </a:cubicBezTo>
                  <a:cubicBezTo>
                    <a:pt x="34" y="6"/>
                    <a:pt x="34" y="7"/>
                    <a:pt x="34" y="7"/>
                  </a:cubicBezTo>
                  <a:cubicBezTo>
                    <a:pt x="34" y="7"/>
                    <a:pt x="35" y="7"/>
                    <a:pt x="35" y="7"/>
                  </a:cubicBezTo>
                  <a:cubicBezTo>
                    <a:pt x="33" y="9"/>
                    <a:pt x="36" y="8"/>
                    <a:pt x="37" y="9"/>
                  </a:cubicBezTo>
                  <a:cubicBezTo>
                    <a:pt x="35" y="10"/>
                    <a:pt x="34" y="9"/>
                    <a:pt x="33" y="11"/>
                  </a:cubicBezTo>
                  <a:cubicBezTo>
                    <a:pt x="33" y="11"/>
                    <a:pt x="34" y="12"/>
                    <a:pt x="34" y="12"/>
                  </a:cubicBezTo>
                  <a:cubicBezTo>
                    <a:pt x="33" y="13"/>
                    <a:pt x="32" y="13"/>
                    <a:pt x="32" y="14"/>
                  </a:cubicBezTo>
                  <a:cubicBezTo>
                    <a:pt x="32" y="15"/>
                    <a:pt x="34" y="16"/>
                    <a:pt x="35" y="16"/>
                  </a:cubicBezTo>
                  <a:cubicBezTo>
                    <a:pt x="35" y="17"/>
                    <a:pt x="34" y="19"/>
                    <a:pt x="33" y="18"/>
                  </a:cubicBezTo>
                  <a:cubicBezTo>
                    <a:pt x="31" y="17"/>
                    <a:pt x="31" y="20"/>
                    <a:pt x="30" y="18"/>
                  </a:cubicBezTo>
                  <a:cubicBezTo>
                    <a:pt x="28" y="19"/>
                    <a:pt x="29" y="17"/>
                    <a:pt x="27" y="17"/>
                  </a:cubicBezTo>
                  <a:cubicBezTo>
                    <a:pt x="27" y="16"/>
                    <a:pt x="26" y="17"/>
                    <a:pt x="26" y="18"/>
                  </a:cubicBezTo>
                  <a:cubicBezTo>
                    <a:pt x="26" y="18"/>
                    <a:pt x="24" y="16"/>
                    <a:pt x="24" y="17"/>
                  </a:cubicBezTo>
                  <a:cubicBezTo>
                    <a:pt x="24" y="17"/>
                    <a:pt x="21" y="19"/>
                    <a:pt x="21" y="18"/>
                  </a:cubicBezTo>
                  <a:cubicBezTo>
                    <a:pt x="20" y="18"/>
                    <a:pt x="19" y="16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7"/>
                    <a:pt x="17" y="15"/>
                    <a:pt x="15" y="15"/>
                  </a:cubicBezTo>
                  <a:cubicBezTo>
                    <a:pt x="14" y="15"/>
                    <a:pt x="13" y="13"/>
                    <a:pt x="12" y="15"/>
                  </a:cubicBezTo>
                  <a:cubicBezTo>
                    <a:pt x="11" y="15"/>
                    <a:pt x="10" y="14"/>
                    <a:pt x="9" y="16"/>
                  </a:cubicBezTo>
                  <a:cubicBezTo>
                    <a:pt x="9" y="17"/>
                    <a:pt x="7" y="16"/>
                    <a:pt x="7" y="17"/>
                  </a:cubicBezTo>
                  <a:cubicBezTo>
                    <a:pt x="7" y="18"/>
                    <a:pt x="6" y="18"/>
                    <a:pt x="5" y="18"/>
                  </a:cubicBezTo>
                  <a:cubicBezTo>
                    <a:pt x="5" y="20"/>
                    <a:pt x="6" y="20"/>
                    <a:pt x="5" y="21"/>
                  </a:cubicBezTo>
                  <a:cubicBezTo>
                    <a:pt x="4" y="22"/>
                    <a:pt x="3" y="19"/>
                    <a:pt x="3" y="19"/>
                  </a:cubicBezTo>
                  <a:cubicBezTo>
                    <a:pt x="3" y="20"/>
                    <a:pt x="2" y="20"/>
                    <a:pt x="1" y="21"/>
                  </a:cubicBezTo>
                  <a:cubicBezTo>
                    <a:pt x="1" y="22"/>
                    <a:pt x="2" y="24"/>
                    <a:pt x="1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2" y="27"/>
                    <a:pt x="2" y="28"/>
                    <a:pt x="2" y="29"/>
                  </a:cubicBezTo>
                  <a:cubicBezTo>
                    <a:pt x="4" y="27"/>
                    <a:pt x="6" y="31"/>
                    <a:pt x="6" y="32"/>
                  </a:cubicBezTo>
                  <a:cubicBezTo>
                    <a:pt x="4" y="32"/>
                    <a:pt x="4" y="33"/>
                    <a:pt x="7" y="32"/>
                  </a:cubicBezTo>
                  <a:cubicBezTo>
                    <a:pt x="8" y="32"/>
                    <a:pt x="10" y="30"/>
                    <a:pt x="11" y="31"/>
                  </a:cubicBezTo>
                  <a:cubicBezTo>
                    <a:pt x="13" y="31"/>
                    <a:pt x="15" y="30"/>
                    <a:pt x="16" y="32"/>
                  </a:cubicBezTo>
                  <a:cubicBezTo>
                    <a:pt x="17" y="34"/>
                    <a:pt x="19" y="35"/>
                    <a:pt x="19" y="37"/>
                  </a:cubicBezTo>
                  <a:cubicBezTo>
                    <a:pt x="19" y="37"/>
                    <a:pt x="19" y="38"/>
                    <a:pt x="19" y="38"/>
                  </a:cubicBezTo>
                  <a:cubicBezTo>
                    <a:pt x="18" y="37"/>
                    <a:pt x="8" y="36"/>
                    <a:pt x="12" y="39"/>
                  </a:cubicBezTo>
                  <a:cubicBezTo>
                    <a:pt x="11" y="39"/>
                    <a:pt x="10" y="39"/>
                    <a:pt x="8" y="39"/>
                  </a:cubicBezTo>
                  <a:cubicBezTo>
                    <a:pt x="9" y="40"/>
                    <a:pt x="10" y="41"/>
                    <a:pt x="11" y="41"/>
                  </a:cubicBezTo>
                  <a:cubicBezTo>
                    <a:pt x="11" y="42"/>
                    <a:pt x="11" y="43"/>
                    <a:pt x="11" y="44"/>
                  </a:cubicBezTo>
                  <a:cubicBezTo>
                    <a:pt x="13" y="46"/>
                    <a:pt x="15" y="44"/>
                    <a:pt x="14" y="4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2" name="Freeform 708"/>
            <p:cNvSpPr>
              <a:spLocks noEditPoints="1"/>
            </p:cNvSpPr>
            <p:nvPr/>
          </p:nvSpPr>
          <p:spPr bwMode="auto">
            <a:xfrm>
              <a:off x="2532758" y="2033167"/>
              <a:ext cx="708025" cy="384175"/>
            </a:xfrm>
            <a:custGeom>
              <a:avLst/>
              <a:gdLst>
                <a:gd name="T0" fmla="*/ 2147483646 w 95"/>
                <a:gd name="T1" fmla="*/ 2147483646 h 52"/>
                <a:gd name="T2" fmla="*/ 2147483646 w 95"/>
                <a:gd name="T3" fmla="*/ 2147483646 h 52"/>
                <a:gd name="T4" fmla="*/ 2147483646 w 95"/>
                <a:gd name="T5" fmla="*/ 2147483646 h 52"/>
                <a:gd name="T6" fmla="*/ 2147483646 w 95"/>
                <a:gd name="T7" fmla="*/ 2147483646 h 52"/>
                <a:gd name="T8" fmla="*/ 2147483646 w 95"/>
                <a:gd name="T9" fmla="*/ 2147483646 h 52"/>
                <a:gd name="T10" fmla="*/ 2147483646 w 95"/>
                <a:gd name="T11" fmla="*/ 2147483646 h 52"/>
                <a:gd name="T12" fmla="*/ 2147483646 w 95"/>
                <a:gd name="T13" fmla="*/ 2147483646 h 52"/>
                <a:gd name="T14" fmla="*/ 2147483646 w 95"/>
                <a:gd name="T15" fmla="*/ 2147483646 h 52"/>
                <a:gd name="T16" fmla="*/ 2147483646 w 95"/>
                <a:gd name="T17" fmla="*/ 2147483646 h 52"/>
                <a:gd name="T18" fmla="*/ 2147483646 w 95"/>
                <a:gd name="T19" fmla="*/ 2147483646 h 52"/>
                <a:gd name="T20" fmla="*/ 2147483646 w 95"/>
                <a:gd name="T21" fmla="*/ 2147483646 h 52"/>
                <a:gd name="T22" fmla="*/ 2147483646 w 95"/>
                <a:gd name="T23" fmla="*/ 2147483646 h 52"/>
                <a:gd name="T24" fmla="*/ 2147483646 w 95"/>
                <a:gd name="T25" fmla="*/ 2147483646 h 52"/>
                <a:gd name="T26" fmla="*/ 2147483646 w 95"/>
                <a:gd name="T27" fmla="*/ 2147483646 h 52"/>
                <a:gd name="T28" fmla="*/ 2147483646 w 95"/>
                <a:gd name="T29" fmla="*/ 2147483646 h 52"/>
                <a:gd name="T30" fmla="*/ 2147483646 w 95"/>
                <a:gd name="T31" fmla="*/ 2147483646 h 52"/>
                <a:gd name="T32" fmla="*/ 2147483646 w 95"/>
                <a:gd name="T33" fmla="*/ 2147483646 h 52"/>
                <a:gd name="T34" fmla="*/ 2147483646 w 95"/>
                <a:gd name="T35" fmla="*/ 2147483646 h 52"/>
                <a:gd name="T36" fmla="*/ 2147483646 w 95"/>
                <a:gd name="T37" fmla="*/ 2147483646 h 52"/>
                <a:gd name="T38" fmla="*/ 2147483646 w 95"/>
                <a:gd name="T39" fmla="*/ 2147483646 h 52"/>
                <a:gd name="T40" fmla="*/ 2147483646 w 95"/>
                <a:gd name="T41" fmla="*/ 2147483646 h 52"/>
                <a:gd name="T42" fmla="*/ 2147483646 w 95"/>
                <a:gd name="T43" fmla="*/ 2147483646 h 52"/>
                <a:gd name="T44" fmla="*/ 2147483646 w 95"/>
                <a:gd name="T45" fmla="*/ 2147483646 h 52"/>
                <a:gd name="T46" fmla="*/ 2147483646 w 95"/>
                <a:gd name="T47" fmla="*/ 2147483646 h 52"/>
                <a:gd name="T48" fmla="*/ 2147483646 w 95"/>
                <a:gd name="T49" fmla="*/ 2147483646 h 52"/>
                <a:gd name="T50" fmla="*/ 2147483646 w 95"/>
                <a:gd name="T51" fmla="*/ 2147483646 h 52"/>
                <a:gd name="T52" fmla="*/ 2147483646 w 95"/>
                <a:gd name="T53" fmla="*/ 2147483646 h 52"/>
                <a:gd name="T54" fmla="*/ 2147483646 w 95"/>
                <a:gd name="T55" fmla="*/ 2147483646 h 52"/>
                <a:gd name="T56" fmla="*/ 2147483646 w 95"/>
                <a:gd name="T57" fmla="*/ 2147483646 h 52"/>
                <a:gd name="T58" fmla="*/ 2147483646 w 95"/>
                <a:gd name="T59" fmla="*/ 2147483646 h 52"/>
                <a:gd name="T60" fmla="*/ 2147483646 w 95"/>
                <a:gd name="T61" fmla="*/ 2147483646 h 52"/>
                <a:gd name="T62" fmla="*/ 2147483646 w 95"/>
                <a:gd name="T63" fmla="*/ 2147483646 h 52"/>
                <a:gd name="T64" fmla="*/ 2147483646 w 95"/>
                <a:gd name="T65" fmla="*/ 2147483646 h 52"/>
                <a:gd name="T66" fmla="*/ 2147483646 w 95"/>
                <a:gd name="T67" fmla="*/ 2147483646 h 52"/>
                <a:gd name="T68" fmla="*/ 2147483646 w 95"/>
                <a:gd name="T69" fmla="*/ 2147483646 h 52"/>
                <a:gd name="T70" fmla="*/ 2147483646 w 95"/>
                <a:gd name="T71" fmla="*/ 2147483646 h 52"/>
                <a:gd name="T72" fmla="*/ 2147483646 w 95"/>
                <a:gd name="T73" fmla="*/ 2147483646 h 52"/>
                <a:gd name="T74" fmla="*/ 2147483646 w 95"/>
                <a:gd name="T75" fmla="*/ 2147483646 h 52"/>
                <a:gd name="T76" fmla="*/ 2147483646 w 95"/>
                <a:gd name="T77" fmla="*/ 2147483646 h 52"/>
                <a:gd name="T78" fmla="*/ 2147483646 w 95"/>
                <a:gd name="T79" fmla="*/ 2147483646 h 52"/>
                <a:gd name="T80" fmla="*/ 2147483646 w 95"/>
                <a:gd name="T81" fmla="*/ 2147483646 h 52"/>
                <a:gd name="T82" fmla="*/ 2147483646 w 95"/>
                <a:gd name="T83" fmla="*/ 2147483646 h 52"/>
                <a:gd name="T84" fmla="*/ 2147483646 w 95"/>
                <a:gd name="T85" fmla="*/ 2147483646 h 52"/>
                <a:gd name="T86" fmla="*/ 2147483646 w 95"/>
                <a:gd name="T87" fmla="*/ 2147483646 h 52"/>
                <a:gd name="T88" fmla="*/ 2147483646 w 95"/>
                <a:gd name="T89" fmla="*/ 2147483646 h 52"/>
                <a:gd name="T90" fmla="*/ 2147483646 w 95"/>
                <a:gd name="T91" fmla="*/ 2147483646 h 52"/>
                <a:gd name="T92" fmla="*/ 2147483646 w 95"/>
                <a:gd name="T93" fmla="*/ 2147483646 h 52"/>
                <a:gd name="T94" fmla="*/ 2147483646 w 95"/>
                <a:gd name="T95" fmla="*/ 2147483646 h 52"/>
                <a:gd name="T96" fmla="*/ 2147483646 w 95"/>
                <a:gd name="T97" fmla="*/ 2147483646 h 52"/>
                <a:gd name="T98" fmla="*/ 2147483646 w 95"/>
                <a:gd name="T99" fmla="*/ 2147483646 h 52"/>
                <a:gd name="T100" fmla="*/ 2147483646 w 95"/>
                <a:gd name="T101" fmla="*/ 2147483646 h 52"/>
                <a:gd name="T102" fmla="*/ 2147483646 w 95"/>
                <a:gd name="T103" fmla="*/ 2147483646 h 52"/>
                <a:gd name="T104" fmla="*/ 2147483646 w 95"/>
                <a:gd name="T105" fmla="*/ 2147483646 h 52"/>
                <a:gd name="T106" fmla="*/ 2147483646 w 95"/>
                <a:gd name="T107" fmla="*/ 2147483646 h 52"/>
                <a:gd name="T108" fmla="*/ 2147483646 w 95"/>
                <a:gd name="T109" fmla="*/ 2147483646 h 52"/>
                <a:gd name="T110" fmla="*/ 2147483646 w 95"/>
                <a:gd name="T111" fmla="*/ 2147483646 h 52"/>
                <a:gd name="T112" fmla="*/ 2147483646 w 95"/>
                <a:gd name="T113" fmla="*/ 2147483646 h 52"/>
                <a:gd name="T114" fmla="*/ 2147483646 w 95"/>
                <a:gd name="T115" fmla="*/ 2147483646 h 52"/>
                <a:gd name="T116" fmla="*/ 2147483646 w 95"/>
                <a:gd name="T117" fmla="*/ 2147483646 h 52"/>
                <a:gd name="T118" fmla="*/ 2147483646 w 95"/>
                <a:gd name="T119" fmla="*/ 2147483646 h 5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5" h="52">
                  <a:moveTo>
                    <a:pt x="52" y="52"/>
                  </a:moveTo>
                  <a:cubicBezTo>
                    <a:pt x="51" y="52"/>
                    <a:pt x="51" y="51"/>
                    <a:pt x="50" y="51"/>
                  </a:cubicBezTo>
                  <a:cubicBezTo>
                    <a:pt x="50" y="51"/>
                    <a:pt x="49" y="51"/>
                    <a:pt x="49" y="51"/>
                  </a:cubicBezTo>
                  <a:cubicBezTo>
                    <a:pt x="49" y="51"/>
                    <a:pt x="48" y="51"/>
                    <a:pt x="48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7" y="50"/>
                    <a:pt x="47" y="49"/>
                    <a:pt x="47" y="49"/>
                  </a:cubicBezTo>
                  <a:cubicBezTo>
                    <a:pt x="47" y="49"/>
                    <a:pt x="4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46" y="49"/>
                    <a:pt x="45" y="49"/>
                    <a:pt x="45" y="49"/>
                  </a:cubicBezTo>
                  <a:cubicBezTo>
                    <a:pt x="45" y="48"/>
                    <a:pt x="45" y="47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4" y="45"/>
                    <a:pt x="44" y="45"/>
                  </a:cubicBezTo>
                  <a:cubicBezTo>
                    <a:pt x="43" y="44"/>
                    <a:pt x="43" y="43"/>
                    <a:pt x="42" y="43"/>
                  </a:cubicBezTo>
                  <a:cubicBezTo>
                    <a:pt x="41" y="44"/>
                    <a:pt x="41" y="44"/>
                    <a:pt x="40" y="44"/>
                  </a:cubicBezTo>
                  <a:cubicBezTo>
                    <a:pt x="39" y="44"/>
                    <a:pt x="39" y="44"/>
                    <a:pt x="38" y="44"/>
                  </a:cubicBezTo>
                  <a:cubicBezTo>
                    <a:pt x="37" y="44"/>
                    <a:pt x="36" y="44"/>
                    <a:pt x="35" y="43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3" y="41"/>
                    <a:pt x="32" y="40"/>
                    <a:pt x="30" y="38"/>
                  </a:cubicBezTo>
                  <a:cubicBezTo>
                    <a:pt x="28" y="37"/>
                    <a:pt x="28" y="38"/>
                    <a:pt x="26" y="38"/>
                  </a:cubicBezTo>
                  <a:cubicBezTo>
                    <a:pt x="26" y="38"/>
                    <a:pt x="25" y="38"/>
                    <a:pt x="25" y="38"/>
                  </a:cubicBezTo>
                  <a:cubicBezTo>
                    <a:pt x="23" y="39"/>
                    <a:pt x="23" y="39"/>
                    <a:pt x="23" y="41"/>
                  </a:cubicBezTo>
                  <a:cubicBezTo>
                    <a:pt x="23" y="41"/>
                    <a:pt x="23" y="42"/>
                    <a:pt x="23" y="42"/>
                  </a:cubicBezTo>
                  <a:cubicBezTo>
                    <a:pt x="23" y="44"/>
                    <a:pt x="23" y="46"/>
                    <a:pt x="23" y="47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51"/>
                    <a:pt x="19" y="49"/>
                    <a:pt x="19" y="48"/>
                  </a:cubicBezTo>
                  <a:cubicBezTo>
                    <a:pt x="17" y="48"/>
                    <a:pt x="16" y="48"/>
                    <a:pt x="14" y="49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4" y="47"/>
                    <a:pt x="14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2" y="46"/>
                    <a:pt x="11" y="45"/>
                  </a:cubicBezTo>
                  <a:cubicBezTo>
                    <a:pt x="10" y="45"/>
                    <a:pt x="10" y="44"/>
                    <a:pt x="10" y="44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2"/>
                    <a:pt x="9" y="42"/>
                    <a:pt x="9" y="41"/>
                  </a:cubicBezTo>
                  <a:cubicBezTo>
                    <a:pt x="9" y="41"/>
                    <a:pt x="8" y="41"/>
                    <a:pt x="8" y="41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39"/>
                    <a:pt x="10" y="39"/>
                    <a:pt x="11" y="39"/>
                  </a:cubicBezTo>
                  <a:cubicBezTo>
                    <a:pt x="11" y="38"/>
                    <a:pt x="12" y="37"/>
                    <a:pt x="14" y="37"/>
                  </a:cubicBezTo>
                  <a:cubicBezTo>
                    <a:pt x="16" y="37"/>
                    <a:pt x="18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8" y="37"/>
                    <a:pt x="18" y="36"/>
                    <a:pt x="17" y="35"/>
                  </a:cubicBezTo>
                  <a:cubicBezTo>
                    <a:pt x="16" y="35"/>
                    <a:pt x="16" y="34"/>
                    <a:pt x="15" y="33"/>
                  </a:cubicBezTo>
                  <a:cubicBezTo>
                    <a:pt x="15" y="32"/>
                    <a:pt x="14" y="32"/>
                    <a:pt x="13" y="33"/>
                  </a:cubicBezTo>
                  <a:cubicBezTo>
                    <a:pt x="13" y="33"/>
                    <a:pt x="12" y="33"/>
                    <a:pt x="11" y="32"/>
                  </a:cubicBezTo>
                  <a:cubicBezTo>
                    <a:pt x="11" y="32"/>
                    <a:pt x="10" y="33"/>
                    <a:pt x="9" y="33"/>
                  </a:cubicBezTo>
                  <a:cubicBezTo>
                    <a:pt x="8" y="33"/>
                    <a:pt x="7" y="34"/>
                    <a:pt x="7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4" y="34"/>
                    <a:pt x="4" y="33"/>
                    <a:pt x="4" y="33"/>
                  </a:cubicBezTo>
                  <a:cubicBezTo>
                    <a:pt x="4" y="33"/>
                    <a:pt x="4" y="33"/>
                    <a:pt x="5" y="32"/>
                  </a:cubicBezTo>
                  <a:cubicBezTo>
                    <a:pt x="4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1" y="29"/>
                    <a:pt x="1" y="29"/>
                  </a:cubicBezTo>
                  <a:cubicBezTo>
                    <a:pt x="1" y="29"/>
                    <a:pt x="1" y="28"/>
                    <a:pt x="1" y="28"/>
                  </a:cubicBezTo>
                  <a:cubicBezTo>
                    <a:pt x="0" y="28"/>
                    <a:pt x="0" y="27"/>
                    <a:pt x="0" y="27"/>
                  </a:cubicBezTo>
                  <a:cubicBezTo>
                    <a:pt x="0" y="26"/>
                    <a:pt x="0" y="25"/>
                    <a:pt x="1" y="25"/>
                  </a:cubicBezTo>
                  <a:cubicBezTo>
                    <a:pt x="1" y="25"/>
                    <a:pt x="1" y="24"/>
                    <a:pt x="1" y="24"/>
                  </a:cubicBezTo>
                  <a:cubicBezTo>
                    <a:pt x="1" y="23"/>
                    <a:pt x="1" y="23"/>
                    <a:pt x="1" y="22"/>
                  </a:cubicBezTo>
                  <a:cubicBezTo>
                    <a:pt x="1" y="22"/>
                    <a:pt x="1" y="21"/>
                    <a:pt x="1" y="21"/>
                  </a:cubicBezTo>
                  <a:cubicBezTo>
                    <a:pt x="2" y="21"/>
                    <a:pt x="2" y="20"/>
                    <a:pt x="2" y="20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4" y="20"/>
                    <a:pt x="4" y="21"/>
                    <a:pt x="5" y="22"/>
                  </a:cubicBezTo>
                  <a:cubicBezTo>
                    <a:pt x="5" y="21"/>
                    <a:pt x="5" y="21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9"/>
                    <a:pt x="6" y="18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7"/>
                    <a:pt x="9" y="17"/>
                    <a:pt x="9" y="16"/>
                  </a:cubicBezTo>
                  <a:cubicBezTo>
                    <a:pt x="10" y="15"/>
                    <a:pt x="11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6"/>
                    <a:pt x="15" y="16"/>
                  </a:cubicBezTo>
                  <a:cubicBezTo>
                    <a:pt x="17" y="16"/>
                    <a:pt x="18" y="17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2" y="19"/>
                    <a:pt x="23" y="18"/>
                    <a:pt x="23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7"/>
                    <a:pt x="27" y="17"/>
                    <a:pt x="28" y="17"/>
                  </a:cubicBezTo>
                  <a:cubicBezTo>
                    <a:pt x="28" y="17"/>
                    <a:pt x="29" y="18"/>
                    <a:pt x="29" y="18"/>
                  </a:cubicBezTo>
                  <a:cubicBezTo>
                    <a:pt x="29" y="19"/>
                    <a:pt x="29" y="19"/>
                    <a:pt x="30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8"/>
                    <a:pt x="32" y="18"/>
                  </a:cubicBezTo>
                  <a:cubicBezTo>
                    <a:pt x="32" y="18"/>
                    <a:pt x="33" y="19"/>
                    <a:pt x="33" y="19"/>
                  </a:cubicBezTo>
                  <a:cubicBezTo>
                    <a:pt x="34" y="19"/>
                    <a:pt x="34" y="18"/>
                    <a:pt x="35" y="17"/>
                  </a:cubicBezTo>
                  <a:cubicBezTo>
                    <a:pt x="33" y="17"/>
                    <a:pt x="32" y="16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2" y="14"/>
                    <a:pt x="32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2"/>
                  </a:cubicBezTo>
                  <a:cubicBezTo>
                    <a:pt x="33" y="12"/>
                    <a:pt x="32" y="12"/>
                    <a:pt x="33" y="11"/>
                  </a:cubicBezTo>
                  <a:cubicBezTo>
                    <a:pt x="33" y="10"/>
                    <a:pt x="34" y="10"/>
                    <a:pt x="35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5" y="6"/>
                    <a:pt x="36" y="6"/>
                  </a:cubicBezTo>
                  <a:cubicBezTo>
                    <a:pt x="36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9" y="6"/>
                    <a:pt x="39" y="6"/>
                  </a:cubicBezTo>
                  <a:cubicBezTo>
                    <a:pt x="40" y="5"/>
                    <a:pt x="40" y="5"/>
                    <a:pt x="40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5"/>
                    <a:pt x="43" y="5"/>
                    <a:pt x="43" y="5"/>
                  </a:cubicBezTo>
                  <a:cubicBezTo>
                    <a:pt x="43" y="4"/>
                    <a:pt x="45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0" y="2"/>
                    <a:pt x="50" y="2"/>
                    <a:pt x="51" y="1"/>
                  </a:cubicBezTo>
                  <a:cubicBezTo>
                    <a:pt x="51" y="1"/>
                    <a:pt x="52" y="1"/>
                    <a:pt x="52" y="1"/>
                  </a:cubicBezTo>
                  <a:cubicBezTo>
                    <a:pt x="53" y="1"/>
                    <a:pt x="53" y="0"/>
                    <a:pt x="55" y="1"/>
                  </a:cubicBezTo>
                  <a:cubicBezTo>
                    <a:pt x="55" y="1"/>
                    <a:pt x="55" y="1"/>
                    <a:pt x="56" y="1"/>
                  </a:cubicBezTo>
                  <a:cubicBezTo>
                    <a:pt x="57" y="1"/>
                    <a:pt x="57" y="1"/>
                    <a:pt x="57" y="2"/>
                  </a:cubicBezTo>
                  <a:cubicBezTo>
                    <a:pt x="58" y="4"/>
                    <a:pt x="58" y="5"/>
                    <a:pt x="58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6"/>
                    <a:pt x="59" y="5"/>
                    <a:pt x="59" y="5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5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2" y="6"/>
                    <a:pt x="62" y="6"/>
                    <a:pt x="63" y="6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3" y="8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4" y="8"/>
                    <a:pt x="64" y="8"/>
                    <a:pt x="65" y="8"/>
                  </a:cubicBezTo>
                  <a:cubicBezTo>
                    <a:pt x="65" y="7"/>
                    <a:pt x="67" y="6"/>
                    <a:pt x="69" y="5"/>
                  </a:cubicBezTo>
                  <a:cubicBezTo>
                    <a:pt x="69" y="5"/>
                    <a:pt x="70" y="5"/>
                    <a:pt x="70" y="5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0" y="6"/>
                    <a:pt x="70" y="7"/>
                    <a:pt x="71" y="7"/>
                  </a:cubicBezTo>
                  <a:cubicBezTo>
                    <a:pt x="71" y="7"/>
                    <a:pt x="71" y="7"/>
                    <a:pt x="72" y="8"/>
                  </a:cubicBezTo>
                  <a:cubicBezTo>
                    <a:pt x="72" y="8"/>
                    <a:pt x="73" y="9"/>
                    <a:pt x="74" y="10"/>
                  </a:cubicBezTo>
                  <a:cubicBezTo>
                    <a:pt x="75" y="12"/>
                    <a:pt x="77" y="15"/>
                    <a:pt x="78" y="18"/>
                  </a:cubicBezTo>
                  <a:cubicBezTo>
                    <a:pt x="79" y="17"/>
                    <a:pt x="79" y="17"/>
                    <a:pt x="80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81" y="17"/>
                    <a:pt x="81" y="18"/>
                    <a:pt x="81" y="18"/>
                  </a:cubicBezTo>
                  <a:cubicBezTo>
                    <a:pt x="81" y="18"/>
                    <a:pt x="81" y="19"/>
                    <a:pt x="81" y="19"/>
                  </a:cubicBezTo>
                  <a:cubicBezTo>
                    <a:pt x="82" y="19"/>
                    <a:pt x="83" y="19"/>
                    <a:pt x="84" y="18"/>
                  </a:cubicBezTo>
                  <a:cubicBezTo>
                    <a:pt x="85" y="18"/>
                    <a:pt x="85" y="18"/>
                    <a:pt x="86" y="18"/>
                  </a:cubicBezTo>
                  <a:cubicBezTo>
                    <a:pt x="88" y="18"/>
                    <a:pt x="88" y="19"/>
                    <a:pt x="88" y="20"/>
                  </a:cubicBezTo>
                  <a:cubicBezTo>
                    <a:pt x="88" y="20"/>
                    <a:pt x="88" y="20"/>
                    <a:pt x="88" y="21"/>
                  </a:cubicBezTo>
                  <a:cubicBezTo>
                    <a:pt x="88" y="21"/>
                    <a:pt x="89" y="21"/>
                    <a:pt x="89" y="21"/>
                  </a:cubicBezTo>
                  <a:cubicBezTo>
                    <a:pt x="89" y="21"/>
                    <a:pt x="90" y="22"/>
                    <a:pt x="90" y="22"/>
                  </a:cubicBezTo>
                  <a:cubicBezTo>
                    <a:pt x="90" y="22"/>
                    <a:pt x="91" y="23"/>
                    <a:pt x="92" y="23"/>
                  </a:cubicBezTo>
                  <a:cubicBezTo>
                    <a:pt x="92" y="23"/>
                    <a:pt x="93" y="22"/>
                    <a:pt x="93" y="22"/>
                  </a:cubicBezTo>
                  <a:cubicBezTo>
                    <a:pt x="94" y="22"/>
                    <a:pt x="94" y="23"/>
                    <a:pt x="9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25"/>
                    <a:pt x="95" y="26"/>
                    <a:pt x="94" y="27"/>
                  </a:cubicBezTo>
                  <a:cubicBezTo>
                    <a:pt x="94" y="27"/>
                    <a:pt x="94" y="27"/>
                    <a:pt x="93" y="28"/>
                  </a:cubicBezTo>
                  <a:cubicBezTo>
                    <a:pt x="93" y="28"/>
                    <a:pt x="92" y="28"/>
                    <a:pt x="92" y="28"/>
                  </a:cubicBezTo>
                  <a:cubicBezTo>
                    <a:pt x="92" y="29"/>
                    <a:pt x="91" y="29"/>
                    <a:pt x="91" y="29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1"/>
                    <a:pt x="91" y="32"/>
                    <a:pt x="90" y="33"/>
                  </a:cubicBezTo>
                  <a:cubicBezTo>
                    <a:pt x="89" y="33"/>
                    <a:pt x="89" y="33"/>
                    <a:pt x="88" y="33"/>
                  </a:cubicBezTo>
                  <a:cubicBezTo>
                    <a:pt x="88" y="33"/>
                    <a:pt x="88" y="33"/>
                    <a:pt x="87" y="33"/>
                  </a:cubicBezTo>
                  <a:cubicBezTo>
                    <a:pt x="87" y="33"/>
                    <a:pt x="86" y="33"/>
                    <a:pt x="86" y="32"/>
                  </a:cubicBezTo>
                  <a:cubicBezTo>
                    <a:pt x="86" y="32"/>
                    <a:pt x="86" y="32"/>
                    <a:pt x="85" y="32"/>
                  </a:cubicBezTo>
                  <a:cubicBezTo>
                    <a:pt x="85" y="32"/>
                    <a:pt x="85" y="32"/>
                    <a:pt x="85" y="33"/>
                  </a:cubicBezTo>
                  <a:cubicBezTo>
                    <a:pt x="84" y="33"/>
                    <a:pt x="84" y="34"/>
                    <a:pt x="84" y="34"/>
                  </a:cubicBezTo>
                  <a:cubicBezTo>
                    <a:pt x="84" y="35"/>
                    <a:pt x="83" y="36"/>
                    <a:pt x="84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38"/>
                    <a:pt x="83" y="39"/>
                    <a:pt x="82" y="39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80" y="42"/>
                    <a:pt x="80" y="45"/>
                    <a:pt x="79" y="47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7" y="48"/>
                    <a:pt x="77" y="47"/>
                    <a:pt x="76" y="47"/>
                  </a:cubicBezTo>
                  <a:cubicBezTo>
                    <a:pt x="75" y="47"/>
                    <a:pt x="75" y="46"/>
                    <a:pt x="74" y="46"/>
                  </a:cubicBezTo>
                  <a:cubicBezTo>
                    <a:pt x="73" y="46"/>
                    <a:pt x="72" y="46"/>
                    <a:pt x="71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6"/>
                    <a:pt x="68" y="46"/>
                    <a:pt x="68" y="46"/>
                  </a:cubicBezTo>
                  <a:cubicBezTo>
                    <a:pt x="67" y="46"/>
                    <a:pt x="66" y="45"/>
                    <a:pt x="65" y="45"/>
                  </a:cubicBezTo>
                  <a:cubicBezTo>
                    <a:pt x="63" y="45"/>
                    <a:pt x="63" y="46"/>
                    <a:pt x="63" y="47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62" y="47"/>
                    <a:pt x="62" y="47"/>
                    <a:pt x="61" y="47"/>
                  </a:cubicBezTo>
                  <a:cubicBezTo>
                    <a:pt x="61" y="47"/>
                    <a:pt x="60" y="47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8" y="46"/>
                    <a:pt x="58" y="46"/>
                    <a:pt x="58" y="47"/>
                  </a:cubicBezTo>
                  <a:cubicBezTo>
                    <a:pt x="58" y="47"/>
                    <a:pt x="58" y="47"/>
                    <a:pt x="57" y="47"/>
                  </a:cubicBezTo>
                  <a:cubicBezTo>
                    <a:pt x="57" y="47"/>
                    <a:pt x="57" y="48"/>
                    <a:pt x="56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56" y="49"/>
                    <a:pt x="55" y="49"/>
                    <a:pt x="55" y="49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3" y="51"/>
                    <a:pt x="52" y="52"/>
                    <a:pt x="52" y="52"/>
                  </a:cubicBezTo>
                  <a:close/>
                  <a:moveTo>
                    <a:pt x="50" y="50"/>
                  </a:moveTo>
                  <a:cubicBezTo>
                    <a:pt x="50" y="50"/>
                    <a:pt x="50" y="50"/>
                    <a:pt x="50" y="50"/>
                  </a:cubicBezTo>
                  <a:cubicBezTo>
                    <a:pt x="51" y="50"/>
                    <a:pt x="51" y="50"/>
                    <a:pt x="52" y="50"/>
                  </a:cubicBezTo>
                  <a:cubicBezTo>
                    <a:pt x="52" y="50"/>
                    <a:pt x="52" y="50"/>
                    <a:pt x="53" y="50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4" y="49"/>
                    <a:pt x="54" y="48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48"/>
                    <a:pt x="55" y="47"/>
                    <a:pt x="56" y="47"/>
                  </a:cubicBezTo>
                  <a:cubicBezTo>
                    <a:pt x="56" y="47"/>
                    <a:pt x="56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8" y="45"/>
                    <a:pt x="59" y="45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60" y="45"/>
                    <a:pt x="61" y="46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5"/>
                    <a:pt x="63" y="44"/>
                    <a:pt x="65" y="44"/>
                  </a:cubicBezTo>
                  <a:cubicBezTo>
                    <a:pt x="66" y="44"/>
                    <a:pt x="67" y="44"/>
                    <a:pt x="68" y="45"/>
                  </a:cubicBezTo>
                  <a:cubicBezTo>
                    <a:pt x="69" y="45"/>
                    <a:pt x="69" y="45"/>
                    <a:pt x="70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3" y="45"/>
                    <a:pt x="74" y="45"/>
                  </a:cubicBezTo>
                  <a:cubicBezTo>
                    <a:pt x="75" y="45"/>
                    <a:pt x="76" y="46"/>
                    <a:pt x="76" y="46"/>
                  </a:cubicBezTo>
                  <a:cubicBezTo>
                    <a:pt x="77" y="46"/>
                    <a:pt x="77" y="46"/>
                    <a:pt x="78" y="47"/>
                  </a:cubicBezTo>
                  <a:cubicBezTo>
                    <a:pt x="78" y="44"/>
                    <a:pt x="79" y="42"/>
                    <a:pt x="77" y="40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2" y="38"/>
                    <a:pt x="82" y="37"/>
                    <a:pt x="82" y="37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5"/>
                    <a:pt x="83" y="34"/>
                    <a:pt x="83" y="34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4" y="32"/>
                    <a:pt x="84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8" y="32"/>
                    <a:pt x="88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90" y="32"/>
                  </a:cubicBezTo>
                  <a:cubicBezTo>
                    <a:pt x="90" y="32"/>
                    <a:pt x="90" y="31"/>
                    <a:pt x="90" y="31"/>
                  </a:cubicBezTo>
                  <a:cubicBezTo>
                    <a:pt x="90" y="30"/>
                    <a:pt x="90" y="30"/>
                    <a:pt x="90" y="29"/>
                  </a:cubicBezTo>
                  <a:cubicBezTo>
                    <a:pt x="91" y="28"/>
                    <a:pt x="91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3" y="27"/>
                    <a:pt x="93" y="27"/>
                    <a:pt x="93" y="26"/>
                  </a:cubicBezTo>
                  <a:cubicBezTo>
                    <a:pt x="93" y="26"/>
                    <a:pt x="94" y="25"/>
                    <a:pt x="94" y="25"/>
                  </a:cubicBezTo>
                  <a:cubicBezTo>
                    <a:pt x="94" y="25"/>
                    <a:pt x="94" y="24"/>
                    <a:pt x="94" y="24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24"/>
                    <a:pt x="92" y="24"/>
                    <a:pt x="92" y="24"/>
                  </a:cubicBezTo>
                  <a:cubicBezTo>
                    <a:pt x="91" y="24"/>
                    <a:pt x="89" y="23"/>
                    <a:pt x="89" y="23"/>
                  </a:cubicBezTo>
                  <a:cubicBezTo>
                    <a:pt x="89" y="22"/>
                    <a:pt x="88" y="22"/>
                    <a:pt x="88" y="22"/>
                  </a:cubicBezTo>
                  <a:cubicBezTo>
                    <a:pt x="88" y="22"/>
                    <a:pt x="88" y="22"/>
                    <a:pt x="87" y="21"/>
                  </a:cubicBezTo>
                  <a:cubicBezTo>
                    <a:pt x="87" y="21"/>
                    <a:pt x="87" y="20"/>
                    <a:pt x="87" y="20"/>
                  </a:cubicBezTo>
                  <a:cubicBezTo>
                    <a:pt x="87" y="19"/>
                    <a:pt x="87" y="19"/>
                    <a:pt x="86" y="19"/>
                  </a:cubicBezTo>
                  <a:cubicBezTo>
                    <a:pt x="85" y="19"/>
                    <a:pt x="85" y="19"/>
                    <a:pt x="84" y="19"/>
                  </a:cubicBezTo>
                  <a:cubicBezTo>
                    <a:pt x="84" y="20"/>
                    <a:pt x="83" y="20"/>
                    <a:pt x="82" y="20"/>
                  </a:cubicBezTo>
                  <a:cubicBezTo>
                    <a:pt x="82" y="20"/>
                    <a:pt x="81" y="20"/>
                    <a:pt x="81" y="20"/>
                  </a:cubicBezTo>
                  <a:cubicBezTo>
                    <a:pt x="80" y="19"/>
                    <a:pt x="80" y="19"/>
                    <a:pt x="80" y="18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79" y="18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6" y="16"/>
                    <a:pt x="74" y="13"/>
                    <a:pt x="73" y="10"/>
                  </a:cubicBezTo>
                  <a:cubicBezTo>
                    <a:pt x="72" y="10"/>
                    <a:pt x="72" y="9"/>
                    <a:pt x="71" y="8"/>
                  </a:cubicBezTo>
                  <a:cubicBezTo>
                    <a:pt x="71" y="8"/>
                    <a:pt x="70" y="8"/>
                    <a:pt x="70" y="8"/>
                  </a:cubicBezTo>
                  <a:cubicBezTo>
                    <a:pt x="69" y="7"/>
                    <a:pt x="69" y="7"/>
                    <a:pt x="69" y="6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68" y="7"/>
                    <a:pt x="66" y="8"/>
                    <a:pt x="66" y="9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64" y="9"/>
                    <a:pt x="64" y="9"/>
                    <a:pt x="63" y="9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8"/>
                    <a:pt x="62" y="8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6"/>
                    <a:pt x="60" y="6"/>
                  </a:cubicBezTo>
                  <a:cubicBezTo>
                    <a:pt x="59" y="7"/>
                    <a:pt x="58" y="7"/>
                    <a:pt x="57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5"/>
                    <a:pt x="57" y="5"/>
                    <a:pt x="56" y="3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5" y="2"/>
                    <a:pt x="54" y="2"/>
                    <a:pt x="54" y="2"/>
                  </a:cubicBezTo>
                  <a:cubicBezTo>
                    <a:pt x="53" y="2"/>
                    <a:pt x="53" y="2"/>
                    <a:pt x="52" y="2"/>
                  </a:cubicBezTo>
                  <a:cubicBezTo>
                    <a:pt x="52" y="2"/>
                    <a:pt x="52" y="2"/>
                    <a:pt x="51" y="2"/>
                  </a:cubicBezTo>
                  <a:cubicBezTo>
                    <a:pt x="51" y="3"/>
                    <a:pt x="51" y="3"/>
                    <a:pt x="5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6" y="4"/>
                    <a:pt x="44" y="5"/>
                    <a:pt x="44" y="5"/>
                  </a:cubicBezTo>
                  <a:cubicBezTo>
                    <a:pt x="44" y="6"/>
                    <a:pt x="41" y="7"/>
                    <a:pt x="41" y="7"/>
                  </a:cubicBezTo>
                  <a:cubicBezTo>
                    <a:pt x="41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7"/>
                    <a:pt x="36" y="7"/>
                    <a:pt x="36" y="7"/>
                  </a:cubicBezTo>
                  <a:cubicBezTo>
                    <a:pt x="35" y="7"/>
                    <a:pt x="35" y="7"/>
                    <a:pt x="34" y="7"/>
                  </a:cubicBezTo>
                  <a:cubicBezTo>
                    <a:pt x="34" y="8"/>
                    <a:pt x="34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6" y="9"/>
                    <a:pt x="37" y="9"/>
                    <a:pt x="37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6" y="11"/>
                    <a:pt x="36" y="11"/>
                    <a:pt x="35" y="11"/>
                  </a:cubicBezTo>
                  <a:cubicBezTo>
                    <a:pt x="34" y="11"/>
                    <a:pt x="34" y="11"/>
                    <a:pt x="34" y="12"/>
                  </a:cubicBezTo>
                  <a:cubicBezTo>
                    <a:pt x="34" y="12"/>
                    <a:pt x="35" y="13"/>
                    <a:pt x="34" y="14"/>
                  </a:cubicBezTo>
                  <a:cubicBezTo>
                    <a:pt x="34" y="14"/>
                    <a:pt x="33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6"/>
                    <a:pt x="35" y="16"/>
                    <a:pt x="35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8"/>
                    <a:pt x="35" y="20"/>
                    <a:pt x="33" y="20"/>
                  </a:cubicBezTo>
                  <a:cubicBezTo>
                    <a:pt x="33" y="20"/>
                    <a:pt x="33" y="20"/>
                    <a:pt x="32" y="20"/>
                  </a:cubicBezTo>
                  <a:cubicBezTo>
                    <a:pt x="32" y="20"/>
                    <a:pt x="32" y="20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8" y="19"/>
                    <a:pt x="28" y="19"/>
                  </a:cubicBezTo>
                  <a:cubicBezTo>
                    <a:pt x="28" y="19"/>
                    <a:pt x="28" y="18"/>
                    <a:pt x="27" y="18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19"/>
                    <a:pt x="26" y="19"/>
                    <a:pt x="26" y="19"/>
                  </a:cubicBezTo>
                  <a:cubicBezTo>
                    <a:pt x="26" y="19"/>
                    <a:pt x="25" y="19"/>
                    <a:pt x="25" y="19"/>
                  </a:cubicBezTo>
                  <a:cubicBezTo>
                    <a:pt x="25" y="19"/>
                    <a:pt x="25" y="19"/>
                    <a:pt x="24" y="18"/>
                  </a:cubicBezTo>
                  <a:cubicBezTo>
                    <a:pt x="24" y="19"/>
                    <a:pt x="22" y="20"/>
                    <a:pt x="21" y="20"/>
                  </a:cubicBezTo>
                  <a:cubicBezTo>
                    <a:pt x="21" y="20"/>
                    <a:pt x="21" y="20"/>
                    <a:pt x="20" y="20"/>
                  </a:cubicBezTo>
                  <a:cubicBezTo>
                    <a:pt x="20" y="20"/>
                    <a:pt x="20" y="19"/>
                    <a:pt x="20" y="19"/>
                  </a:cubicBezTo>
                  <a:cubicBezTo>
                    <a:pt x="20" y="19"/>
                    <a:pt x="20" y="19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8"/>
                    <a:pt x="17" y="17"/>
                    <a:pt x="15" y="17"/>
                  </a:cubicBezTo>
                  <a:cubicBezTo>
                    <a:pt x="15" y="17"/>
                    <a:pt x="14" y="16"/>
                    <a:pt x="14" y="16"/>
                  </a:cubicBezTo>
                  <a:cubicBezTo>
                    <a:pt x="14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6"/>
                    <a:pt x="11" y="16"/>
                    <a:pt x="11" y="16"/>
                  </a:cubicBezTo>
                  <a:cubicBezTo>
                    <a:pt x="11" y="16"/>
                    <a:pt x="10" y="16"/>
                    <a:pt x="10" y="17"/>
                  </a:cubicBezTo>
                  <a:cubicBezTo>
                    <a:pt x="9" y="18"/>
                    <a:pt x="9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7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7" y="22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3"/>
                    <a:pt x="4" y="22"/>
                    <a:pt x="3" y="21"/>
                  </a:cubicBezTo>
                  <a:cubicBezTo>
                    <a:pt x="3" y="21"/>
                    <a:pt x="3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2" y="23"/>
                    <a:pt x="2" y="24"/>
                  </a:cubicBezTo>
                  <a:cubicBezTo>
                    <a:pt x="2" y="25"/>
                    <a:pt x="2" y="25"/>
                    <a:pt x="2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9"/>
                    <a:pt x="2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4" y="29"/>
                    <a:pt x="5" y="29"/>
                    <a:pt x="7" y="33"/>
                  </a:cubicBezTo>
                  <a:cubicBezTo>
                    <a:pt x="7" y="33"/>
                    <a:pt x="8" y="32"/>
                    <a:pt x="8" y="32"/>
                  </a:cubicBezTo>
                  <a:cubicBezTo>
                    <a:pt x="9" y="31"/>
                    <a:pt x="11" y="31"/>
                    <a:pt x="12" y="31"/>
                  </a:cubicBezTo>
                  <a:cubicBezTo>
                    <a:pt x="12" y="31"/>
                    <a:pt x="13" y="31"/>
                    <a:pt x="13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1"/>
                    <a:pt x="16" y="31"/>
                    <a:pt x="16" y="33"/>
                  </a:cubicBezTo>
                  <a:cubicBezTo>
                    <a:pt x="17" y="33"/>
                    <a:pt x="17" y="34"/>
                    <a:pt x="18" y="35"/>
                  </a:cubicBezTo>
                  <a:cubicBezTo>
                    <a:pt x="18" y="35"/>
                    <a:pt x="19" y="36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8" y="39"/>
                    <a:pt x="16" y="39"/>
                    <a:pt x="14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40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1" y="41"/>
                    <a:pt x="11" y="42"/>
                    <a:pt x="11" y="42"/>
                  </a:cubicBezTo>
                  <a:cubicBezTo>
                    <a:pt x="11" y="42"/>
                    <a:pt x="11" y="43"/>
                    <a:pt x="11" y="4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5"/>
                    <a:pt x="13" y="45"/>
                    <a:pt x="13" y="46"/>
                  </a:cubicBezTo>
                  <a:cubicBezTo>
                    <a:pt x="14" y="46"/>
                    <a:pt x="15" y="46"/>
                    <a:pt x="15" y="48"/>
                  </a:cubicBezTo>
                  <a:cubicBezTo>
                    <a:pt x="16" y="47"/>
                    <a:pt x="18" y="46"/>
                    <a:pt x="19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1" y="49"/>
                    <a:pt x="22" y="50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2" y="46"/>
                    <a:pt x="22" y="44"/>
                    <a:pt x="22" y="42"/>
                  </a:cubicBezTo>
                  <a:cubicBezTo>
                    <a:pt x="22" y="42"/>
                    <a:pt x="22" y="41"/>
                    <a:pt x="22" y="41"/>
                  </a:cubicBezTo>
                  <a:cubicBezTo>
                    <a:pt x="22" y="39"/>
                    <a:pt x="22" y="38"/>
                    <a:pt x="25" y="37"/>
                  </a:cubicBezTo>
                  <a:cubicBezTo>
                    <a:pt x="25" y="37"/>
                    <a:pt x="25" y="37"/>
                    <a:pt x="26" y="37"/>
                  </a:cubicBezTo>
                  <a:cubicBezTo>
                    <a:pt x="27" y="36"/>
                    <a:pt x="29" y="36"/>
                    <a:pt x="31" y="37"/>
                  </a:cubicBezTo>
                  <a:cubicBezTo>
                    <a:pt x="32" y="39"/>
                    <a:pt x="34" y="40"/>
                    <a:pt x="35" y="41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3"/>
                    <a:pt x="37" y="43"/>
                    <a:pt x="38" y="43"/>
                  </a:cubicBezTo>
                  <a:cubicBezTo>
                    <a:pt x="38" y="43"/>
                    <a:pt x="39" y="43"/>
                    <a:pt x="40" y="43"/>
                  </a:cubicBezTo>
                  <a:cubicBezTo>
                    <a:pt x="41" y="42"/>
                    <a:pt x="41" y="42"/>
                    <a:pt x="42" y="42"/>
                  </a:cubicBezTo>
                  <a:cubicBezTo>
                    <a:pt x="43" y="42"/>
                    <a:pt x="44" y="43"/>
                    <a:pt x="45" y="44"/>
                  </a:cubicBezTo>
                  <a:cubicBezTo>
                    <a:pt x="45" y="44"/>
                    <a:pt x="46" y="45"/>
                    <a:pt x="46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7"/>
                    <a:pt x="46" y="48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7" y="48"/>
                    <a:pt x="47" y="48"/>
                    <a:pt x="48" y="48"/>
                  </a:cubicBezTo>
                  <a:cubicBezTo>
                    <a:pt x="48" y="49"/>
                    <a:pt x="48" y="49"/>
                    <a:pt x="48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0"/>
                    <a:pt x="48" y="50"/>
                    <a:pt x="49" y="50"/>
                  </a:cubicBezTo>
                  <a:cubicBezTo>
                    <a:pt x="49" y="50"/>
                    <a:pt x="49" y="50"/>
                    <a:pt x="50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3" name="Freeform 709"/>
            <p:cNvSpPr/>
            <p:nvPr/>
          </p:nvSpPr>
          <p:spPr bwMode="auto">
            <a:xfrm>
              <a:off x="2920108" y="2352255"/>
              <a:ext cx="195263" cy="103187"/>
            </a:xfrm>
            <a:custGeom>
              <a:avLst/>
              <a:gdLst>
                <a:gd name="T0" fmla="*/ 2147483646 w 26"/>
                <a:gd name="T1" fmla="*/ 2147483646 h 14"/>
                <a:gd name="T2" fmla="*/ 2147483646 w 26"/>
                <a:gd name="T3" fmla="*/ 2147483646 h 14"/>
                <a:gd name="T4" fmla="*/ 2147483646 w 26"/>
                <a:gd name="T5" fmla="*/ 2147483646 h 14"/>
                <a:gd name="T6" fmla="*/ 2147483646 w 26"/>
                <a:gd name="T7" fmla="*/ 2147483646 h 14"/>
                <a:gd name="T8" fmla="*/ 2147483646 w 26"/>
                <a:gd name="T9" fmla="*/ 2147483646 h 14"/>
                <a:gd name="T10" fmla="*/ 2147483646 w 26"/>
                <a:gd name="T11" fmla="*/ 2147483646 h 14"/>
                <a:gd name="T12" fmla="*/ 2147483646 w 26"/>
                <a:gd name="T13" fmla="*/ 2147483646 h 14"/>
                <a:gd name="T14" fmla="*/ 2147483646 w 26"/>
                <a:gd name="T15" fmla="*/ 2147483646 h 14"/>
                <a:gd name="T16" fmla="*/ 2147483646 w 26"/>
                <a:gd name="T17" fmla="*/ 2147483646 h 14"/>
                <a:gd name="T18" fmla="*/ 2147483646 w 26"/>
                <a:gd name="T19" fmla="*/ 2147483646 h 14"/>
                <a:gd name="T20" fmla="*/ 2147483646 w 26"/>
                <a:gd name="T21" fmla="*/ 2147483646 h 14"/>
                <a:gd name="T22" fmla="*/ 2147483646 w 26"/>
                <a:gd name="T23" fmla="*/ 2147483646 h 14"/>
                <a:gd name="T24" fmla="*/ 2147483646 w 26"/>
                <a:gd name="T25" fmla="*/ 2147483646 h 14"/>
                <a:gd name="T26" fmla="*/ 2147483646 w 26"/>
                <a:gd name="T27" fmla="*/ 2147483646 h 14"/>
                <a:gd name="T28" fmla="*/ 2147483646 w 26"/>
                <a:gd name="T29" fmla="*/ 2147483646 h 14"/>
                <a:gd name="T30" fmla="*/ 2147483646 w 26"/>
                <a:gd name="T31" fmla="*/ 2147483646 h 14"/>
                <a:gd name="T32" fmla="*/ 2147483646 w 26"/>
                <a:gd name="T33" fmla="*/ 2147483646 h 14"/>
                <a:gd name="T34" fmla="*/ 2147483646 w 26"/>
                <a:gd name="T35" fmla="*/ 2147483646 h 14"/>
                <a:gd name="T36" fmla="*/ 2147483646 w 26"/>
                <a:gd name="T37" fmla="*/ 2147483646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" h="14">
                  <a:moveTo>
                    <a:pt x="5" y="11"/>
                  </a:moveTo>
                  <a:cubicBezTo>
                    <a:pt x="4" y="12"/>
                    <a:pt x="2" y="10"/>
                    <a:pt x="1" y="11"/>
                  </a:cubicBezTo>
                  <a:cubicBezTo>
                    <a:pt x="0" y="13"/>
                    <a:pt x="4" y="13"/>
                    <a:pt x="5" y="13"/>
                  </a:cubicBezTo>
                  <a:cubicBezTo>
                    <a:pt x="5" y="13"/>
                    <a:pt x="6" y="13"/>
                    <a:pt x="6" y="13"/>
                  </a:cubicBezTo>
                  <a:cubicBezTo>
                    <a:pt x="7" y="13"/>
                    <a:pt x="7" y="13"/>
                    <a:pt x="8" y="14"/>
                  </a:cubicBezTo>
                  <a:cubicBezTo>
                    <a:pt x="9" y="14"/>
                    <a:pt x="10" y="13"/>
                    <a:pt x="11" y="13"/>
                  </a:cubicBezTo>
                  <a:cubicBezTo>
                    <a:pt x="12" y="13"/>
                    <a:pt x="11" y="12"/>
                    <a:pt x="12" y="12"/>
                  </a:cubicBezTo>
                  <a:cubicBezTo>
                    <a:pt x="12" y="11"/>
                    <a:pt x="14" y="10"/>
                    <a:pt x="15" y="10"/>
                  </a:cubicBezTo>
                  <a:cubicBezTo>
                    <a:pt x="15" y="10"/>
                    <a:pt x="17" y="11"/>
                    <a:pt x="17" y="11"/>
                  </a:cubicBezTo>
                  <a:cubicBezTo>
                    <a:pt x="18" y="10"/>
                    <a:pt x="18" y="9"/>
                    <a:pt x="19" y="9"/>
                  </a:cubicBezTo>
                  <a:cubicBezTo>
                    <a:pt x="21" y="9"/>
                    <a:pt x="26" y="7"/>
                    <a:pt x="26" y="4"/>
                  </a:cubicBezTo>
                  <a:cubicBezTo>
                    <a:pt x="25" y="4"/>
                    <a:pt x="24" y="3"/>
                    <a:pt x="23" y="3"/>
                  </a:cubicBezTo>
                  <a:cubicBezTo>
                    <a:pt x="21" y="3"/>
                    <a:pt x="20" y="2"/>
                    <a:pt x="18" y="2"/>
                  </a:cubicBezTo>
                  <a:cubicBezTo>
                    <a:pt x="16" y="2"/>
                    <a:pt x="10" y="0"/>
                    <a:pt x="10" y="4"/>
                  </a:cubicBezTo>
                  <a:cubicBezTo>
                    <a:pt x="9" y="3"/>
                    <a:pt x="5" y="1"/>
                    <a:pt x="5" y="4"/>
                  </a:cubicBezTo>
                  <a:cubicBezTo>
                    <a:pt x="7" y="5"/>
                    <a:pt x="3" y="6"/>
                    <a:pt x="3" y="7"/>
                  </a:cubicBezTo>
                  <a:cubicBezTo>
                    <a:pt x="3" y="7"/>
                    <a:pt x="6" y="9"/>
                    <a:pt x="6" y="7"/>
                  </a:cubicBezTo>
                  <a:cubicBezTo>
                    <a:pt x="7" y="8"/>
                    <a:pt x="8" y="8"/>
                    <a:pt x="10" y="9"/>
                  </a:cubicBezTo>
                  <a:cubicBezTo>
                    <a:pt x="8" y="10"/>
                    <a:pt x="7" y="11"/>
                    <a:pt x="5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4" name="Freeform 710"/>
            <p:cNvSpPr>
              <a:spLocks noEditPoints="1"/>
            </p:cNvSpPr>
            <p:nvPr/>
          </p:nvSpPr>
          <p:spPr bwMode="auto">
            <a:xfrm>
              <a:off x="2920108" y="2361780"/>
              <a:ext cx="201613" cy="93662"/>
            </a:xfrm>
            <a:custGeom>
              <a:avLst/>
              <a:gdLst>
                <a:gd name="T0" fmla="*/ 2147483646 w 27"/>
                <a:gd name="T1" fmla="*/ 2147483646 h 13"/>
                <a:gd name="T2" fmla="*/ 2147483646 w 27"/>
                <a:gd name="T3" fmla="*/ 2147483646 h 13"/>
                <a:gd name="T4" fmla="*/ 2147483646 w 27"/>
                <a:gd name="T5" fmla="*/ 2147483646 h 13"/>
                <a:gd name="T6" fmla="*/ 0 w 27"/>
                <a:gd name="T7" fmla="*/ 2147483646 h 13"/>
                <a:gd name="T8" fmla="*/ 2147483646 w 27"/>
                <a:gd name="T9" fmla="*/ 2147483646 h 13"/>
                <a:gd name="T10" fmla="*/ 2147483646 w 27"/>
                <a:gd name="T11" fmla="*/ 2147483646 h 13"/>
                <a:gd name="T12" fmla="*/ 2147483646 w 27"/>
                <a:gd name="T13" fmla="*/ 2147483646 h 13"/>
                <a:gd name="T14" fmla="*/ 2147483646 w 27"/>
                <a:gd name="T15" fmla="*/ 2147483646 h 13"/>
                <a:gd name="T16" fmla="*/ 2147483646 w 27"/>
                <a:gd name="T17" fmla="*/ 2147483646 h 13"/>
                <a:gd name="T18" fmla="*/ 2147483646 w 27"/>
                <a:gd name="T19" fmla="*/ 2147483646 h 13"/>
                <a:gd name="T20" fmla="*/ 2147483646 w 27"/>
                <a:gd name="T21" fmla="*/ 2147483646 h 13"/>
                <a:gd name="T22" fmla="*/ 2147483646 w 27"/>
                <a:gd name="T23" fmla="*/ 2147483646 h 13"/>
                <a:gd name="T24" fmla="*/ 2147483646 w 27"/>
                <a:gd name="T25" fmla="*/ 2147483646 h 13"/>
                <a:gd name="T26" fmla="*/ 2147483646 w 27"/>
                <a:gd name="T27" fmla="*/ 2147483646 h 13"/>
                <a:gd name="T28" fmla="*/ 2147483646 w 27"/>
                <a:gd name="T29" fmla="*/ 2147483646 h 13"/>
                <a:gd name="T30" fmla="*/ 2147483646 w 27"/>
                <a:gd name="T31" fmla="*/ 2147483646 h 13"/>
                <a:gd name="T32" fmla="*/ 2147483646 w 27"/>
                <a:gd name="T33" fmla="*/ 2147483646 h 13"/>
                <a:gd name="T34" fmla="*/ 2147483646 w 27"/>
                <a:gd name="T35" fmla="*/ 2147483646 h 13"/>
                <a:gd name="T36" fmla="*/ 2147483646 w 27"/>
                <a:gd name="T37" fmla="*/ 2147483646 h 13"/>
                <a:gd name="T38" fmla="*/ 2147483646 w 27"/>
                <a:gd name="T39" fmla="*/ 2147483646 h 13"/>
                <a:gd name="T40" fmla="*/ 2147483646 w 27"/>
                <a:gd name="T41" fmla="*/ 2147483646 h 13"/>
                <a:gd name="T42" fmla="*/ 2147483646 w 27"/>
                <a:gd name="T43" fmla="*/ 2147483646 h 13"/>
                <a:gd name="T44" fmla="*/ 2147483646 w 27"/>
                <a:gd name="T45" fmla="*/ 2147483646 h 13"/>
                <a:gd name="T46" fmla="*/ 2147483646 w 27"/>
                <a:gd name="T47" fmla="*/ 2147483646 h 13"/>
                <a:gd name="T48" fmla="*/ 2147483646 w 27"/>
                <a:gd name="T49" fmla="*/ 2147483646 h 13"/>
                <a:gd name="T50" fmla="*/ 2147483646 w 27"/>
                <a:gd name="T51" fmla="*/ 2147483646 h 13"/>
                <a:gd name="T52" fmla="*/ 2147483646 w 27"/>
                <a:gd name="T53" fmla="*/ 2147483646 h 13"/>
                <a:gd name="T54" fmla="*/ 2147483646 w 27"/>
                <a:gd name="T55" fmla="*/ 2147483646 h 13"/>
                <a:gd name="T56" fmla="*/ 2147483646 w 27"/>
                <a:gd name="T57" fmla="*/ 2147483646 h 13"/>
                <a:gd name="T58" fmla="*/ 2147483646 w 27"/>
                <a:gd name="T59" fmla="*/ 2147483646 h 13"/>
                <a:gd name="T60" fmla="*/ 2147483646 w 27"/>
                <a:gd name="T61" fmla="*/ 2147483646 h 13"/>
                <a:gd name="T62" fmla="*/ 2147483646 w 27"/>
                <a:gd name="T63" fmla="*/ 2147483646 h 13"/>
                <a:gd name="T64" fmla="*/ 2147483646 w 27"/>
                <a:gd name="T65" fmla="*/ 2147483646 h 13"/>
                <a:gd name="T66" fmla="*/ 2147483646 w 27"/>
                <a:gd name="T67" fmla="*/ 2147483646 h 13"/>
                <a:gd name="T68" fmla="*/ 2147483646 w 27"/>
                <a:gd name="T69" fmla="*/ 2147483646 h 13"/>
                <a:gd name="T70" fmla="*/ 2147483646 w 27"/>
                <a:gd name="T71" fmla="*/ 2147483646 h 13"/>
                <a:gd name="T72" fmla="*/ 2147483646 w 27"/>
                <a:gd name="T73" fmla="*/ 2147483646 h 13"/>
                <a:gd name="T74" fmla="*/ 2147483646 w 27"/>
                <a:gd name="T75" fmla="*/ 2147483646 h 13"/>
                <a:gd name="T76" fmla="*/ 2147483646 w 27"/>
                <a:gd name="T77" fmla="*/ 2147483646 h 13"/>
                <a:gd name="T78" fmla="*/ 2147483646 w 27"/>
                <a:gd name="T79" fmla="*/ 2147483646 h 13"/>
                <a:gd name="T80" fmla="*/ 2147483646 w 27"/>
                <a:gd name="T81" fmla="*/ 2147483646 h 13"/>
                <a:gd name="T82" fmla="*/ 2147483646 w 27"/>
                <a:gd name="T83" fmla="*/ 2147483646 h 13"/>
                <a:gd name="T84" fmla="*/ 2147483646 w 27"/>
                <a:gd name="T85" fmla="*/ 2147483646 h 13"/>
                <a:gd name="T86" fmla="*/ 2147483646 w 27"/>
                <a:gd name="T87" fmla="*/ 2147483646 h 13"/>
                <a:gd name="T88" fmla="*/ 2147483646 w 27"/>
                <a:gd name="T89" fmla="*/ 2147483646 h 13"/>
                <a:gd name="T90" fmla="*/ 2147483646 w 27"/>
                <a:gd name="T91" fmla="*/ 2147483646 h 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7" h="13">
                  <a:moveTo>
                    <a:pt x="8" y="13"/>
                  </a:moveTo>
                  <a:cubicBezTo>
                    <a:pt x="8" y="13"/>
                    <a:pt x="8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3"/>
                    <a:pt x="5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12"/>
                    <a:pt x="1" y="12"/>
                    <a:pt x="0" y="11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2" y="9"/>
                    <a:pt x="3" y="9"/>
                    <a:pt x="3" y="9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9"/>
                    <a:pt x="7" y="9"/>
                    <a:pt x="9" y="8"/>
                  </a:cubicBezTo>
                  <a:cubicBezTo>
                    <a:pt x="8" y="8"/>
                    <a:pt x="7" y="7"/>
                    <a:pt x="7" y="7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4" y="7"/>
                    <a:pt x="3" y="6"/>
                    <a:pt x="3" y="6"/>
                  </a:cubicBezTo>
                  <a:cubicBezTo>
                    <a:pt x="3" y="5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8" y="1"/>
                    <a:pt x="9" y="2"/>
                    <a:pt x="10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1"/>
                    <a:pt x="21" y="1"/>
                    <a:pt x="23" y="1"/>
                  </a:cubicBezTo>
                  <a:cubicBezTo>
                    <a:pt x="24" y="1"/>
                    <a:pt x="24" y="2"/>
                    <a:pt x="25" y="2"/>
                  </a:cubicBezTo>
                  <a:cubicBezTo>
                    <a:pt x="25" y="2"/>
                    <a:pt x="26" y="3"/>
                    <a:pt x="26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6"/>
                    <a:pt x="20" y="8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10"/>
                    <a:pt x="17" y="10"/>
                  </a:cubicBezTo>
                  <a:cubicBezTo>
                    <a:pt x="17" y="10"/>
                    <a:pt x="16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10"/>
                    <a:pt x="13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3"/>
                    <a:pt x="11" y="13"/>
                    <a:pt x="11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3"/>
                    <a:pt x="9" y="13"/>
                    <a:pt x="8" y="13"/>
                  </a:cubicBezTo>
                  <a:close/>
                  <a:moveTo>
                    <a:pt x="6" y="11"/>
                  </a:moveTo>
                  <a:cubicBezTo>
                    <a:pt x="6" y="11"/>
                    <a:pt x="6" y="11"/>
                    <a:pt x="7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8" y="12"/>
                    <a:pt x="9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2" y="10"/>
                    <a:pt x="14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6" y="9"/>
                  </a:cubicBezTo>
                  <a:cubicBezTo>
                    <a:pt x="16" y="9"/>
                    <a:pt x="17" y="9"/>
                    <a:pt x="17" y="9"/>
                  </a:cubicBezTo>
                  <a:cubicBezTo>
                    <a:pt x="17" y="9"/>
                    <a:pt x="17" y="9"/>
                    <a:pt x="17" y="8"/>
                  </a:cubicBezTo>
                  <a:cubicBezTo>
                    <a:pt x="18" y="8"/>
                    <a:pt x="18" y="8"/>
                    <a:pt x="19" y="7"/>
                  </a:cubicBezTo>
                  <a:cubicBezTo>
                    <a:pt x="21" y="7"/>
                    <a:pt x="25" y="5"/>
                    <a:pt x="26" y="4"/>
                  </a:cubicBezTo>
                  <a:cubicBezTo>
                    <a:pt x="25" y="4"/>
                    <a:pt x="25" y="3"/>
                    <a:pt x="24" y="3"/>
                  </a:cubicBezTo>
                  <a:cubicBezTo>
                    <a:pt x="24" y="3"/>
                    <a:pt x="23" y="2"/>
                    <a:pt x="23" y="2"/>
                  </a:cubicBezTo>
                  <a:cubicBezTo>
                    <a:pt x="21" y="2"/>
                    <a:pt x="20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5" y="2"/>
                    <a:pt x="14" y="1"/>
                    <a:pt x="13" y="1"/>
                  </a:cubicBezTo>
                  <a:cubicBezTo>
                    <a:pt x="11" y="1"/>
                    <a:pt x="11" y="2"/>
                    <a:pt x="11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3"/>
                    <a:pt x="7" y="2"/>
                    <a:pt x="6" y="2"/>
                  </a:cubicBezTo>
                  <a:cubicBezTo>
                    <a:pt x="6" y="2"/>
                    <a:pt x="6" y="2"/>
                    <a:pt x="5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6" y="5"/>
                    <a:pt x="5" y="5"/>
                  </a:cubicBezTo>
                  <a:cubicBezTo>
                    <a:pt x="5" y="5"/>
                    <a:pt x="4" y="5"/>
                    <a:pt x="4" y="6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7"/>
                    <a:pt x="9" y="7"/>
                    <a:pt x="10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8" y="10"/>
                    <a:pt x="7" y="10"/>
                    <a:pt x="5" y="10"/>
                  </a:cubicBezTo>
                  <a:cubicBezTo>
                    <a:pt x="5" y="11"/>
                    <a:pt x="4" y="11"/>
                    <a:pt x="4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2" y="11"/>
                    <a:pt x="2" y="11"/>
                    <a:pt x="1" y="11"/>
                  </a:cubicBezTo>
                  <a:cubicBezTo>
                    <a:pt x="1" y="11"/>
                    <a:pt x="2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6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5" name="Freeform 711"/>
            <p:cNvSpPr/>
            <p:nvPr/>
          </p:nvSpPr>
          <p:spPr bwMode="auto">
            <a:xfrm>
              <a:off x="2891533" y="2404642"/>
              <a:ext cx="131763" cy="104775"/>
            </a:xfrm>
            <a:custGeom>
              <a:avLst/>
              <a:gdLst>
                <a:gd name="T0" fmla="*/ 2147483646 w 18"/>
                <a:gd name="T1" fmla="*/ 2147483646 h 14"/>
                <a:gd name="T2" fmla="*/ 2147483646 w 18"/>
                <a:gd name="T3" fmla="*/ 2147483646 h 14"/>
                <a:gd name="T4" fmla="*/ 2147483646 w 18"/>
                <a:gd name="T5" fmla="*/ 2147483646 h 14"/>
                <a:gd name="T6" fmla="*/ 2147483646 w 18"/>
                <a:gd name="T7" fmla="*/ 2147483646 h 14"/>
                <a:gd name="T8" fmla="*/ 2147483646 w 18"/>
                <a:gd name="T9" fmla="*/ 2147483646 h 14"/>
                <a:gd name="T10" fmla="*/ 2147483646 w 18"/>
                <a:gd name="T11" fmla="*/ 2147483646 h 14"/>
                <a:gd name="T12" fmla="*/ 2147483646 w 18"/>
                <a:gd name="T13" fmla="*/ 2147483646 h 14"/>
                <a:gd name="T14" fmla="*/ 2147483646 w 18"/>
                <a:gd name="T15" fmla="*/ 2147483646 h 14"/>
                <a:gd name="T16" fmla="*/ 2147483646 w 18"/>
                <a:gd name="T17" fmla="*/ 2147483646 h 14"/>
                <a:gd name="T18" fmla="*/ 2147483646 w 18"/>
                <a:gd name="T19" fmla="*/ 2147483646 h 14"/>
                <a:gd name="T20" fmla="*/ 2147483646 w 18"/>
                <a:gd name="T21" fmla="*/ 2147483646 h 14"/>
                <a:gd name="T22" fmla="*/ 2147483646 w 18"/>
                <a:gd name="T23" fmla="*/ 2147483646 h 14"/>
                <a:gd name="T24" fmla="*/ 2147483646 w 18"/>
                <a:gd name="T25" fmla="*/ 2147483646 h 14"/>
                <a:gd name="T26" fmla="*/ 2147483646 w 18"/>
                <a:gd name="T27" fmla="*/ 2147483646 h 14"/>
                <a:gd name="T28" fmla="*/ 2147483646 w 18"/>
                <a:gd name="T29" fmla="*/ 2147483646 h 14"/>
                <a:gd name="T30" fmla="*/ 2147483646 w 18"/>
                <a:gd name="T31" fmla="*/ 2147483646 h 14"/>
                <a:gd name="T32" fmla="*/ 2147483646 w 18"/>
                <a:gd name="T33" fmla="*/ 2147483646 h 14"/>
                <a:gd name="T34" fmla="*/ 2147483646 w 18"/>
                <a:gd name="T35" fmla="*/ 2147483646 h 14"/>
                <a:gd name="T36" fmla="*/ 2147483646 w 18"/>
                <a:gd name="T37" fmla="*/ 2147483646 h 14"/>
                <a:gd name="T38" fmla="*/ 2147483646 w 18"/>
                <a:gd name="T39" fmla="*/ 2147483646 h 14"/>
                <a:gd name="T40" fmla="*/ 2147483646 w 18"/>
                <a:gd name="T41" fmla="*/ 2147483646 h 14"/>
                <a:gd name="T42" fmla="*/ 2147483646 w 18"/>
                <a:gd name="T43" fmla="*/ 2147483646 h 14"/>
                <a:gd name="T44" fmla="*/ 2147483646 w 18"/>
                <a:gd name="T45" fmla="*/ 2147483646 h 1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8" h="14">
                  <a:moveTo>
                    <a:pt x="2" y="14"/>
                  </a:moveTo>
                  <a:cubicBezTo>
                    <a:pt x="3" y="13"/>
                    <a:pt x="4" y="12"/>
                    <a:pt x="5" y="13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8" y="13"/>
                    <a:pt x="7" y="8"/>
                    <a:pt x="9" y="9"/>
                  </a:cubicBezTo>
                  <a:cubicBezTo>
                    <a:pt x="11" y="10"/>
                    <a:pt x="9" y="13"/>
                    <a:pt x="10" y="14"/>
                  </a:cubicBezTo>
                  <a:cubicBezTo>
                    <a:pt x="14" y="13"/>
                    <a:pt x="15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2"/>
                    <a:pt x="18" y="9"/>
                    <a:pt x="17" y="9"/>
                  </a:cubicBezTo>
                  <a:cubicBezTo>
                    <a:pt x="15" y="9"/>
                    <a:pt x="15" y="8"/>
                    <a:pt x="15" y="6"/>
                  </a:cubicBezTo>
                  <a:cubicBezTo>
                    <a:pt x="14" y="6"/>
                    <a:pt x="12" y="7"/>
                    <a:pt x="11" y="6"/>
                  </a:cubicBezTo>
                  <a:cubicBezTo>
                    <a:pt x="11" y="6"/>
                    <a:pt x="10" y="6"/>
                    <a:pt x="10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4" y="6"/>
                    <a:pt x="5" y="4"/>
                  </a:cubicBezTo>
                  <a:cubicBezTo>
                    <a:pt x="6" y="3"/>
                    <a:pt x="8" y="5"/>
                    <a:pt x="9" y="4"/>
                  </a:cubicBezTo>
                  <a:cubicBezTo>
                    <a:pt x="7" y="4"/>
                    <a:pt x="9" y="0"/>
                    <a:pt x="7" y="2"/>
                  </a:cubicBezTo>
                  <a:cubicBezTo>
                    <a:pt x="5" y="3"/>
                    <a:pt x="4" y="3"/>
                    <a:pt x="3" y="5"/>
                  </a:cubicBezTo>
                  <a:cubicBezTo>
                    <a:pt x="3" y="6"/>
                    <a:pt x="1" y="5"/>
                    <a:pt x="1" y="6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10"/>
                    <a:pt x="3" y="10"/>
                    <a:pt x="2" y="11"/>
                  </a:cubicBezTo>
                  <a:cubicBezTo>
                    <a:pt x="1" y="12"/>
                    <a:pt x="1" y="13"/>
                    <a:pt x="2" y="1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6" name="Freeform 712"/>
            <p:cNvSpPr>
              <a:spLocks noEditPoints="1"/>
            </p:cNvSpPr>
            <p:nvPr/>
          </p:nvSpPr>
          <p:spPr bwMode="auto">
            <a:xfrm>
              <a:off x="2891533" y="2410991"/>
              <a:ext cx="141288" cy="104775"/>
            </a:xfrm>
            <a:custGeom>
              <a:avLst/>
              <a:gdLst>
                <a:gd name="T0" fmla="*/ 2147483646 w 19"/>
                <a:gd name="T1" fmla="*/ 2147483646 h 14"/>
                <a:gd name="T2" fmla="*/ 2147483646 w 19"/>
                <a:gd name="T3" fmla="*/ 2147483646 h 14"/>
                <a:gd name="T4" fmla="*/ 2147483646 w 19"/>
                <a:gd name="T5" fmla="*/ 2147483646 h 14"/>
                <a:gd name="T6" fmla="*/ 2147483646 w 19"/>
                <a:gd name="T7" fmla="*/ 2147483646 h 14"/>
                <a:gd name="T8" fmla="*/ 2147483646 w 19"/>
                <a:gd name="T9" fmla="*/ 2147483646 h 14"/>
                <a:gd name="T10" fmla="*/ 2147483646 w 19"/>
                <a:gd name="T11" fmla="*/ 2147483646 h 14"/>
                <a:gd name="T12" fmla="*/ 2147483646 w 19"/>
                <a:gd name="T13" fmla="*/ 2147483646 h 14"/>
                <a:gd name="T14" fmla="*/ 2147483646 w 19"/>
                <a:gd name="T15" fmla="*/ 2147483646 h 14"/>
                <a:gd name="T16" fmla="*/ 2147483646 w 19"/>
                <a:gd name="T17" fmla="*/ 2147483646 h 14"/>
                <a:gd name="T18" fmla="*/ 2147483646 w 19"/>
                <a:gd name="T19" fmla="*/ 2147483646 h 14"/>
                <a:gd name="T20" fmla="*/ 2147483646 w 19"/>
                <a:gd name="T21" fmla="*/ 2147483646 h 14"/>
                <a:gd name="T22" fmla="*/ 2147483646 w 19"/>
                <a:gd name="T23" fmla="*/ 2147483646 h 14"/>
                <a:gd name="T24" fmla="*/ 0 w 19"/>
                <a:gd name="T25" fmla="*/ 2147483646 h 14"/>
                <a:gd name="T26" fmla="*/ 2147483646 w 19"/>
                <a:gd name="T27" fmla="*/ 2147483646 h 14"/>
                <a:gd name="T28" fmla="*/ 2147483646 w 19"/>
                <a:gd name="T29" fmla="*/ 2147483646 h 14"/>
                <a:gd name="T30" fmla="*/ 2147483646 w 19"/>
                <a:gd name="T31" fmla="*/ 0 h 14"/>
                <a:gd name="T32" fmla="*/ 2147483646 w 19"/>
                <a:gd name="T33" fmla="*/ 0 h 14"/>
                <a:gd name="T34" fmla="*/ 2147483646 w 19"/>
                <a:gd name="T35" fmla="*/ 2147483646 h 14"/>
                <a:gd name="T36" fmla="*/ 2147483646 w 19"/>
                <a:gd name="T37" fmla="*/ 2147483646 h 14"/>
                <a:gd name="T38" fmla="*/ 2147483646 w 19"/>
                <a:gd name="T39" fmla="*/ 2147483646 h 14"/>
                <a:gd name="T40" fmla="*/ 2147483646 w 19"/>
                <a:gd name="T41" fmla="*/ 2147483646 h 14"/>
                <a:gd name="T42" fmla="*/ 2147483646 w 19"/>
                <a:gd name="T43" fmla="*/ 2147483646 h 14"/>
                <a:gd name="T44" fmla="*/ 2147483646 w 19"/>
                <a:gd name="T45" fmla="*/ 2147483646 h 14"/>
                <a:gd name="T46" fmla="*/ 2147483646 w 19"/>
                <a:gd name="T47" fmla="*/ 2147483646 h 14"/>
                <a:gd name="T48" fmla="*/ 2147483646 w 19"/>
                <a:gd name="T49" fmla="*/ 2147483646 h 14"/>
                <a:gd name="T50" fmla="*/ 2147483646 w 19"/>
                <a:gd name="T51" fmla="*/ 2147483646 h 14"/>
                <a:gd name="T52" fmla="*/ 2147483646 w 19"/>
                <a:gd name="T53" fmla="*/ 2147483646 h 14"/>
                <a:gd name="T54" fmla="*/ 2147483646 w 19"/>
                <a:gd name="T55" fmla="*/ 2147483646 h 14"/>
                <a:gd name="T56" fmla="*/ 2147483646 w 19"/>
                <a:gd name="T57" fmla="*/ 2147483646 h 14"/>
                <a:gd name="T58" fmla="*/ 2147483646 w 19"/>
                <a:gd name="T59" fmla="*/ 2147483646 h 14"/>
                <a:gd name="T60" fmla="*/ 2147483646 w 19"/>
                <a:gd name="T61" fmla="*/ 2147483646 h 14"/>
                <a:gd name="T62" fmla="*/ 2147483646 w 19"/>
                <a:gd name="T63" fmla="*/ 2147483646 h 14"/>
                <a:gd name="T64" fmla="*/ 2147483646 w 19"/>
                <a:gd name="T65" fmla="*/ 2147483646 h 14"/>
                <a:gd name="T66" fmla="*/ 2147483646 w 19"/>
                <a:gd name="T67" fmla="*/ 2147483646 h 14"/>
                <a:gd name="T68" fmla="*/ 2147483646 w 19"/>
                <a:gd name="T69" fmla="*/ 2147483646 h 14"/>
                <a:gd name="T70" fmla="*/ 2147483646 w 19"/>
                <a:gd name="T71" fmla="*/ 2147483646 h 14"/>
                <a:gd name="T72" fmla="*/ 2147483646 w 19"/>
                <a:gd name="T73" fmla="*/ 2147483646 h 14"/>
                <a:gd name="T74" fmla="*/ 2147483646 w 19"/>
                <a:gd name="T75" fmla="*/ 2147483646 h 14"/>
                <a:gd name="T76" fmla="*/ 2147483646 w 19"/>
                <a:gd name="T77" fmla="*/ 2147483646 h 14"/>
                <a:gd name="T78" fmla="*/ 2147483646 w 19"/>
                <a:gd name="T79" fmla="*/ 2147483646 h 14"/>
                <a:gd name="T80" fmla="*/ 2147483646 w 19"/>
                <a:gd name="T81" fmla="*/ 2147483646 h 14"/>
                <a:gd name="T82" fmla="*/ 2147483646 w 19"/>
                <a:gd name="T83" fmla="*/ 2147483646 h 14"/>
                <a:gd name="T84" fmla="*/ 2147483646 w 19"/>
                <a:gd name="T85" fmla="*/ 2147483646 h 14"/>
                <a:gd name="T86" fmla="*/ 2147483646 w 19"/>
                <a:gd name="T87" fmla="*/ 2147483646 h 14"/>
                <a:gd name="T88" fmla="*/ 2147483646 w 19"/>
                <a:gd name="T89" fmla="*/ 2147483646 h 14"/>
                <a:gd name="T90" fmla="*/ 2147483646 w 19"/>
                <a:gd name="T91" fmla="*/ 2147483646 h 14"/>
                <a:gd name="T92" fmla="*/ 2147483646 w 19"/>
                <a:gd name="T93" fmla="*/ 2147483646 h 14"/>
                <a:gd name="T94" fmla="*/ 2147483646 w 19"/>
                <a:gd name="T95" fmla="*/ 2147483646 h 14"/>
                <a:gd name="T96" fmla="*/ 2147483646 w 19"/>
                <a:gd name="T97" fmla="*/ 2147483646 h 14"/>
                <a:gd name="T98" fmla="*/ 2147483646 w 19"/>
                <a:gd name="T99" fmla="*/ 2147483646 h 14"/>
                <a:gd name="T100" fmla="*/ 2147483646 w 19"/>
                <a:gd name="T101" fmla="*/ 2147483646 h 14"/>
                <a:gd name="T102" fmla="*/ 2147483646 w 19"/>
                <a:gd name="T103" fmla="*/ 2147483646 h 14"/>
                <a:gd name="T104" fmla="*/ 2147483646 w 19"/>
                <a:gd name="T105" fmla="*/ 2147483646 h 14"/>
                <a:gd name="T106" fmla="*/ 2147483646 w 19"/>
                <a:gd name="T107" fmla="*/ 2147483646 h 14"/>
                <a:gd name="T108" fmla="*/ 2147483646 w 19"/>
                <a:gd name="T109" fmla="*/ 2147483646 h 14"/>
                <a:gd name="T110" fmla="*/ 2147483646 w 19"/>
                <a:gd name="T111" fmla="*/ 2147483646 h 1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9" h="14">
                  <a:moveTo>
                    <a:pt x="10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9" y="13"/>
                    <a:pt x="9" y="12"/>
                    <a:pt x="9" y="11"/>
                  </a:cubicBezTo>
                  <a:cubicBezTo>
                    <a:pt x="9" y="10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10"/>
                  </a:cubicBezTo>
                  <a:cubicBezTo>
                    <a:pt x="8" y="10"/>
                    <a:pt x="7" y="12"/>
                    <a:pt x="6" y="12"/>
                  </a:cubicBezTo>
                  <a:cubicBezTo>
                    <a:pt x="6" y="12"/>
                    <a:pt x="6" y="12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2"/>
                    <a:pt x="3" y="12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1" y="12"/>
                    <a:pt x="1" y="12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9"/>
                    <a:pt x="2" y="9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2"/>
                    <a:pt x="5" y="2"/>
                    <a:pt x="6" y="1"/>
                  </a:cubicBezTo>
                  <a:cubicBezTo>
                    <a:pt x="6" y="1"/>
                    <a:pt x="6" y="1"/>
                    <a:pt x="7" y="0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9" y="1"/>
                    <a:pt x="8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6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10" y="4"/>
                    <a:pt x="10" y="4"/>
                  </a:cubicBezTo>
                  <a:cubicBezTo>
                    <a:pt x="10" y="4"/>
                    <a:pt x="11" y="5"/>
                    <a:pt x="11" y="5"/>
                  </a:cubicBezTo>
                  <a:cubicBezTo>
                    <a:pt x="12" y="5"/>
                    <a:pt x="13" y="5"/>
                    <a:pt x="14" y="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6"/>
                    <a:pt x="16" y="7"/>
                    <a:pt x="16" y="7"/>
                  </a:cubicBezTo>
                  <a:cubicBezTo>
                    <a:pt x="16" y="7"/>
                    <a:pt x="16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8"/>
                    <a:pt x="18" y="10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4" y="12"/>
                    <a:pt x="13" y="12"/>
                    <a:pt x="11" y="14"/>
                  </a:cubicBezTo>
                  <a:lnTo>
                    <a:pt x="10" y="14"/>
                  </a:lnTo>
                  <a:close/>
                  <a:moveTo>
                    <a:pt x="9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9"/>
                    <a:pt x="10" y="10"/>
                    <a:pt x="10" y="11"/>
                  </a:cubicBezTo>
                  <a:cubicBezTo>
                    <a:pt x="10" y="11"/>
                    <a:pt x="10" y="12"/>
                    <a:pt x="11" y="13"/>
                  </a:cubicBezTo>
                  <a:cubicBezTo>
                    <a:pt x="13" y="11"/>
                    <a:pt x="15" y="11"/>
                    <a:pt x="17" y="11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5" y="8"/>
                    <a:pt x="15" y="8"/>
                  </a:cubicBezTo>
                  <a:cubicBezTo>
                    <a:pt x="14" y="7"/>
                    <a:pt x="14" y="7"/>
                    <a:pt x="15" y="6"/>
                  </a:cubicBezTo>
                  <a:cubicBezTo>
                    <a:pt x="13" y="6"/>
                    <a:pt x="12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5"/>
                    <a:pt x="10" y="5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5"/>
                    <a:pt x="9" y="6"/>
                    <a:pt x="8" y="5"/>
                  </a:cubicBezTo>
                  <a:cubicBezTo>
                    <a:pt x="8" y="5"/>
                    <a:pt x="8" y="5"/>
                    <a:pt x="7" y="5"/>
                  </a:cubicBezTo>
                  <a:cubicBezTo>
                    <a:pt x="6" y="5"/>
                    <a:pt x="5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7" y="10"/>
                    <a:pt x="7" y="9"/>
                  </a:cubicBezTo>
                  <a:cubicBezTo>
                    <a:pt x="7" y="9"/>
                    <a:pt x="8" y="8"/>
                    <a:pt x="9" y="8"/>
                  </a:cubicBezTo>
                  <a:close/>
                  <a:moveTo>
                    <a:pt x="7" y="1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6" y="2"/>
                    <a:pt x="6" y="2"/>
                    <a:pt x="5" y="3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7" name="Freeform 713"/>
            <p:cNvSpPr/>
            <p:nvPr/>
          </p:nvSpPr>
          <p:spPr bwMode="auto">
            <a:xfrm>
              <a:off x="2056508" y="2368130"/>
              <a:ext cx="44450" cy="80962"/>
            </a:xfrm>
            <a:custGeom>
              <a:avLst/>
              <a:gdLst>
                <a:gd name="T0" fmla="*/ 2147483646 w 6"/>
                <a:gd name="T1" fmla="*/ 2147483646 h 11"/>
                <a:gd name="T2" fmla="*/ 2147483646 w 6"/>
                <a:gd name="T3" fmla="*/ 2147483646 h 11"/>
                <a:gd name="T4" fmla="*/ 2147483646 w 6"/>
                <a:gd name="T5" fmla="*/ 2147483646 h 11"/>
                <a:gd name="T6" fmla="*/ 2147483646 w 6"/>
                <a:gd name="T7" fmla="*/ 2147483646 h 11"/>
                <a:gd name="T8" fmla="*/ 2147483646 w 6"/>
                <a:gd name="T9" fmla="*/ 214748364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11">
                  <a:moveTo>
                    <a:pt x="5" y="7"/>
                  </a:moveTo>
                  <a:cubicBezTo>
                    <a:pt x="6" y="8"/>
                    <a:pt x="4" y="9"/>
                    <a:pt x="3" y="11"/>
                  </a:cubicBezTo>
                  <a:cubicBezTo>
                    <a:pt x="2" y="10"/>
                    <a:pt x="2" y="9"/>
                    <a:pt x="1" y="8"/>
                  </a:cubicBezTo>
                  <a:cubicBezTo>
                    <a:pt x="3" y="7"/>
                    <a:pt x="0" y="3"/>
                    <a:pt x="2" y="2"/>
                  </a:cubicBezTo>
                  <a:cubicBezTo>
                    <a:pt x="4" y="0"/>
                    <a:pt x="4" y="6"/>
                    <a:pt x="5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8" name="Freeform 714"/>
            <p:cNvSpPr>
              <a:spLocks noEditPoints="1"/>
            </p:cNvSpPr>
            <p:nvPr/>
          </p:nvSpPr>
          <p:spPr bwMode="auto">
            <a:xfrm>
              <a:off x="2056508" y="2372892"/>
              <a:ext cx="44450" cy="76200"/>
            </a:xfrm>
            <a:custGeom>
              <a:avLst/>
              <a:gdLst>
                <a:gd name="T0" fmla="*/ 2147483646 w 6"/>
                <a:gd name="T1" fmla="*/ 2147483646 h 10"/>
                <a:gd name="T2" fmla="*/ 2147483646 w 6"/>
                <a:gd name="T3" fmla="*/ 2147483646 h 10"/>
                <a:gd name="T4" fmla="*/ 2147483646 w 6"/>
                <a:gd name="T5" fmla="*/ 2147483646 h 10"/>
                <a:gd name="T6" fmla="*/ 0 w 6"/>
                <a:gd name="T7" fmla="*/ 2147483646 h 10"/>
                <a:gd name="T8" fmla="*/ 2147483646 w 6"/>
                <a:gd name="T9" fmla="*/ 2147483646 h 10"/>
                <a:gd name="T10" fmla="*/ 2147483646 w 6"/>
                <a:gd name="T11" fmla="*/ 2147483646 h 10"/>
                <a:gd name="T12" fmla="*/ 2147483646 w 6"/>
                <a:gd name="T13" fmla="*/ 0 h 10"/>
                <a:gd name="T14" fmla="*/ 2147483646 w 6"/>
                <a:gd name="T15" fmla="*/ 0 h 10"/>
                <a:gd name="T16" fmla="*/ 2147483646 w 6"/>
                <a:gd name="T17" fmla="*/ 2147483646 h 10"/>
                <a:gd name="T18" fmla="*/ 2147483646 w 6"/>
                <a:gd name="T19" fmla="*/ 2147483646 h 10"/>
                <a:gd name="T20" fmla="*/ 2147483646 w 6"/>
                <a:gd name="T21" fmla="*/ 2147483646 h 10"/>
                <a:gd name="T22" fmla="*/ 2147483646 w 6"/>
                <a:gd name="T23" fmla="*/ 2147483646 h 10"/>
                <a:gd name="T24" fmla="*/ 2147483646 w 6"/>
                <a:gd name="T25" fmla="*/ 2147483646 h 10"/>
                <a:gd name="T26" fmla="*/ 2147483646 w 6"/>
                <a:gd name="T27" fmla="*/ 2147483646 h 10"/>
                <a:gd name="T28" fmla="*/ 2147483646 w 6"/>
                <a:gd name="T29" fmla="*/ 2147483646 h 10"/>
                <a:gd name="T30" fmla="*/ 2147483646 w 6"/>
                <a:gd name="T31" fmla="*/ 2147483646 h 10"/>
                <a:gd name="T32" fmla="*/ 2147483646 w 6"/>
                <a:gd name="T33" fmla="*/ 2147483646 h 10"/>
                <a:gd name="T34" fmla="*/ 2147483646 w 6"/>
                <a:gd name="T35" fmla="*/ 2147483646 h 10"/>
                <a:gd name="T36" fmla="*/ 2147483646 w 6"/>
                <a:gd name="T37" fmla="*/ 2147483646 h 10"/>
                <a:gd name="T38" fmla="*/ 2147483646 w 6"/>
                <a:gd name="T39" fmla="*/ 2147483646 h 10"/>
                <a:gd name="T40" fmla="*/ 2147483646 w 6"/>
                <a:gd name="T41" fmla="*/ 2147483646 h 10"/>
                <a:gd name="T42" fmla="*/ 2147483646 w 6"/>
                <a:gd name="T43" fmla="*/ 2147483646 h 10"/>
                <a:gd name="T44" fmla="*/ 2147483646 w 6"/>
                <a:gd name="T45" fmla="*/ 2147483646 h 1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" h="10">
                  <a:moveTo>
                    <a:pt x="3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2" y="9"/>
                    <a:pt x="1" y="8"/>
                    <a:pt x="1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1" y="3"/>
                    <a:pt x="0" y="1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4" y="2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5" y="8"/>
                    <a:pt x="4" y="9"/>
                  </a:cubicBezTo>
                  <a:cubicBezTo>
                    <a:pt x="4" y="9"/>
                    <a:pt x="4" y="10"/>
                    <a:pt x="4" y="10"/>
                  </a:cubicBezTo>
                  <a:lnTo>
                    <a:pt x="3" y="10"/>
                  </a:lnTo>
                  <a:close/>
                  <a:moveTo>
                    <a:pt x="2" y="7"/>
                  </a:moveTo>
                  <a:cubicBezTo>
                    <a:pt x="2" y="8"/>
                    <a:pt x="3" y="8"/>
                    <a:pt x="3" y="9"/>
                  </a:cubicBezTo>
                  <a:cubicBezTo>
                    <a:pt x="3" y="9"/>
                    <a:pt x="3" y="8"/>
                    <a:pt x="3" y="8"/>
                  </a:cubicBezTo>
                  <a:cubicBezTo>
                    <a:pt x="4" y="8"/>
                    <a:pt x="5" y="7"/>
                    <a:pt x="5" y="6"/>
                  </a:cubicBezTo>
                  <a:cubicBezTo>
                    <a:pt x="4" y="6"/>
                    <a:pt x="4" y="5"/>
                    <a:pt x="4" y="4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5"/>
                    <a:pt x="2" y="6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9" name="Freeform 715"/>
            <p:cNvSpPr/>
            <p:nvPr/>
          </p:nvSpPr>
          <p:spPr bwMode="auto">
            <a:xfrm>
              <a:off x="2078733" y="2368130"/>
              <a:ext cx="53975" cy="49212"/>
            </a:xfrm>
            <a:custGeom>
              <a:avLst/>
              <a:gdLst>
                <a:gd name="T0" fmla="*/ 2147483646 w 7"/>
                <a:gd name="T1" fmla="*/ 2147483646 h 7"/>
                <a:gd name="T2" fmla="*/ 2147483646 w 7"/>
                <a:gd name="T3" fmla="*/ 2147483646 h 7"/>
                <a:gd name="T4" fmla="*/ 2147483646 w 7"/>
                <a:gd name="T5" fmla="*/ 2147483646 h 7"/>
                <a:gd name="T6" fmla="*/ 2147483646 w 7"/>
                <a:gd name="T7" fmla="*/ 2147483646 h 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0" y="5"/>
                    <a:pt x="2" y="0"/>
                    <a:pt x="5" y="2"/>
                  </a:cubicBezTo>
                  <a:cubicBezTo>
                    <a:pt x="6" y="2"/>
                    <a:pt x="6" y="4"/>
                    <a:pt x="7" y="5"/>
                  </a:cubicBezTo>
                  <a:cubicBezTo>
                    <a:pt x="7" y="6"/>
                    <a:pt x="3" y="7"/>
                    <a:pt x="2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0" name="Freeform 716"/>
            <p:cNvSpPr>
              <a:spLocks noEditPoints="1"/>
            </p:cNvSpPr>
            <p:nvPr/>
          </p:nvSpPr>
          <p:spPr bwMode="auto">
            <a:xfrm>
              <a:off x="2078733" y="2368130"/>
              <a:ext cx="53975" cy="58737"/>
            </a:xfrm>
            <a:custGeom>
              <a:avLst/>
              <a:gdLst>
                <a:gd name="T0" fmla="*/ 2147483646 w 7"/>
                <a:gd name="T1" fmla="*/ 2147483646 h 8"/>
                <a:gd name="T2" fmla="*/ 2147483646 w 7"/>
                <a:gd name="T3" fmla="*/ 2147483646 h 8"/>
                <a:gd name="T4" fmla="*/ 2147483646 w 7"/>
                <a:gd name="T5" fmla="*/ 2147483646 h 8"/>
                <a:gd name="T6" fmla="*/ 2147483646 w 7"/>
                <a:gd name="T7" fmla="*/ 2147483646 h 8"/>
                <a:gd name="T8" fmla="*/ 2147483646 w 7"/>
                <a:gd name="T9" fmla="*/ 2147483646 h 8"/>
                <a:gd name="T10" fmla="*/ 2147483646 w 7"/>
                <a:gd name="T11" fmla="*/ 2147483646 h 8"/>
                <a:gd name="T12" fmla="*/ 2147483646 w 7"/>
                <a:gd name="T13" fmla="*/ 2147483646 h 8"/>
                <a:gd name="T14" fmla="*/ 2147483646 w 7"/>
                <a:gd name="T15" fmla="*/ 2147483646 h 8"/>
                <a:gd name="T16" fmla="*/ 2147483646 w 7"/>
                <a:gd name="T17" fmla="*/ 2147483646 h 8"/>
                <a:gd name="T18" fmla="*/ 2147483646 w 7"/>
                <a:gd name="T19" fmla="*/ 2147483646 h 8"/>
                <a:gd name="T20" fmla="*/ 2147483646 w 7"/>
                <a:gd name="T21" fmla="*/ 2147483646 h 8"/>
                <a:gd name="T22" fmla="*/ 2147483646 w 7"/>
                <a:gd name="T23" fmla="*/ 2147483646 h 8"/>
                <a:gd name="T24" fmla="*/ 2147483646 w 7"/>
                <a:gd name="T25" fmla="*/ 2147483646 h 8"/>
                <a:gd name="T26" fmla="*/ 2147483646 w 7"/>
                <a:gd name="T27" fmla="*/ 2147483646 h 8"/>
                <a:gd name="T28" fmla="*/ 2147483646 w 7"/>
                <a:gd name="T29" fmla="*/ 2147483646 h 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" h="8">
                  <a:moveTo>
                    <a:pt x="2" y="8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7" y="2"/>
                    <a:pt x="7" y="5"/>
                    <a:pt x="7" y="5"/>
                  </a:cubicBezTo>
                  <a:cubicBezTo>
                    <a:pt x="7" y="6"/>
                    <a:pt x="6" y="6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lnTo>
                    <a:pt x="2" y="8"/>
                  </a:ln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1" y="5"/>
                    <a:pt x="2" y="6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6" y="4"/>
                    <a:pt x="5" y="3"/>
                    <a:pt x="5" y="2"/>
                  </a:cubicBezTo>
                  <a:cubicBezTo>
                    <a:pt x="5" y="2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1" name="Freeform 717"/>
            <p:cNvSpPr/>
            <p:nvPr/>
          </p:nvSpPr>
          <p:spPr bwMode="auto">
            <a:xfrm>
              <a:off x="2110483" y="2336379"/>
              <a:ext cx="115888" cy="74612"/>
            </a:xfrm>
            <a:custGeom>
              <a:avLst/>
              <a:gdLst>
                <a:gd name="T0" fmla="*/ 2147483646 w 16"/>
                <a:gd name="T1" fmla="*/ 2147483646 h 10"/>
                <a:gd name="T2" fmla="*/ 2147483646 w 16"/>
                <a:gd name="T3" fmla="*/ 2147483646 h 10"/>
                <a:gd name="T4" fmla="*/ 2147483646 w 16"/>
                <a:gd name="T5" fmla="*/ 2147483646 h 10"/>
                <a:gd name="T6" fmla="*/ 2147483646 w 16"/>
                <a:gd name="T7" fmla="*/ 2147483646 h 10"/>
                <a:gd name="T8" fmla="*/ 2147483646 w 16"/>
                <a:gd name="T9" fmla="*/ 2147483646 h 10"/>
                <a:gd name="T10" fmla="*/ 2147483646 w 16"/>
                <a:gd name="T11" fmla="*/ 2147483646 h 10"/>
                <a:gd name="T12" fmla="*/ 2147483646 w 16"/>
                <a:gd name="T13" fmla="*/ 2147483646 h 10"/>
                <a:gd name="T14" fmla="*/ 2147483646 w 16"/>
                <a:gd name="T15" fmla="*/ 2147483646 h 10"/>
                <a:gd name="T16" fmla="*/ 2147483646 w 16"/>
                <a:gd name="T17" fmla="*/ 2147483646 h 10"/>
                <a:gd name="T18" fmla="*/ 2147483646 w 16"/>
                <a:gd name="T19" fmla="*/ 2147483646 h 10"/>
                <a:gd name="T20" fmla="*/ 2147483646 w 16"/>
                <a:gd name="T21" fmla="*/ 2147483646 h 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" h="10">
                  <a:moveTo>
                    <a:pt x="16" y="2"/>
                  </a:moveTo>
                  <a:cubicBezTo>
                    <a:pt x="15" y="1"/>
                    <a:pt x="13" y="1"/>
                    <a:pt x="12" y="1"/>
                  </a:cubicBezTo>
                  <a:cubicBezTo>
                    <a:pt x="11" y="1"/>
                    <a:pt x="10" y="2"/>
                    <a:pt x="8" y="2"/>
                  </a:cubicBezTo>
                  <a:cubicBezTo>
                    <a:pt x="7" y="2"/>
                    <a:pt x="2" y="2"/>
                    <a:pt x="3" y="1"/>
                  </a:cubicBezTo>
                  <a:cubicBezTo>
                    <a:pt x="0" y="0"/>
                    <a:pt x="2" y="4"/>
                    <a:pt x="2" y="4"/>
                  </a:cubicBezTo>
                  <a:cubicBezTo>
                    <a:pt x="1" y="7"/>
                    <a:pt x="3" y="7"/>
                    <a:pt x="3" y="9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7" y="9"/>
                    <a:pt x="8" y="10"/>
                    <a:pt x="9" y="9"/>
                  </a:cubicBezTo>
                  <a:cubicBezTo>
                    <a:pt x="10" y="9"/>
                    <a:pt x="10" y="8"/>
                    <a:pt x="11" y="8"/>
                  </a:cubicBezTo>
                  <a:cubicBezTo>
                    <a:pt x="12" y="8"/>
                    <a:pt x="13" y="7"/>
                    <a:pt x="14" y="8"/>
                  </a:cubicBezTo>
                  <a:cubicBezTo>
                    <a:pt x="12" y="5"/>
                    <a:pt x="15" y="4"/>
                    <a:pt x="16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2" name="Freeform 718"/>
            <p:cNvSpPr>
              <a:spLocks noEditPoints="1"/>
            </p:cNvSpPr>
            <p:nvPr/>
          </p:nvSpPr>
          <p:spPr bwMode="auto">
            <a:xfrm>
              <a:off x="2110483" y="2336379"/>
              <a:ext cx="125413" cy="74612"/>
            </a:xfrm>
            <a:custGeom>
              <a:avLst/>
              <a:gdLst>
                <a:gd name="T0" fmla="*/ 2147483646 w 17"/>
                <a:gd name="T1" fmla="*/ 2147483646 h 10"/>
                <a:gd name="T2" fmla="*/ 2147483646 w 17"/>
                <a:gd name="T3" fmla="*/ 2147483646 h 10"/>
                <a:gd name="T4" fmla="*/ 2147483646 w 17"/>
                <a:gd name="T5" fmla="*/ 2147483646 h 10"/>
                <a:gd name="T6" fmla="*/ 2147483646 w 17"/>
                <a:gd name="T7" fmla="*/ 2147483646 h 10"/>
                <a:gd name="T8" fmla="*/ 2147483646 w 17"/>
                <a:gd name="T9" fmla="*/ 2147483646 h 10"/>
                <a:gd name="T10" fmla="*/ 2147483646 w 17"/>
                <a:gd name="T11" fmla="*/ 0 h 10"/>
                <a:gd name="T12" fmla="*/ 2147483646 w 17"/>
                <a:gd name="T13" fmla="*/ 0 h 10"/>
                <a:gd name="T14" fmla="*/ 2147483646 w 17"/>
                <a:gd name="T15" fmla="*/ 0 h 10"/>
                <a:gd name="T16" fmla="*/ 2147483646 w 17"/>
                <a:gd name="T17" fmla="*/ 2147483646 h 10"/>
                <a:gd name="T18" fmla="*/ 2147483646 w 17"/>
                <a:gd name="T19" fmla="*/ 2147483646 h 10"/>
                <a:gd name="T20" fmla="*/ 2147483646 w 17"/>
                <a:gd name="T21" fmla="*/ 2147483646 h 10"/>
                <a:gd name="T22" fmla="*/ 2147483646 w 17"/>
                <a:gd name="T23" fmla="*/ 2147483646 h 10"/>
                <a:gd name="T24" fmla="*/ 2147483646 w 17"/>
                <a:gd name="T25" fmla="*/ 0 h 10"/>
                <a:gd name="T26" fmla="*/ 2147483646 w 17"/>
                <a:gd name="T27" fmla="*/ 2147483646 h 10"/>
                <a:gd name="T28" fmla="*/ 2147483646 w 17"/>
                <a:gd name="T29" fmla="*/ 2147483646 h 10"/>
                <a:gd name="T30" fmla="*/ 2147483646 w 17"/>
                <a:gd name="T31" fmla="*/ 2147483646 h 10"/>
                <a:gd name="T32" fmla="*/ 2147483646 w 17"/>
                <a:gd name="T33" fmla="*/ 2147483646 h 10"/>
                <a:gd name="T34" fmla="*/ 2147483646 w 17"/>
                <a:gd name="T35" fmla="*/ 2147483646 h 10"/>
                <a:gd name="T36" fmla="*/ 2147483646 w 17"/>
                <a:gd name="T37" fmla="*/ 2147483646 h 10"/>
                <a:gd name="T38" fmla="*/ 2147483646 w 17"/>
                <a:gd name="T39" fmla="*/ 2147483646 h 10"/>
                <a:gd name="T40" fmla="*/ 2147483646 w 17"/>
                <a:gd name="T41" fmla="*/ 2147483646 h 10"/>
                <a:gd name="T42" fmla="*/ 2147483646 w 17"/>
                <a:gd name="T43" fmla="*/ 2147483646 h 10"/>
                <a:gd name="T44" fmla="*/ 2147483646 w 17"/>
                <a:gd name="T45" fmla="*/ 2147483646 h 10"/>
                <a:gd name="T46" fmla="*/ 2147483646 w 17"/>
                <a:gd name="T47" fmla="*/ 2147483646 h 10"/>
                <a:gd name="T48" fmla="*/ 2147483646 w 17"/>
                <a:gd name="T49" fmla="*/ 2147483646 h 10"/>
                <a:gd name="T50" fmla="*/ 2147483646 w 17"/>
                <a:gd name="T51" fmla="*/ 2147483646 h 10"/>
                <a:gd name="T52" fmla="*/ 2147483646 w 17"/>
                <a:gd name="T53" fmla="*/ 2147483646 h 10"/>
                <a:gd name="T54" fmla="*/ 2147483646 w 17"/>
                <a:gd name="T55" fmla="*/ 2147483646 h 10"/>
                <a:gd name="T56" fmla="*/ 2147483646 w 17"/>
                <a:gd name="T57" fmla="*/ 2147483646 h 10"/>
                <a:gd name="T58" fmla="*/ 2147483646 w 17"/>
                <a:gd name="T59" fmla="*/ 2147483646 h 10"/>
                <a:gd name="T60" fmla="*/ 2147483646 w 17"/>
                <a:gd name="T61" fmla="*/ 2147483646 h 10"/>
                <a:gd name="T62" fmla="*/ 2147483646 w 17"/>
                <a:gd name="T63" fmla="*/ 2147483646 h 10"/>
                <a:gd name="T64" fmla="*/ 2147483646 w 17"/>
                <a:gd name="T65" fmla="*/ 2147483646 h 10"/>
                <a:gd name="T66" fmla="*/ 2147483646 w 17"/>
                <a:gd name="T67" fmla="*/ 2147483646 h 10"/>
                <a:gd name="T68" fmla="*/ 2147483646 w 17"/>
                <a:gd name="T69" fmla="*/ 2147483646 h 10"/>
                <a:gd name="T70" fmla="*/ 2147483646 w 17"/>
                <a:gd name="T71" fmla="*/ 2147483646 h 10"/>
                <a:gd name="T72" fmla="*/ 2147483646 w 17"/>
                <a:gd name="T73" fmla="*/ 2147483646 h 10"/>
                <a:gd name="T74" fmla="*/ 2147483646 w 17"/>
                <a:gd name="T75" fmla="*/ 2147483646 h 10"/>
                <a:gd name="T76" fmla="*/ 2147483646 w 17"/>
                <a:gd name="T77" fmla="*/ 2147483646 h 10"/>
                <a:gd name="T78" fmla="*/ 2147483646 w 17"/>
                <a:gd name="T79" fmla="*/ 2147483646 h 10"/>
                <a:gd name="T80" fmla="*/ 2147483646 w 17"/>
                <a:gd name="T81" fmla="*/ 2147483646 h 10"/>
                <a:gd name="T82" fmla="*/ 2147483646 w 17"/>
                <a:gd name="T83" fmla="*/ 2147483646 h 10"/>
                <a:gd name="T84" fmla="*/ 2147483646 w 17"/>
                <a:gd name="T85" fmla="*/ 2147483646 h 10"/>
                <a:gd name="T86" fmla="*/ 2147483646 w 17"/>
                <a:gd name="T87" fmla="*/ 2147483646 h 10"/>
                <a:gd name="T88" fmla="*/ 2147483646 w 17"/>
                <a:gd name="T89" fmla="*/ 2147483646 h 10"/>
                <a:gd name="T90" fmla="*/ 2147483646 w 17"/>
                <a:gd name="T91" fmla="*/ 2147483646 h 10"/>
                <a:gd name="T92" fmla="*/ 2147483646 w 17"/>
                <a:gd name="T93" fmla="*/ 2147483646 h 10"/>
                <a:gd name="T94" fmla="*/ 2147483646 w 17"/>
                <a:gd name="T95" fmla="*/ 2147483646 h 10"/>
                <a:gd name="T96" fmla="*/ 2147483646 w 17"/>
                <a:gd name="T97" fmla="*/ 2147483646 h 10"/>
                <a:gd name="T98" fmla="*/ 2147483646 w 17"/>
                <a:gd name="T99" fmla="*/ 2147483646 h 10"/>
                <a:gd name="T100" fmla="*/ 2147483646 w 17"/>
                <a:gd name="T101" fmla="*/ 2147483646 h 10"/>
                <a:gd name="T102" fmla="*/ 2147483646 w 17"/>
                <a:gd name="T103" fmla="*/ 2147483646 h 10"/>
                <a:gd name="T104" fmla="*/ 2147483646 w 17"/>
                <a:gd name="T105" fmla="*/ 2147483646 h 1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7" h="10">
                  <a:moveTo>
                    <a:pt x="2" y="10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8"/>
                    <a:pt x="1" y="7"/>
                  </a:cubicBezTo>
                  <a:cubicBezTo>
                    <a:pt x="1" y="7"/>
                    <a:pt x="1" y="6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5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1"/>
                    <a:pt x="10" y="1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5" y="1"/>
                    <a:pt x="16" y="1"/>
                    <a:pt x="16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3"/>
                    <a:pt x="16" y="4"/>
                    <a:pt x="15" y="4"/>
                  </a:cubicBezTo>
                  <a:cubicBezTo>
                    <a:pt x="14" y="6"/>
                    <a:pt x="14" y="6"/>
                    <a:pt x="15" y="7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10"/>
                    <a:pt x="9" y="10"/>
                  </a:cubicBezTo>
                  <a:cubicBezTo>
                    <a:pt x="8" y="10"/>
                    <a:pt x="8" y="10"/>
                    <a:pt x="7" y="10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4" y="10"/>
                    <a:pt x="3" y="10"/>
                    <a:pt x="3" y="10"/>
                  </a:cubicBezTo>
                  <a:lnTo>
                    <a:pt x="2" y="10"/>
                  </a:lnTo>
                  <a:close/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8" y="9"/>
                  </a:cubicBezTo>
                  <a:cubicBezTo>
                    <a:pt x="8" y="9"/>
                    <a:pt x="9" y="9"/>
                    <a:pt x="9" y="9"/>
                  </a:cubicBezTo>
                  <a:cubicBezTo>
                    <a:pt x="9" y="9"/>
                    <a:pt x="9" y="9"/>
                    <a:pt x="10" y="8"/>
                  </a:cubicBezTo>
                  <a:cubicBezTo>
                    <a:pt x="10" y="8"/>
                    <a:pt x="10" y="8"/>
                    <a:pt x="11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2" y="6"/>
                    <a:pt x="13" y="4"/>
                    <a:pt x="14" y="4"/>
                  </a:cubicBezTo>
                  <a:cubicBezTo>
                    <a:pt x="15" y="3"/>
                    <a:pt x="15" y="3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2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2"/>
                    <a:pt x="10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5" y="3"/>
                    <a:pt x="3" y="3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2" y="6"/>
                    <a:pt x="2" y="6"/>
                    <a:pt x="3" y="7"/>
                  </a:cubicBezTo>
                  <a:cubicBezTo>
                    <a:pt x="3" y="7"/>
                    <a:pt x="3" y="8"/>
                    <a:pt x="3" y="9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4" y="8"/>
                    <a:pt x="5" y="8"/>
                    <a:pt x="6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3" name="Freeform 719"/>
            <p:cNvSpPr/>
            <p:nvPr/>
          </p:nvSpPr>
          <p:spPr bwMode="auto">
            <a:xfrm>
              <a:off x="5980163" y="1383879"/>
              <a:ext cx="1047750" cy="557213"/>
            </a:xfrm>
            <a:custGeom>
              <a:avLst/>
              <a:gdLst>
                <a:gd name="T0" fmla="*/ 2147483646 w 141"/>
                <a:gd name="T1" fmla="*/ 2147483646 h 75"/>
                <a:gd name="T2" fmla="*/ 2147483646 w 141"/>
                <a:gd name="T3" fmla="*/ 2147483646 h 75"/>
                <a:gd name="T4" fmla="*/ 2147483646 w 141"/>
                <a:gd name="T5" fmla="*/ 2147483646 h 75"/>
                <a:gd name="T6" fmla="*/ 2147483646 w 141"/>
                <a:gd name="T7" fmla="*/ 2147483646 h 75"/>
                <a:gd name="T8" fmla="*/ 2147483646 w 141"/>
                <a:gd name="T9" fmla="*/ 2147483646 h 75"/>
                <a:gd name="T10" fmla="*/ 2147483646 w 141"/>
                <a:gd name="T11" fmla="*/ 2147483646 h 75"/>
                <a:gd name="T12" fmla="*/ 2147483646 w 141"/>
                <a:gd name="T13" fmla="*/ 2147483646 h 75"/>
                <a:gd name="T14" fmla="*/ 2147483646 w 141"/>
                <a:gd name="T15" fmla="*/ 2147483646 h 75"/>
                <a:gd name="T16" fmla="*/ 2147483646 w 141"/>
                <a:gd name="T17" fmla="*/ 2147483646 h 75"/>
                <a:gd name="T18" fmla="*/ 2147483646 w 141"/>
                <a:gd name="T19" fmla="*/ 2147483646 h 75"/>
                <a:gd name="T20" fmla="*/ 2147483646 w 141"/>
                <a:gd name="T21" fmla="*/ 2147483646 h 75"/>
                <a:gd name="T22" fmla="*/ 2147483646 w 141"/>
                <a:gd name="T23" fmla="*/ 2147483646 h 75"/>
                <a:gd name="T24" fmla="*/ 2147483646 w 141"/>
                <a:gd name="T25" fmla="*/ 2147483646 h 75"/>
                <a:gd name="T26" fmla="*/ 2147483646 w 141"/>
                <a:gd name="T27" fmla="*/ 2147483646 h 75"/>
                <a:gd name="T28" fmla="*/ 2147483646 w 141"/>
                <a:gd name="T29" fmla="*/ 2147483646 h 75"/>
                <a:gd name="T30" fmla="*/ 2147483646 w 141"/>
                <a:gd name="T31" fmla="*/ 2147483646 h 75"/>
                <a:gd name="T32" fmla="*/ 2147483646 w 141"/>
                <a:gd name="T33" fmla="*/ 2147483646 h 75"/>
                <a:gd name="T34" fmla="*/ 2147483646 w 141"/>
                <a:gd name="T35" fmla="*/ 2147483646 h 75"/>
                <a:gd name="T36" fmla="*/ 2147483646 w 141"/>
                <a:gd name="T37" fmla="*/ 2147483646 h 75"/>
                <a:gd name="T38" fmla="*/ 2147483646 w 141"/>
                <a:gd name="T39" fmla="*/ 2147483646 h 75"/>
                <a:gd name="T40" fmla="*/ 2147483646 w 141"/>
                <a:gd name="T41" fmla="*/ 2147483646 h 75"/>
                <a:gd name="T42" fmla="*/ 2147483646 w 141"/>
                <a:gd name="T43" fmla="*/ 2147483646 h 75"/>
                <a:gd name="T44" fmla="*/ 2147483646 w 141"/>
                <a:gd name="T45" fmla="*/ 2147483646 h 75"/>
                <a:gd name="T46" fmla="*/ 2147483646 w 141"/>
                <a:gd name="T47" fmla="*/ 2147483646 h 75"/>
                <a:gd name="T48" fmla="*/ 2147483646 w 141"/>
                <a:gd name="T49" fmla="*/ 2147483646 h 75"/>
                <a:gd name="T50" fmla="*/ 2147483646 w 141"/>
                <a:gd name="T51" fmla="*/ 2147483646 h 75"/>
                <a:gd name="T52" fmla="*/ 2147483646 w 141"/>
                <a:gd name="T53" fmla="*/ 2147483646 h 75"/>
                <a:gd name="T54" fmla="*/ 2147483646 w 141"/>
                <a:gd name="T55" fmla="*/ 2147483646 h 75"/>
                <a:gd name="T56" fmla="*/ 2147483646 w 141"/>
                <a:gd name="T57" fmla="*/ 2147483646 h 75"/>
                <a:gd name="T58" fmla="*/ 2147483646 w 141"/>
                <a:gd name="T59" fmla="*/ 2147483646 h 75"/>
                <a:gd name="T60" fmla="*/ 2147483646 w 141"/>
                <a:gd name="T61" fmla="*/ 2147483646 h 75"/>
                <a:gd name="T62" fmla="*/ 2147483646 w 141"/>
                <a:gd name="T63" fmla="*/ 2147483646 h 75"/>
                <a:gd name="T64" fmla="*/ 2147483646 w 141"/>
                <a:gd name="T65" fmla="*/ 2147483646 h 75"/>
                <a:gd name="T66" fmla="*/ 2147483646 w 141"/>
                <a:gd name="T67" fmla="*/ 2147483646 h 75"/>
                <a:gd name="T68" fmla="*/ 2147483646 w 141"/>
                <a:gd name="T69" fmla="*/ 2147483646 h 75"/>
                <a:gd name="T70" fmla="*/ 2147483646 w 141"/>
                <a:gd name="T71" fmla="*/ 2147483646 h 75"/>
                <a:gd name="T72" fmla="*/ 2147483646 w 141"/>
                <a:gd name="T73" fmla="*/ 2147483646 h 75"/>
                <a:gd name="T74" fmla="*/ 2147483646 w 141"/>
                <a:gd name="T75" fmla="*/ 2147483646 h 75"/>
                <a:gd name="T76" fmla="*/ 2147483646 w 141"/>
                <a:gd name="T77" fmla="*/ 2147483646 h 75"/>
                <a:gd name="T78" fmla="*/ 2147483646 w 141"/>
                <a:gd name="T79" fmla="*/ 2147483646 h 75"/>
                <a:gd name="T80" fmla="*/ 2147483646 w 141"/>
                <a:gd name="T81" fmla="*/ 2147483646 h 75"/>
                <a:gd name="T82" fmla="*/ 2147483646 w 141"/>
                <a:gd name="T83" fmla="*/ 2147483646 h 75"/>
                <a:gd name="T84" fmla="*/ 2147483646 w 141"/>
                <a:gd name="T85" fmla="*/ 2147483646 h 75"/>
                <a:gd name="T86" fmla="*/ 2147483646 w 141"/>
                <a:gd name="T87" fmla="*/ 2147483646 h 75"/>
                <a:gd name="T88" fmla="*/ 2147483646 w 141"/>
                <a:gd name="T89" fmla="*/ 2147483646 h 75"/>
                <a:gd name="T90" fmla="*/ 2147483646 w 141"/>
                <a:gd name="T91" fmla="*/ 2147483646 h 75"/>
                <a:gd name="T92" fmla="*/ 2147483646 w 141"/>
                <a:gd name="T93" fmla="*/ 2147483646 h 75"/>
                <a:gd name="T94" fmla="*/ 2147483646 w 141"/>
                <a:gd name="T95" fmla="*/ 2147483646 h 7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41" h="75">
                  <a:moveTo>
                    <a:pt x="109" y="75"/>
                  </a:moveTo>
                  <a:cubicBezTo>
                    <a:pt x="105" y="73"/>
                    <a:pt x="111" y="64"/>
                    <a:pt x="108" y="63"/>
                  </a:cubicBezTo>
                  <a:cubicBezTo>
                    <a:pt x="110" y="62"/>
                    <a:pt x="111" y="62"/>
                    <a:pt x="111" y="60"/>
                  </a:cubicBezTo>
                  <a:cubicBezTo>
                    <a:pt x="111" y="60"/>
                    <a:pt x="112" y="60"/>
                    <a:pt x="112" y="59"/>
                  </a:cubicBezTo>
                  <a:cubicBezTo>
                    <a:pt x="112" y="59"/>
                    <a:pt x="113" y="59"/>
                    <a:pt x="113" y="60"/>
                  </a:cubicBezTo>
                  <a:cubicBezTo>
                    <a:pt x="113" y="58"/>
                    <a:pt x="112" y="56"/>
                    <a:pt x="114" y="57"/>
                  </a:cubicBezTo>
                  <a:cubicBezTo>
                    <a:pt x="113" y="57"/>
                    <a:pt x="114" y="57"/>
                    <a:pt x="113" y="56"/>
                  </a:cubicBezTo>
                  <a:cubicBezTo>
                    <a:pt x="121" y="56"/>
                    <a:pt x="115" y="50"/>
                    <a:pt x="114" y="52"/>
                  </a:cubicBezTo>
                  <a:cubicBezTo>
                    <a:pt x="114" y="52"/>
                    <a:pt x="114" y="52"/>
                    <a:pt x="114" y="51"/>
                  </a:cubicBezTo>
                  <a:cubicBezTo>
                    <a:pt x="113" y="51"/>
                    <a:pt x="112" y="50"/>
                    <a:pt x="111" y="50"/>
                  </a:cubicBezTo>
                  <a:cubicBezTo>
                    <a:pt x="111" y="50"/>
                    <a:pt x="111" y="50"/>
                    <a:pt x="111" y="51"/>
                  </a:cubicBezTo>
                  <a:cubicBezTo>
                    <a:pt x="110" y="49"/>
                    <a:pt x="111" y="50"/>
                    <a:pt x="113" y="50"/>
                  </a:cubicBezTo>
                  <a:cubicBezTo>
                    <a:pt x="113" y="51"/>
                    <a:pt x="115" y="50"/>
                    <a:pt x="116" y="51"/>
                  </a:cubicBezTo>
                  <a:cubicBezTo>
                    <a:pt x="118" y="53"/>
                    <a:pt x="119" y="51"/>
                    <a:pt x="119" y="49"/>
                  </a:cubicBezTo>
                  <a:cubicBezTo>
                    <a:pt x="123" y="52"/>
                    <a:pt x="125" y="45"/>
                    <a:pt x="126" y="43"/>
                  </a:cubicBezTo>
                  <a:cubicBezTo>
                    <a:pt x="125" y="43"/>
                    <a:pt x="122" y="43"/>
                    <a:pt x="121" y="42"/>
                  </a:cubicBezTo>
                  <a:cubicBezTo>
                    <a:pt x="118" y="39"/>
                    <a:pt x="118" y="39"/>
                    <a:pt x="122" y="40"/>
                  </a:cubicBezTo>
                  <a:cubicBezTo>
                    <a:pt x="123" y="41"/>
                    <a:pt x="124" y="44"/>
                    <a:pt x="126" y="42"/>
                  </a:cubicBezTo>
                  <a:cubicBezTo>
                    <a:pt x="126" y="41"/>
                    <a:pt x="130" y="37"/>
                    <a:pt x="127" y="37"/>
                  </a:cubicBezTo>
                  <a:cubicBezTo>
                    <a:pt x="127" y="35"/>
                    <a:pt x="128" y="36"/>
                    <a:pt x="130" y="36"/>
                  </a:cubicBezTo>
                  <a:cubicBezTo>
                    <a:pt x="130" y="36"/>
                    <a:pt x="130" y="38"/>
                    <a:pt x="132" y="38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3" y="37"/>
                    <a:pt x="133" y="38"/>
                  </a:cubicBezTo>
                  <a:cubicBezTo>
                    <a:pt x="133" y="37"/>
                    <a:pt x="132" y="36"/>
                    <a:pt x="133" y="35"/>
                  </a:cubicBezTo>
                  <a:cubicBezTo>
                    <a:pt x="134" y="36"/>
                    <a:pt x="134" y="37"/>
                    <a:pt x="136" y="36"/>
                  </a:cubicBezTo>
                  <a:cubicBezTo>
                    <a:pt x="137" y="35"/>
                    <a:pt x="138" y="33"/>
                    <a:pt x="139" y="32"/>
                  </a:cubicBezTo>
                  <a:cubicBezTo>
                    <a:pt x="141" y="30"/>
                    <a:pt x="136" y="28"/>
                    <a:pt x="138" y="26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37" y="25"/>
                    <a:pt x="137" y="25"/>
                    <a:pt x="136" y="24"/>
                  </a:cubicBezTo>
                  <a:cubicBezTo>
                    <a:pt x="137" y="24"/>
                    <a:pt x="137" y="23"/>
                    <a:pt x="138" y="24"/>
                  </a:cubicBezTo>
                  <a:cubicBezTo>
                    <a:pt x="139" y="24"/>
                    <a:pt x="140" y="21"/>
                    <a:pt x="138" y="22"/>
                  </a:cubicBezTo>
                  <a:cubicBezTo>
                    <a:pt x="138" y="21"/>
                    <a:pt x="139" y="20"/>
                    <a:pt x="139" y="20"/>
                  </a:cubicBezTo>
                  <a:cubicBezTo>
                    <a:pt x="136" y="19"/>
                    <a:pt x="137" y="19"/>
                    <a:pt x="136" y="16"/>
                  </a:cubicBezTo>
                  <a:cubicBezTo>
                    <a:pt x="136" y="16"/>
                    <a:pt x="131" y="16"/>
                    <a:pt x="130" y="15"/>
                  </a:cubicBezTo>
                  <a:cubicBezTo>
                    <a:pt x="130" y="16"/>
                    <a:pt x="129" y="18"/>
                    <a:pt x="130" y="19"/>
                  </a:cubicBezTo>
                  <a:cubicBezTo>
                    <a:pt x="130" y="20"/>
                    <a:pt x="132" y="20"/>
                    <a:pt x="130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28" y="23"/>
                    <a:pt x="129" y="24"/>
                    <a:pt x="128" y="26"/>
                  </a:cubicBezTo>
                  <a:cubicBezTo>
                    <a:pt x="127" y="28"/>
                    <a:pt x="127" y="31"/>
                    <a:pt x="125" y="32"/>
                  </a:cubicBezTo>
                  <a:cubicBezTo>
                    <a:pt x="123" y="29"/>
                    <a:pt x="123" y="28"/>
                    <a:pt x="123" y="24"/>
                  </a:cubicBezTo>
                  <a:cubicBezTo>
                    <a:pt x="124" y="26"/>
                    <a:pt x="123" y="25"/>
                    <a:pt x="124" y="25"/>
                  </a:cubicBezTo>
                  <a:cubicBezTo>
                    <a:pt x="124" y="24"/>
                    <a:pt x="123" y="19"/>
                    <a:pt x="121" y="19"/>
                  </a:cubicBezTo>
                  <a:cubicBezTo>
                    <a:pt x="119" y="19"/>
                    <a:pt x="119" y="24"/>
                    <a:pt x="118" y="25"/>
                  </a:cubicBezTo>
                  <a:cubicBezTo>
                    <a:pt x="117" y="24"/>
                    <a:pt x="118" y="23"/>
                    <a:pt x="118" y="22"/>
                  </a:cubicBezTo>
                  <a:cubicBezTo>
                    <a:pt x="118" y="21"/>
                    <a:pt x="116" y="19"/>
                    <a:pt x="116" y="18"/>
                  </a:cubicBezTo>
                  <a:cubicBezTo>
                    <a:pt x="116" y="18"/>
                    <a:pt x="116" y="18"/>
                    <a:pt x="117" y="19"/>
                  </a:cubicBezTo>
                  <a:cubicBezTo>
                    <a:pt x="118" y="17"/>
                    <a:pt x="114" y="17"/>
                    <a:pt x="113" y="16"/>
                  </a:cubicBezTo>
                  <a:cubicBezTo>
                    <a:pt x="114" y="15"/>
                    <a:pt x="115" y="14"/>
                    <a:pt x="113" y="13"/>
                  </a:cubicBezTo>
                  <a:cubicBezTo>
                    <a:pt x="114" y="13"/>
                    <a:pt x="115" y="13"/>
                    <a:pt x="115" y="13"/>
                  </a:cubicBezTo>
                  <a:cubicBezTo>
                    <a:pt x="115" y="12"/>
                    <a:pt x="112" y="10"/>
                    <a:pt x="112" y="8"/>
                  </a:cubicBezTo>
                  <a:cubicBezTo>
                    <a:pt x="112" y="7"/>
                    <a:pt x="112" y="6"/>
                    <a:pt x="112" y="5"/>
                  </a:cubicBezTo>
                  <a:cubicBezTo>
                    <a:pt x="111" y="4"/>
                    <a:pt x="110" y="3"/>
                    <a:pt x="110" y="2"/>
                  </a:cubicBezTo>
                  <a:cubicBezTo>
                    <a:pt x="109" y="3"/>
                    <a:pt x="108" y="2"/>
                    <a:pt x="109" y="1"/>
                  </a:cubicBezTo>
                  <a:cubicBezTo>
                    <a:pt x="107" y="0"/>
                    <a:pt x="107" y="1"/>
                    <a:pt x="106" y="2"/>
                  </a:cubicBezTo>
                  <a:cubicBezTo>
                    <a:pt x="105" y="3"/>
                    <a:pt x="107" y="4"/>
                    <a:pt x="106" y="5"/>
                  </a:cubicBezTo>
                  <a:cubicBezTo>
                    <a:pt x="105" y="3"/>
                    <a:pt x="104" y="7"/>
                    <a:pt x="104" y="8"/>
                  </a:cubicBezTo>
                  <a:cubicBezTo>
                    <a:pt x="104" y="9"/>
                    <a:pt x="104" y="9"/>
                    <a:pt x="105" y="9"/>
                  </a:cubicBezTo>
                  <a:cubicBezTo>
                    <a:pt x="105" y="10"/>
                    <a:pt x="104" y="11"/>
                    <a:pt x="104" y="11"/>
                  </a:cubicBezTo>
                  <a:cubicBezTo>
                    <a:pt x="103" y="14"/>
                    <a:pt x="108" y="19"/>
                    <a:pt x="110" y="17"/>
                  </a:cubicBezTo>
                  <a:cubicBezTo>
                    <a:pt x="111" y="18"/>
                    <a:pt x="111" y="19"/>
                    <a:pt x="110" y="19"/>
                  </a:cubicBezTo>
                  <a:cubicBezTo>
                    <a:pt x="110" y="19"/>
                    <a:pt x="110" y="18"/>
                    <a:pt x="110" y="18"/>
                  </a:cubicBezTo>
                  <a:cubicBezTo>
                    <a:pt x="109" y="18"/>
                    <a:pt x="109" y="21"/>
                    <a:pt x="108" y="22"/>
                  </a:cubicBezTo>
                  <a:cubicBezTo>
                    <a:pt x="109" y="22"/>
                    <a:pt x="109" y="22"/>
                    <a:pt x="110" y="21"/>
                  </a:cubicBezTo>
                  <a:cubicBezTo>
                    <a:pt x="110" y="21"/>
                    <a:pt x="110" y="22"/>
                    <a:pt x="109" y="22"/>
                  </a:cubicBezTo>
                  <a:cubicBezTo>
                    <a:pt x="110" y="21"/>
                    <a:pt x="110" y="21"/>
                    <a:pt x="110" y="20"/>
                  </a:cubicBezTo>
                  <a:cubicBezTo>
                    <a:pt x="111" y="24"/>
                    <a:pt x="110" y="27"/>
                    <a:pt x="106" y="26"/>
                  </a:cubicBezTo>
                  <a:cubicBezTo>
                    <a:pt x="106" y="27"/>
                    <a:pt x="106" y="28"/>
                    <a:pt x="106" y="29"/>
                  </a:cubicBezTo>
                  <a:cubicBezTo>
                    <a:pt x="107" y="30"/>
                    <a:pt x="107" y="30"/>
                    <a:pt x="107" y="32"/>
                  </a:cubicBezTo>
                  <a:cubicBezTo>
                    <a:pt x="106" y="31"/>
                    <a:pt x="106" y="31"/>
                    <a:pt x="106" y="30"/>
                  </a:cubicBezTo>
                  <a:cubicBezTo>
                    <a:pt x="106" y="31"/>
                    <a:pt x="105" y="31"/>
                    <a:pt x="105" y="31"/>
                  </a:cubicBezTo>
                  <a:cubicBezTo>
                    <a:pt x="105" y="30"/>
                    <a:pt x="105" y="30"/>
                    <a:pt x="104" y="30"/>
                  </a:cubicBezTo>
                  <a:cubicBezTo>
                    <a:pt x="105" y="29"/>
                    <a:pt x="105" y="27"/>
                    <a:pt x="105" y="25"/>
                  </a:cubicBezTo>
                  <a:cubicBezTo>
                    <a:pt x="105" y="26"/>
                    <a:pt x="104" y="26"/>
                    <a:pt x="104" y="27"/>
                  </a:cubicBezTo>
                  <a:cubicBezTo>
                    <a:pt x="104" y="26"/>
                    <a:pt x="104" y="26"/>
                    <a:pt x="104" y="25"/>
                  </a:cubicBezTo>
                  <a:cubicBezTo>
                    <a:pt x="102" y="25"/>
                    <a:pt x="103" y="24"/>
                    <a:pt x="102" y="24"/>
                  </a:cubicBezTo>
                  <a:cubicBezTo>
                    <a:pt x="101" y="24"/>
                    <a:pt x="100" y="24"/>
                    <a:pt x="99" y="24"/>
                  </a:cubicBezTo>
                  <a:cubicBezTo>
                    <a:pt x="100" y="26"/>
                    <a:pt x="100" y="28"/>
                    <a:pt x="102" y="27"/>
                  </a:cubicBezTo>
                  <a:cubicBezTo>
                    <a:pt x="103" y="31"/>
                    <a:pt x="100" y="28"/>
                    <a:pt x="99" y="26"/>
                  </a:cubicBezTo>
                  <a:cubicBezTo>
                    <a:pt x="99" y="27"/>
                    <a:pt x="99" y="28"/>
                    <a:pt x="100" y="28"/>
                  </a:cubicBezTo>
                  <a:cubicBezTo>
                    <a:pt x="96" y="28"/>
                    <a:pt x="94" y="28"/>
                    <a:pt x="91" y="29"/>
                  </a:cubicBezTo>
                  <a:cubicBezTo>
                    <a:pt x="90" y="29"/>
                    <a:pt x="89" y="27"/>
                    <a:pt x="88" y="26"/>
                  </a:cubicBezTo>
                  <a:cubicBezTo>
                    <a:pt x="88" y="26"/>
                    <a:pt x="86" y="26"/>
                    <a:pt x="85" y="26"/>
                  </a:cubicBezTo>
                  <a:cubicBezTo>
                    <a:pt x="85" y="25"/>
                    <a:pt x="84" y="25"/>
                    <a:pt x="83" y="24"/>
                  </a:cubicBezTo>
                  <a:cubicBezTo>
                    <a:pt x="83" y="24"/>
                    <a:pt x="83" y="22"/>
                    <a:pt x="83" y="22"/>
                  </a:cubicBezTo>
                  <a:cubicBezTo>
                    <a:pt x="82" y="20"/>
                    <a:pt x="81" y="21"/>
                    <a:pt x="79" y="21"/>
                  </a:cubicBezTo>
                  <a:cubicBezTo>
                    <a:pt x="78" y="22"/>
                    <a:pt x="77" y="22"/>
                    <a:pt x="76" y="24"/>
                  </a:cubicBezTo>
                  <a:cubicBezTo>
                    <a:pt x="75" y="25"/>
                    <a:pt x="77" y="26"/>
                    <a:pt x="78" y="26"/>
                  </a:cubicBezTo>
                  <a:cubicBezTo>
                    <a:pt x="78" y="25"/>
                    <a:pt x="78" y="25"/>
                    <a:pt x="77" y="25"/>
                  </a:cubicBezTo>
                  <a:cubicBezTo>
                    <a:pt x="78" y="24"/>
                    <a:pt x="79" y="25"/>
                    <a:pt x="80" y="25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1" y="24"/>
                  </a:cubicBezTo>
                  <a:cubicBezTo>
                    <a:pt x="80" y="23"/>
                    <a:pt x="81" y="23"/>
                    <a:pt x="82" y="23"/>
                  </a:cubicBezTo>
                  <a:cubicBezTo>
                    <a:pt x="81" y="24"/>
                    <a:pt x="81" y="25"/>
                    <a:pt x="80" y="26"/>
                  </a:cubicBezTo>
                  <a:cubicBezTo>
                    <a:pt x="78" y="26"/>
                    <a:pt x="78" y="27"/>
                    <a:pt x="78" y="27"/>
                  </a:cubicBezTo>
                  <a:cubicBezTo>
                    <a:pt x="77" y="29"/>
                    <a:pt x="77" y="28"/>
                    <a:pt x="78" y="31"/>
                  </a:cubicBezTo>
                  <a:cubicBezTo>
                    <a:pt x="79" y="32"/>
                    <a:pt x="79" y="32"/>
                    <a:pt x="79" y="33"/>
                  </a:cubicBezTo>
                  <a:cubicBezTo>
                    <a:pt x="78" y="33"/>
                    <a:pt x="78" y="33"/>
                    <a:pt x="78" y="34"/>
                  </a:cubicBezTo>
                  <a:cubicBezTo>
                    <a:pt x="77" y="34"/>
                    <a:pt x="77" y="33"/>
                    <a:pt x="76" y="32"/>
                  </a:cubicBezTo>
                  <a:cubicBezTo>
                    <a:pt x="77" y="32"/>
                    <a:pt x="77" y="32"/>
                    <a:pt x="78" y="32"/>
                  </a:cubicBezTo>
                  <a:cubicBezTo>
                    <a:pt x="77" y="30"/>
                    <a:pt x="75" y="31"/>
                    <a:pt x="76" y="29"/>
                  </a:cubicBezTo>
                  <a:cubicBezTo>
                    <a:pt x="76" y="29"/>
                    <a:pt x="75" y="30"/>
                    <a:pt x="75" y="30"/>
                  </a:cubicBezTo>
                  <a:cubicBezTo>
                    <a:pt x="76" y="27"/>
                    <a:pt x="73" y="29"/>
                    <a:pt x="72" y="26"/>
                  </a:cubicBezTo>
                  <a:cubicBezTo>
                    <a:pt x="68" y="29"/>
                    <a:pt x="64" y="30"/>
                    <a:pt x="60" y="27"/>
                  </a:cubicBezTo>
                  <a:cubicBezTo>
                    <a:pt x="60" y="26"/>
                    <a:pt x="60" y="25"/>
                    <a:pt x="62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2" y="25"/>
                    <a:pt x="63" y="25"/>
                    <a:pt x="63" y="25"/>
                  </a:cubicBezTo>
                  <a:cubicBezTo>
                    <a:pt x="63" y="22"/>
                    <a:pt x="61" y="21"/>
                    <a:pt x="58" y="21"/>
                  </a:cubicBezTo>
                  <a:cubicBezTo>
                    <a:pt x="58" y="21"/>
                    <a:pt x="59" y="21"/>
                    <a:pt x="59" y="22"/>
                  </a:cubicBezTo>
                  <a:cubicBezTo>
                    <a:pt x="55" y="21"/>
                    <a:pt x="51" y="20"/>
                    <a:pt x="48" y="17"/>
                  </a:cubicBezTo>
                  <a:cubicBezTo>
                    <a:pt x="47" y="16"/>
                    <a:pt x="44" y="14"/>
                    <a:pt x="42" y="15"/>
                  </a:cubicBezTo>
                  <a:cubicBezTo>
                    <a:pt x="42" y="16"/>
                    <a:pt x="42" y="18"/>
                    <a:pt x="41" y="18"/>
                  </a:cubicBezTo>
                  <a:cubicBezTo>
                    <a:pt x="41" y="18"/>
                    <a:pt x="40" y="18"/>
                    <a:pt x="39" y="18"/>
                  </a:cubicBezTo>
                  <a:cubicBezTo>
                    <a:pt x="39" y="17"/>
                    <a:pt x="40" y="17"/>
                    <a:pt x="40" y="16"/>
                  </a:cubicBezTo>
                  <a:cubicBezTo>
                    <a:pt x="38" y="16"/>
                    <a:pt x="40" y="13"/>
                    <a:pt x="39" y="13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8" y="14"/>
                    <a:pt x="36" y="16"/>
                    <a:pt x="37" y="17"/>
                  </a:cubicBezTo>
                  <a:cubicBezTo>
                    <a:pt x="36" y="19"/>
                    <a:pt x="34" y="18"/>
                    <a:pt x="34" y="16"/>
                  </a:cubicBezTo>
                  <a:cubicBezTo>
                    <a:pt x="33" y="13"/>
                    <a:pt x="33" y="12"/>
                    <a:pt x="31" y="10"/>
                  </a:cubicBezTo>
                  <a:cubicBezTo>
                    <a:pt x="30" y="11"/>
                    <a:pt x="31" y="12"/>
                    <a:pt x="32" y="12"/>
                  </a:cubicBezTo>
                  <a:cubicBezTo>
                    <a:pt x="30" y="14"/>
                    <a:pt x="29" y="15"/>
                    <a:pt x="28" y="16"/>
                  </a:cubicBezTo>
                  <a:cubicBezTo>
                    <a:pt x="29" y="15"/>
                    <a:pt x="29" y="15"/>
                    <a:pt x="29" y="14"/>
                  </a:cubicBezTo>
                  <a:cubicBezTo>
                    <a:pt x="26" y="16"/>
                    <a:pt x="25" y="16"/>
                    <a:pt x="24" y="19"/>
                  </a:cubicBezTo>
                  <a:cubicBezTo>
                    <a:pt x="24" y="19"/>
                    <a:pt x="24" y="18"/>
                    <a:pt x="24" y="17"/>
                  </a:cubicBezTo>
                  <a:cubicBezTo>
                    <a:pt x="22" y="18"/>
                    <a:pt x="21" y="19"/>
                    <a:pt x="19" y="20"/>
                  </a:cubicBezTo>
                  <a:cubicBezTo>
                    <a:pt x="20" y="19"/>
                    <a:pt x="21" y="18"/>
                    <a:pt x="21" y="18"/>
                  </a:cubicBezTo>
                  <a:cubicBezTo>
                    <a:pt x="22" y="17"/>
                    <a:pt x="23" y="17"/>
                    <a:pt x="24" y="17"/>
                  </a:cubicBezTo>
                  <a:cubicBezTo>
                    <a:pt x="25" y="16"/>
                    <a:pt x="28" y="14"/>
                    <a:pt x="27" y="12"/>
                  </a:cubicBezTo>
                  <a:cubicBezTo>
                    <a:pt x="24" y="14"/>
                    <a:pt x="21" y="16"/>
                    <a:pt x="18" y="18"/>
                  </a:cubicBezTo>
                  <a:cubicBezTo>
                    <a:pt x="17" y="18"/>
                    <a:pt x="17" y="19"/>
                    <a:pt x="16" y="20"/>
                  </a:cubicBezTo>
                  <a:cubicBezTo>
                    <a:pt x="15" y="21"/>
                    <a:pt x="17" y="22"/>
                    <a:pt x="17" y="23"/>
                  </a:cubicBezTo>
                  <a:cubicBezTo>
                    <a:pt x="16" y="22"/>
                    <a:pt x="15" y="21"/>
                    <a:pt x="14" y="21"/>
                  </a:cubicBezTo>
                  <a:cubicBezTo>
                    <a:pt x="14" y="22"/>
                    <a:pt x="14" y="22"/>
                    <a:pt x="14" y="23"/>
                  </a:cubicBezTo>
                  <a:cubicBezTo>
                    <a:pt x="13" y="23"/>
                    <a:pt x="12" y="22"/>
                    <a:pt x="11" y="21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6" y="18"/>
                    <a:pt x="5" y="17"/>
                    <a:pt x="1" y="16"/>
                  </a:cubicBezTo>
                  <a:cubicBezTo>
                    <a:pt x="1" y="26"/>
                    <a:pt x="1" y="35"/>
                    <a:pt x="1" y="45"/>
                  </a:cubicBezTo>
                  <a:cubicBezTo>
                    <a:pt x="1" y="51"/>
                    <a:pt x="1" y="57"/>
                    <a:pt x="1" y="63"/>
                  </a:cubicBezTo>
                  <a:cubicBezTo>
                    <a:pt x="1" y="66"/>
                    <a:pt x="0" y="71"/>
                    <a:pt x="5" y="68"/>
                  </a:cubicBezTo>
                  <a:cubicBezTo>
                    <a:pt x="4" y="70"/>
                    <a:pt x="8" y="72"/>
                    <a:pt x="9" y="74"/>
                  </a:cubicBezTo>
                  <a:cubicBezTo>
                    <a:pt x="11" y="74"/>
                    <a:pt x="11" y="72"/>
                    <a:pt x="13" y="71"/>
                  </a:cubicBezTo>
                  <a:cubicBezTo>
                    <a:pt x="15" y="70"/>
                    <a:pt x="14" y="75"/>
                    <a:pt x="16" y="75"/>
                  </a:cubicBezTo>
                  <a:cubicBezTo>
                    <a:pt x="18" y="75"/>
                    <a:pt x="20" y="75"/>
                    <a:pt x="21" y="75"/>
                  </a:cubicBezTo>
                  <a:cubicBezTo>
                    <a:pt x="32" y="75"/>
                    <a:pt x="42" y="75"/>
                    <a:pt x="53" y="75"/>
                  </a:cubicBezTo>
                  <a:cubicBezTo>
                    <a:pt x="71" y="75"/>
                    <a:pt x="90" y="75"/>
                    <a:pt x="109" y="7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4" name="Freeform 721"/>
            <p:cNvSpPr/>
            <p:nvPr/>
          </p:nvSpPr>
          <p:spPr bwMode="auto">
            <a:xfrm>
              <a:off x="6099225" y="1795042"/>
              <a:ext cx="1376363" cy="600076"/>
            </a:xfrm>
            <a:custGeom>
              <a:avLst/>
              <a:gdLst>
                <a:gd name="T0" fmla="*/ 2147483646 w 185"/>
                <a:gd name="T1" fmla="*/ 2147483646 h 81"/>
                <a:gd name="T2" fmla="*/ 2147483646 w 185"/>
                <a:gd name="T3" fmla="*/ 2147483646 h 81"/>
                <a:gd name="T4" fmla="*/ 2147483646 w 185"/>
                <a:gd name="T5" fmla="*/ 2147483646 h 81"/>
                <a:gd name="T6" fmla="*/ 2147483646 w 185"/>
                <a:gd name="T7" fmla="*/ 2147483646 h 81"/>
                <a:gd name="T8" fmla="*/ 2147483646 w 185"/>
                <a:gd name="T9" fmla="*/ 2147483646 h 81"/>
                <a:gd name="T10" fmla="*/ 2147483646 w 185"/>
                <a:gd name="T11" fmla="*/ 2147483646 h 81"/>
                <a:gd name="T12" fmla="*/ 2147483646 w 185"/>
                <a:gd name="T13" fmla="*/ 2147483646 h 81"/>
                <a:gd name="T14" fmla="*/ 2147483646 w 185"/>
                <a:gd name="T15" fmla="*/ 2147483646 h 81"/>
                <a:gd name="T16" fmla="*/ 2147483646 w 185"/>
                <a:gd name="T17" fmla="*/ 2147483646 h 81"/>
                <a:gd name="T18" fmla="*/ 2147483646 w 185"/>
                <a:gd name="T19" fmla="*/ 2147483646 h 81"/>
                <a:gd name="T20" fmla="*/ 2147483646 w 185"/>
                <a:gd name="T21" fmla="*/ 2147483646 h 81"/>
                <a:gd name="T22" fmla="*/ 2147483646 w 185"/>
                <a:gd name="T23" fmla="*/ 2147483646 h 81"/>
                <a:gd name="T24" fmla="*/ 2147483646 w 185"/>
                <a:gd name="T25" fmla="*/ 2147483646 h 81"/>
                <a:gd name="T26" fmla="*/ 2147483646 w 185"/>
                <a:gd name="T27" fmla="*/ 2147483646 h 81"/>
                <a:gd name="T28" fmla="*/ 2147483646 w 185"/>
                <a:gd name="T29" fmla="*/ 2147483646 h 81"/>
                <a:gd name="T30" fmla="*/ 2147483646 w 185"/>
                <a:gd name="T31" fmla="*/ 2147483646 h 81"/>
                <a:gd name="T32" fmla="*/ 2147483646 w 185"/>
                <a:gd name="T33" fmla="*/ 2147483646 h 81"/>
                <a:gd name="T34" fmla="*/ 2147483646 w 185"/>
                <a:gd name="T35" fmla="*/ 2147483646 h 81"/>
                <a:gd name="T36" fmla="*/ 2147483646 w 185"/>
                <a:gd name="T37" fmla="*/ 2147483646 h 81"/>
                <a:gd name="T38" fmla="*/ 2147483646 w 185"/>
                <a:gd name="T39" fmla="*/ 2147483646 h 81"/>
                <a:gd name="T40" fmla="*/ 2147483646 w 185"/>
                <a:gd name="T41" fmla="*/ 2147483646 h 81"/>
                <a:gd name="T42" fmla="*/ 2147483646 w 185"/>
                <a:gd name="T43" fmla="*/ 2147483646 h 81"/>
                <a:gd name="T44" fmla="*/ 2147483646 w 185"/>
                <a:gd name="T45" fmla="*/ 2147483646 h 81"/>
                <a:gd name="T46" fmla="*/ 2147483646 w 185"/>
                <a:gd name="T47" fmla="*/ 2147483646 h 81"/>
                <a:gd name="T48" fmla="*/ 2147483646 w 185"/>
                <a:gd name="T49" fmla="*/ 2147483646 h 81"/>
                <a:gd name="T50" fmla="*/ 2147483646 w 185"/>
                <a:gd name="T51" fmla="*/ 2147483646 h 81"/>
                <a:gd name="T52" fmla="*/ 2147483646 w 185"/>
                <a:gd name="T53" fmla="*/ 2147483646 h 81"/>
                <a:gd name="T54" fmla="*/ 2147483646 w 185"/>
                <a:gd name="T55" fmla="*/ 2147483646 h 81"/>
                <a:gd name="T56" fmla="*/ 2147483646 w 185"/>
                <a:gd name="T57" fmla="*/ 2147483646 h 81"/>
                <a:gd name="T58" fmla="*/ 2147483646 w 185"/>
                <a:gd name="T59" fmla="*/ 2147483646 h 81"/>
                <a:gd name="T60" fmla="*/ 2147483646 w 185"/>
                <a:gd name="T61" fmla="*/ 2147483646 h 81"/>
                <a:gd name="T62" fmla="*/ 2147483646 w 185"/>
                <a:gd name="T63" fmla="*/ 2147483646 h 81"/>
                <a:gd name="T64" fmla="*/ 2147483646 w 185"/>
                <a:gd name="T65" fmla="*/ 2147483646 h 81"/>
                <a:gd name="T66" fmla="*/ 2147483646 w 185"/>
                <a:gd name="T67" fmla="*/ 2147483646 h 81"/>
                <a:gd name="T68" fmla="*/ 2147483646 w 185"/>
                <a:gd name="T69" fmla="*/ 2147483646 h 81"/>
                <a:gd name="T70" fmla="*/ 2147483646 w 185"/>
                <a:gd name="T71" fmla="*/ 2147483646 h 81"/>
                <a:gd name="T72" fmla="*/ 2147483646 w 185"/>
                <a:gd name="T73" fmla="*/ 2147483646 h 81"/>
                <a:gd name="T74" fmla="*/ 2147483646 w 185"/>
                <a:gd name="T75" fmla="*/ 2147483646 h 81"/>
                <a:gd name="T76" fmla="*/ 2147483646 w 185"/>
                <a:gd name="T77" fmla="*/ 2147483646 h 81"/>
                <a:gd name="T78" fmla="*/ 2147483646 w 185"/>
                <a:gd name="T79" fmla="*/ 2147483646 h 81"/>
                <a:gd name="T80" fmla="*/ 2147483646 w 185"/>
                <a:gd name="T81" fmla="*/ 2147483646 h 81"/>
                <a:gd name="T82" fmla="*/ 2147483646 w 185"/>
                <a:gd name="T83" fmla="*/ 2147483646 h 81"/>
                <a:gd name="T84" fmla="*/ 2147483646 w 185"/>
                <a:gd name="T85" fmla="*/ 2147483646 h 81"/>
                <a:gd name="T86" fmla="*/ 2147483646 w 185"/>
                <a:gd name="T87" fmla="*/ 2147483646 h 81"/>
                <a:gd name="T88" fmla="*/ 2147483646 w 185"/>
                <a:gd name="T89" fmla="*/ 2147483646 h 81"/>
                <a:gd name="T90" fmla="*/ 2147483646 w 185"/>
                <a:gd name="T91" fmla="*/ 2147483646 h 81"/>
                <a:gd name="T92" fmla="*/ 2147483646 w 185"/>
                <a:gd name="T93" fmla="*/ 2147483646 h 81"/>
                <a:gd name="T94" fmla="*/ 2147483646 w 185"/>
                <a:gd name="T95" fmla="*/ 2147483646 h 81"/>
                <a:gd name="T96" fmla="*/ 2147483646 w 185"/>
                <a:gd name="T97" fmla="*/ 2147483646 h 81"/>
                <a:gd name="T98" fmla="*/ 2147483646 w 185"/>
                <a:gd name="T99" fmla="*/ 2147483646 h 81"/>
                <a:gd name="T100" fmla="*/ 2147483646 w 185"/>
                <a:gd name="T101" fmla="*/ 2147483646 h 81"/>
                <a:gd name="T102" fmla="*/ 2147483646 w 185"/>
                <a:gd name="T103" fmla="*/ 2147483646 h 81"/>
                <a:gd name="T104" fmla="*/ 2147483646 w 185"/>
                <a:gd name="T105" fmla="*/ 2147483646 h 81"/>
                <a:gd name="T106" fmla="*/ 2147483646 w 185"/>
                <a:gd name="T107" fmla="*/ 2147483646 h 81"/>
                <a:gd name="T108" fmla="*/ 2147483646 w 185"/>
                <a:gd name="T109" fmla="*/ 2147483646 h 81"/>
                <a:gd name="T110" fmla="*/ 2147483646 w 185"/>
                <a:gd name="T111" fmla="*/ 2147483646 h 81"/>
                <a:gd name="T112" fmla="*/ 2147483646 w 185"/>
                <a:gd name="T113" fmla="*/ 2147483646 h 81"/>
                <a:gd name="T114" fmla="*/ 2147483646 w 185"/>
                <a:gd name="T115" fmla="*/ 2147483646 h 81"/>
                <a:gd name="T116" fmla="*/ 2147483646 w 185"/>
                <a:gd name="T117" fmla="*/ 2147483646 h 81"/>
                <a:gd name="T118" fmla="*/ 2147483646 w 185"/>
                <a:gd name="T119" fmla="*/ 2147483646 h 81"/>
                <a:gd name="T120" fmla="*/ 2147483646 w 185"/>
                <a:gd name="T121" fmla="*/ 2147483646 h 81"/>
                <a:gd name="T122" fmla="*/ 2147483646 w 185"/>
                <a:gd name="T123" fmla="*/ 2147483646 h 81"/>
                <a:gd name="T124" fmla="*/ 2147483646 w 185"/>
                <a:gd name="T125" fmla="*/ 2147483646 h 8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85" h="81">
                  <a:moveTo>
                    <a:pt x="0" y="19"/>
                  </a:moveTo>
                  <a:cubicBezTo>
                    <a:pt x="4" y="20"/>
                    <a:pt x="4" y="26"/>
                    <a:pt x="6" y="28"/>
                  </a:cubicBezTo>
                  <a:cubicBezTo>
                    <a:pt x="7" y="29"/>
                    <a:pt x="10" y="30"/>
                    <a:pt x="10" y="31"/>
                  </a:cubicBezTo>
                  <a:cubicBezTo>
                    <a:pt x="11" y="32"/>
                    <a:pt x="10" y="35"/>
                    <a:pt x="10" y="36"/>
                  </a:cubicBezTo>
                  <a:cubicBezTo>
                    <a:pt x="8" y="37"/>
                    <a:pt x="11" y="38"/>
                    <a:pt x="10" y="39"/>
                  </a:cubicBezTo>
                  <a:cubicBezTo>
                    <a:pt x="10" y="40"/>
                    <a:pt x="12" y="41"/>
                    <a:pt x="13" y="41"/>
                  </a:cubicBezTo>
                  <a:cubicBezTo>
                    <a:pt x="12" y="42"/>
                    <a:pt x="12" y="45"/>
                    <a:pt x="14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6"/>
                    <a:pt x="15" y="47"/>
                    <a:pt x="15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7" y="48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1"/>
                    <a:pt x="18" y="51"/>
                    <a:pt x="19" y="50"/>
                  </a:cubicBezTo>
                  <a:cubicBezTo>
                    <a:pt x="19" y="50"/>
                    <a:pt x="19" y="51"/>
                    <a:pt x="20" y="51"/>
                  </a:cubicBezTo>
                  <a:cubicBezTo>
                    <a:pt x="20" y="52"/>
                    <a:pt x="19" y="52"/>
                    <a:pt x="19" y="52"/>
                  </a:cubicBezTo>
                  <a:cubicBezTo>
                    <a:pt x="21" y="52"/>
                    <a:pt x="22" y="52"/>
                    <a:pt x="23" y="52"/>
                  </a:cubicBezTo>
                  <a:cubicBezTo>
                    <a:pt x="22" y="54"/>
                    <a:pt x="24" y="56"/>
                    <a:pt x="24" y="54"/>
                  </a:cubicBezTo>
                  <a:cubicBezTo>
                    <a:pt x="25" y="54"/>
                    <a:pt x="25" y="55"/>
                    <a:pt x="25" y="56"/>
                  </a:cubicBezTo>
                  <a:cubicBezTo>
                    <a:pt x="25" y="56"/>
                    <a:pt x="26" y="55"/>
                    <a:pt x="26" y="55"/>
                  </a:cubicBezTo>
                  <a:cubicBezTo>
                    <a:pt x="26" y="56"/>
                    <a:pt x="26" y="57"/>
                    <a:pt x="28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8" y="59"/>
                    <a:pt x="34" y="58"/>
                    <a:pt x="36" y="58"/>
                  </a:cubicBezTo>
                  <a:cubicBezTo>
                    <a:pt x="44" y="58"/>
                    <a:pt x="52" y="58"/>
                    <a:pt x="60" y="58"/>
                  </a:cubicBezTo>
                  <a:cubicBezTo>
                    <a:pt x="67" y="58"/>
                    <a:pt x="74" y="58"/>
                    <a:pt x="82" y="58"/>
                  </a:cubicBezTo>
                  <a:cubicBezTo>
                    <a:pt x="84" y="58"/>
                    <a:pt x="92" y="59"/>
                    <a:pt x="91" y="56"/>
                  </a:cubicBezTo>
                  <a:cubicBezTo>
                    <a:pt x="92" y="58"/>
                    <a:pt x="92" y="59"/>
                    <a:pt x="94" y="59"/>
                  </a:cubicBezTo>
                  <a:cubicBezTo>
                    <a:pt x="96" y="59"/>
                    <a:pt x="97" y="59"/>
                    <a:pt x="98" y="60"/>
                  </a:cubicBezTo>
                  <a:cubicBezTo>
                    <a:pt x="101" y="61"/>
                    <a:pt x="104" y="62"/>
                    <a:pt x="106" y="59"/>
                  </a:cubicBezTo>
                  <a:cubicBezTo>
                    <a:pt x="106" y="59"/>
                    <a:pt x="106" y="59"/>
                    <a:pt x="106" y="60"/>
                  </a:cubicBezTo>
                  <a:cubicBezTo>
                    <a:pt x="106" y="59"/>
                    <a:pt x="107" y="59"/>
                    <a:pt x="107" y="58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7"/>
                    <a:pt x="109" y="58"/>
                    <a:pt x="110" y="60"/>
                  </a:cubicBezTo>
                  <a:cubicBezTo>
                    <a:pt x="110" y="59"/>
                    <a:pt x="110" y="59"/>
                    <a:pt x="110" y="58"/>
                  </a:cubicBezTo>
                  <a:cubicBezTo>
                    <a:pt x="113" y="58"/>
                    <a:pt x="111" y="62"/>
                    <a:pt x="115" y="61"/>
                  </a:cubicBezTo>
                  <a:cubicBezTo>
                    <a:pt x="114" y="63"/>
                    <a:pt x="116" y="64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7" y="68"/>
                    <a:pt x="122" y="68"/>
                    <a:pt x="123" y="68"/>
                  </a:cubicBezTo>
                  <a:cubicBezTo>
                    <a:pt x="126" y="68"/>
                    <a:pt x="126" y="70"/>
                    <a:pt x="127" y="72"/>
                  </a:cubicBezTo>
                  <a:cubicBezTo>
                    <a:pt x="127" y="72"/>
                    <a:pt x="126" y="72"/>
                    <a:pt x="126" y="71"/>
                  </a:cubicBezTo>
                  <a:cubicBezTo>
                    <a:pt x="126" y="72"/>
                    <a:pt x="126" y="72"/>
                    <a:pt x="126" y="73"/>
                  </a:cubicBezTo>
                  <a:cubicBezTo>
                    <a:pt x="125" y="72"/>
                    <a:pt x="125" y="72"/>
                    <a:pt x="124" y="72"/>
                  </a:cubicBezTo>
                  <a:cubicBezTo>
                    <a:pt x="124" y="71"/>
                    <a:pt x="123" y="71"/>
                    <a:pt x="122" y="70"/>
                  </a:cubicBezTo>
                  <a:cubicBezTo>
                    <a:pt x="123" y="72"/>
                    <a:pt x="122" y="73"/>
                    <a:pt x="122" y="75"/>
                  </a:cubicBezTo>
                  <a:cubicBezTo>
                    <a:pt x="122" y="77"/>
                    <a:pt x="119" y="78"/>
                    <a:pt x="120" y="80"/>
                  </a:cubicBezTo>
                  <a:cubicBezTo>
                    <a:pt x="120" y="79"/>
                    <a:pt x="119" y="80"/>
                    <a:pt x="119" y="81"/>
                  </a:cubicBezTo>
                  <a:cubicBezTo>
                    <a:pt x="121" y="81"/>
                    <a:pt x="122" y="79"/>
                    <a:pt x="123" y="79"/>
                  </a:cubicBezTo>
                  <a:cubicBezTo>
                    <a:pt x="124" y="78"/>
                    <a:pt x="125" y="79"/>
                    <a:pt x="126" y="78"/>
                  </a:cubicBezTo>
                  <a:cubicBezTo>
                    <a:pt x="126" y="78"/>
                    <a:pt x="128" y="78"/>
                    <a:pt x="129" y="78"/>
                  </a:cubicBezTo>
                  <a:cubicBezTo>
                    <a:pt x="129" y="77"/>
                    <a:pt x="128" y="76"/>
                    <a:pt x="127" y="77"/>
                  </a:cubicBezTo>
                  <a:cubicBezTo>
                    <a:pt x="128" y="75"/>
                    <a:pt x="131" y="75"/>
                    <a:pt x="133" y="75"/>
                  </a:cubicBezTo>
                  <a:cubicBezTo>
                    <a:pt x="133" y="74"/>
                    <a:pt x="133" y="74"/>
                    <a:pt x="133" y="74"/>
                  </a:cubicBezTo>
                  <a:cubicBezTo>
                    <a:pt x="134" y="74"/>
                    <a:pt x="136" y="72"/>
                    <a:pt x="138" y="71"/>
                  </a:cubicBezTo>
                  <a:cubicBezTo>
                    <a:pt x="139" y="70"/>
                    <a:pt x="143" y="71"/>
                    <a:pt x="145" y="71"/>
                  </a:cubicBezTo>
                  <a:cubicBezTo>
                    <a:pt x="146" y="71"/>
                    <a:pt x="148" y="70"/>
                    <a:pt x="148" y="69"/>
                  </a:cubicBezTo>
                  <a:cubicBezTo>
                    <a:pt x="149" y="67"/>
                    <a:pt x="149" y="65"/>
                    <a:pt x="151" y="63"/>
                  </a:cubicBezTo>
                  <a:cubicBezTo>
                    <a:pt x="152" y="65"/>
                    <a:pt x="153" y="62"/>
                    <a:pt x="154" y="64"/>
                  </a:cubicBezTo>
                  <a:cubicBezTo>
                    <a:pt x="155" y="65"/>
                    <a:pt x="154" y="69"/>
                    <a:pt x="155" y="69"/>
                  </a:cubicBezTo>
                  <a:cubicBezTo>
                    <a:pt x="156" y="69"/>
                    <a:pt x="155" y="70"/>
                    <a:pt x="156" y="70"/>
                  </a:cubicBezTo>
                  <a:cubicBezTo>
                    <a:pt x="157" y="71"/>
                    <a:pt x="158" y="70"/>
                    <a:pt x="159" y="70"/>
                  </a:cubicBezTo>
                  <a:cubicBezTo>
                    <a:pt x="160" y="70"/>
                    <a:pt x="161" y="68"/>
                    <a:pt x="163" y="68"/>
                  </a:cubicBezTo>
                  <a:cubicBezTo>
                    <a:pt x="159" y="70"/>
                    <a:pt x="164" y="70"/>
                    <a:pt x="165" y="70"/>
                  </a:cubicBezTo>
                  <a:cubicBezTo>
                    <a:pt x="164" y="71"/>
                    <a:pt x="163" y="70"/>
                    <a:pt x="162" y="70"/>
                  </a:cubicBezTo>
                  <a:cubicBezTo>
                    <a:pt x="161" y="71"/>
                    <a:pt x="160" y="72"/>
                    <a:pt x="158" y="73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158" y="73"/>
                    <a:pt x="158" y="76"/>
                    <a:pt x="160" y="76"/>
                  </a:cubicBezTo>
                  <a:cubicBezTo>
                    <a:pt x="162" y="76"/>
                    <a:pt x="162" y="72"/>
                    <a:pt x="164" y="73"/>
                  </a:cubicBezTo>
                  <a:cubicBezTo>
                    <a:pt x="164" y="72"/>
                    <a:pt x="169" y="71"/>
                    <a:pt x="170" y="70"/>
                  </a:cubicBezTo>
                  <a:cubicBezTo>
                    <a:pt x="170" y="69"/>
                    <a:pt x="169" y="69"/>
                    <a:pt x="168" y="68"/>
                  </a:cubicBezTo>
                  <a:cubicBezTo>
                    <a:pt x="166" y="69"/>
                    <a:pt x="165" y="68"/>
                    <a:pt x="163" y="68"/>
                  </a:cubicBezTo>
                  <a:cubicBezTo>
                    <a:pt x="164" y="68"/>
                    <a:pt x="164" y="68"/>
                    <a:pt x="164" y="67"/>
                  </a:cubicBezTo>
                  <a:cubicBezTo>
                    <a:pt x="161" y="67"/>
                    <a:pt x="162" y="64"/>
                    <a:pt x="160" y="64"/>
                  </a:cubicBezTo>
                  <a:cubicBezTo>
                    <a:pt x="161" y="63"/>
                    <a:pt x="162" y="62"/>
                    <a:pt x="161" y="61"/>
                  </a:cubicBezTo>
                  <a:cubicBezTo>
                    <a:pt x="161" y="61"/>
                    <a:pt x="160" y="62"/>
                    <a:pt x="159" y="62"/>
                  </a:cubicBezTo>
                  <a:cubicBezTo>
                    <a:pt x="159" y="61"/>
                    <a:pt x="158" y="61"/>
                    <a:pt x="157" y="61"/>
                  </a:cubicBezTo>
                  <a:cubicBezTo>
                    <a:pt x="159" y="60"/>
                    <a:pt x="162" y="61"/>
                    <a:pt x="163" y="59"/>
                  </a:cubicBezTo>
                  <a:cubicBezTo>
                    <a:pt x="163" y="56"/>
                    <a:pt x="159" y="57"/>
                    <a:pt x="158" y="57"/>
                  </a:cubicBezTo>
                  <a:cubicBezTo>
                    <a:pt x="156" y="57"/>
                    <a:pt x="153" y="59"/>
                    <a:pt x="152" y="60"/>
                  </a:cubicBezTo>
                  <a:cubicBezTo>
                    <a:pt x="150" y="61"/>
                    <a:pt x="149" y="64"/>
                    <a:pt x="147" y="65"/>
                  </a:cubicBezTo>
                  <a:cubicBezTo>
                    <a:pt x="148" y="63"/>
                    <a:pt x="150" y="61"/>
                    <a:pt x="151" y="59"/>
                  </a:cubicBezTo>
                  <a:cubicBezTo>
                    <a:pt x="152" y="58"/>
                    <a:pt x="153" y="57"/>
                    <a:pt x="154" y="56"/>
                  </a:cubicBezTo>
                  <a:cubicBezTo>
                    <a:pt x="154" y="56"/>
                    <a:pt x="155" y="57"/>
                    <a:pt x="156" y="56"/>
                  </a:cubicBezTo>
                  <a:cubicBezTo>
                    <a:pt x="156" y="56"/>
                    <a:pt x="156" y="55"/>
                    <a:pt x="157" y="54"/>
                  </a:cubicBezTo>
                  <a:cubicBezTo>
                    <a:pt x="159" y="52"/>
                    <a:pt x="163" y="53"/>
                    <a:pt x="165" y="53"/>
                  </a:cubicBezTo>
                  <a:cubicBezTo>
                    <a:pt x="168" y="53"/>
                    <a:pt x="169" y="53"/>
                    <a:pt x="172" y="52"/>
                  </a:cubicBezTo>
                  <a:cubicBezTo>
                    <a:pt x="172" y="54"/>
                    <a:pt x="175" y="49"/>
                    <a:pt x="177" y="49"/>
                  </a:cubicBezTo>
                  <a:cubicBezTo>
                    <a:pt x="178" y="49"/>
                    <a:pt x="185" y="47"/>
                    <a:pt x="182" y="45"/>
                  </a:cubicBezTo>
                  <a:cubicBezTo>
                    <a:pt x="182" y="45"/>
                    <a:pt x="182" y="45"/>
                    <a:pt x="183" y="45"/>
                  </a:cubicBezTo>
                  <a:cubicBezTo>
                    <a:pt x="182" y="45"/>
                    <a:pt x="182" y="45"/>
                    <a:pt x="182" y="44"/>
                  </a:cubicBezTo>
                  <a:cubicBezTo>
                    <a:pt x="183" y="44"/>
                    <a:pt x="182" y="43"/>
                    <a:pt x="181" y="42"/>
                  </a:cubicBezTo>
                  <a:cubicBezTo>
                    <a:pt x="182" y="42"/>
                    <a:pt x="182" y="42"/>
                    <a:pt x="183" y="42"/>
                  </a:cubicBezTo>
                  <a:cubicBezTo>
                    <a:pt x="182" y="42"/>
                    <a:pt x="182" y="41"/>
                    <a:pt x="182" y="41"/>
                  </a:cubicBezTo>
                  <a:cubicBezTo>
                    <a:pt x="181" y="40"/>
                    <a:pt x="179" y="39"/>
                    <a:pt x="179" y="41"/>
                  </a:cubicBezTo>
                  <a:cubicBezTo>
                    <a:pt x="179" y="40"/>
                    <a:pt x="179" y="39"/>
                    <a:pt x="179" y="38"/>
                  </a:cubicBezTo>
                  <a:cubicBezTo>
                    <a:pt x="178" y="38"/>
                    <a:pt x="177" y="38"/>
                    <a:pt x="177" y="38"/>
                  </a:cubicBezTo>
                  <a:cubicBezTo>
                    <a:pt x="177" y="38"/>
                    <a:pt x="178" y="39"/>
                    <a:pt x="178" y="39"/>
                  </a:cubicBezTo>
                  <a:cubicBezTo>
                    <a:pt x="175" y="39"/>
                    <a:pt x="174" y="40"/>
                    <a:pt x="172" y="42"/>
                  </a:cubicBezTo>
                  <a:cubicBezTo>
                    <a:pt x="172" y="41"/>
                    <a:pt x="171" y="40"/>
                    <a:pt x="170" y="40"/>
                  </a:cubicBezTo>
                  <a:cubicBezTo>
                    <a:pt x="171" y="39"/>
                    <a:pt x="172" y="41"/>
                    <a:pt x="173" y="40"/>
                  </a:cubicBezTo>
                  <a:cubicBezTo>
                    <a:pt x="173" y="39"/>
                    <a:pt x="175" y="39"/>
                    <a:pt x="176" y="38"/>
                  </a:cubicBezTo>
                  <a:cubicBezTo>
                    <a:pt x="175" y="39"/>
                    <a:pt x="175" y="39"/>
                    <a:pt x="174" y="39"/>
                  </a:cubicBezTo>
                  <a:cubicBezTo>
                    <a:pt x="176" y="38"/>
                    <a:pt x="177" y="37"/>
                    <a:pt x="179" y="37"/>
                  </a:cubicBezTo>
                  <a:cubicBezTo>
                    <a:pt x="178" y="36"/>
                    <a:pt x="178" y="35"/>
                    <a:pt x="177" y="35"/>
                  </a:cubicBezTo>
                  <a:cubicBezTo>
                    <a:pt x="176" y="36"/>
                    <a:pt x="175" y="35"/>
                    <a:pt x="174" y="34"/>
                  </a:cubicBezTo>
                  <a:cubicBezTo>
                    <a:pt x="174" y="35"/>
                    <a:pt x="174" y="35"/>
                    <a:pt x="173" y="35"/>
                  </a:cubicBezTo>
                  <a:cubicBezTo>
                    <a:pt x="174" y="34"/>
                    <a:pt x="173" y="33"/>
                    <a:pt x="172" y="34"/>
                  </a:cubicBezTo>
                  <a:cubicBezTo>
                    <a:pt x="172" y="33"/>
                    <a:pt x="172" y="32"/>
                    <a:pt x="171" y="32"/>
                  </a:cubicBezTo>
                  <a:cubicBezTo>
                    <a:pt x="169" y="31"/>
                    <a:pt x="170" y="29"/>
                    <a:pt x="168" y="30"/>
                  </a:cubicBezTo>
                  <a:cubicBezTo>
                    <a:pt x="168" y="29"/>
                    <a:pt x="168" y="29"/>
                    <a:pt x="168" y="28"/>
                  </a:cubicBezTo>
                  <a:cubicBezTo>
                    <a:pt x="168" y="28"/>
                    <a:pt x="167" y="28"/>
                    <a:pt x="166" y="28"/>
                  </a:cubicBezTo>
                  <a:cubicBezTo>
                    <a:pt x="166" y="28"/>
                    <a:pt x="167" y="28"/>
                    <a:pt x="168" y="28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68" y="28"/>
                    <a:pt x="168" y="28"/>
                    <a:pt x="169" y="28"/>
                  </a:cubicBezTo>
                  <a:cubicBezTo>
                    <a:pt x="169" y="27"/>
                    <a:pt x="169" y="24"/>
                    <a:pt x="167" y="25"/>
                  </a:cubicBezTo>
                  <a:cubicBezTo>
                    <a:pt x="167" y="25"/>
                    <a:pt x="168" y="24"/>
                    <a:pt x="168" y="24"/>
                  </a:cubicBezTo>
                  <a:cubicBezTo>
                    <a:pt x="168" y="23"/>
                    <a:pt x="167" y="23"/>
                    <a:pt x="167" y="23"/>
                  </a:cubicBezTo>
                  <a:cubicBezTo>
                    <a:pt x="167" y="22"/>
                    <a:pt x="166" y="21"/>
                    <a:pt x="165" y="22"/>
                  </a:cubicBezTo>
                  <a:cubicBezTo>
                    <a:pt x="166" y="22"/>
                    <a:pt x="166" y="21"/>
                    <a:pt x="167" y="21"/>
                  </a:cubicBezTo>
                  <a:cubicBezTo>
                    <a:pt x="166" y="21"/>
                    <a:pt x="165" y="20"/>
                    <a:pt x="164" y="20"/>
                  </a:cubicBezTo>
                  <a:cubicBezTo>
                    <a:pt x="165" y="20"/>
                    <a:pt x="165" y="20"/>
                    <a:pt x="166" y="20"/>
                  </a:cubicBezTo>
                  <a:cubicBezTo>
                    <a:pt x="165" y="19"/>
                    <a:pt x="165" y="19"/>
                    <a:pt x="165" y="18"/>
                  </a:cubicBezTo>
                  <a:cubicBezTo>
                    <a:pt x="164" y="18"/>
                    <a:pt x="164" y="18"/>
                    <a:pt x="163" y="18"/>
                  </a:cubicBezTo>
                  <a:cubicBezTo>
                    <a:pt x="163" y="18"/>
                    <a:pt x="164" y="17"/>
                    <a:pt x="165" y="17"/>
                  </a:cubicBezTo>
                  <a:cubicBezTo>
                    <a:pt x="164" y="17"/>
                    <a:pt x="164" y="16"/>
                    <a:pt x="163" y="16"/>
                  </a:cubicBezTo>
                  <a:cubicBezTo>
                    <a:pt x="163" y="16"/>
                    <a:pt x="164" y="16"/>
                    <a:pt x="164" y="16"/>
                  </a:cubicBezTo>
                  <a:cubicBezTo>
                    <a:pt x="163" y="16"/>
                    <a:pt x="163" y="14"/>
                    <a:pt x="162" y="14"/>
                  </a:cubicBezTo>
                  <a:cubicBezTo>
                    <a:pt x="164" y="11"/>
                    <a:pt x="160" y="12"/>
                    <a:pt x="160" y="15"/>
                  </a:cubicBezTo>
                  <a:cubicBezTo>
                    <a:pt x="160" y="15"/>
                    <a:pt x="160" y="16"/>
                    <a:pt x="160" y="16"/>
                  </a:cubicBezTo>
                  <a:cubicBezTo>
                    <a:pt x="160" y="16"/>
                    <a:pt x="159" y="16"/>
                    <a:pt x="159" y="17"/>
                  </a:cubicBezTo>
                  <a:cubicBezTo>
                    <a:pt x="159" y="17"/>
                    <a:pt x="160" y="18"/>
                    <a:pt x="158" y="18"/>
                  </a:cubicBezTo>
                  <a:cubicBezTo>
                    <a:pt x="159" y="19"/>
                    <a:pt x="159" y="20"/>
                    <a:pt x="158" y="21"/>
                  </a:cubicBezTo>
                  <a:cubicBezTo>
                    <a:pt x="159" y="20"/>
                    <a:pt x="158" y="19"/>
                    <a:pt x="158" y="19"/>
                  </a:cubicBezTo>
                  <a:cubicBezTo>
                    <a:pt x="157" y="20"/>
                    <a:pt x="156" y="21"/>
                    <a:pt x="155" y="22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0"/>
                    <a:pt x="154" y="20"/>
                    <a:pt x="154" y="20"/>
                  </a:cubicBezTo>
                  <a:cubicBezTo>
                    <a:pt x="154" y="21"/>
                    <a:pt x="154" y="22"/>
                    <a:pt x="152" y="22"/>
                  </a:cubicBezTo>
                  <a:cubicBezTo>
                    <a:pt x="154" y="22"/>
                    <a:pt x="153" y="20"/>
                    <a:pt x="153" y="19"/>
                  </a:cubicBezTo>
                  <a:cubicBezTo>
                    <a:pt x="153" y="18"/>
                    <a:pt x="149" y="19"/>
                    <a:pt x="148" y="19"/>
                  </a:cubicBezTo>
                  <a:cubicBezTo>
                    <a:pt x="150" y="18"/>
                    <a:pt x="149" y="19"/>
                    <a:pt x="149" y="18"/>
                  </a:cubicBezTo>
                  <a:cubicBezTo>
                    <a:pt x="150" y="19"/>
                    <a:pt x="150" y="18"/>
                    <a:pt x="151" y="18"/>
                  </a:cubicBezTo>
                  <a:cubicBezTo>
                    <a:pt x="151" y="17"/>
                    <a:pt x="151" y="18"/>
                    <a:pt x="151" y="17"/>
                  </a:cubicBezTo>
                  <a:cubicBezTo>
                    <a:pt x="151" y="17"/>
                    <a:pt x="150" y="17"/>
                    <a:pt x="150" y="17"/>
                  </a:cubicBezTo>
                  <a:cubicBezTo>
                    <a:pt x="152" y="14"/>
                    <a:pt x="148" y="14"/>
                    <a:pt x="146" y="13"/>
                  </a:cubicBezTo>
                  <a:cubicBezTo>
                    <a:pt x="148" y="13"/>
                    <a:pt x="149" y="13"/>
                    <a:pt x="151" y="13"/>
                  </a:cubicBezTo>
                  <a:cubicBezTo>
                    <a:pt x="150" y="11"/>
                    <a:pt x="151" y="10"/>
                    <a:pt x="150" y="8"/>
                  </a:cubicBezTo>
                  <a:cubicBezTo>
                    <a:pt x="150" y="9"/>
                    <a:pt x="149" y="9"/>
                    <a:pt x="149" y="9"/>
                  </a:cubicBezTo>
                  <a:cubicBezTo>
                    <a:pt x="149" y="8"/>
                    <a:pt x="143" y="8"/>
                    <a:pt x="146" y="6"/>
                  </a:cubicBezTo>
                  <a:cubicBezTo>
                    <a:pt x="145" y="6"/>
                    <a:pt x="145" y="6"/>
                    <a:pt x="144" y="6"/>
                  </a:cubicBezTo>
                  <a:cubicBezTo>
                    <a:pt x="144" y="5"/>
                    <a:pt x="144" y="5"/>
                    <a:pt x="144" y="4"/>
                  </a:cubicBezTo>
                  <a:cubicBezTo>
                    <a:pt x="144" y="5"/>
                    <a:pt x="143" y="5"/>
                    <a:pt x="143" y="5"/>
                  </a:cubicBezTo>
                  <a:cubicBezTo>
                    <a:pt x="144" y="3"/>
                    <a:pt x="142" y="2"/>
                    <a:pt x="140" y="1"/>
                  </a:cubicBezTo>
                  <a:cubicBezTo>
                    <a:pt x="139" y="1"/>
                    <a:pt x="138" y="3"/>
                    <a:pt x="136" y="3"/>
                  </a:cubicBezTo>
                  <a:cubicBezTo>
                    <a:pt x="135" y="2"/>
                    <a:pt x="132" y="0"/>
                    <a:pt x="131" y="2"/>
                  </a:cubicBezTo>
                  <a:cubicBezTo>
                    <a:pt x="130" y="3"/>
                    <a:pt x="130" y="5"/>
                    <a:pt x="132" y="5"/>
                  </a:cubicBezTo>
                  <a:cubicBezTo>
                    <a:pt x="132" y="7"/>
                    <a:pt x="131" y="8"/>
                    <a:pt x="130" y="10"/>
                  </a:cubicBezTo>
                  <a:cubicBezTo>
                    <a:pt x="131" y="10"/>
                    <a:pt x="131" y="10"/>
                    <a:pt x="132" y="10"/>
                  </a:cubicBezTo>
                  <a:cubicBezTo>
                    <a:pt x="130" y="10"/>
                    <a:pt x="132" y="12"/>
                    <a:pt x="131" y="14"/>
                  </a:cubicBezTo>
                  <a:cubicBezTo>
                    <a:pt x="132" y="14"/>
                    <a:pt x="132" y="14"/>
                    <a:pt x="133" y="14"/>
                  </a:cubicBezTo>
                  <a:cubicBezTo>
                    <a:pt x="132" y="14"/>
                    <a:pt x="132" y="15"/>
                    <a:pt x="133" y="15"/>
                  </a:cubicBezTo>
                  <a:cubicBezTo>
                    <a:pt x="132" y="15"/>
                    <a:pt x="132" y="15"/>
                    <a:pt x="131" y="15"/>
                  </a:cubicBezTo>
                  <a:cubicBezTo>
                    <a:pt x="132" y="17"/>
                    <a:pt x="131" y="17"/>
                    <a:pt x="129" y="18"/>
                  </a:cubicBezTo>
                  <a:cubicBezTo>
                    <a:pt x="128" y="18"/>
                    <a:pt x="131" y="21"/>
                    <a:pt x="132" y="21"/>
                  </a:cubicBezTo>
                  <a:cubicBezTo>
                    <a:pt x="133" y="22"/>
                    <a:pt x="133" y="28"/>
                    <a:pt x="134" y="30"/>
                  </a:cubicBezTo>
                  <a:cubicBezTo>
                    <a:pt x="134" y="29"/>
                    <a:pt x="134" y="29"/>
                    <a:pt x="134" y="28"/>
                  </a:cubicBezTo>
                  <a:cubicBezTo>
                    <a:pt x="135" y="29"/>
                    <a:pt x="135" y="29"/>
                    <a:pt x="135" y="30"/>
                  </a:cubicBezTo>
                  <a:cubicBezTo>
                    <a:pt x="133" y="30"/>
                    <a:pt x="133" y="32"/>
                    <a:pt x="132" y="33"/>
                  </a:cubicBezTo>
                  <a:cubicBezTo>
                    <a:pt x="131" y="35"/>
                    <a:pt x="128" y="36"/>
                    <a:pt x="127" y="37"/>
                  </a:cubicBezTo>
                  <a:cubicBezTo>
                    <a:pt x="128" y="37"/>
                    <a:pt x="129" y="41"/>
                    <a:pt x="129" y="41"/>
                  </a:cubicBezTo>
                  <a:cubicBezTo>
                    <a:pt x="129" y="43"/>
                    <a:pt x="129" y="46"/>
                    <a:pt x="131" y="46"/>
                  </a:cubicBezTo>
                  <a:cubicBezTo>
                    <a:pt x="130" y="46"/>
                    <a:pt x="129" y="46"/>
                    <a:pt x="129" y="47"/>
                  </a:cubicBezTo>
                  <a:cubicBezTo>
                    <a:pt x="128" y="48"/>
                    <a:pt x="130" y="48"/>
                    <a:pt x="129" y="49"/>
                  </a:cubicBezTo>
                  <a:cubicBezTo>
                    <a:pt x="128" y="48"/>
                    <a:pt x="127" y="49"/>
                    <a:pt x="127" y="50"/>
                  </a:cubicBezTo>
                  <a:cubicBezTo>
                    <a:pt x="126" y="49"/>
                    <a:pt x="125" y="49"/>
                    <a:pt x="123" y="50"/>
                  </a:cubicBezTo>
                  <a:cubicBezTo>
                    <a:pt x="127" y="48"/>
                    <a:pt x="123" y="46"/>
                    <a:pt x="121" y="46"/>
                  </a:cubicBezTo>
                  <a:cubicBezTo>
                    <a:pt x="122" y="46"/>
                    <a:pt x="122" y="46"/>
                    <a:pt x="123" y="46"/>
                  </a:cubicBezTo>
                  <a:cubicBezTo>
                    <a:pt x="121" y="43"/>
                    <a:pt x="120" y="40"/>
                    <a:pt x="121" y="36"/>
                  </a:cubicBezTo>
                  <a:cubicBezTo>
                    <a:pt x="121" y="34"/>
                    <a:pt x="120" y="34"/>
                    <a:pt x="117" y="34"/>
                  </a:cubicBezTo>
                  <a:cubicBezTo>
                    <a:pt x="115" y="34"/>
                    <a:pt x="114" y="33"/>
                    <a:pt x="113" y="36"/>
                  </a:cubicBezTo>
                  <a:cubicBezTo>
                    <a:pt x="114" y="33"/>
                    <a:pt x="113" y="33"/>
                    <a:pt x="111" y="32"/>
                  </a:cubicBezTo>
                  <a:cubicBezTo>
                    <a:pt x="108" y="31"/>
                    <a:pt x="109" y="30"/>
                    <a:pt x="107" y="29"/>
                  </a:cubicBezTo>
                  <a:cubicBezTo>
                    <a:pt x="105" y="28"/>
                    <a:pt x="103" y="27"/>
                    <a:pt x="102" y="26"/>
                  </a:cubicBezTo>
                  <a:cubicBezTo>
                    <a:pt x="100" y="25"/>
                    <a:pt x="98" y="26"/>
                    <a:pt x="96" y="27"/>
                  </a:cubicBezTo>
                  <a:cubicBezTo>
                    <a:pt x="98" y="26"/>
                    <a:pt x="97" y="24"/>
                    <a:pt x="96" y="22"/>
                  </a:cubicBezTo>
                  <a:cubicBezTo>
                    <a:pt x="96" y="21"/>
                    <a:pt x="96" y="19"/>
                    <a:pt x="95" y="19"/>
                  </a:cubicBezTo>
                  <a:cubicBezTo>
                    <a:pt x="94" y="19"/>
                    <a:pt x="93" y="19"/>
                    <a:pt x="93" y="20"/>
                  </a:cubicBezTo>
                  <a:cubicBezTo>
                    <a:pt x="93" y="17"/>
                    <a:pt x="82" y="19"/>
                    <a:pt x="80" y="19"/>
                  </a:cubicBezTo>
                  <a:cubicBezTo>
                    <a:pt x="69" y="19"/>
                    <a:pt x="58" y="19"/>
                    <a:pt x="48" y="19"/>
                  </a:cubicBezTo>
                  <a:cubicBezTo>
                    <a:pt x="32" y="19"/>
                    <a:pt x="16" y="19"/>
                    <a:pt x="0" y="1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5" name="Freeform 723"/>
            <p:cNvSpPr/>
            <p:nvPr/>
          </p:nvSpPr>
          <p:spPr bwMode="auto">
            <a:xfrm>
              <a:off x="2199383" y="991766"/>
              <a:ext cx="2811463" cy="1419226"/>
            </a:xfrm>
            <a:custGeom>
              <a:avLst/>
              <a:gdLst>
                <a:gd name="T0" fmla="*/ 2147483646 w 378"/>
                <a:gd name="T1" fmla="*/ 2147483646 h 191"/>
                <a:gd name="T2" fmla="*/ 2147483646 w 378"/>
                <a:gd name="T3" fmla="*/ 2147483646 h 191"/>
                <a:gd name="T4" fmla="*/ 2147483646 w 378"/>
                <a:gd name="T5" fmla="*/ 2147483646 h 191"/>
                <a:gd name="T6" fmla="*/ 2147483646 w 378"/>
                <a:gd name="T7" fmla="*/ 2147483646 h 191"/>
                <a:gd name="T8" fmla="*/ 2147483646 w 378"/>
                <a:gd name="T9" fmla="*/ 2147483646 h 191"/>
                <a:gd name="T10" fmla="*/ 2147483646 w 378"/>
                <a:gd name="T11" fmla="*/ 2147483646 h 191"/>
                <a:gd name="T12" fmla="*/ 2147483646 w 378"/>
                <a:gd name="T13" fmla="*/ 2147483646 h 191"/>
                <a:gd name="T14" fmla="*/ 2147483646 w 378"/>
                <a:gd name="T15" fmla="*/ 2147483646 h 191"/>
                <a:gd name="T16" fmla="*/ 2147483646 w 378"/>
                <a:gd name="T17" fmla="*/ 2147483646 h 191"/>
                <a:gd name="T18" fmla="*/ 2147483646 w 378"/>
                <a:gd name="T19" fmla="*/ 2147483646 h 191"/>
                <a:gd name="T20" fmla="*/ 2147483646 w 378"/>
                <a:gd name="T21" fmla="*/ 2147483646 h 191"/>
                <a:gd name="T22" fmla="*/ 2147483646 w 378"/>
                <a:gd name="T23" fmla="*/ 2147483646 h 191"/>
                <a:gd name="T24" fmla="*/ 2147483646 w 378"/>
                <a:gd name="T25" fmla="*/ 2147483646 h 191"/>
                <a:gd name="T26" fmla="*/ 2147483646 w 378"/>
                <a:gd name="T27" fmla="*/ 2147483646 h 191"/>
                <a:gd name="T28" fmla="*/ 2147483646 w 378"/>
                <a:gd name="T29" fmla="*/ 2147483646 h 191"/>
                <a:gd name="T30" fmla="*/ 2147483646 w 378"/>
                <a:gd name="T31" fmla="*/ 2147483646 h 191"/>
                <a:gd name="T32" fmla="*/ 2147483646 w 378"/>
                <a:gd name="T33" fmla="*/ 2147483646 h 191"/>
                <a:gd name="T34" fmla="*/ 2147483646 w 378"/>
                <a:gd name="T35" fmla="*/ 2147483646 h 191"/>
                <a:gd name="T36" fmla="*/ 2147483646 w 378"/>
                <a:gd name="T37" fmla="*/ 2147483646 h 191"/>
                <a:gd name="T38" fmla="*/ 2147483646 w 378"/>
                <a:gd name="T39" fmla="*/ 2147483646 h 191"/>
                <a:gd name="T40" fmla="*/ 2147483646 w 378"/>
                <a:gd name="T41" fmla="*/ 2147483646 h 191"/>
                <a:gd name="T42" fmla="*/ 2147483646 w 378"/>
                <a:gd name="T43" fmla="*/ 2147483646 h 191"/>
                <a:gd name="T44" fmla="*/ 2147483646 w 378"/>
                <a:gd name="T45" fmla="*/ 2147483646 h 191"/>
                <a:gd name="T46" fmla="*/ 2147483646 w 378"/>
                <a:gd name="T47" fmla="*/ 2147483646 h 191"/>
                <a:gd name="T48" fmla="*/ 2147483646 w 378"/>
                <a:gd name="T49" fmla="*/ 2147483646 h 191"/>
                <a:gd name="T50" fmla="*/ 2147483646 w 378"/>
                <a:gd name="T51" fmla="*/ 2147483646 h 191"/>
                <a:gd name="T52" fmla="*/ 2147483646 w 378"/>
                <a:gd name="T53" fmla="*/ 2147483646 h 191"/>
                <a:gd name="T54" fmla="*/ 2147483646 w 378"/>
                <a:gd name="T55" fmla="*/ 2147483646 h 191"/>
                <a:gd name="T56" fmla="*/ 2147483646 w 378"/>
                <a:gd name="T57" fmla="*/ 2147483646 h 191"/>
                <a:gd name="T58" fmla="*/ 2147483646 w 378"/>
                <a:gd name="T59" fmla="*/ 2147483646 h 191"/>
                <a:gd name="T60" fmla="*/ 2147483646 w 378"/>
                <a:gd name="T61" fmla="*/ 2147483646 h 191"/>
                <a:gd name="T62" fmla="*/ 2147483646 w 378"/>
                <a:gd name="T63" fmla="*/ 2147483646 h 191"/>
                <a:gd name="T64" fmla="*/ 2147483646 w 378"/>
                <a:gd name="T65" fmla="*/ 2147483646 h 191"/>
                <a:gd name="T66" fmla="*/ 2147483646 w 378"/>
                <a:gd name="T67" fmla="*/ 2147483646 h 191"/>
                <a:gd name="T68" fmla="*/ 2147483646 w 378"/>
                <a:gd name="T69" fmla="*/ 2147483646 h 191"/>
                <a:gd name="T70" fmla="*/ 2147483646 w 378"/>
                <a:gd name="T71" fmla="*/ 2147483646 h 191"/>
                <a:gd name="T72" fmla="*/ 2147483646 w 378"/>
                <a:gd name="T73" fmla="*/ 2147483646 h 191"/>
                <a:gd name="T74" fmla="*/ 2147483646 w 378"/>
                <a:gd name="T75" fmla="*/ 2147483646 h 191"/>
                <a:gd name="T76" fmla="*/ 2147483646 w 378"/>
                <a:gd name="T77" fmla="*/ 2147483646 h 191"/>
                <a:gd name="T78" fmla="*/ 2147483646 w 378"/>
                <a:gd name="T79" fmla="*/ 2147483646 h 191"/>
                <a:gd name="T80" fmla="*/ 2147483646 w 378"/>
                <a:gd name="T81" fmla="*/ 2147483646 h 191"/>
                <a:gd name="T82" fmla="*/ 2147483646 w 378"/>
                <a:gd name="T83" fmla="*/ 2147483646 h 191"/>
                <a:gd name="T84" fmla="*/ 2147483646 w 378"/>
                <a:gd name="T85" fmla="*/ 2147483646 h 191"/>
                <a:gd name="T86" fmla="*/ 2147483646 w 378"/>
                <a:gd name="T87" fmla="*/ 2147483646 h 191"/>
                <a:gd name="T88" fmla="*/ 2147483646 w 378"/>
                <a:gd name="T89" fmla="*/ 2147483646 h 191"/>
                <a:gd name="T90" fmla="*/ 2147483646 w 378"/>
                <a:gd name="T91" fmla="*/ 2147483646 h 191"/>
                <a:gd name="T92" fmla="*/ 2147483646 w 378"/>
                <a:gd name="T93" fmla="*/ 2147483646 h 191"/>
                <a:gd name="T94" fmla="*/ 2147483646 w 378"/>
                <a:gd name="T95" fmla="*/ 2147483646 h 191"/>
                <a:gd name="T96" fmla="*/ 2147483646 w 378"/>
                <a:gd name="T97" fmla="*/ 2147483646 h 191"/>
                <a:gd name="T98" fmla="*/ 2147483646 w 378"/>
                <a:gd name="T99" fmla="*/ 2147483646 h 191"/>
                <a:gd name="T100" fmla="*/ 2147483646 w 378"/>
                <a:gd name="T101" fmla="*/ 2147483646 h 191"/>
                <a:gd name="T102" fmla="*/ 2147483646 w 378"/>
                <a:gd name="T103" fmla="*/ 2147483646 h 191"/>
                <a:gd name="T104" fmla="*/ 2147483646 w 378"/>
                <a:gd name="T105" fmla="*/ 2147483646 h 191"/>
                <a:gd name="T106" fmla="*/ 2147483646 w 378"/>
                <a:gd name="T107" fmla="*/ 2147483646 h 191"/>
                <a:gd name="T108" fmla="*/ 2147483646 w 378"/>
                <a:gd name="T109" fmla="*/ 2147483646 h 191"/>
                <a:gd name="T110" fmla="*/ 2147483646 w 378"/>
                <a:gd name="T111" fmla="*/ 2147483646 h 191"/>
                <a:gd name="T112" fmla="*/ 2147483646 w 378"/>
                <a:gd name="T113" fmla="*/ 2147483646 h 191"/>
                <a:gd name="T114" fmla="*/ 2147483646 w 378"/>
                <a:gd name="T115" fmla="*/ 2147483646 h 191"/>
                <a:gd name="T116" fmla="*/ 2147483646 w 378"/>
                <a:gd name="T117" fmla="*/ 2147483646 h 191"/>
                <a:gd name="T118" fmla="*/ 2147483646 w 378"/>
                <a:gd name="T119" fmla="*/ 2147483646 h 191"/>
                <a:gd name="T120" fmla="*/ 2147483646 w 378"/>
                <a:gd name="T121" fmla="*/ 2147483646 h 191"/>
                <a:gd name="T122" fmla="*/ 2147483646 w 378"/>
                <a:gd name="T123" fmla="*/ 2147483646 h 19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78" h="191">
                  <a:moveTo>
                    <a:pt x="351" y="104"/>
                  </a:moveTo>
                  <a:cubicBezTo>
                    <a:pt x="351" y="103"/>
                    <a:pt x="352" y="102"/>
                    <a:pt x="350" y="102"/>
                  </a:cubicBezTo>
                  <a:cubicBezTo>
                    <a:pt x="351" y="101"/>
                    <a:pt x="351" y="101"/>
                    <a:pt x="350" y="100"/>
                  </a:cubicBezTo>
                  <a:cubicBezTo>
                    <a:pt x="349" y="101"/>
                    <a:pt x="348" y="99"/>
                    <a:pt x="348" y="98"/>
                  </a:cubicBezTo>
                  <a:cubicBezTo>
                    <a:pt x="349" y="97"/>
                    <a:pt x="350" y="98"/>
                    <a:pt x="351" y="99"/>
                  </a:cubicBezTo>
                  <a:cubicBezTo>
                    <a:pt x="352" y="98"/>
                    <a:pt x="354" y="97"/>
                    <a:pt x="354" y="96"/>
                  </a:cubicBezTo>
                  <a:cubicBezTo>
                    <a:pt x="355" y="95"/>
                    <a:pt x="356" y="94"/>
                    <a:pt x="356" y="93"/>
                  </a:cubicBezTo>
                  <a:cubicBezTo>
                    <a:pt x="355" y="92"/>
                    <a:pt x="354" y="91"/>
                    <a:pt x="354" y="90"/>
                  </a:cubicBezTo>
                  <a:cubicBezTo>
                    <a:pt x="355" y="90"/>
                    <a:pt x="356" y="90"/>
                    <a:pt x="356" y="89"/>
                  </a:cubicBezTo>
                  <a:cubicBezTo>
                    <a:pt x="356" y="89"/>
                    <a:pt x="356" y="89"/>
                    <a:pt x="357" y="90"/>
                  </a:cubicBezTo>
                  <a:cubicBezTo>
                    <a:pt x="357" y="89"/>
                    <a:pt x="357" y="89"/>
                    <a:pt x="358" y="89"/>
                  </a:cubicBezTo>
                  <a:cubicBezTo>
                    <a:pt x="358" y="90"/>
                    <a:pt x="358" y="90"/>
                    <a:pt x="357" y="90"/>
                  </a:cubicBezTo>
                  <a:cubicBezTo>
                    <a:pt x="357" y="91"/>
                    <a:pt x="357" y="93"/>
                    <a:pt x="358" y="93"/>
                  </a:cubicBezTo>
                  <a:cubicBezTo>
                    <a:pt x="358" y="94"/>
                    <a:pt x="361" y="93"/>
                    <a:pt x="362" y="93"/>
                  </a:cubicBezTo>
                  <a:cubicBezTo>
                    <a:pt x="365" y="93"/>
                    <a:pt x="363" y="97"/>
                    <a:pt x="366" y="98"/>
                  </a:cubicBezTo>
                  <a:cubicBezTo>
                    <a:pt x="366" y="97"/>
                    <a:pt x="366" y="98"/>
                    <a:pt x="367" y="97"/>
                  </a:cubicBezTo>
                  <a:cubicBezTo>
                    <a:pt x="367" y="98"/>
                    <a:pt x="368" y="98"/>
                    <a:pt x="368" y="100"/>
                  </a:cubicBezTo>
                  <a:cubicBezTo>
                    <a:pt x="368" y="99"/>
                    <a:pt x="368" y="99"/>
                    <a:pt x="369" y="99"/>
                  </a:cubicBezTo>
                  <a:cubicBezTo>
                    <a:pt x="369" y="99"/>
                    <a:pt x="369" y="100"/>
                    <a:pt x="369" y="100"/>
                  </a:cubicBezTo>
                  <a:cubicBezTo>
                    <a:pt x="369" y="99"/>
                    <a:pt x="369" y="99"/>
                    <a:pt x="370" y="98"/>
                  </a:cubicBezTo>
                  <a:cubicBezTo>
                    <a:pt x="369" y="99"/>
                    <a:pt x="369" y="100"/>
                    <a:pt x="370" y="100"/>
                  </a:cubicBezTo>
                  <a:cubicBezTo>
                    <a:pt x="370" y="100"/>
                    <a:pt x="371" y="100"/>
                    <a:pt x="370" y="99"/>
                  </a:cubicBezTo>
                  <a:cubicBezTo>
                    <a:pt x="371" y="99"/>
                    <a:pt x="371" y="99"/>
                    <a:pt x="372" y="99"/>
                  </a:cubicBezTo>
                  <a:cubicBezTo>
                    <a:pt x="371" y="99"/>
                    <a:pt x="371" y="98"/>
                    <a:pt x="370" y="98"/>
                  </a:cubicBezTo>
                  <a:cubicBezTo>
                    <a:pt x="371" y="98"/>
                    <a:pt x="371" y="98"/>
                    <a:pt x="371" y="98"/>
                  </a:cubicBezTo>
                  <a:cubicBezTo>
                    <a:pt x="371" y="98"/>
                    <a:pt x="370" y="98"/>
                    <a:pt x="370" y="98"/>
                  </a:cubicBezTo>
                  <a:cubicBezTo>
                    <a:pt x="371" y="97"/>
                    <a:pt x="372" y="96"/>
                    <a:pt x="372" y="96"/>
                  </a:cubicBezTo>
                  <a:cubicBezTo>
                    <a:pt x="372" y="96"/>
                    <a:pt x="372" y="95"/>
                    <a:pt x="371" y="95"/>
                  </a:cubicBezTo>
                  <a:cubicBezTo>
                    <a:pt x="373" y="95"/>
                    <a:pt x="372" y="93"/>
                    <a:pt x="375" y="94"/>
                  </a:cubicBezTo>
                  <a:cubicBezTo>
                    <a:pt x="374" y="93"/>
                    <a:pt x="374" y="92"/>
                    <a:pt x="374" y="92"/>
                  </a:cubicBezTo>
                  <a:cubicBezTo>
                    <a:pt x="375" y="92"/>
                    <a:pt x="375" y="92"/>
                    <a:pt x="376" y="93"/>
                  </a:cubicBezTo>
                  <a:cubicBezTo>
                    <a:pt x="375" y="91"/>
                    <a:pt x="377" y="91"/>
                    <a:pt x="378" y="90"/>
                  </a:cubicBezTo>
                  <a:cubicBezTo>
                    <a:pt x="377" y="90"/>
                    <a:pt x="377" y="90"/>
                    <a:pt x="376" y="90"/>
                  </a:cubicBezTo>
                  <a:cubicBezTo>
                    <a:pt x="376" y="87"/>
                    <a:pt x="370" y="83"/>
                    <a:pt x="370" y="86"/>
                  </a:cubicBezTo>
                  <a:cubicBezTo>
                    <a:pt x="370" y="85"/>
                    <a:pt x="370" y="85"/>
                    <a:pt x="370" y="85"/>
                  </a:cubicBezTo>
                  <a:cubicBezTo>
                    <a:pt x="369" y="84"/>
                    <a:pt x="369" y="84"/>
                    <a:pt x="369" y="84"/>
                  </a:cubicBezTo>
                  <a:cubicBezTo>
                    <a:pt x="368" y="85"/>
                    <a:pt x="368" y="85"/>
                    <a:pt x="367" y="85"/>
                  </a:cubicBezTo>
                  <a:cubicBezTo>
                    <a:pt x="368" y="85"/>
                    <a:pt x="369" y="88"/>
                    <a:pt x="368" y="89"/>
                  </a:cubicBezTo>
                  <a:cubicBezTo>
                    <a:pt x="368" y="87"/>
                    <a:pt x="366" y="86"/>
                    <a:pt x="366" y="84"/>
                  </a:cubicBezTo>
                  <a:cubicBezTo>
                    <a:pt x="366" y="83"/>
                    <a:pt x="366" y="80"/>
                    <a:pt x="364" y="80"/>
                  </a:cubicBezTo>
                  <a:cubicBezTo>
                    <a:pt x="364" y="81"/>
                    <a:pt x="364" y="82"/>
                    <a:pt x="365" y="82"/>
                  </a:cubicBezTo>
                  <a:cubicBezTo>
                    <a:pt x="364" y="82"/>
                    <a:pt x="363" y="81"/>
                    <a:pt x="362" y="81"/>
                  </a:cubicBezTo>
                  <a:cubicBezTo>
                    <a:pt x="363" y="80"/>
                    <a:pt x="363" y="80"/>
                    <a:pt x="363" y="80"/>
                  </a:cubicBezTo>
                  <a:cubicBezTo>
                    <a:pt x="362" y="80"/>
                    <a:pt x="362" y="79"/>
                    <a:pt x="361" y="79"/>
                  </a:cubicBezTo>
                  <a:cubicBezTo>
                    <a:pt x="362" y="78"/>
                    <a:pt x="361" y="78"/>
                    <a:pt x="360" y="77"/>
                  </a:cubicBezTo>
                  <a:cubicBezTo>
                    <a:pt x="359" y="77"/>
                    <a:pt x="357" y="76"/>
                    <a:pt x="357" y="75"/>
                  </a:cubicBezTo>
                  <a:cubicBezTo>
                    <a:pt x="356" y="74"/>
                    <a:pt x="354" y="73"/>
                    <a:pt x="353" y="73"/>
                  </a:cubicBezTo>
                  <a:cubicBezTo>
                    <a:pt x="352" y="71"/>
                    <a:pt x="351" y="70"/>
                    <a:pt x="349" y="69"/>
                  </a:cubicBezTo>
                  <a:cubicBezTo>
                    <a:pt x="348" y="69"/>
                    <a:pt x="346" y="67"/>
                    <a:pt x="345" y="67"/>
                  </a:cubicBezTo>
                  <a:cubicBezTo>
                    <a:pt x="343" y="67"/>
                    <a:pt x="340" y="67"/>
                    <a:pt x="338" y="67"/>
                  </a:cubicBezTo>
                  <a:cubicBezTo>
                    <a:pt x="337" y="67"/>
                    <a:pt x="335" y="66"/>
                    <a:pt x="333" y="66"/>
                  </a:cubicBezTo>
                  <a:cubicBezTo>
                    <a:pt x="332" y="65"/>
                    <a:pt x="332" y="68"/>
                    <a:pt x="331" y="69"/>
                  </a:cubicBezTo>
                  <a:cubicBezTo>
                    <a:pt x="334" y="69"/>
                    <a:pt x="334" y="74"/>
                    <a:pt x="331" y="74"/>
                  </a:cubicBezTo>
                  <a:cubicBezTo>
                    <a:pt x="330" y="74"/>
                    <a:pt x="328" y="72"/>
                    <a:pt x="327" y="71"/>
                  </a:cubicBezTo>
                  <a:cubicBezTo>
                    <a:pt x="326" y="71"/>
                    <a:pt x="327" y="69"/>
                    <a:pt x="326" y="68"/>
                  </a:cubicBezTo>
                  <a:cubicBezTo>
                    <a:pt x="323" y="70"/>
                    <a:pt x="321" y="70"/>
                    <a:pt x="318" y="68"/>
                  </a:cubicBezTo>
                  <a:cubicBezTo>
                    <a:pt x="315" y="66"/>
                    <a:pt x="313" y="69"/>
                    <a:pt x="311" y="70"/>
                  </a:cubicBezTo>
                  <a:cubicBezTo>
                    <a:pt x="311" y="69"/>
                    <a:pt x="310" y="68"/>
                    <a:pt x="309" y="68"/>
                  </a:cubicBezTo>
                  <a:cubicBezTo>
                    <a:pt x="307" y="67"/>
                    <a:pt x="307" y="67"/>
                    <a:pt x="308" y="65"/>
                  </a:cubicBezTo>
                  <a:cubicBezTo>
                    <a:pt x="308" y="63"/>
                    <a:pt x="306" y="59"/>
                    <a:pt x="305" y="59"/>
                  </a:cubicBezTo>
                  <a:cubicBezTo>
                    <a:pt x="302" y="59"/>
                    <a:pt x="299" y="59"/>
                    <a:pt x="296" y="59"/>
                  </a:cubicBezTo>
                  <a:cubicBezTo>
                    <a:pt x="293" y="59"/>
                    <a:pt x="291" y="61"/>
                    <a:pt x="289" y="59"/>
                  </a:cubicBezTo>
                  <a:cubicBezTo>
                    <a:pt x="291" y="58"/>
                    <a:pt x="290" y="56"/>
                    <a:pt x="287" y="56"/>
                  </a:cubicBezTo>
                  <a:cubicBezTo>
                    <a:pt x="286" y="56"/>
                    <a:pt x="286" y="56"/>
                    <a:pt x="285" y="55"/>
                  </a:cubicBezTo>
                  <a:cubicBezTo>
                    <a:pt x="285" y="54"/>
                    <a:pt x="283" y="54"/>
                    <a:pt x="282" y="54"/>
                  </a:cubicBezTo>
                  <a:cubicBezTo>
                    <a:pt x="283" y="53"/>
                    <a:pt x="284" y="52"/>
                    <a:pt x="285" y="53"/>
                  </a:cubicBezTo>
                  <a:cubicBezTo>
                    <a:pt x="284" y="50"/>
                    <a:pt x="283" y="50"/>
                    <a:pt x="280" y="49"/>
                  </a:cubicBezTo>
                  <a:cubicBezTo>
                    <a:pt x="276" y="48"/>
                    <a:pt x="271" y="47"/>
                    <a:pt x="267" y="46"/>
                  </a:cubicBezTo>
                  <a:cubicBezTo>
                    <a:pt x="266" y="46"/>
                    <a:pt x="265" y="46"/>
                    <a:pt x="264" y="45"/>
                  </a:cubicBezTo>
                  <a:cubicBezTo>
                    <a:pt x="263" y="45"/>
                    <a:pt x="264" y="48"/>
                    <a:pt x="264" y="48"/>
                  </a:cubicBezTo>
                  <a:cubicBezTo>
                    <a:pt x="261" y="51"/>
                    <a:pt x="260" y="52"/>
                    <a:pt x="262" y="56"/>
                  </a:cubicBezTo>
                  <a:cubicBezTo>
                    <a:pt x="260" y="55"/>
                    <a:pt x="258" y="57"/>
                    <a:pt x="257" y="58"/>
                  </a:cubicBezTo>
                  <a:cubicBezTo>
                    <a:pt x="256" y="58"/>
                    <a:pt x="252" y="55"/>
                    <a:pt x="251" y="55"/>
                  </a:cubicBezTo>
                  <a:cubicBezTo>
                    <a:pt x="250" y="53"/>
                    <a:pt x="250" y="57"/>
                    <a:pt x="249" y="56"/>
                  </a:cubicBezTo>
                  <a:cubicBezTo>
                    <a:pt x="246" y="56"/>
                    <a:pt x="246" y="54"/>
                    <a:pt x="245" y="52"/>
                  </a:cubicBezTo>
                  <a:cubicBezTo>
                    <a:pt x="243" y="55"/>
                    <a:pt x="243" y="58"/>
                    <a:pt x="241" y="61"/>
                  </a:cubicBezTo>
                  <a:cubicBezTo>
                    <a:pt x="241" y="59"/>
                    <a:pt x="239" y="60"/>
                    <a:pt x="238" y="59"/>
                  </a:cubicBezTo>
                  <a:cubicBezTo>
                    <a:pt x="238" y="57"/>
                    <a:pt x="237" y="54"/>
                    <a:pt x="236" y="55"/>
                  </a:cubicBezTo>
                  <a:cubicBezTo>
                    <a:pt x="235" y="52"/>
                    <a:pt x="237" y="52"/>
                    <a:pt x="237" y="50"/>
                  </a:cubicBezTo>
                  <a:cubicBezTo>
                    <a:pt x="238" y="49"/>
                    <a:pt x="236" y="48"/>
                    <a:pt x="237" y="47"/>
                  </a:cubicBezTo>
                  <a:cubicBezTo>
                    <a:pt x="237" y="46"/>
                    <a:pt x="238" y="45"/>
                    <a:pt x="237" y="44"/>
                  </a:cubicBezTo>
                  <a:cubicBezTo>
                    <a:pt x="236" y="42"/>
                    <a:pt x="233" y="38"/>
                    <a:pt x="231" y="41"/>
                  </a:cubicBezTo>
                  <a:cubicBezTo>
                    <a:pt x="230" y="41"/>
                    <a:pt x="225" y="38"/>
                    <a:pt x="224" y="37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24" y="38"/>
                    <a:pt x="223" y="38"/>
                    <a:pt x="223" y="38"/>
                  </a:cubicBezTo>
                  <a:cubicBezTo>
                    <a:pt x="223" y="40"/>
                    <a:pt x="223" y="41"/>
                    <a:pt x="223" y="43"/>
                  </a:cubicBezTo>
                  <a:cubicBezTo>
                    <a:pt x="224" y="44"/>
                    <a:pt x="219" y="44"/>
                    <a:pt x="218" y="45"/>
                  </a:cubicBezTo>
                  <a:cubicBezTo>
                    <a:pt x="217" y="45"/>
                    <a:pt x="215" y="44"/>
                    <a:pt x="214" y="43"/>
                  </a:cubicBezTo>
                  <a:cubicBezTo>
                    <a:pt x="212" y="43"/>
                    <a:pt x="210" y="41"/>
                    <a:pt x="213" y="40"/>
                  </a:cubicBezTo>
                  <a:cubicBezTo>
                    <a:pt x="210" y="40"/>
                    <a:pt x="208" y="39"/>
                    <a:pt x="206" y="39"/>
                  </a:cubicBezTo>
                  <a:cubicBezTo>
                    <a:pt x="204" y="38"/>
                    <a:pt x="202" y="40"/>
                    <a:pt x="200" y="40"/>
                  </a:cubicBezTo>
                  <a:cubicBezTo>
                    <a:pt x="201" y="41"/>
                    <a:pt x="201" y="41"/>
                    <a:pt x="202" y="42"/>
                  </a:cubicBezTo>
                  <a:cubicBezTo>
                    <a:pt x="201" y="42"/>
                    <a:pt x="200" y="42"/>
                    <a:pt x="199" y="42"/>
                  </a:cubicBezTo>
                  <a:cubicBezTo>
                    <a:pt x="200" y="42"/>
                    <a:pt x="200" y="42"/>
                    <a:pt x="200" y="42"/>
                  </a:cubicBezTo>
                  <a:cubicBezTo>
                    <a:pt x="200" y="41"/>
                    <a:pt x="199" y="37"/>
                    <a:pt x="198" y="36"/>
                  </a:cubicBezTo>
                  <a:cubicBezTo>
                    <a:pt x="200" y="40"/>
                    <a:pt x="193" y="38"/>
                    <a:pt x="195" y="36"/>
                  </a:cubicBezTo>
                  <a:cubicBezTo>
                    <a:pt x="194" y="38"/>
                    <a:pt x="193" y="35"/>
                    <a:pt x="192" y="36"/>
                  </a:cubicBezTo>
                  <a:cubicBezTo>
                    <a:pt x="191" y="36"/>
                    <a:pt x="191" y="38"/>
                    <a:pt x="191" y="39"/>
                  </a:cubicBezTo>
                  <a:cubicBezTo>
                    <a:pt x="192" y="38"/>
                    <a:pt x="193" y="37"/>
                    <a:pt x="194" y="39"/>
                  </a:cubicBezTo>
                  <a:cubicBezTo>
                    <a:pt x="193" y="40"/>
                    <a:pt x="191" y="42"/>
                    <a:pt x="190" y="40"/>
                  </a:cubicBezTo>
                  <a:cubicBezTo>
                    <a:pt x="192" y="41"/>
                    <a:pt x="188" y="43"/>
                    <a:pt x="186" y="43"/>
                  </a:cubicBezTo>
                  <a:cubicBezTo>
                    <a:pt x="186" y="43"/>
                    <a:pt x="184" y="42"/>
                    <a:pt x="184" y="43"/>
                  </a:cubicBezTo>
                  <a:cubicBezTo>
                    <a:pt x="183" y="44"/>
                    <a:pt x="184" y="45"/>
                    <a:pt x="185" y="45"/>
                  </a:cubicBezTo>
                  <a:cubicBezTo>
                    <a:pt x="184" y="44"/>
                    <a:pt x="182" y="44"/>
                    <a:pt x="182" y="45"/>
                  </a:cubicBezTo>
                  <a:cubicBezTo>
                    <a:pt x="183" y="43"/>
                    <a:pt x="184" y="42"/>
                    <a:pt x="185" y="40"/>
                  </a:cubicBezTo>
                  <a:cubicBezTo>
                    <a:pt x="186" y="39"/>
                    <a:pt x="187" y="39"/>
                    <a:pt x="187" y="39"/>
                  </a:cubicBezTo>
                  <a:cubicBezTo>
                    <a:pt x="188" y="39"/>
                    <a:pt x="189" y="38"/>
                    <a:pt x="189" y="38"/>
                  </a:cubicBezTo>
                  <a:cubicBezTo>
                    <a:pt x="190" y="36"/>
                    <a:pt x="191" y="33"/>
                    <a:pt x="193" y="32"/>
                  </a:cubicBezTo>
                  <a:cubicBezTo>
                    <a:pt x="194" y="31"/>
                    <a:pt x="195" y="31"/>
                    <a:pt x="196" y="30"/>
                  </a:cubicBezTo>
                  <a:cubicBezTo>
                    <a:pt x="197" y="30"/>
                    <a:pt x="196" y="29"/>
                    <a:pt x="198" y="29"/>
                  </a:cubicBezTo>
                  <a:cubicBezTo>
                    <a:pt x="197" y="29"/>
                    <a:pt x="197" y="29"/>
                    <a:pt x="197" y="28"/>
                  </a:cubicBezTo>
                  <a:cubicBezTo>
                    <a:pt x="198" y="28"/>
                    <a:pt x="199" y="27"/>
                    <a:pt x="200" y="26"/>
                  </a:cubicBezTo>
                  <a:cubicBezTo>
                    <a:pt x="201" y="25"/>
                    <a:pt x="200" y="24"/>
                    <a:pt x="201" y="23"/>
                  </a:cubicBezTo>
                  <a:cubicBezTo>
                    <a:pt x="199" y="22"/>
                    <a:pt x="199" y="21"/>
                    <a:pt x="198" y="20"/>
                  </a:cubicBezTo>
                  <a:cubicBezTo>
                    <a:pt x="199" y="21"/>
                    <a:pt x="199" y="21"/>
                    <a:pt x="200" y="22"/>
                  </a:cubicBezTo>
                  <a:cubicBezTo>
                    <a:pt x="202" y="20"/>
                    <a:pt x="200" y="18"/>
                    <a:pt x="199" y="16"/>
                  </a:cubicBezTo>
                  <a:cubicBezTo>
                    <a:pt x="199" y="16"/>
                    <a:pt x="199" y="17"/>
                    <a:pt x="199" y="17"/>
                  </a:cubicBezTo>
                  <a:cubicBezTo>
                    <a:pt x="197" y="16"/>
                    <a:pt x="198" y="15"/>
                    <a:pt x="197" y="14"/>
                  </a:cubicBezTo>
                  <a:cubicBezTo>
                    <a:pt x="196" y="12"/>
                    <a:pt x="195" y="11"/>
                    <a:pt x="193" y="11"/>
                  </a:cubicBezTo>
                  <a:cubicBezTo>
                    <a:pt x="192" y="11"/>
                    <a:pt x="188" y="10"/>
                    <a:pt x="188" y="11"/>
                  </a:cubicBezTo>
                  <a:cubicBezTo>
                    <a:pt x="186" y="13"/>
                    <a:pt x="186" y="14"/>
                    <a:pt x="183" y="14"/>
                  </a:cubicBezTo>
                  <a:cubicBezTo>
                    <a:pt x="184" y="13"/>
                    <a:pt x="186" y="11"/>
                    <a:pt x="186" y="9"/>
                  </a:cubicBezTo>
                  <a:cubicBezTo>
                    <a:pt x="185" y="7"/>
                    <a:pt x="181" y="9"/>
                    <a:pt x="182" y="7"/>
                  </a:cubicBezTo>
                  <a:cubicBezTo>
                    <a:pt x="181" y="7"/>
                    <a:pt x="180" y="8"/>
                    <a:pt x="179" y="9"/>
                  </a:cubicBezTo>
                  <a:cubicBezTo>
                    <a:pt x="180" y="8"/>
                    <a:pt x="183" y="5"/>
                    <a:pt x="183" y="4"/>
                  </a:cubicBezTo>
                  <a:cubicBezTo>
                    <a:pt x="182" y="2"/>
                    <a:pt x="180" y="0"/>
                    <a:pt x="177" y="1"/>
                  </a:cubicBezTo>
                  <a:cubicBezTo>
                    <a:pt x="175" y="2"/>
                    <a:pt x="169" y="9"/>
                    <a:pt x="172" y="12"/>
                  </a:cubicBezTo>
                  <a:cubicBezTo>
                    <a:pt x="172" y="12"/>
                    <a:pt x="172" y="12"/>
                    <a:pt x="171" y="12"/>
                  </a:cubicBezTo>
                  <a:cubicBezTo>
                    <a:pt x="172" y="14"/>
                    <a:pt x="168" y="13"/>
                    <a:pt x="166" y="14"/>
                  </a:cubicBezTo>
                  <a:cubicBezTo>
                    <a:pt x="168" y="15"/>
                    <a:pt x="169" y="16"/>
                    <a:pt x="168" y="18"/>
                  </a:cubicBezTo>
                  <a:cubicBezTo>
                    <a:pt x="166" y="16"/>
                    <a:pt x="166" y="15"/>
                    <a:pt x="164" y="17"/>
                  </a:cubicBezTo>
                  <a:cubicBezTo>
                    <a:pt x="164" y="17"/>
                    <a:pt x="164" y="18"/>
                    <a:pt x="164" y="18"/>
                  </a:cubicBezTo>
                  <a:cubicBezTo>
                    <a:pt x="163" y="19"/>
                    <a:pt x="162" y="19"/>
                    <a:pt x="161" y="19"/>
                  </a:cubicBezTo>
                  <a:cubicBezTo>
                    <a:pt x="161" y="17"/>
                    <a:pt x="160" y="18"/>
                    <a:pt x="159" y="19"/>
                  </a:cubicBezTo>
                  <a:cubicBezTo>
                    <a:pt x="160" y="18"/>
                    <a:pt x="160" y="17"/>
                    <a:pt x="158" y="17"/>
                  </a:cubicBezTo>
                  <a:cubicBezTo>
                    <a:pt x="156" y="17"/>
                    <a:pt x="152" y="17"/>
                    <a:pt x="152" y="19"/>
                  </a:cubicBezTo>
                  <a:cubicBezTo>
                    <a:pt x="153" y="18"/>
                    <a:pt x="153" y="19"/>
                    <a:pt x="154" y="18"/>
                  </a:cubicBezTo>
                  <a:cubicBezTo>
                    <a:pt x="154" y="21"/>
                    <a:pt x="147" y="22"/>
                    <a:pt x="145" y="23"/>
                  </a:cubicBezTo>
                  <a:cubicBezTo>
                    <a:pt x="143" y="23"/>
                    <a:pt x="143" y="24"/>
                    <a:pt x="142" y="25"/>
                  </a:cubicBezTo>
                  <a:cubicBezTo>
                    <a:pt x="141" y="27"/>
                    <a:pt x="140" y="26"/>
                    <a:pt x="139" y="26"/>
                  </a:cubicBezTo>
                  <a:cubicBezTo>
                    <a:pt x="139" y="27"/>
                    <a:pt x="140" y="27"/>
                    <a:pt x="140" y="27"/>
                  </a:cubicBezTo>
                  <a:cubicBezTo>
                    <a:pt x="139" y="27"/>
                    <a:pt x="139" y="29"/>
                    <a:pt x="138" y="30"/>
                  </a:cubicBezTo>
                  <a:cubicBezTo>
                    <a:pt x="138" y="30"/>
                    <a:pt x="137" y="29"/>
                    <a:pt x="136" y="29"/>
                  </a:cubicBezTo>
                  <a:cubicBezTo>
                    <a:pt x="135" y="30"/>
                    <a:pt x="137" y="31"/>
                    <a:pt x="138" y="31"/>
                  </a:cubicBezTo>
                  <a:cubicBezTo>
                    <a:pt x="137" y="32"/>
                    <a:pt x="137" y="32"/>
                    <a:pt x="136" y="33"/>
                  </a:cubicBezTo>
                  <a:cubicBezTo>
                    <a:pt x="137" y="33"/>
                    <a:pt x="138" y="34"/>
                    <a:pt x="139" y="36"/>
                  </a:cubicBezTo>
                  <a:cubicBezTo>
                    <a:pt x="138" y="36"/>
                    <a:pt x="138" y="37"/>
                    <a:pt x="137" y="37"/>
                  </a:cubicBezTo>
                  <a:cubicBezTo>
                    <a:pt x="136" y="37"/>
                    <a:pt x="134" y="38"/>
                    <a:pt x="132" y="38"/>
                  </a:cubicBezTo>
                  <a:cubicBezTo>
                    <a:pt x="130" y="38"/>
                    <a:pt x="126" y="38"/>
                    <a:pt x="124" y="40"/>
                  </a:cubicBezTo>
                  <a:cubicBezTo>
                    <a:pt x="125" y="40"/>
                    <a:pt x="124" y="41"/>
                    <a:pt x="123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3" y="43"/>
                    <a:pt x="125" y="44"/>
                    <a:pt x="125" y="45"/>
                  </a:cubicBezTo>
                  <a:cubicBezTo>
                    <a:pt x="125" y="46"/>
                    <a:pt x="124" y="47"/>
                    <a:pt x="125" y="48"/>
                  </a:cubicBezTo>
                  <a:cubicBezTo>
                    <a:pt x="125" y="49"/>
                    <a:pt x="128" y="49"/>
                    <a:pt x="128" y="50"/>
                  </a:cubicBezTo>
                  <a:cubicBezTo>
                    <a:pt x="128" y="52"/>
                    <a:pt x="128" y="52"/>
                    <a:pt x="130" y="53"/>
                  </a:cubicBezTo>
                  <a:cubicBezTo>
                    <a:pt x="132" y="54"/>
                    <a:pt x="130" y="57"/>
                    <a:pt x="131" y="59"/>
                  </a:cubicBezTo>
                  <a:cubicBezTo>
                    <a:pt x="131" y="61"/>
                    <a:pt x="131" y="62"/>
                    <a:pt x="131" y="63"/>
                  </a:cubicBezTo>
                  <a:cubicBezTo>
                    <a:pt x="131" y="64"/>
                    <a:pt x="129" y="64"/>
                    <a:pt x="130" y="66"/>
                  </a:cubicBezTo>
                  <a:cubicBezTo>
                    <a:pt x="127" y="64"/>
                    <a:pt x="128" y="63"/>
                    <a:pt x="128" y="60"/>
                  </a:cubicBezTo>
                  <a:cubicBezTo>
                    <a:pt x="128" y="59"/>
                    <a:pt x="128" y="58"/>
                    <a:pt x="129" y="57"/>
                  </a:cubicBezTo>
                  <a:cubicBezTo>
                    <a:pt x="130" y="56"/>
                    <a:pt x="130" y="56"/>
                    <a:pt x="130" y="54"/>
                  </a:cubicBezTo>
                  <a:cubicBezTo>
                    <a:pt x="129" y="54"/>
                    <a:pt x="127" y="54"/>
                    <a:pt x="126" y="54"/>
                  </a:cubicBezTo>
                  <a:cubicBezTo>
                    <a:pt x="125" y="52"/>
                    <a:pt x="124" y="51"/>
                    <a:pt x="122" y="50"/>
                  </a:cubicBezTo>
                  <a:cubicBezTo>
                    <a:pt x="121" y="49"/>
                    <a:pt x="120" y="49"/>
                    <a:pt x="118" y="50"/>
                  </a:cubicBezTo>
                  <a:cubicBezTo>
                    <a:pt x="117" y="51"/>
                    <a:pt x="116" y="52"/>
                    <a:pt x="118" y="52"/>
                  </a:cubicBezTo>
                  <a:cubicBezTo>
                    <a:pt x="117" y="53"/>
                    <a:pt x="117" y="54"/>
                    <a:pt x="116" y="54"/>
                  </a:cubicBezTo>
                  <a:cubicBezTo>
                    <a:pt x="114" y="54"/>
                    <a:pt x="115" y="52"/>
                    <a:pt x="114" y="52"/>
                  </a:cubicBezTo>
                  <a:cubicBezTo>
                    <a:pt x="112" y="53"/>
                    <a:pt x="116" y="58"/>
                    <a:pt x="118" y="56"/>
                  </a:cubicBezTo>
                  <a:cubicBezTo>
                    <a:pt x="118" y="57"/>
                    <a:pt x="119" y="58"/>
                    <a:pt x="119" y="59"/>
                  </a:cubicBezTo>
                  <a:cubicBezTo>
                    <a:pt x="117" y="59"/>
                    <a:pt x="113" y="58"/>
                    <a:pt x="111" y="56"/>
                  </a:cubicBezTo>
                  <a:cubicBezTo>
                    <a:pt x="113" y="56"/>
                    <a:pt x="112" y="54"/>
                    <a:pt x="112" y="53"/>
                  </a:cubicBezTo>
                  <a:cubicBezTo>
                    <a:pt x="111" y="51"/>
                    <a:pt x="113" y="51"/>
                    <a:pt x="112" y="50"/>
                  </a:cubicBezTo>
                  <a:cubicBezTo>
                    <a:pt x="112" y="48"/>
                    <a:pt x="112" y="48"/>
                    <a:pt x="112" y="47"/>
                  </a:cubicBezTo>
                  <a:cubicBezTo>
                    <a:pt x="112" y="46"/>
                    <a:pt x="110" y="44"/>
                    <a:pt x="111" y="46"/>
                  </a:cubicBezTo>
                  <a:cubicBezTo>
                    <a:pt x="111" y="47"/>
                    <a:pt x="111" y="50"/>
                    <a:pt x="111" y="50"/>
                  </a:cubicBezTo>
                  <a:cubicBezTo>
                    <a:pt x="110" y="51"/>
                    <a:pt x="108" y="52"/>
                    <a:pt x="107" y="53"/>
                  </a:cubicBezTo>
                  <a:cubicBezTo>
                    <a:pt x="105" y="56"/>
                    <a:pt x="108" y="59"/>
                    <a:pt x="109" y="61"/>
                  </a:cubicBezTo>
                  <a:cubicBezTo>
                    <a:pt x="110" y="63"/>
                    <a:pt x="107" y="66"/>
                    <a:pt x="108" y="69"/>
                  </a:cubicBezTo>
                  <a:cubicBezTo>
                    <a:pt x="109" y="70"/>
                    <a:pt x="108" y="71"/>
                    <a:pt x="109" y="72"/>
                  </a:cubicBezTo>
                  <a:cubicBezTo>
                    <a:pt x="111" y="72"/>
                    <a:pt x="111" y="72"/>
                    <a:pt x="113" y="71"/>
                  </a:cubicBezTo>
                  <a:cubicBezTo>
                    <a:pt x="116" y="70"/>
                    <a:pt x="118" y="75"/>
                    <a:pt x="118" y="76"/>
                  </a:cubicBezTo>
                  <a:cubicBezTo>
                    <a:pt x="118" y="78"/>
                    <a:pt x="117" y="78"/>
                    <a:pt x="117" y="79"/>
                  </a:cubicBezTo>
                  <a:cubicBezTo>
                    <a:pt x="117" y="81"/>
                    <a:pt x="118" y="81"/>
                    <a:pt x="120" y="82"/>
                  </a:cubicBezTo>
                  <a:cubicBezTo>
                    <a:pt x="117" y="82"/>
                    <a:pt x="116" y="81"/>
                    <a:pt x="117" y="78"/>
                  </a:cubicBezTo>
                  <a:cubicBezTo>
                    <a:pt x="117" y="76"/>
                    <a:pt x="115" y="75"/>
                    <a:pt x="115" y="73"/>
                  </a:cubicBezTo>
                  <a:cubicBezTo>
                    <a:pt x="112" y="74"/>
                    <a:pt x="108" y="74"/>
                    <a:pt x="110" y="77"/>
                  </a:cubicBezTo>
                  <a:cubicBezTo>
                    <a:pt x="111" y="81"/>
                    <a:pt x="109" y="81"/>
                    <a:pt x="108" y="84"/>
                  </a:cubicBezTo>
                  <a:cubicBezTo>
                    <a:pt x="107" y="86"/>
                    <a:pt x="107" y="86"/>
                    <a:pt x="105" y="87"/>
                  </a:cubicBezTo>
                  <a:cubicBezTo>
                    <a:pt x="104" y="88"/>
                    <a:pt x="105" y="89"/>
                    <a:pt x="104" y="89"/>
                  </a:cubicBezTo>
                  <a:cubicBezTo>
                    <a:pt x="103" y="90"/>
                    <a:pt x="101" y="89"/>
                    <a:pt x="100" y="89"/>
                  </a:cubicBezTo>
                  <a:cubicBezTo>
                    <a:pt x="100" y="89"/>
                    <a:pt x="100" y="87"/>
                    <a:pt x="99" y="86"/>
                  </a:cubicBezTo>
                  <a:cubicBezTo>
                    <a:pt x="101" y="87"/>
                    <a:pt x="102" y="86"/>
                    <a:pt x="104" y="85"/>
                  </a:cubicBezTo>
                  <a:cubicBezTo>
                    <a:pt x="103" y="85"/>
                    <a:pt x="103" y="84"/>
                    <a:pt x="103" y="84"/>
                  </a:cubicBezTo>
                  <a:cubicBezTo>
                    <a:pt x="105" y="85"/>
                    <a:pt x="107" y="81"/>
                    <a:pt x="107" y="79"/>
                  </a:cubicBezTo>
                  <a:cubicBezTo>
                    <a:pt x="107" y="78"/>
                    <a:pt x="107" y="77"/>
                    <a:pt x="107" y="76"/>
                  </a:cubicBezTo>
                  <a:cubicBezTo>
                    <a:pt x="107" y="74"/>
                    <a:pt x="105" y="74"/>
                    <a:pt x="105" y="72"/>
                  </a:cubicBezTo>
                  <a:cubicBezTo>
                    <a:pt x="105" y="71"/>
                    <a:pt x="105" y="69"/>
                    <a:pt x="106" y="67"/>
                  </a:cubicBezTo>
                  <a:cubicBezTo>
                    <a:pt x="106" y="66"/>
                    <a:pt x="105" y="65"/>
                    <a:pt x="105" y="64"/>
                  </a:cubicBezTo>
                  <a:cubicBezTo>
                    <a:pt x="107" y="61"/>
                    <a:pt x="105" y="58"/>
                    <a:pt x="104" y="56"/>
                  </a:cubicBezTo>
                  <a:cubicBezTo>
                    <a:pt x="103" y="55"/>
                    <a:pt x="106" y="50"/>
                    <a:pt x="106" y="49"/>
                  </a:cubicBezTo>
                  <a:cubicBezTo>
                    <a:pt x="105" y="47"/>
                    <a:pt x="106" y="46"/>
                    <a:pt x="104" y="46"/>
                  </a:cubicBezTo>
                  <a:cubicBezTo>
                    <a:pt x="102" y="46"/>
                    <a:pt x="100" y="45"/>
                    <a:pt x="98" y="45"/>
                  </a:cubicBezTo>
                  <a:cubicBezTo>
                    <a:pt x="97" y="44"/>
                    <a:pt x="96" y="51"/>
                    <a:pt x="96" y="52"/>
                  </a:cubicBezTo>
                  <a:cubicBezTo>
                    <a:pt x="95" y="55"/>
                    <a:pt x="92" y="56"/>
                    <a:pt x="92" y="59"/>
                  </a:cubicBezTo>
                  <a:cubicBezTo>
                    <a:pt x="92" y="59"/>
                    <a:pt x="92" y="59"/>
                    <a:pt x="93" y="59"/>
                  </a:cubicBezTo>
                  <a:cubicBezTo>
                    <a:pt x="92" y="59"/>
                    <a:pt x="92" y="60"/>
                    <a:pt x="92" y="61"/>
                  </a:cubicBezTo>
                  <a:cubicBezTo>
                    <a:pt x="95" y="61"/>
                    <a:pt x="92" y="62"/>
                    <a:pt x="93" y="64"/>
                  </a:cubicBezTo>
                  <a:cubicBezTo>
                    <a:pt x="93" y="66"/>
                    <a:pt x="91" y="68"/>
                    <a:pt x="93" y="69"/>
                  </a:cubicBezTo>
                  <a:cubicBezTo>
                    <a:pt x="96" y="69"/>
                    <a:pt x="95" y="70"/>
                    <a:pt x="96" y="73"/>
                  </a:cubicBezTo>
                  <a:cubicBezTo>
                    <a:pt x="96" y="74"/>
                    <a:pt x="98" y="73"/>
                    <a:pt x="97" y="74"/>
                  </a:cubicBezTo>
                  <a:cubicBezTo>
                    <a:pt x="97" y="75"/>
                    <a:pt x="96" y="77"/>
                    <a:pt x="96" y="78"/>
                  </a:cubicBezTo>
                  <a:cubicBezTo>
                    <a:pt x="93" y="74"/>
                    <a:pt x="91" y="73"/>
                    <a:pt x="88" y="70"/>
                  </a:cubicBezTo>
                  <a:cubicBezTo>
                    <a:pt x="86" y="69"/>
                    <a:pt x="81" y="67"/>
                    <a:pt x="79" y="67"/>
                  </a:cubicBezTo>
                  <a:cubicBezTo>
                    <a:pt x="75" y="68"/>
                    <a:pt x="80" y="72"/>
                    <a:pt x="77" y="74"/>
                  </a:cubicBezTo>
                  <a:cubicBezTo>
                    <a:pt x="76" y="74"/>
                    <a:pt x="76" y="77"/>
                    <a:pt x="75" y="77"/>
                  </a:cubicBezTo>
                  <a:cubicBezTo>
                    <a:pt x="74" y="76"/>
                    <a:pt x="74" y="76"/>
                    <a:pt x="75" y="75"/>
                  </a:cubicBezTo>
                  <a:cubicBezTo>
                    <a:pt x="75" y="74"/>
                    <a:pt x="74" y="73"/>
                    <a:pt x="74" y="72"/>
                  </a:cubicBezTo>
                  <a:cubicBezTo>
                    <a:pt x="73" y="73"/>
                    <a:pt x="71" y="75"/>
                    <a:pt x="70" y="76"/>
                  </a:cubicBezTo>
                  <a:cubicBezTo>
                    <a:pt x="69" y="76"/>
                    <a:pt x="66" y="75"/>
                    <a:pt x="66" y="76"/>
                  </a:cubicBezTo>
                  <a:cubicBezTo>
                    <a:pt x="64" y="77"/>
                    <a:pt x="65" y="78"/>
                    <a:pt x="63" y="77"/>
                  </a:cubicBezTo>
                  <a:cubicBezTo>
                    <a:pt x="61" y="76"/>
                    <a:pt x="64" y="74"/>
                    <a:pt x="62" y="74"/>
                  </a:cubicBezTo>
                  <a:cubicBezTo>
                    <a:pt x="62" y="73"/>
                    <a:pt x="63" y="73"/>
                    <a:pt x="64" y="73"/>
                  </a:cubicBezTo>
                  <a:cubicBezTo>
                    <a:pt x="61" y="73"/>
                    <a:pt x="61" y="74"/>
                    <a:pt x="60" y="75"/>
                  </a:cubicBezTo>
                  <a:cubicBezTo>
                    <a:pt x="60" y="75"/>
                    <a:pt x="60" y="75"/>
                    <a:pt x="60" y="74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6"/>
                    <a:pt x="59" y="76"/>
                    <a:pt x="59" y="77"/>
                  </a:cubicBezTo>
                  <a:cubicBezTo>
                    <a:pt x="58" y="74"/>
                    <a:pt x="52" y="80"/>
                    <a:pt x="50" y="80"/>
                  </a:cubicBezTo>
                  <a:cubicBezTo>
                    <a:pt x="49" y="81"/>
                    <a:pt x="49" y="82"/>
                    <a:pt x="48" y="84"/>
                  </a:cubicBezTo>
                  <a:cubicBezTo>
                    <a:pt x="47" y="85"/>
                    <a:pt x="47" y="86"/>
                    <a:pt x="45" y="87"/>
                  </a:cubicBezTo>
                  <a:cubicBezTo>
                    <a:pt x="45" y="86"/>
                    <a:pt x="45" y="86"/>
                    <a:pt x="44" y="86"/>
                  </a:cubicBezTo>
                  <a:cubicBezTo>
                    <a:pt x="43" y="86"/>
                    <a:pt x="43" y="84"/>
                    <a:pt x="42" y="84"/>
                  </a:cubicBezTo>
                  <a:cubicBezTo>
                    <a:pt x="41" y="81"/>
                    <a:pt x="43" y="81"/>
                    <a:pt x="45" y="80"/>
                  </a:cubicBezTo>
                  <a:cubicBezTo>
                    <a:pt x="44" y="76"/>
                    <a:pt x="42" y="76"/>
                    <a:pt x="38" y="75"/>
                  </a:cubicBezTo>
                  <a:cubicBezTo>
                    <a:pt x="39" y="76"/>
                    <a:pt x="40" y="77"/>
                    <a:pt x="40" y="79"/>
                  </a:cubicBezTo>
                  <a:cubicBezTo>
                    <a:pt x="40" y="80"/>
                    <a:pt x="39" y="82"/>
                    <a:pt x="39" y="83"/>
                  </a:cubicBezTo>
                  <a:cubicBezTo>
                    <a:pt x="39" y="85"/>
                    <a:pt x="41" y="84"/>
                    <a:pt x="40" y="87"/>
                  </a:cubicBezTo>
                  <a:cubicBezTo>
                    <a:pt x="40" y="88"/>
                    <a:pt x="40" y="90"/>
                    <a:pt x="40" y="91"/>
                  </a:cubicBezTo>
                  <a:cubicBezTo>
                    <a:pt x="39" y="90"/>
                    <a:pt x="39" y="90"/>
                    <a:pt x="38" y="90"/>
                  </a:cubicBezTo>
                  <a:cubicBezTo>
                    <a:pt x="39" y="89"/>
                    <a:pt x="37" y="87"/>
                    <a:pt x="35" y="88"/>
                  </a:cubicBezTo>
                  <a:cubicBezTo>
                    <a:pt x="35" y="88"/>
                    <a:pt x="33" y="91"/>
                    <a:pt x="32" y="91"/>
                  </a:cubicBezTo>
                  <a:cubicBezTo>
                    <a:pt x="30" y="92"/>
                    <a:pt x="30" y="92"/>
                    <a:pt x="30" y="95"/>
                  </a:cubicBezTo>
                  <a:cubicBezTo>
                    <a:pt x="30" y="96"/>
                    <a:pt x="31" y="98"/>
                    <a:pt x="32" y="99"/>
                  </a:cubicBezTo>
                  <a:cubicBezTo>
                    <a:pt x="31" y="99"/>
                    <a:pt x="27" y="96"/>
                    <a:pt x="26" y="98"/>
                  </a:cubicBezTo>
                  <a:cubicBezTo>
                    <a:pt x="26" y="98"/>
                    <a:pt x="26" y="98"/>
                    <a:pt x="26" y="97"/>
                  </a:cubicBezTo>
                  <a:cubicBezTo>
                    <a:pt x="25" y="96"/>
                    <a:pt x="23" y="95"/>
                    <a:pt x="22" y="97"/>
                  </a:cubicBezTo>
                  <a:cubicBezTo>
                    <a:pt x="21" y="98"/>
                    <a:pt x="24" y="100"/>
                    <a:pt x="25" y="99"/>
                  </a:cubicBezTo>
                  <a:cubicBezTo>
                    <a:pt x="26" y="102"/>
                    <a:pt x="26" y="104"/>
                    <a:pt x="23" y="102"/>
                  </a:cubicBezTo>
                  <a:cubicBezTo>
                    <a:pt x="21" y="101"/>
                    <a:pt x="20" y="100"/>
                    <a:pt x="18" y="99"/>
                  </a:cubicBezTo>
                  <a:cubicBezTo>
                    <a:pt x="19" y="98"/>
                    <a:pt x="18" y="97"/>
                    <a:pt x="17" y="95"/>
                  </a:cubicBezTo>
                  <a:cubicBezTo>
                    <a:pt x="17" y="94"/>
                    <a:pt x="18" y="93"/>
                    <a:pt x="18" y="92"/>
                  </a:cubicBezTo>
                  <a:cubicBezTo>
                    <a:pt x="18" y="90"/>
                    <a:pt x="13" y="86"/>
                    <a:pt x="11" y="85"/>
                  </a:cubicBezTo>
                  <a:cubicBezTo>
                    <a:pt x="13" y="84"/>
                    <a:pt x="15" y="86"/>
                    <a:pt x="17" y="87"/>
                  </a:cubicBezTo>
                  <a:cubicBezTo>
                    <a:pt x="17" y="87"/>
                    <a:pt x="17" y="88"/>
                    <a:pt x="18" y="88"/>
                  </a:cubicBezTo>
                  <a:cubicBezTo>
                    <a:pt x="19" y="88"/>
                    <a:pt x="21" y="89"/>
                    <a:pt x="22" y="89"/>
                  </a:cubicBezTo>
                  <a:cubicBezTo>
                    <a:pt x="25" y="90"/>
                    <a:pt x="27" y="91"/>
                    <a:pt x="29" y="89"/>
                  </a:cubicBezTo>
                  <a:cubicBezTo>
                    <a:pt x="31" y="89"/>
                    <a:pt x="33" y="87"/>
                    <a:pt x="33" y="84"/>
                  </a:cubicBezTo>
                  <a:cubicBezTo>
                    <a:pt x="33" y="84"/>
                    <a:pt x="32" y="83"/>
                    <a:pt x="32" y="82"/>
                  </a:cubicBezTo>
                  <a:cubicBezTo>
                    <a:pt x="32" y="81"/>
                    <a:pt x="32" y="80"/>
                    <a:pt x="31" y="79"/>
                  </a:cubicBezTo>
                  <a:cubicBezTo>
                    <a:pt x="29" y="78"/>
                    <a:pt x="27" y="78"/>
                    <a:pt x="26" y="77"/>
                  </a:cubicBezTo>
                  <a:cubicBezTo>
                    <a:pt x="25" y="76"/>
                    <a:pt x="22" y="71"/>
                    <a:pt x="20" y="71"/>
                  </a:cubicBezTo>
                  <a:cubicBezTo>
                    <a:pt x="19" y="71"/>
                    <a:pt x="15" y="72"/>
                    <a:pt x="14" y="70"/>
                  </a:cubicBezTo>
                  <a:cubicBezTo>
                    <a:pt x="14" y="70"/>
                    <a:pt x="14" y="70"/>
                    <a:pt x="14" y="71"/>
                  </a:cubicBezTo>
                  <a:cubicBezTo>
                    <a:pt x="14" y="69"/>
                    <a:pt x="11" y="70"/>
                    <a:pt x="12" y="68"/>
                  </a:cubicBezTo>
                  <a:cubicBezTo>
                    <a:pt x="12" y="68"/>
                    <a:pt x="13" y="68"/>
                    <a:pt x="14" y="69"/>
                  </a:cubicBezTo>
                  <a:cubicBezTo>
                    <a:pt x="15" y="67"/>
                    <a:pt x="12" y="67"/>
                    <a:pt x="11" y="67"/>
                  </a:cubicBezTo>
                  <a:cubicBezTo>
                    <a:pt x="11" y="67"/>
                    <a:pt x="11" y="67"/>
                    <a:pt x="11" y="68"/>
                  </a:cubicBezTo>
                  <a:cubicBezTo>
                    <a:pt x="11" y="67"/>
                    <a:pt x="11" y="68"/>
                    <a:pt x="11" y="68"/>
                  </a:cubicBezTo>
                  <a:cubicBezTo>
                    <a:pt x="10" y="68"/>
                    <a:pt x="9" y="68"/>
                    <a:pt x="9" y="68"/>
                  </a:cubicBezTo>
                  <a:cubicBezTo>
                    <a:pt x="9" y="68"/>
                    <a:pt x="9" y="68"/>
                    <a:pt x="9" y="69"/>
                  </a:cubicBezTo>
                  <a:cubicBezTo>
                    <a:pt x="8" y="69"/>
                    <a:pt x="8" y="69"/>
                    <a:pt x="7" y="68"/>
                  </a:cubicBezTo>
                  <a:cubicBezTo>
                    <a:pt x="7" y="70"/>
                    <a:pt x="5" y="72"/>
                    <a:pt x="4" y="73"/>
                  </a:cubicBezTo>
                  <a:cubicBezTo>
                    <a:pt x="4" y="74"/>
                    <a:pt x="4" y="74"/>
                    <a:pt x="4" y="75"/>
                  </a:cubicBezTo>
                  <a:cubicBezTo>
                    <a:pt x="4" y="77"/>
                    <a:pt x="4" y="77"/>
                    <a:pt x="5" y="78"/>
                  </a:cubicBezTo>
                  <a:cubicBezTo>
                    <a:pt x="7" y="80"/>
                    <a:pt x="7" y="82"/>
                    <a:pt x="6" y="84"/>
                  </a:cubicBezTo>
                  <a:cubicBezTo>
                    <a:pt x="5" y="86"/>
                    <a:pt x="6" y="89"/>
                    <a:pt x="7" y="91"/>
                  </a:cubicBezTo>
                  <a:cubicBezTo>
                    <a:pt x="7" y="93"/>
                    <a:pt x="6" y="95"/>
                    <a:pt x="6" y="97"/>
                  </a:cubicBezTo>
                  <a:cubicBezTo>
                    <a:pt x="6" y="97"/>
                    <a:pt x="7" y="99"/>
                    <a:pt x="7" y="99"/>
                  </a:cubicBezTo>
                  <a:cubicBezTo>
                    <a:pt x="8" y="101"/>
                    <a:pt x="8" y="100"/>
                    <a:pt x="8" y="102"/>
                  </a:cubicBezTo>
                  <a:cubicBezTo>
                    <a:pt x="7" y="104"/>
                    <a:pt x="10" y="105"/>
                    <a:pt x="10" y="108"/>
                  </a:cubicBezTo>
                  <a:cubicBezTo>
                    <a:pt x="10" y="111"/>
                    <a:pt x="4" y="116"/>
                    <a:pt x="1" y="118"/>
                  </a:cubicBezTo>
                  <a:cubicBezTo>
                    <a:pt x="2" y="118"/>
                    <a:pt x="3" y="118"/>
                    <a:pt x="4" y="118"/>
                  </a:cubicBezTo>
                  <a:cubicBezTo>
                    <a:pt x="4" y="118"/>
                    <a:pt x="4" y="119"/>
                    <a:pt x="4" y="119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4" y="121"/>
                    <a:pt x="6" y="120"/>
                    <a:pt x="7" y="122"/>
                  </a:cubicBezTo>
                  <a:cubicBezTo>
                    <a:pt x="6" y="122"/>
                    <a:pt x="5" y="121"/>
                    <a:pt x="4" y="122"/>
                  </a:cubicBezTo>
                  <a:cubicBezTo>
                    <a:pt x="3" y="123"/>
                    <a:pt x="3" y="124"/>
                    <a:pt x="2" y="125"/>
                  </a:cubicBezTo>
                  <a:cubicBezTo>
                    <a:pt x="1" y="127"/>
                    <a:pt x="0" y="125"/>
                    <a:pt x="0" y="127"/>
                  </a:cubicBezTo>
                  <a:cubicBezTo>
                    <a:pt x="1" y="128"/>
                    <a:pt x="2" y="129"/>
                    <a:pt x="2" y="130"/>
                  </a:cubicBezTo>
                  <a:cubicBezTo>
                    <a:pt x="2" y="131"/>
                    <a:pt x="1" y="131"/>
                    <a:pt x="1" y="132"/>
                  </a:cubicBezTo>
                  <a:cubicBezTo>
                    <a:pt x="1" y="133"/>
                    <a:pt x="2" y="135"/>
                    <a:pt x="2" y="135"/>
                  </a:cubicBezTo>
                  <a:cubicBezTo>
                    <a:pt x="3" y="136"/>
                    <a:pt x="3" y="138"/>
                    <a:pt x="3" y="138"/>
                  </a:cubicBezTo>
                  <a:cubicBezTo>
                    <a:pt x="4" y="139"/>
                    <a:pt x="6" y="138"/>
                    <a:pt x="6" y="140"/>
                  </a:cubicBezTo>
                  <a:cubicBezTo>
                    <a:pt x="8" y="139"/>
                    <a:pt x="10" y="140"/>
                    <a:pt x="9" y="142"/>
                  </a:cubicBezTo>
                  <a:cubicBezTo>
                    <a:pt x="9" y="144"/>
                    <a:pt x="10" y="145"/>
                    <a:pt x="10" y="146"/>
                  </a:cubicBezTo>
                  <a:cubicBezTo>
                    <a:pt x="11" y="147"/>
                    <a:pt x="11" y="147"/>
                    <a:pt x="13" y="148"/>
                  </a:cubicBezTo>
                  <a:cubicBezTo>
                    <a:pt x="13" y="148"/>
                    <a:pt x="14" y="148"/>
                    <a:pt x="14" y="149"/>
                  </a:cubicBezTo>
                  <a:cubicBezTo>
                    <a:pt x="14" y="151"/>
                    <a:pt x="11" y="149"/>
                    <a:pt x="11" y="150"/>
                  </a:cubicBezTo>
                  <a:cubicBezTo>
                    <a:pt x="10" y="150"/>
                    <a:pt x="11" y="155"/>
                    <a:pt x="13" y="153"/>
                  </a:cubicBezTo>
                  <a:cubicBezTo>
                    <a:pt x="14" y="151"/>
                    <a:pt x="18" y="155"/>
                    <a:pt x="17" y="155"/>
                  </a:cubicBezTo>
                  <a:cubicBezTo>
                    <a:pt x="16" y="156"/>
                    <a:pt x="18" y="157"/>
                    <a:pt x="18" y="157"/>
                  </a:cubicBezTo>
                  <a:cubicBezTo>
                    <a:pt x="19" y="158"/>
                    <a:pt x="19" y="157"/>
                    <a:pt x="19" y="158"/>
                  </a:cubicBezTo>
                  <a:cubicBezTo>
                    <a:pt x="20" y="158"/>
                    <a:pt x="19" y="159"/>
                    <a:pt x="20" y="159"/>
                  </a:cubicBezTo>
                  <a:cubicBezTo>
                    <a:pt x="21" y="161"/>
                    <a:pt x="24" y="159"/>
                    <a:pt x="25" y="161"/>
                  </a:cubicBezTo>
                  <a:cubicBezTo>
                    <a:pt x="26" y="162"/>
                    <a:pt x="29" y="162"/>
                    <a:pt x="31" y="163"/>
                  </a:cubicBezTo>
                  <a:cubicBezTo>
                    <a:pt x="31" y="164"/>
                    <a:pt x="31" y="165"/>
                    <a:pt x="30" y="165"/>
                  </a:cubicBezTo>
                  <a:cubicBezTo>
                    <a:pt x="30" y="165"/>
                    <a:pt x="30" y="166"/>
                    <a:pt x="30" y="166"/>
                  </a:cubicBezTo>
                  <a:cubicBezTo>
                    <a:pt x="28" y="166"/>
                    <a:pt x="31" y="169"/>
                    <a:pt x="29" y="169"/>
                  </a:cubicBezTo>
                  <a:cubicBezTo>
                    <a:pt x="27" y="169"/>
                    <a:pt x="26" y="170"/>
                    <a:pt x="26" y="172"/>
                  </a:cubicBezTo>
                  <a:cubicBezTo>
                    <a:pt x="27" y="172"/>
                    <a:pt x="28" y="171"/>
                    <a:pt x="29" y="172"/>
                  </a:cubicBezTo>
                  <a:cubicBezTo>
                    <a:pt x="28" y="172"/>
                    <a:pt x="26" y="173"/>
                    <a:pt x="26" y="173"/>
                  </a:cubicBezTo>
                  <a:cubicBezTo>
                    <a:pt x="24" y="173"/>
                    <a:pt x="25" y="174"/>
                    <a:pt x="27" y="175"/>
                  </a:cubicBezTo>
                  <a:cubicBezTo>
                    <a:pt x="25" y="175"/>
                    <a:pt x="25" y="176"/>
                    <a:pt x="25" y="177"/>
                  </a:cubicBezTo>
                  <a:cubicBezTo>
                    <a:pt x="24" y="178"/>
                    <a:pt x="23" y="177"/>
                    <a:pt x="23" y="178"/>
                  </a:cubicBezTo>
                  <a:cubicBezTo>
                    <a:pt x="22" y="179"/>
                    <a:pt x="26" y="181"/>
                    <a:pt x="27" y="181"/>
                  </a:cubicBezTo>
                  <a:cubicBezTo>
                    <a:pt x="28" y="182"/>
                    <a:pt x="28" y="182"/>
                    <a:pt x="29" y="183"/>
                  </a:cubicBezTo>
                  <a:cubicBezTo>
                    <a:pt x="30" y="184"/>
                    <a:pt x="30" y="183"/>
                    <a:pt x="32" y="183"/>
                  </a:cubicBezTo>
                  <a:cubicBezTo>
                    <a:pt x="33" y="184"/>
                    <a:pt x="37" y="184"/>
                    <a:pt x="38" y="185"/>
                  </a:cubicBezTo>
                  <a:cubicBezTo>
                    <a:pt x="40" y="187"/>
                    <a:pt x="41" y="185"/>
                    <a:pt x="43" y="186"/>
                  </a:cubicBezTo>
                  <a:cubicBezTo>
                    <a:pt x="44" y="187"/>
                    <a:pt x="43" y="188"/>
                    <a:pt x="44" y="188"/>
                  </a:cubicBezTo>
                  <a:cubicBezTo>
                    <a:pt x="45" y="189"/>
                    <a:pt x="46" y="189"/>
                    <a:pt x="47" y="190"/>
                  </a:cubicBezTo>
                  <a:cubicBezTo>
                    <a:pt x="47" y="190"/>
                    <a:pt x="47" y="191"/>
                    <a:pt x="48" y="191"/>
                  </a:cubicBezTo>
                  <a:cubicBezTo>
                    <a:pt x="49" y="190"/>
                    <a:pt x="49" y="189"/>
                    <a:pt x="49" y="189"/>
                  </a:cubicBezTo>
                  <a:cubicBezTo>
                    <a:pt x="49" y="186"/>
                    <a:pt x="47" y="185"/>
                    <a:pt x="48" y="183"/>
                  </a:cubicBezTo>
                  <a:cubicBezTo>
                    <a:pt x="48" y="183"/>
                    <a:pt x="47" y="183"/>
                    <a:pt x="47" y="183"/>
                  </a:cubicBezTo>
                  <a:cubicBezTo>
                    <a:pt x="47" y="183"/>
                    <a:pt x="45" y="181"/>
                    <a:pt x="45" y="180"/>
                  </a:cubicBezTo>
                  <a:cubicBezTo>
                    <a:pt x="45" y="179"/>
                    <a:pt x="47" y="178"/>
                    <a:pt x="47" y="176"/>
                  </a:cubicBezTo>
                  <a:cubicBezTo>
                    <a:pt x="47" y="176"/>
                    <a:pt x="47" y="177"/>
                    <a:pt x="47" y="177"/>
                  </a:cubicBezTo>
                  <a:cubicBezTo>
                    <a:pt x="48" y="176"/>
                    <a:pt x="48" y="175"/>
                    <a:pt x="47" y="175"/>
                  </a:cubicBezTo>
                  <a:cubicBezTo>
                    <a:pt x="48" y="175"/>
                    <a:pt x="49" y="175"/>
                    <a:pt x="49" y="176"/>
                  </a:cubicBezTo>
                  <a:cubicBezTo>
                    <a:pt x="49" y="175"/>
                    <a:pt x="50" y="175"/>
                    <a:pt x="51" y="174"/>
                  </a:cubicBezTo>
                  <a:cubicBezTo>
                    <a:pt x="50" y="174"/>
                    <a:pt x="49" y="173"/>
                    <a:pt x="51" y="173"/>
                  </a:cubicBezTo>
                  <a:cubicBezTo>
                    <a:pt x="51" y="172"/>
                    <a:pt x="49" y="168"/>
                    <a:pt x="47" y="170"/>
                  </a:cubicBezTo>
                  <a:cubicBezTo>
                    <a:pt x="47" y="169"/>
                    <a:pt x="47" y="168"/>
                    <a:pt x="46" y="168"/>
                  </a:cubicBezTo>
                  <a:cubicBezTo>
                    <a:pt x="45" y="167"/>
                    <a:pt x="45" y="166"/>
                    <a:pt x="46" y="165"/>
                  </a:cubicBezTo>
                  <a:cubicBezTo>
                    <a:pt x="47" y="165"/>
                    <a:pt x="46" y="163"/>
                    <a:pt x="46" y="162"/>
                  </a:cubicBezTo>
                  <a:cubicBezTo>
                    <a:pt x="47" y="161"/>
                    <a:pt x="48" y="161"/>
                    <a:pt x="48" y="160"/>
                  </a:cubicBezTo>
                  <a:cubicBezTo>
                    <a:pt x="48" y="160"/>
                    <a:pt x="49" y="163"/>
                    <a:pt x="50" y="163"/>
                  </a:cubicBezTo>
                  <a:cubicBezTo>
                    <a:pt x="51" y="163"/>
                    <a:pt x="50" y="160"/>
                    <a:pt x="50" y="159"/>
                  </a:cubicBezTo>
                  <a:cubicBezTo>
                    <a:pt x="51" y="159"/>
                    <a:pt x="51" y="159"/>
                    <a:pt x="52" y="159"/>
                  </a:cubicBezTo>
                  <a:cubicBezTo>
                    <a:pt x="52" y="158"/>
                    <a:pt x="52" y="158"/>
                    <a:pt x="52" y="158"/>
                  </a:cubicBezTo>
                  <a:cubicBezTo>
                    <a:pt x="53" y="157"/>
                    <a:pt x="54" y="157"/>
                    <a:pt x="54" y="157"/>
                  </a:cubicBezTo>
                  <a:cubicBezTo>
                    <a:pt x="56" y="156"/>
                    <a:pt x="56" y="155"/>
                    <a:pt x="57" y="156"/>
                  </a:cubicBezTo>
                  <a:cubicBezTo>
                    <a:pt x="58" y="154"/>
                    <a:pt x="59" y="156"/>
                    <a:pt x="60" y="156"/>
                  </a:cubicBezTo>
                  <a:cubicBezTo>
                    <a:pt x="62" y="156"/>
                    <a:pt x="64" y="158"/>
                    <a:pt x="64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157"/>
                    <a:pt x="65" y="159"/>
                    <a:pt x="65" y="159"/>
                  </a:cubicBezTo>
                  <a:cubicBezTo>
                    <a:pt x="66" y="159"/>
                    <a:pt x="66" y="160"/>
                    <a:pt x="67" y="159"/>
                  </a:cubicBezTo>
                  <a:cubicBezTo>
                    <a:pt x="68" y="159"/>
                    <a:pt x="68" y="159"/>
                    <a:pt x="69" y="158"/>
                  </a:cubicBezTo>
                  <a:cubicBezTo>
                    <a:pt x="69" y="158"/>
                    <a:pt x="70" y="158"/>
                    <a:pt x="70" y="158"/>
                  </a:cubicBezTo>
                  <a:cubicBezTo>
                    <a:pt x="70" y="158"/>
                    <a:pt x="70" y="158"/>
                    <a:pt x="71" y="159"/>
                  </a:cubicBezTo>
                  <a:cubicBezTo>
                    <a:pt x="71" y="158"/>
                    <a:pt x="71" y="158"/>
                    <a:pt x="72" y="158"/>
                  </a:cubicBezTo>
                  <a:cubicBezTo>
                    <a:pt x="74" y="158"/>
                    <a:pt x="73" y="160"/>
                    <a:pt x="75" y="159"/>
                  </a:cubicBezTo>
                  <a:cubicBezTo>
                    <a:pt x="76" y="161"/>
                    <a:pt x="76" y="158"/>
                    <a:pt x="77" y="159"/>
                  </a:cubicBezTo>
                  <a:cubicBezTo>
                    <a:pt x="79" y="160"/>
                    <a:pt x="80" y="159"/>
                    <a:pt x="80" y="157"/>
                  </a:cubicBezTo>
                  <a:cubicBezTo>
                    <a:pt x="79" y="157"/>
                    <a:pt x="77" y="156"/>
                    <a:pt x="77" y="155"/>
                  </a:cubicBezTo>
                  <a:cubicBezTo>
                    <a:pt x="77" y="154"/>
                    <a:pt x="80" y="154"/>
                    <a:pt x="78" y="152"/>
                  </a:cubicBezTo>
                  <a:cubicBezTo>
                    <a:pt x="77" y="151"/>
                    <a:pt x="81" y="151"/>
                    <a:pt x="82" y="150"/>
                  </a:cubicBezTo>
                  <a:cubicBezTo>
                    <a:pt x="81" y="149"/>
                    <a:pt x="78" y="150"/>
                    <a:pt x="80" y="148"/>
                  </a:cubicBezTo>
                  <a:cubicBezTo>
                    <a:pt x="80" y="148"/>
                    <a:pt x="79" y="148"/>
                    <a:pt x="79" y="148"/>
                  </a:cubicBezTo>
                  <a:cubicBezTo>
                    <a:pt x="79" y="148"/>
                    <a:pt x="79" y="147"/>
                    <a:pt x="79" y="147"/>
                  </a:cubicBezTo>
                  <a:cubicBezTo>
                    <a:pt x="80" y="147"/>
                    <a:pt x="82" y="147"/>
                    <a:pt x="82" y="147"/>
                  </a:cubicBezTo>
                  <a:cubicBezTo>
                    <a:pt x="84" y="146"/>
                    <a:pt x="86" y="146"/>
                    <a:pt x="88" y="145"/>
                  </a:cubicBezTo>
                  <a:cubicBezTo>
                    <a:pt x="89" y="145"/>
                    <a:pt x="89" y="144"/>
                    <a:pt x="90" y="144"/>
                  </a:cubicBezTo>
                  <a:cubicBezTo>
                    <a:pt x="91" y="144"/>
                    <a:pt x="91" y="144"/>
                    <a:pt x="92" y="144"/>
                  </a:cubicBezTo>
                  <a:cubicBezTo>
                    <a:pt x="93" y="144"/>
                    <a:pt x="94" y="143"/>
                    <a:pt x="95" y="143"/>
                  </a:cubicBezTo>
                  <a:cubicBezTo>
                    <a:pt x="96" y="143"/>
                    <a:pt x="95" y="142"/>
                    <a:pt x="96" y="142"/>
                  </a:cubicBezTo>
                  <a:cubicBezTo>
                    <a:pt x="97" y="141"/>
                    <a:pt x="98" y="141"/>
                    <a:pt x="99" y="141"/>
                  </a:cubicBezTo>
                  <a:cubicBezTo>
                    <a:pt x="99" y="141"/>
                    <a:pt x="102" y="142"/>
                    <a:pt x="102" y="142"/>
                  </a:cubicBezTo>
                  <a:cubicBezTo>
                    <a:pt x="102" y="142"/>
                    <a:pt x="103" y="145"/>
                    <a:pt x="102" y="145"/>
                  </a:cubicBezTo>
                  <a:cubicBezTo>
                    <a:pt x="102" y="146"/>
                    <a:pt x="104" y="147"/>
                    <a:pt x="105" y="145"/>
                  </a:cubicBezTo>
                  <a:cubicBezTo>
                    <a:pt x="105" y="146"/>
                    <a:pt x="105" y="146"/>
                    <a:pt x="105" y="147"/>
                  </a:cubicBezTo>
                  <a:cubicBezTo>
                    <a:pt x="105" y="147"/>
                    <a:pt x="106" y="147"/>
                    <a:pt x="106" y="147"/>
                  </a:cubicBezTo>
                  <a:cubicBezTo>
                    <a:pt x="106" y="147"/>
                    <a:pt x="106" y="147"/>
                    <a:pt x="106" y="146"/>
                  </a:cubicBezTo>
                  <a:cubicBezTo>
                    <a:pt x="106" y="147"/>
                    <a:pt x="107" y="147"/>
                    <a:pt x="108" y="147"/>
                  </a:cubicBezTo>
                  <a:cubicBezTo>
                    <a:pt x="108" y="147"/>
                    <a:pt x="107" y="148"/>
                    <a:pt x="108" y="149"/>
                  </a:cubicBezTo>
                  <a:cubicBezTo>
                    <a:pt x="108" y="148"/>
                    <a:pt x="109" y="148"/>
                    <a:pt x="110" y="149"/>
                  </a:cubicBezTo>
                  <a:cubicBezTo>
                    <a:pt x="110" y="147"/>
                    <a:pt x="114" y="146"/>
                    <a:pt x="115" y="145"/>
                  </a:cubicBezTo>
                  <a:cubicBezTo>
                    <a:pt x="115" y="146"/>
                    <a:pt x="114" y="146"/>
                    <a:pt x="115" y="147"/>
                  </a:cubicBezTo>
                  <a:cubicBezTo>
                    <a:pt x="116" y="148"/>
                    <a:pt x="118" y="149"/>
                    <a:pt x="118" y="150"/>
                  </a:cubicBezTo>
                  <a:cubicBezTo>
                    <a:pt x="120" y="153"/>
                    <a:pt x="121" y="156"/>
                    <a:pt x="123" y="159"/>
                  </a:cubicBezTo>
                  <a:cubicBezTo>
                    <a:pt x="124" y="158"/>
                    <a:pt x="124" y="157"/>
                    <a:pt x="125" y="157"/>
                  </a:cubicBezTo>
                  <a:cubicBezTo>
                    <a:pt x="126" y="157"/>
                    <a:pt x="125" y="159"/>
                    <a:pt x="126" y="159"/>
                  </a:cubicBezTo>
                  <a:cubicBezTo>
                    <a:pt x="128" y="160"/>
                    <a:pt x="130" y="157"/>
                    <a:pt x="131" y="159"/>
                  </a:cubicBezTo>
                  <a:cubicBezTo>
                    <a:pt x="133" y="160"/>
                    <a:pt x="133" y="162"/>
                    <a:pt x="135" y="163"/>
                  </a:cubicBezTo>
                  <a:cubicBezTo>
                    <a:pt x="136" y="164"/>
                    <a:pt x="137" y="163"/>
                    <a:pt x="138" y="163"/>
                  </a:cubicBezTo>
                  <a:cubicBezTo>
                    <a:pt x="139" y="163"/>
                    <a:pt x="140" y="165"/>
                    <a:pt x="139" y="166"/>
                  </a:cubicBezTo>
                  <a:cubicBezTo>
                    <a:pt x="140" y="167"/>
                    <a:pt x="141" y="164"/>
                    <a:pt x="143" y="163"/>
                  </a:cubicBezTo>
                  <a:cubicBezTo>
                    <a:pt x="145" y="162"/>
                    <a:pt x="147" y="161"/>
                    <a:pt x="149" y="160"/>
                  </a:cubicBezTo>
                  <a:cubicBezTo>
                    <a:pt x="151" y="159"/>
                    <a:pt x="153" y="160"/>
                    <a:pt x="155" y="160"/>
                  </a:cubicBezTo>
                  <a:cubicBezTo>
                    <a:pt x="156" y="160"/>
                    <a:pt x="156" y="162"/>
                    <a:pt x="157" y="162"/>
                  </a:cubicBezTo>
                  <a:cubicBezTo>
                    <a:pt x="159" y="162"/>
                    <a:pt x="160" y="162"/>
                    <a:pt x="161" y="162"/>
                  </a:cubicBezTo>
                  <a:cubicBezTo>
                    <a:pt x="162" y="162"/>
                    <a:pt x="163" y="162"/>
                    <a:pt x="164" y="162"/>
                  </a:cubicBezTo>
                  <a:cubicBezTo>
                    <a:pt x="165" y="161"/>
                    <a:pt x="164" y="161"/>
                    <a:pt x="164" y="160"/>
                  </a:cubicBezTo>
                  <a:cubicBezTo>
                    <a:pt x="165" y="159"/>
                    <a:pt x="164" y="158"/>
                    <a:pt x="164" y="157"/>
                  </a:cubicBezTo>
                  <a:cubicBezTo>
                    <a:pt x="164" y="156"/>
                    <a:pt x="166" y="155"/>
                    <a:pt x="167" y="154"/>
                  </a:cubicBezTo>
                  <a:cubicBezTo>
                    <a:pt x="168" y="154"/>
                    <a:pt x="172" y="156"/>
                    <a:pt x="173" y="156"/>
                  </a:cubicBezTo>
                  <a:cubicBezTo>
                    <a:pt x="174" y="157"/>
                    <a:pt x="174" y="159"/>
                    <a:pt x="174" y="159"/>
                  </a:cubicBezTo>
                  <a:cubicBezTo>
                    <a:pt x="175" y="160"/>
                    <a:pt x="176" y="161"/>
                    <a:pt x="177" y="161"/>
                  </a:cubicBezTo>
                  <a:cubicBezTo>
                    <a:pt x="179" y="161"/>
                    <a:pt x="180" y="159"/>
                    <a:pt x="182" y="160"/>
                  </a:cubicBezTo>
                  <a:cubicBezTo>
                    <a:pt x="184" y="161"/>
                    <a:pt x="187" y="162"/>
                    <a:pt x="189" y="164"/>
                  </a:cubicBezTo>
                  <a:cubicBezTo>
                    <a:pt x="192" y="166"/>
                    <a:pt x="197" y="164"/>
                    <a:pt x="200" y="163"/>
                  </a:cubicBezTo>
                  <a:cubicBezTo>
                    <a:pt x="201" y="162"/>
                    <a:pt x="202" y="161"/>
                    <a:pt x="203" y="161"/>
                  </a:cubicBezTo>
                  <a:cubicBezTo>
                    <a:pt x="204" y="161"/>
                    <a:pt x="204" y="162"/>
                    <a:pt x="206" y="162"/>
                  </a:cubicBezTo>
                  <a:cubicBezTo>
                    <a:pt x="207" y="162"/>
                    <a:pt x="208" y="163"/>
                    <a:pt x="209" y="163"/>
                  </a:cubicBezTo>
                  <a:cubicBezTo>
                    <a:pt x="211" y="164"/>
                    <a:pt x="211" y="163"/>
                    <a:pt x="213" y="162"/>
                  </a:cubicBezTo>
                  <a:cubicBezTo>
                    <a:pt x="214" y="161"/>
                    <a:pt x="214" y="158"/>
                    <a:pt x="215" y="157"/>
                  </a:cubicBezTo>
                  <a:cubicBezTo>
                    <a:pt x="215" y="156"/>
                    <a:pt x="219" y="152"/>
                    <a:pt x="215" y="153"/>
                  </a:cubicBezTo>
                  <a:cubicBezTo>
                    <a:pt x="216" y="151"/>
                    <a:pt x="217" y="150"/>
                    <a:pt x="219" y="150"/>
                  </a:cubicBezTo>
                  <a:cubicBezTo>
                    <a:pt x="220" y="150"/>
                    <a:pt x="222" y="149"/>
                    <a:pt x="223" y="149"/>
                  </a:cubicBezTo>
                  <a:cubicBezTo>
                    <a:pt x="224" y="149"/>
                    <a:pt x="225" y="150"/>
                    <a:pt x="225" y="150"/>
                  </a:cubicBezTo>
                  <a:cubicBezTo>
                    <a:pt x="227" y="151"/>
                    <a:pt x="230" y="151"/>
                    <a:pt x="230" y="154"/>
                  </a:cubicBezTo>
                  <a:cubicBezTo>
                    <a:pt x="230" y="156"/>
                    <a:pt x="232" y="158"/>
                    <a:pt x="232" y="159"/>
                  </a:cubicBezTo>
                  <a:cubicBezTo>
                    <a:pt x="233" y="163"/>
                    <a:pt x="232" y="163"/>
                    <a:pt x="236" y="164"/>
                  </a:cubicBezTo>
                  <a:cubicBezTo>
                    <a:pt x="238" y="164"/>
                    <a:pt x="239" y="165"/>
                    <a:pt x="240" y="167"/>
                  </a:cubicBezTo>
                  <a:cubicBezTo>
                    <a:pt x="241" y="169"/>
                    <a:pt x="241" y="171"/>
                    <a:pt x="243" y="170"/>
                  </a:cubicBezTo>
                  <a:cubicBezTo>
                    <a:pt x="245" y="169"/>
                    <a:pt x="247" y="168"/>
                    <a:pt x="250" y="167"/>
                  </a:cubicBezTo>
                  <a:cubicBezTo>
                    <a:pt x="249" y="168"/>
                    <a:pt x="250" y="169"/>
                    <a:pt x="249" y="170"/>
                  </a:cubicBezTo>
                  <a:cubicBezTo>
                    <a:pt x="249" y="171"/>
                    <a:pt x="248" y="172"/>
                    <a:pt x="248" y="173"/>
                  </a:cubicBezTo>
                  <a:cubicBezTo>
                    <a:pt x="248" y="174"/>
                    <a:pt x="246" y="180"/>
                    <a:pt x="245" y="179"/>
                  </a:cubicBezTo>
                  <a:cubicBezTo>
                    <a:pt x="244" y="179"/>
                    <a:pt x="243" y="178"/>
                    <a:pt x="242" y="179"/>
                  </a:cubicBezTo>
                  <a:cubicBezTo>
                    <a:pt x="240" y="181"/>
                    <a:pt x="241" y="180"/>
                    <a:pt x="241" y="182"/>
                  </a:cubicBezTo>
                  <a:cubicBezTo>
                    <a:pt x="241" y="183"/>
                    <a:pt x="242" y="184"/>
                    <a:pt x="241" y="185"/>
                  </a:cubicBezTo>
                  <a:cubicBezTo>
                    <a:pt x="240" y="186"/>
                    <a:pt x="239" y="186"/>
                    <a:pt x="240" y="187"/>
                  </a:cubicBezTo>
                  <a:cubicBezTo>
                    <a:pt x="240" y="187"/>
                    <a:pt x="240" y="187"/>
                    <a:pt x="240" y="187"/>
                  </a:cubicBezTo>
                  <a:cubicBezTo>
                    <a:pt x="242" y="187"/>
                    <a:pt x="242" y="185"/>
                    <a:pt x="243" y="184"/>
                  </a:cubicBezTo>
                  <a:cubicBezTo>
                    <a:pt x="243" y="185"/>
                    <a:pt x="243" y="185"/>
                    <a:pt x="243" y="185"/>
                  </a:cubicBezTo>
                  <a:cubicBezTo>
                    <a:pt x="243" y="185"/>
                    <a:pt x="244" y="185"/>
                    <a:pt x="244" y="185"/>
                  </a:cubicBezTo>
                  <a:cubicBezTo>
                    <a:pt x="243" y="187"/>
                    <a:pt x="247" y="186"/>
                    <a:pt x="249" y="185"/>
                  </a:cubicBezTo>
                  <a:cubicBezTo>
                    <a:pt x="251" y="184"/>
                    <a:pt x="252" y="181"/>
                    <a:pt x="254" y="179"/>
                  </a:cubicBezTo>
                  <a:cubicBezTo>
                    <a:pt x="257" y="176"/>
                    <a:pt x="259" y="171"/>
                    <a:pt x="262" y="168"/>
                  </a:cubicBezTo>
                  <a:cubicBezTo>
                    <a:pt x="263" y="167"/>
                    <a:pt x="263" y="163"/>
                    <a:pt x="263" y="162"/>
                  </a:cubicBezTo>
                  <a:cubicBezTo>
                    <a:pt x="263" y="159"/>
                    <a:pt x="263" y="157"/>
                    <a:pt x="265" y="155"/>
                  </a:cubicBezTo>
                  <a:cubicBezTo>
                    <a:pt x="265" y="154"/>
                    <a:pt x="265" y="150"/>
                    <a:pt x="264" y="149"/>
                  </a:cubicBezTo>
                  <a:cubicBezTo>
                    <a:pt x="262" y="147"/>
                    <a:pt x="262" y="146"/>
                    <a:pt x="259" y="146"/>
                  </a:cubicBezTo>
                  <a:cubicBezTo>
                    <a:pt x="259" y="147"/>
                    <a:pt x="259" y="148"/>
                    <a:pt x="258" y="149"/>
                  </a:cubicBezTo>
                  <a:cubicBezTo>
                    <a:pt x="258" y="148"/>
                    <a:pt x="258" y="148"/>
                    <a:pt x="258" y="148"/>
                  </a:cubicBezTo>
                  <a:cubicBezTo>
                    <a:pt x="257" y="148"/>
                    <a:pt x="256" y="149"/>
                    <a:pt x="255" y="149"/>
                  </a:cubicBezTo>
                  <a:cubicBezTo>
                    <a:pt x="257" y="147"/>
                    <a:pt x="255" y="147"/>
                    <a:pt x="256" y="146"/>
                  </a:cubicBezTo>
                  <a:cubicBezTo>
                    <a:pt x="255" y="146"/>
                    <a:pt x="256" y="147"/>
                    <a:pt x="254" y="148"/>
                  </a:cubicBezTo>
                  <a:cubicBezTo>
                    <a:pt x="254" y="147"/>
                    <a:pt x="254" y="146"/>
                    <a:pt x="254" y="145"/>
                  </a:cubicBezTo>
                  <a:cubicBezTo>
                    <a:pt x="249" y="145"/>
                    <a:pt x="251" y="143"/>
                    <a:pt x="254" y="140"/>
                  </a:cubicBezTo>
                  <a:cubicBezTo>
                    <a:pt x="256" y="138"/>
                    <a:pt x="258" y="135"/>
                    <a:pt x="260" y="133"/>
                  </a:cubicBezTo>
                  <a:cubicBezTo>
                    <a:pt x="263" y="131"/>
                    <a:pt x="264" y="128"/>
                    <a:pt x="267" y="126"/>
                  </a:cubicBezTo>
                  <a:cubicBezTo>
                    <a:pt x="268" y="124"/>
                    <a:pt x="274" y="123"/>
                    <a:pt x="276" y="125"/>
                  </a:cubicBezTo>
                  <a:cubicBezTo>
                    <a:pt x="276" y="123"/>
                    <a:pt x="278" y="125"/>
                    <a:pt x="279" y="125"/>
                  </a:cubicBezTo>
                  <a:cubicBezTo>
                    <a:pt x="280" y="125"/>
                    <a:pt x="281" y="124"/>
                    <a:pt x="282" y="125"/>
                  </a:cubicBezTo>
                  <a:cubicBezTo>
                    <a:pt x="282" y="125"/>
                    <a:pt x="282" y="124"/>
                    <a:pt x="282" y="124"/>
                  </a:cubicBezTo>
                  <a:cubicBezTo>
                    <a:pt x="284" y="123"/>
                    <a:pt x="282" y="122"/>
                    <a:pt x="285" y="124"/>
                  </a:cubicBezTo>
                  <a:cubicBezTo>
                    <a:pt x="287" y="124"/>
                    <a:pt x="288" y="123"/>
                    <a:pt x="290" y="125"/>
                  </a:cubicBezTo>
                  <a:cubicBezTo>
                    <a:pt x="289" y="125"/>
                    <a:pt x="288" y="125"/>
                    <a:pt x="287" y="126"/>
                  </a:cubicBezTo>
                  <a:cubicBezTo>
                    <a:pt x="288" y="128"/>
                    <a:pt x="292" y="125"/>
                    <a:pt x="293" y="125"/>
                  </a:cubicBezTo>
                  <a:cubicBezTo>
                    <a:pt x="294" y="125"/>
                    <a:pt x="295" y="126"/>
                    <a:pt x="296" y="125"/>
                  </a:cubicBezTo>
                  <a:cubicBezTo>
                    <a:pt x="298" y="125"/>
                    <a:pt x="295" y="124"/>
                    <a:pt x="294" y="124"/>
                  </a:cubicBezTo>
                  <a:cubicBezTo>
                    <a:pt x="294" y="123"/>
                    <a:pt x="294" y="123"/>
                    <a:pt x="294" y="122"/>
                  </a:cubicBezTo>
                  <a:cubicBezTo>
                    <a:pt x="295" y="122"/>
                    <a:pt x="296" y="120"/>
                    <a:pt x="297" y="119"/>
                  </a:cubicBezTo>
                  <a:cubicBezTo>
                    <a:pt x="298" y="118"/>
                    <a:pt x="299" y="117"/>
                    <a:pt x="300" y="115"/>
                  </a:cubicBezTo>
                  <a:cubicBezTo>
                    <a:pt x="302" y="113"/>
                    <a:pt x="302" y="113"/>
                    <a:pt x="305" y="113"/>
                  </a:cubicBezTo>
                  <a:cubicBezTo>
                    <a:pt x="307" y="112"/>
                    <a:pt x="308" y="115"/>
                    <a:pt x="309" y="112"/>
                  </a:cubicBezTo>
                  <a:cubicBezTo>
                    <a:pt x="309" y="114"/>
                    <a:pt x="308" y="115"/>
                    <a:pt x="308" y="117"/>
                  </a:cubicBezTo>
                  <a:cubicBezTo>
                    <a:pt x="308" y="117"/>
                    <a:pt x="308" y="117"/>
                    <a:pt x="309" y="117"/>
                  </a:cubicBezTo>
                  <a:cubicBezTo>
                    <a:pt x="309" y="117"/>
                    <a:pt x="309" y="118"/>
                    <a:pt x="308" y="119"/>
                  </a:cubicBezTo>
                  <a:cubicBezTo>
                    <a:pt x="309" y="118"/>
                    <a:pt x="314" y="112"/>
                    <a:pt x="315" y="114"/>
                  </a:cubicBezTo>
                  <a:cubicBezTo>
                    <a:pt x="315" y="113"/>
                    <a:pt x="315" y="112"/>
                    <a:pt x="316" y="110"/>
                  </a:cubicBezTo>
                  <a:cubicBezTo>
                    <a:pt x="316" y="109"/>
                    <a:pt x="320" y="108"/>
                    <a:pt x="319" y="110"/>
                  </a:cubicBezTo>
                  <a:cubicBezTo>
                    <a:pt x="319" y="110"/>
                    <a:pt x="318" y="110"/>
                    <a:pt x="318" y="111"/>
                  </a:cubicBezTo>
                  <a:cubicBezTo>
                    <a:pt x="317" y="112"/>
                    <a:pt x="317" y="113"/>
                    <a:pt x="317" y="113"/>
                  </a:cubicBezTo>
                  <a:cubicBezTo>
                    <a:pt x="317" y="114"/>
                    <a:pt x="316" y="117"/>
                    <a:pt x="316" y="117"/>
                  </a:cubicBezTo>
                  <a:cubicBezTo>
                    <a:pt x="313" y="119"/>
                    <a:pt x="311" y="121"/>
                    <a:pt x="309" y="124"/>
                  </a:cubicBezTo>
                  <a:cubicBezTo>
                    <a:pt x="307" y="126"/>
                    <a:pt x="304" y="132"/>
                    <a:pt x="301" y="131"/>
                  </a:cubicBezTo>
                  <a:cubicBezTo>
                    <a:pt x="302" y="134"/>
                    <a:pt x="299" y="134"/>
                    <a:pt x="298" y="136"/>
                  </a:cubicBezTo>
                  <a:cubicBezTo>
                    <a:pt x="297" y="138"/>
                    <a:pt x="298" y="142"/>
                    <a:pt x="298" y="144"/>
                  </a:cubicBezTo>
                  <a:cubicBezTo>
                    <a:pt x="298" y="149"/>
                    <a:pt x="300" y="154"/>
                    <a:pt x="301" y="159"/>
                  </a:cubicBezTo>
                  <a:cubicBezTo>
                    <a:pt x="302" y="157"/>
                    <a:pt x="304" y="156"/>
                    <a:pt x="304" y="154"/>
                  </a:cubicBezTo>
                  <a:cubicBezTo>
                    <a:pt x="304" y="152"/>
                    <a:pt x="305" y="149"/>
                    <a:pt x="308" y="150"/>
                  </a:cubicBezTo>
                  <a:cubicBezTo>
                    <a:pt x="308" y="149"/>
                    <a:pt x="307" y="147"/>
                    <a:pt x="308" y="146"/>
                  </a:cubicBezTo>
                  <a:cubicBezTo>
                    <a:pt x="309" y="146"/>
                    <a:pt x="309" y="145"/>
                    <a:pt x="310" y="145"/>
                  </a:cubicBezTo>
                  <a:cubicBezTo>
                    <a:pt x="311" y="144"/>
                    <a:pt x="311" y="145"/>
                    <a:pt x="312" y="145"/>
                  </a:cubicBezTo>
                  <a:cubicBezTo>
                    <a:pt x="313" y="143"/>
                    <a:pt x="312" y="143"/>
                    <a:pt x="312" y="141"/>
                  </a:cubicBezTo>
                  <a:cubicBezTo>
                    <a:pt x="312" y="139"/>
                    <a:pt x="314" y="138"/>
                    <a:pt x="313" y="137"/>
                  </a:cubicBezTo>
                  <a:cubicBezTo>
                    <a:pt x="313" y="137"/>
                    <a:pt x="314" y="137"/>
                    <a:pt x="315" y="137"/>
                  </a:cubicBezTo>
                  <a:cubicBezTo>
                    <a:pt x="314" y="137"/>
                    <a:pt x="314" y="138"/>
                    <a:pt x="315" y="139"/>
                  </a:cubicBezTo>
                  <a:cubicBezTo>
                    <a:pt x="316" y="137"/>
                    <a:pt x="314" y="136"/>
                    <a:pt x="314" y="134"/>
                  </a:cubicBezTo>
                  <a:cubicBezTo>
                    <a:pt x="314" y="134"/>
                    <a:pt x="316" y="132"/>
                    <a:pt x="315" y="131"/>
                  </a:cubicBezTo>
                  <a:cubicBezTo>
                    <a:pt x="315" y="130"/>
                    <a:pt x="313" y="131"/>
                    <a:pt x="313" y="132"/>
                  </a:cubicBezTo>
                  <a:cubicBezTo>
                    <a:pt x="312" y="130"/>
                    <a:pt x="314" y="127"/>
                    <a:pt x="315" y="126"/>
                  </a:cubicBezTo>
                  <a:cubicBezTo>
                    <a:pt x="315" y="125"/>
                    <a:pt x="316" y="120"/>
                    <a:pt x="318" y="122"/>
                  </a:cubicBezTo>
                  <a:cubicBezTo>
                    <a:pt x="318" y="122"/>
                    <a:pt x="318" y="122"/>
                    <a:pt x="318" y="121"/>
                  </a:cubicBezTo>
                  <a:cubicBezTo>
                    <a:pt x="319" y="122"/>
                    <a:pt x="319" y="122"/>
                    <a:pt x="319" y="122"/>
                  </a:cubicBezTo>
                  <a:cubicBezTo>
                    <a:pt x="320" y="121"/>
                    <a:pt x="320" y="120"/>
                    <a:pt x="322" y="119"/>
                  </a:cubicBezTo>
                  <a:cubicBezTo>
                    <a:pt x="323" y="119"/>
                    <a:pt x="322" y="122"/>
                    <a:pt x="322" y="122"/>
                  </a:cubicBezTo>
                  <a:cubicBezTo>
                    <a:pt x="325" y="118"/>
                    <a:pt x="328" y="118"/>
                    <a:pt x="332" y="122"/>
                  </a:cubicBezTo>
                  <a:cubicBezTo>
                    <a:pt x="332" y="120"/>
                    <a:pt x="332" y="120"/>
                    <a:pt x="333" y="119"/>
                  </a:cubicBezTo>
                  <a:cubicBezTo>
                    <a:pt x="334" y="118"/>
                    <a:pt x="336" y="118"/>
                    <a:pt x="336" y="116"/>
                  </a:cubicBezTo>
                  <a:cubicBezTo>
                    <a:pt x="336" y="116"/>
                    <a:pt x="336" y="116"/>
                    <a:pt x="337" y="117"/>
                  </a:cubicBezTo>
                  <a:cubicBezTo>
                    <a:pt x="336" y="114"/>
                    <a:pt x="341" y="113"/>
                    <a:pt x="342" y="112"/>
                  </a:cubicBezTo>
                  <a:cubicBezTo>
                    <a:pt x="343" y="112"/>
                    <a:pt x="343" y="111"/>
                    <a:pt x="345" y="110"/>
                  </a:cubicBezTo>
                  <a:cubicBezTo>
                    <a:pt x="346" y="110"/>
                    <a:pt x="348" y="110"/>
                    <a:pt x="347" y="107"/>
                  </a:cubicBezTo>
                  <a:cubicBezTo>
                    <a:pt x="347" y="108"/>
                    <a:pt x="348" y="109"/>
                    <a:pt x="348" y="109"/>
                  </a:cubicBezTo>
                  <a:cubicBezTo>
                    <a:pt x="349" y="108"/>
                    <a:pt x="351" y="111"/>
                    <a:pt x="352" y="110"/>
                  </a:cubicBezTo>
                  <a:cubicBezTo>
                    <a:pt x="354" y="110"/>
                    <a:pt x="353" y="107"/>
                    <a:pt x="352" y="107"/>
                  </a:cubicBezTo>
                  <a:cubicBezTo>
                    <a:pt x="352" y="107"/>
                    <a:pt x="352" y="107"/>
                    <a:pt x="353" y="107"/>
                  </a:cubicBezTo>
                  <a:cubicBezTo>
                    <a:pt x="352" y="106"/>
                    <a:pt x="352" y="105"/>
                    <a:pt x="351" y="10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6" name="Freeform 724"/>
            <p:cNvSpPr>
              <a:spLocks noEditPoints="1"/>
            </p:cNvSpPr>
            <p:nvPr/>
          </p:nvSpPr>
          <p:spPr bwMode="auto">
            <a:xfrm>
              <a:off x="2193033" y="991766"/>
              <a:ext cx="2832100" cy="1419226"/>
            </a:xfrm>
            <a:custGeom>
              <a:avLst/>
              <a:gdLst>
                <a:gd name="T0" fmla="*/ 2147483646 w 381"/>
                <a:gd name="T1" fmla="*/ 2147483646 h 191"/>
                <a:gd name="T2" fmla="*/ 2147483646 w 381"/>
                <a:gd name="T3" fmla="*/ 2147483646 h 191"/>
                <a:gd name="T4" fmla="*/ 2147483646 w 381"/>
                <a:gd name="T5" fmla="*/ 2147483646 h 191"/>
                <a:gd name="T6" fmla="*/ 2147483646 w 381"/>
                <a:gd name="T7" fmla="*/ 2147483646 h 191"/>
                <a:gd name="T8" fmla="*/ 2147483646 w 381"/>
                <a:gd name="T9" fmla="*/ 2147483646 h 191"/>
                <a:gd name="T10" fmla="*/ 2147483646 w 381"/>
                <a:gd name="T11" fmla="*/ 2147483646 h 191"/>
                <a:gd name="T12" fmla="*/ 2147483646 w 381"/>
                <a:gd name="T13" fmla="*/ 2147483646 h 191"/>
                <a:gd name="T14" fmla="*/ 2147483646 w 381"/>
                <a:gd name="T15" fmla="*/ 2147483646 h 191"/>
                <a:gd name="T16" fmla="*/ 2147483646 w 381"/>
                <a:gd name="T17" fmla="*/ 2147483646 h 191"/>
                <a:gd name="T18" fmla="*/ 2147483646 w 381"/>
                <a:gd name="T19" fmla="*/ 2147483646 h 191"/>
                <a:gd name="T20" fmla="*/ 2147483646 w 381"/>
                <a:gd name="T21" fmla="*/ 2147483646 h 191"/>
                <a:gd name="T22" fmla="*/ 2147483646 w 381"/>
                <a:gd name="T23" fmla="*/ 2147483646 h 191"/>
                <a:gd name="T24" fmla="*/ 2147483646 w 381"/>
                <a:gd name="T25" fmla="*/ 2147483646 h 191"/>
                <a:gd name="T26" fmla="*/ 2147483646 w 381"/>
                <a:gd name="T27" fmla="*/ 2147483646 h 191"/>
                <a:gd name="T28" fmla="*/ 2147483646 w 381"/>
                <a:gd name="T29" fmla="*/ 2147483646 h 191"/>
                <a:gd name="T30" fmla="*/ 2147483646 w 381"/>
                <a:gd name="T31" fmla="*/ 2147483646 h 191"/>
                <a:gd name="T32" fmla="*/ 2147483646 w 381"/>
                <a:gd name="T33" fmla="*/ 2147483646 h 191"/>
                <a:gd name="T34" fmla="*/ 2147483646 w 381"/>
                <a:gd name="T35" fmla="*/ 2147483646 h 191"/>
                <a:gd name="T36" fmla="*/ 2147483646 w 381"/>
                <a:gd name="T37" fmla="*/ 2147483646 h 191"/>
                <a:gd name="T38" fmla="*/ 2147483646 w 381"/>
                <a:gd name="T39" fmla="*/ 2147483646 h 191"/>
                <a:gd name="T40" fmla="*/ 2147483646 w 381"/>
                <a:gd name="T41" fmla="*/ 2147483646 h 191"/>
                <a:gd name="T42" fmla="*/ 2147483646 w 381"/>
                <a:gd name="T43" fmla="*/ 2147483646 h 191"/>
                <a:gd name="T44" fmla="*/ 2147483646 w 381"/>
                <a:gd name="T45" fmla="*/ 2147483646 h 191"/>
                <a:gd name="T46" fmla="*/ 2147483646 w 381"/>
                <a:gd name="T47" fmla="*/ 2147483646 h 191"/>
                <a:gd name="T48" fmla="*/ 2147483646 w 381"/>
                <a:gd name="T49" fmla="*/ 2147483646 h 191"/>
                <a:gd name="T50" fmla="*/ 2147483646 w 381"/>
                <a:gd name="T51" fmla="*/ 2147483646 h 191"/>
                <a:gd name="T52" fmla="*/ 2147483646 w 381"/>
                <a:gd name="T53" fmla="*/ 2147483646 h 191"/>
                <a:gd name="T54" fmla="*/ 2147483646 w 381"/>
                <a:gd name="T55" fmla="*/ 2147483646 h 191"/>
                <a:gd name="T56" fmla="*/ 2147483646 w 381"/>
                <a:gd name="T57" fmla="*/ 2147483646 h 191"/>
                <a:gd name="T58" fmla="*/ 2147483646 w 381"/>
                <a:gd name="T59" fmla="*/ 2147483646 h 191"/>
                <a:gd name="T60" fmla="*/ 2147483646 w 381"/>
                <a:gd name="T61" fmla="*/ 2147483646 h 191"/>
                <a:gd name="T62" fmla="*/ 2147483646 w 381"/>
                <a:gd name="T63" fmla="*/ 2147483646 h 191"/>
                <a:gd name="T64" fmla="*/ 2147483646 w 381"/>
                <a:gd name="T65" fmla="*/ 2147483646 h 191"/>
                <a:gd name="T66" fmla="*/ 2147483646 w 381"/>
                <a:gd name="T67" fmla="*/ 2147483646 h 191"/>
                <a:gd name="T68" fmla="*/ 2147483646 w 381"/>
                <a:gd name="T69" fmla="*/ 2147483646 h 191"/>
                <a:gd name="T70" fmla="*/ 2147483646 w 381"/>
                <a:gd name="T71" fmla="*/ 2147483646 h 191"/>
                <a:gd name="T72" fmla="*/ 2147483646 w 381"/>
                <a:gd name="T73" fmla="*/ 2147483646 h 191"/>
                <a:gd name="T74" fmla="*/ 2147483646 w 381"/>
                <a:gd name="T75" fmla="*/ 2147483646 h 191"/>
                <a:gd name="T76" fmla="*/ 2147483646 w 381"/>
                <a:gd name="T77" fmla="*/ 2147483646 h 191"/>
                <a:gd name="T78" fmla="*/ 2147483646 w 381"/>
                <a:gd name="T79" fmla="*/ 2147483646 h 191"/>
                <a:gd name="T80" fmla="*/ 2147483646 w 381"/>
                <a:gd name="T81" fmla="*/ 2147483646 h 191"/>
                <a:gd name="T82" fmla="*/ 2147483646 w 381"/>
                <a:gd name="T83" fmla="*/ 2147483646 h 191"/>
                <a:gd name="T84" fmla="*/ 2147483646 w 381"/>
                <a:gd name="T85" fmla="*/ 2147483646 h 191"/>
                <a:gd name="T86" fmla="*/ 2147483646 w 381"/>
                <a:gd name="T87" fmla="*/ 2147483646 h 191"/>
                <a:gd name="T88" fmla="*/ 2147483646 w 381"/>
                <a:gd name="T89" fmla="*/ 2147483646 h 191"/>
                <a:gd name="T90" fmla="*/ 2147483646 w 381"/>
                <a:gd name="T91" fmla="*/ 2147483646 h 191"/>
                <a:gd name="T92" fmla="*/ 2147483646 w 381"/>
                <a:gd name="T93" fmla="*/ 2147483646 h 191"/>
                <a:gd name="T94" fmla="*/ 2147483646 w 381"/>
                <a:gd name="T95" fmla="*/ 2147483646 h 191"/>
                <a:gd name="T96" fmla="*/ 2147483646 w 381"/>
                <a:gd name="T97" fmla="*/ 2147483646 h 191"/>
                <a:gd name="T98" fmla="*/ 2147483646 w 381"/>
                <a:gd name="T99" fmla="*/ 2147483646 h 191"/>
                <a:gd name="T100" fmla="*/ 2147483646 w 381"/>
                <a:gd name="T101" fmla="*/ 2147483646 h 191"/>
                <a:gd name="T102" fmla="*/ 2147483646 w 381"/>
                <a:gd name="T103" fmla="*/ 2147483646 h 191"/>
                <a:gd name="T104" fmla="*/ 2147483646 w 381"/>
                <a:gd name="T105" fmla="*/ 2147483646 h 191"/>
                <a:gd name="T106" fmla="*/ 2147483646 w 381"/>
                <a:gd name="T107" fmla="*/ 2147483646 h 191"/>
                <a:gd name="T108" fmla="*/ 2147483646 w 381"/>
                <a:gd name="T109" fmla="*/ 2147483646 h 191"/>
                <a:gd name="T110" fmla="*/ 2147483646 w 381"/>
                <a:gd name="T111" fmla="*/ 2147483646 h 191"/>
                <a:gd name="T112" fmla="*/ 2147483646 w 381"/>
                <a:gd name="T113" fmla="*/ 2147483646 h 191"/>
                <a:gd name="T114" fmla="*/ 2147483646 w 381"/>
                <a:gd name="T115" fmla="*/ 2147483646 h 191"/>
                <a:gd name="T116" fmla="*/ 2147483646 w 381"/>
                <a:gd name="T117" fmla="*/ 2147483646 h 191"/>
                <a:gd name="T118" fmla="*/ 2147483646 w 381"/>
                <a:gd name="T119" fmla="*/ 2147483646 h 191"/>
                <a:gd name="T120" fmla="*/ 2147483646 w 381"/>
                <a:gd name="T121" fmla="*/ 2147483646 h 191"/>
                <a:gd name="T122" fmla="*/ 2147483646 w 381"/>
                <a:gd name="T123" fmla="*/ 2147483646 h 19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81" h="191">
                  <a:moveTo>
                    <a:pt x="49" y="191"/>
                  </a:moveTo>
                  <a:cubicBezTo>
                    <a:pt x="48" y="191"/>
                    <a:pt x="48" y="191"/>
                    <a:pt x="48" y="190"/>
                  </a:cubicBezTo>
                  <a:cubicBezTo>
                    <a:pt x="47" y="190"/>
                    <a:pt x="47" y="190"/>
                    <a:pt x="47" y="190"/>
                  </a:cubicBezTo>
                  <a:cubicBezTo>
                    <a:pt x="47" y="190"/>
                    <a:pt x="47" y="190"/>
                    <a:pt x="47" y="190"/>
                  </a:cubicBezTo>
                  <a:cubicBezTo>
                    <a:pt x="46" y="189"/>
                    <a:pt x="45" y="189"/>
                    <a:pt x="45" y="189"/>
                  </a:cubicBezTo>
                  <a:cubicBezTo>
                    <a:pt x="44" y="188"/>
                    <a:pt x="44" y="188"/>
                    <a:pt x="44" y="187"/>
                  </a:cubicBezTo>
                  <a:cubicBezTo>
                    <a:pt x="44" y="187"/>
                    <a:pt x="44" y="187"/>
                    <a:pt x="44" y="187"/>
                  </a:cubicBezTo>
                  <a:cubicBezTo>
                    <a:pt x="43" y="187"/>
                    <a:pt x="42" y="187"/>
                    <a:pt x="41" y="187"/>
                  </a:cubicBezTo>
                  <a:cubicBezTo>
                    <a:pt x="41" y="186"/>
                    <a:pt x="40" y="186"/>
                    <a:pt x="38" y="185"/>
                  </a:cubicBezTo>
                  <a:cubicBezTo>
                    <a:pt x="37" y="185"/>
                    <a:pt x="34" y="184"/>
                    <a:pt x="33" y="184"/>
                  </a:cubicBezTo>
                  <a:cubicBezTo>
                    <a:pt x="32" y="184"/>
                    <a:pt x="32" y="184"/>
                    <a:pt x="32" y="184"/>
                  </a:cubicBezTo>
                  <a:cubicBezTo>
                    <a:pt x="32" y="184"/>
                    <a:pt x="32" y="184"/>
                    <a:pt x="32" y="184"/>
                  </a:cubicBezTo>
                  <a:cubicBezTo>
                    <a:pt x="31" y="184"/>
                    <a:pt x="30" y="184"/>
                    <a:pt x="30" y="184"/>
                  </a:cubicBezTo>
                  <a:cubicBezTo>
                    <a:pt x="29" y="183"/>
                    <a:pt x="29" y="183"/>
                    <a:pt x="29" y="183"/>
                  </a:cubicBezTo>
                  <a:cubicBezTo>
                    <a:pt x="29" y="183"/>
                    <a:pt x="28" y="182"/>
                    <a:pt x="28" y="182"/>
                  </a:cubicBezTo>
                  <a:cubicBezTo>
                    <a:pt x="27" y="182"/>
                    <a:pt x="27" y="182"/>
                    <a:pt x="27" y="181"/>
                  </a:cubicBezTo>
                  <a:cubicBezTo>
                    <a:pt x="25" y="180"/>
                    <a:pt x="23" y="179"/>
                    <a:pt x="23" y="178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24" y="177"/>
                    <a:pt x="24" y="177"/>
                    <a:pt x="24" y="177"/>
                  </a:cubicBezTo>
                  <a:cubicBezTo>
                    <a:pt x="25" y="177"/>
                    <a:pt x="25" y="177"/>
                    <a:pt x="25" y="176"/>
                  </a:cubicBezTo>
                  <a:cubicBezTo>
                    <a:pt x="26" y="176"/>
                    <a:pt x="26" y="175"/>
                    <a:pt x="26" y="175"/>
                  </a:cubicBezTo>
                  <a:cubicBezTo>
                    <a:pt x="26" y="174"/>
                    <a:pt x="25" y="174"/>
                    <a:pt x="25" y="173"/>
                  </a:cubicBezTo>
                  <a:cubicBezTo>
                    <a:pt x="26" y="173"/>
                    <a:pt x="26" y="173"/>
                    <a:pt x="27" y="173"/>
                  </a:cubicBezTo>
                  <a:cubicBezTo>
                    <a:pt x="27" y="172"/>
                    <a:pt x="27" y="172"/>
                    <a:pt x="27" y="172"/>
                  </a:cubicBezTo>
                  <a:cubicBezTo>
                    <a:pt x="26" y="171"/>
                    <a:pt x="27" y="170"/>
                    <a:pt x="27" y="170"/>
                  </a:cubicBezTo>
                  <a:cubicBezTo>
                    <a:pt x="27" y="169"/>
                    <a:pt x="29" y="169"/>
                    <a:pt x="30" y="169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30" y="169"/>
                    <a:pt x="30" y="168"/>
                    <a:pt x="30" y="168"/>
                  </a:cubicBezTo>
                  <a:cubicBezTo>
                    <a:pt x="30" y="167"/>
                    <a:pt x="30" y="166"/>
                    <a:pt x="30" y="166"/>
                  </a:cubicBezTo>
                  <a:cubicBezTo>
                    <a:pt x="30" y="166"/>
                    <a:pt x="30" y="166"/>
                    <a:pt x="30" y="166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31" y="165"/>
                    <a:pt x="31" y="165"/>
                    <a:pt x="31" y="165"/>
                  </a:cubicBezTo>
                  <a:cubicBezTo>
                    <a:pt x="31" y="165"/>
                    <a:pt x="31" y="164"/>
                    <a:pt x="31" y="164"/>
                  </a:cubicBezTo>
                  <a:cubicBezTo>
                    <a:pt x="31" y="164"/>
                    <a:pt x="31" y="164"/>
                    <a:pt x="31" y="164"/>
                  </a:cubicBezTo>
                  <a:cubicBezTo>
                    <a:pt x="30" y="163"/>
                    <a:pt x="30" y="163"/>
                    <a:pt x="29" y="163"/>
                  </a:cubicBezTo>
                  <a:cubicBezTo>
                    <a:pt x="28" y="163"/>
                    <a:pt x="26" y="162"/>
                    <a:pt x="25" y="161"/>
                  </a:cubicBezTo>
                  <a:cubicBezTo>
                    <a:pt x="25" y="161"/>
                    <a:pt x="25" y="161"/>
                    <a:pt x="24" y="161"/>
                  </a:cubicBezTo>
                  <a:cubicBezTo>
                    <a:pt x="24" y="161"/>
                    <a:pt x="24" y="161"/>
                    <a:pt x="24" y="161"/>
                  </a:cubicBezTo>
                  <a:cubicBezTo>
                    <a:pt x="23" y="161"/>
                    <a:pt x="23" y="161"/>
                    <a:pt x="23" y="161"/>
                  </a:cubicBezTo>
                  <a:cubicBezTo>
                    <a:pt x="22" y="161"/>
                    <a:pt x="21" y="161"/>
                    <a:pt x="20" y="160"/>
                  </a:cubicBezTo>
                  <a:cubicBezTo>
                    <a:pt x="20" y="160"/>
                    <a:pt x="20" y="159"/>
                    <a:pt x="20" y="159"/>
                  </a:cubicBezTo>
                  <a:cubicBezTo>
                    <a:pt x="20" y="158"/>
                    <a:pt x="20" y="158"/>
                    <a:pt x="20" y="158"/>
                  </a:cubicBezTo>
                  <a:cubicBezTo>
                    <a:pt x="20" y="158"/>
                    <a:pt x="20" y="158"/>
                    <a:pt x="19" y="158"/>
                  </a:cubicBezTo>
                  <a:cubicBezTo>
                    <a:pt x="19" y="158"/>
                    <a:pt x="19" y="158"/>
                    <a:pt x="19" y="158"/>
                  </a:cubicBezTo>
                  <a:cubicBezTo>
                    <a:pt x="19" y="158"/>
                    <a:pt x="19" y="158"/>
                    <a:pt x="19" y="158"/>
                  </a:cubicBezTo>
                  <a:cubicBezTo>
                    <a:pt x="18" y="157"/>
                    <a:pt x="17" y="156"/>
                    <a:pt x="17" y="156"/>
                  </a:cubicBezTo>
                  <a:cubicBezTo>
                    <a:pt x="17" y="156"/>
                    <a:pt x="17" y="155"/>
                    <a:pt x="18" y="155"/>
                  </a:cubicBezTo>
                  <a:cubicBezTo>
                    <a:pt x="17" y="154"/>
                    <a:pt x="16" y="153"/>
                    <a:pt x="15" y="153"/>
                  </a:cubicBezTo>
                  <a:cubicBezTo>
                    <a:pt x="15" y="153"/>
                    <a:pt x="14" y="154"/>
                    <a:pt x="14" y="154"/>
                  </a:cubicBezTo>
                  <a:cubicBezTo>
                    <a:pt x="14" y="154"/>
                    <a:pt x="13" y="154"/>
                    <a:pt x="13" y="154"/>
                  </a:cubicBezTo>
                  <a:cubicBezTo>
                    <a:pt x="12" y="154"/>
                    <a:pt x="12" y="154"/>
                    <a:pt x="11" y="153"/>
                  </a:cubicBezTo>
                  <a:cubicBezTo>
                    <a:pt x="11" y="152"/>
                    <a:pt x="11" y="150"/>
                    <a:pt x="11" y="149"/>
                  </a:cubicBezTo>
                  <a:cubicBezTo>
                    <a:pt x="11" y="149"/>
                    <a:pt x="12" y="149"/>
                    <a:pt x="13" y="149"/>
                  </a:cubicBezTo>
                  <a:cubicBezTo>
                    <a:pt x="13" y="149"/>
                    <a:pt x="13" y="149"/>
                    <a:pt x="14" y="149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4" y="148"/>
                    <a:pt x="14" y="148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2" y="148"/>
                    <a:pt x="12" y="147"/>
                    <a:pt x="11" y="146"/>
                  </a:cubicBezTo>
                  <a:cubicBezTo>
                    <a:pt x="10" y="145"/>
                    <a:pt x="10" y="144"/>
                    <a:pt x="10" y="142"/>
                  </a:cubicBezTo>
                  <a:cubicBezTo>
                    <a:pt x="10" y="142"/>
                    <a:pt x="10" y="141"/>
                    <a:pt x="10" y="141"/>
                  </a:cubicBezTo>
                  <a:cubicBezTo>
                    <a:pt x="9" y="140"/>
                    <a:pt x="8" y="140"/>
                    <a:pt x="7" y="140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6" y="140"/>
                    <a:pt x="6" y="140"/>
                    <a:pt x="6" y="140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5" y="139"/>
                    <a:pt x="5" y="139"/>
                    <a:pt x="5" y="139"/>
                  </a:cubicBezTo>
                  <a:cubicBezTo>
                    <a:pt x="5" y="139"/>
                    <a:pt x="4" y="139"/>
                    <a:pt x="4" y="139"/>
                  </a:cubicBezTo>
                  <a:cubicBezTo>
                    <a:pt x="4" y="139"/>
                    <a:pt x="3" y="138"/>
                    <a:pt x="3" y="136"/>
                  </a:cubicBezTo>
                  <a:cubicBezTo>
                    <a:pt x="3" y="135"/>
                    <a:pt x="3" y="135"/>
                    <a:pt x="3" y="135"/>
                  </a:cubicBezTo>
                  <a:cubicBezTo>
                    <a:pt x="3" y="135"/>
                    <a:pt x="3" y="135"/>
                    <a:pt x="2" y="134"/>
                  </a:cubicBezTo>
                  <a:cubicBezTo>
                    <a:pt x="2" y="133"/>
                    <a:pt x="2" y="133"/>
                    <a:pt x="2" y="132"/>
                  </a:cubicBezTo>
                  <a:cubicBezTo>
                    <a:pt x="2" y="132"/>
                    <a:pt x="2" y="131"/>
                    <a:pt x="2" y="131"/>
                  </a:cubicBezTo>
                  <a:cubicBezTo>
                    <a:pt x="2" y="131"/>
                    <a:pt x="2" y="131"/>
                    <a:pt x="2" y="130"/>
                  </a:cubicBezTo>
                  <a:cubicBezTo>
                    <a:pt x="2" y="130"/>
                    <a:pt x="2" y="129"/>
                    <a:pt x="2" y="129"/>
                  </a:cubicBezTo>
                  <a:cubicBezTo>
                    <a:pt x="1" y="129"/>
                    <a:pt x="1" y="128"/>
                    <a:pt x="1" y="128"/>
                  </a:cubicBezTo>
                  <a:cubicBezTo>
                    <a:pt x="1" y="127"/>
                    <a:pt x="1" y="126"/>
                    <a:pt x="1" y="126"/>
                  </a:cubicBezTo>
                  <a:cubicBezTo>
                    <a:pt x="1" y="126"/>
                    <a:pt x="2" y="126"/>
                    <a:pt x="2" y="125"/>
                  </a:cubicBezTo>
                  <a:cubicBezTo>
                    <a:pt x="2" y="125"/>
                    <a:pt x="3" y="125"/>
                    <a:pt x="3" y="125"/>
                  </a:cubicBezTo>
                  <a:cubicBezTo>
                    <a:pt x="3" y="125"/>
                    <a:pt x="3" y="124"/>
                    <a:pt x="3" y="124"/>
                  </a:cubicBezTo>
                  <a:cubicBezTo>
                    <a:pt x="3" y="123"/>
                    <a:pt x="4" y="122"/>
                    <a:pt x="4" y="122"/>
                  </a:cubicBezTo>
                  <a:cubicBezTo>
                    <a:pt x="5" y="121"/>
                    <a:pt x="6" y="121"/>
                    <a:pt x="6" y="121"/>
                  </a:cubicBezTo>
                  <a:cubicBezTo>
                    <a:pt x="6" y="121"/>
                    <a:pt x="6" y="121"/>
                    <a:pt x="6" y="121"/>
                  </a:cubicBezTo>
                  <a:cubicBezTo>
                    <a:pt x="5" y="121"/>
                    <a:pt x="4" y="120"/>
                    <a:pt x="4" y="119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3" y="119"/>
                    <a:pt x="3" y="119"/>
                    <a:pt x="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2" y="118"/>
                    <a:pt x="3" y="117"/>
                    <a:pt x="4" y="117"/>
                  </a:cubicBezTo>
                  <a:cubicBezTo>
                    <a:pt x="6" y="114"/>
                    <a:pt x="11" y="110"/>
                    <a:pt x="11" y="108"/>
                  </a:cubicBezTo>
                  <a:cubicBezTo>
                    <a:pt x="11" y="107"/>
                    <a:pt x="10" y="106"/>
                    <a:pt x="9" y="105"/>
                  </a:cubicBezTo>
                  <a:cubicBezTo>
                    <a:pt x="9" y="104"/>
                    <a:pt x="8" y="103"/>
                    <a:pt x="8" y="102"/>
                  </a:cubicBezTo>
                  <a:cubicBezTo>
                    <a:pt x="9" y="101"/>
                    <a:pt x="9" y="101"/>
                    <a:pt x="8" y="100"/>
                  </a:cubicBezTo>
                  <a:cubicBezTo>
                    <a:pt x="8" y="100"/>
                    <a:pt x="8" y="100"/>
                    <a:pt x="8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8"/>
                    <a:pt x="7" y="97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6"/>
                    <a:pt x="7" y="96"/>
                    <a:pt x="7" y="96"/>
                  </a:cubicBezTo>
                  <a:cubicBezTo>
                    <a:pt x="7" y="96"/>
                    <a:pt x="7" y="95"/>
                    <a:pt x="7" y="94"/>
                  </a:cubicBezTo>
                  <a:cubicBezTo>
                    <a:pt x="7" y="93"/>
                    <a:pt x="8" y="92"/>
                    <a:pt x="7" y="91"/>
                  </a:cubicBezTo>
                  <a:cubicBezTo>
                    <a:pt x="7" y="90"/>
                    <a:pt x="7" y="90"/>
                    <a:pt x="7" y="89"/>
                  </a:cubicBezTo>
                  <a:cubicBezTo>
                    <a:pt x="6" y="88"/>
                    <a:pt x="5" y="86"/>
                    <a:pt x="6" y="84"/>
                  </a:cubicBezTo>
                  <a:cubicBezTo>
                    <a:pt x="7" y="81"/>
                    <a:pt x="8" y="80"/>
                    <a:pt x="6" y="78"/>
                  </a:cubicBezTo>
                  <a:cubicBezTo>
                    <a:pt x="6" y="78"/>
                    <a:pt x="5" y="78"/>
                    <a:pt x="5" y="78"/>
                  </a:cubicBezTo>
                  <a:cubicBezTo>
                    <a:pt x="5" y="77"/>
                    <a:pt x="4" y="77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5" y="72"/>
                    <a:pt x="5" y="72"/>
                  </a:cubicBezTo>
                  <a:cubicBezTo>
                    <a:pt x="6" y="71"/>
                    <a:pt x="8" y="70"/>
                    <a:pt x="8" y="68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67"/>
                    <a:pt x="11" y="67"/>
                    <a:pt x="11" y="67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2" y="68"/>
                    <a:pt x="12" y="67"/>
                    <a:pt x="12" y="67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4" y="67"/>
                    <a:pt x="15" y="67"/>
                    <a:pt x="15" y="68"/>
                  </a:cubicBezTo>
                  <a:cubicBezTo>
                    <a:pt x="16" y="68"/>
                    <a:pt x="15" y="69"/>
                    <a:pt x="15" y="69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70"/>
                    <a:pt x="16" y="71"/>
                    <a:pt x="18" y="71"/>
                  </a:cubicBezTo>
                  <a:cubicBezTo>
                    <a:pt x="19" y="71"/>
                    <a:pt x="19" y="71"/>
                    <a:pt x="20" y="71"/>
                  </a:cubicBezTo>
                  <a:cubicBezTo>
                    <a:pt x="20" y="71"/>
                    <a:pt x="21" y="71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3" y="71"/>
                    <a:pt x="24" y="73"/>
                    <a:pt x="26" y="75"/>
                  </a:cubicBezTo>
                  <a:cubicBezTo>
                    <a:pt x="26" y="75"/>
                    <a:pt x="27" y="76"/>
                    <a:pt x="27" y="76"/>
                  </a:cubicBezTo>
                  <a:cubicBezTo>
                    <a:pt x="28" y="77"/>
                    <a:pt x="29" y="77"/>
                    <a:pt x="29" y="77"/>
                  </a:cubicBezTo>
                  <a:cubicBezTo>
                    <a:pt x="30" y="78"/>
                    <a:pt x="31" y="78"/>
                    <a:pt x="32" y="79"/>
                  </a:cubicBezTo>
                  <a:cubicBezTo>
                    <a:pt x="32" y="79"/>
                    <a:pt x="33" y="79"/>
                    <a:pt x="33" y="80"/>
                  </a:cubicBezTo>
                  <a:cubicBezTo>
                    <a:pt x="33" y="80"/>
                    <a:pt x="34" y="81"/>
                    <a:pt x="34" y="82"/>
                  </a:cubicBezTo>
                  <a:cubicBezTo>
                    <a:pt x="34" y="82"/>
                    <a:pt x="34" y="83"/>
                    <a:pt x="34" y="83"/>
                  </a:cubicBezTo>
                  <a:cubicBezTo>
                    <a:pt x="35" y="84"/>
                    <a:pt x="35" y="84"/>
                    <a:pt x="35" y="85"/>
                  </a:cubicBezTo>
                  <a:cubicBezTo>
                    <a:pt x="34" y="87"/>
                    <a:pt x="33" y="89"/>
                    <a:pt x="30" y="90"/>
                  </a:cubicBezTo>
                  <a:cubicBezTo>
                    <a:pt x="28" y="91"/>
                    <a:pt x="27" y="90"/>
                    <a:pt x="25" y="90"/>
                  </a:cubicBezTo>
                  <a:cubicBezTo>
                    <a:pt x="24" y="90"/>
                    <a:pt x="24" y="90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1" y="89"/>
                    <a:pt x="20" y="89"/>
                    <a:pt x="19" y="88"/>
                  </a:cubicBezTo>
                  <a:cubicBezTo>
                    <a:pt x="18" y="88"/>
                    <a:pt x="18" y="88"/>
                    <a:pt x="18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7" y="87"/>
                    <a:pt x="16" y="86"/>
                    <a:pt x="15" y="86"/>
                  </a:cubicBezTo>
                  <a:cubicBezTo>
                    <a:pt x="15" y="86"/>
                    <a:pt x="14" y="86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7" y="88"/>
                    <a:pt x="20" y="90"/>
                    <a:pt x="20" y="92"/>
                  </a:cubicBezTo>
                  <a:cubicBezTo>
                    <a:pt x="20" y="92"/>
                    <a:pt x="19" y="93"/>
                    <a:pt x="19" y="93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20" y="96"/>
                    <a:pt x="20" y="98"/>
                    <a:pt x="20" y="99"/>
                  </a:cubicBezTo>
                  <a:cubicBezTo>
                    <a:pt x="21" y="99"/>
                    <a:pt x="21" y="100"/>
                    <a:pt x="22" y="100"/>
                  </a:cubicBezTo>
                  <a:cubicBezTo>
                    <a:pt x="23" y="101"/>
                    <a:pt x="23" y="101"/>
                    <a:pt x="24" y="102"/>
                  </a:cubicBezTo>
                  <a:cubicBezTo>
                    <a:pt x="25" y="102"/>
                    <a:pt x="26" y="102"/>
                    <a:pt x="26" y="102"/>
                  </a:cubicBezTo>
                  <a:cubicBezTo>
                    <a:pt x="26" y="102"/>
                    <a:pt x="26" y="101"/>
                    <a:pt x="26" y="100"/>
                  </a:cubicBezTo>
                  <a:cubicBezTo>
                    <a:pt x="25" y="100"/>
                    <a:pt x="23" y="99"/>
                    <a:pt x="23" y="99"/>
                  </a:cubicBezTo>
                  <a:cubicBezTo>
                    <a:pt x="22" y="98"/>
                    <a:pt x="22" y="97"/>
                    <a:pt x="23" y="96"/>
                  </a:cubicBezTo>
                  <a:cubicBezTo>
                    <a:pt x="23" y="95"/>
                    <a:pt x="24" y="95"/>
                    <a:pt x="24" y="95"/>
                  </a:cubicBezTo>
                  <a:cubicBezTo>
                    <a:pt x="25" y="95"/>
                    <a:pt x="26" y="96"/>
                    <a:pt x="26" y="96"/>
                  </a:cubicBezTo>
                  <a:cubicBezTo>
                    <a:pt x="27" y="96"/>
                    <a:pt x="27" y="97"/>
                    <a:pt x="28" y="97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29" y="97"/>
                    <a:pt x="31" y="98"/>
                    <a:pt x="32" y="98"/>
                  </a:cubicBezTo>
                  <a:cubicBezTo>
                    <a:pt x="31" y="97"/>
                    <a:pt x="30" y="96"/>
                    <a:pt x="30" y="95"/>
                  </a:cubicBezTo>
                  <a:cubicBezTo>
                    <a:pt x="30" y="93"/>
                    <a:pt x="31" y="92"/>
                    <a:pt x="32" y="91"/>
                  </a:cubicBezTo>
                  <a:cubicBezTo>
                    <a:pt x="32" y="91"/>
                    <a:pt x="33" y="91"/>
                    <a:pt x="33" y="91"/>
                  </a:cubicBezTo>
                  <a:cubicBezTo>
                    <a:pt x="33" y="91"/>
                    <a:pt x="34" y="90"/>
                    <a:pt x="34" y="89"/>
                  </a:cubicBezTo>
                  <a:cubicBezTo>
                    <a:pt x="35" y="88"/>
                    <a:pt x="36" y="87"/>
                    <a:pt x="36" y="87"/>
                  </a:cubicBezTo>
                  <a:cubicBezTo>
                    <a:pt x="37" y="87"/>
                    <a:pt x="39" y="88"/>
                    <a:pt x="39" y="89"/>
                  </a:cubicBezTo>
                  <a:cubicBezTo>
                    <a:pt x="39" y="89"/>
                    <a:pt x="40" y="89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89"/>
                    <a:pt x="40" y="88"/>
                    <a:pt x="41" y="87"/>
                  </a:cubicBezTo>
                  <a:cubicBezTo>
                    <a:pt x="41" y="86"/>
                    <a:pt x="41" y="85"/>
                    <a:pt x="40" y="85"/>
                  </a:cubicBezTo>
                  <a:cubicBezTo>
                    <a:pt x="40" y="85"/>
                    <a:pt x="40" y="84"/>
                    <a:pt x="39" y="83"/>
                  </a:cubicBezTo>
                  <a:cubicBezTo>
                    <a:pt x="39" y="82"/>
                    <a:pt x="39" y="81"/>
                    <a:pt x="40" y="80"/>
                  </a:cubicBezTo>
                  <a:cubicBezTo>
                    <a:pt x="40" y="80"/>
                    <a:pt x="40" y="79"/>
                    <a:pt x="40" y="79"/>
                  </a:cubicBezTo>
                  <a:cubicBezTo>
                    <a:pt x="40" y="77"/>
                    <a:pt x="40" y="77"/>
                    <a:pt x="39" y="76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40" y="74"/>
                    <a:pt x="40" y="74"/>
                  </a:cubicBezTo>
                  <a:cubicBezTo>
                    <a:pt x="44" y="75"/>
                    <a:pt x="46" y="76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5" y="81"/>
                    <a:pt x="44" y="81"/>
                    <a:pt x="44" y="82"/>
                  </a:cubicBezTo>
                  <a:cubicBezTo>
                    <a:pt x="43" y="82"/>
                    <a:pt x="44" y="83"/>
                    <a:pt x="44" y="83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5" y="85"/>
                    <a:pt x="45" y="85"/>
                  </a:cubicBezTo>
                  <a:cubicBezTo>
                    <a:pt x="46" y="85"/>
                    <a:pt x="46" y="85"/>
                    <a:pt x="47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8" y="85"/>
                    <a:pt x="48" y="85"/>
                    <a:pt x="48" y="83"/>
                  </a:cubicBezTo>
                  <a:cubicBezTo>
                    <a:pt x="49" y="81"/>
                    <a:pt x="49" y="81"/>
                    <a:pt x="51" y="80"/>
                  </a:cubicBezTo>
                  <a:cubicBezTo>
                    <a:pt x="51" y="80"/>
                    <a:pt x="52" y="80"/>
                    <a:pt x="52" y="79"/>
                  </a:cubicBezTo>
                  <a:cubicBezTo>
                    <a:pt x="55" y="77"/>
                    <a:pt x="58" y="75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60" y="74"/>
                    <a:pt x="60" y="74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3"/>
                    <a:pt x="63" y="73"/>
                    <a:pt x="64" y="72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4" y="73"/>
                    <a:pt x="64" y="74"/>
                    <a:pt x="64" y="74"/>
                  </a:cubicBezTo>
                  <a:cubicBezTo>
                    <a:pt x="64" y="74"/>
                    <a:pt x="64" y="75"/>
                    <a:pt x="64" y="75"/>
                  </a:cubicBezTo>
                  <a:cubicBezTo>
                    <a:pt x="64" y="76"/>
                    <a:pt x="64" y="76"/>
                    <a:pt x="64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5" y="77"/>
                    <a:pt x="65" y="77"/>
                    <a:pt x="66" y="76"/>
                  </a:cubicBezTo>
                  <a:cubicBezTo>
                    <a:pt x="66" y="76"/>
                    <a:pt x="66" y="76"/>
                    <a:pt x="66" y="75"/>
                  </a:cubicBezTo>
                  <a:cubicBezTo>
                    <a:pt x="67" y="75"/>
                    <a:pt x="67" y="75"/>
                    <a:pt x="68" y="75"/>
                  </a:cubicBezTo>
                  <a:cubicBezTo>
                    <a:pt x="68" y="75"/>
                    <a:pt x="69" y="75"/>
                    <a:pt x="69" y="75"/>
                  </a:cubicBezTo>
                  <a:cubicBezTo>
                    <a:pt x="70" y="75"/>
                    <a:pt x="71" y="75"/>
                    <a:pt x="71" y="75"/>
                  </a:cubicBezTo>
                  <a:cubicBezTo>
                    <a:pt x="72" y="75"/>
                    <a:pt x="72" y="74"/>
                    <a:pt x="73" y="73"/>
                  </a:cubicBezTo>
                  <a:cubicBezTo>
                    <a:pt x="74" y="73"/>
                    <a:pt x="74" y="72"/>
                    <a:pt x="74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6" y="73"/>
                  </a:cubicBezTo>
                  <a:cubicBezTo>
                    <a:pt x="76" y="73"/>
                    <a:pt x="77" y="74"/>
                    <a:pt x="76" y="75"/>
                  </a:cubicBezTo>
                  <a:cubicBezTo>
                    <a:pt x="76" y="75"/>
                    <a:pt x="76" y="75"/>
                    <a:pt x="76" y="76"/>
                  </a:cubicBezTo>
                  <a:cubicBezTo>
                    <a:pt x="76" y="76"/>
                    <a:pt x="76" y="76"/>
                    <a:pt x="76" y="76"/>
                  </a:cubicBezTo>
                  <a:cubicBezTo>
                    <a:pt x="76" y="76"/>
                    <a:pt x="76" y="76"/>
                    <a:pt x="76" y="76"/>
                  </a:cubicBezTo>
                  <a:cubicBezTo>
                    <a:pt x="76" y="76"/>
                    <a:pt x="77" y="75"/>
                    <a:pt x="77" y="75"/>
                  </a:cubicBezTo>
                  <a:cubicBezTo>
                    <a:pt x="77" y="74"/>
                    <a:pt x="77" y="74"/>
                    <a:pt x="78" y="74"/>
                  </a:cubicBezTo>
                  <a:cubicBezTo>
                    <a:pt x="79" y="73"/>
                    <a:pt x="79" y="72"/>
                    <a:pt x="78" y="70"/>
                  </a:cubicBezTo>
                  <a:cubicBezTo>
                    <a:pt x="78" y="69"/>
                    <a:pt x="78" y="68"/>
                    <a:pt x="78" y="68"/>
                  </a:cubicBezTo>
                  <a:cubicBezTo>
                    <a:pt x="78" y="67"/>
                    <a:pt x="79" y="67"/>
                    <a:pt x="80" y="67"/>
                  </a:cubicBezTo>
                  <a:cubicBezTo>
                    <a:pt x="82" y="66"/>
                    <a:pt x="87" y="69"/>
                    <a:pt x="89" y="70"/>
                  </a:cubicBezTo>
                  <a:cubicBezTo>
                    <a:pt x="92" y="72"/>
                    <a:pt x="94" y="74"/>
                    <a:pt x="96" y="77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7" y="74"/>
                    <a:pt x="97" y="73"/>
                    <a:pt x="96" y="73"/>
                  </a:cubicBezTo>
                  <a:cubicBezTo>
                    <a:pt x="96" y="72"/>
                    <a:pt x="96" y="71"/>
                    <a:pt x="96" y="71"/>
                  </a:cubicBezTo>
                  <a:cubicBezTo>
                    <a:pt x="96" y="70"/>
                    <a:pt x="95" y="70"/>
                    <a:pt x="94" y="69"/>
                  </a:cubicBezTo>
                  <a:cubicBezTo>
                    <a:pt x="93" y="69"/>
                    <a:pt x="93" y="69"/>
                    <a:pt x="93" y="68"/>
                  </a:cubicBezTo>
                  <a:cubicBezTo>
                    <a:pt x="92" y="68"/>
                    <a:pt x="93" y="67"/>
                    <a:pt x="93" y="66"/>
                  </a:cubicBezTo>
                  <a:cubicBezTo>
                    <a:pt x="93" y="65"/>
                    <a:pt x="94" y="65"/>
                    <a:pt x="93" y="65"/>
                  </a:cubicBezTo>
                  <a:cubicBezTo>
                    <a:pt x="93" y="64"/>
                    <a:pt x="93" y="63"/>
                    <a:pt x="94" y="62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61"/>
                    <a:pt x="93" y="61"/>
                    <a:pt x="92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60"/>
                    <a:pt x="92" y="60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57"/>
                    <a:pt x="93" y="56"/>
                    <a:pt x="94" y="55"/>
                  </a:cubicBezTo>
                  <a:cubicBezTo>
                    <a:pt x="95" y="54"/>
                    <a:pt x="96" y="53"/>
                    <a:pt x="96" y="52"/>
                  </a:cubicBezTo>
                  <a:cubicBezTo>
                    <a:pt x="96" y="52"/>
                    <a:pt x="96" y="52"/>
                    <a:pt x="96" y="51"/>
                  </a:cubicBezTo>
                  <a:cubicBezTo>
                    <a:pt x="97" y="47"/>
                    <a:pt x="98" y="44"/>
                    <a:pt x="99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2" y="45"/>
                    <a:pt x="104" y="45"/>
                    <a:pt x="105" y="46"/>
                  </a:cubicBezTo>
                  <a:cubicBezTo>
                    <a:pt x="107" y="46"/>
                    <a:pt x="107" y="47"/>
                    <a:pt x="107" y="48"/>
                  </a:cubicBezTo>
                  <a:cubicBezTo>
                    <a:pt x="107" y="48"/>
                    <a:pt x="107" y="48"/>
                    <a:pt x="107" y="49"/>
                  </a:cubicBezTo>
                  <a:cubicBezTo>
                    <a:pt x="107" y="50"/>
                    <a:pt x="107" y="51"/>
                    <a:pt x="106" y="52"/>
                  </a:cubicBezTo>
                  <a:cubicBezTo>
                    <a:pt x="106" y="53"/>
                    <a:pt x="105" y="55"/>
                    <a:pt x="105" y="55"/>
                  </a:cubicBezTo>
                  <a:cubicBezTo>
                    <a:pt x="107" y="57"/>
                    <a:pt x="109" y="61"/>
                    <a:pt x="107" y="64"/>
                  </a:cubicBezTo>
                  <a:cubicBezTo>
                    <a:pt x="107" y="64"/>
                    <a:pt x="107" y="65"/>
                    <a:pt x="107" y="66"/>
                  </a:cubicBezTo>
                  <a:cubicBezTo>
                    <a:pt x="107" y="66"/>
                    <a:pt x="107" y="67"/>
                    <a:pt x="107" y="67"/>
                  </a:cubicBezTo>
                  <a:cubicBezTo>
                    <a:pt x="107" y="72"/>
                    <a:pt x="107" y="72"/>
                    <a:pt x="107" y="72"/>
                  </a:cubicBezTo>
                  <a:cubicBezTo>
                    <a:pt x="107" y="73"/>
                    <a:pt x="107" y="73"/>
                    <a:pt x="108" y="74"/>
                  </a:cubicBezTo>
                  <a:cubicBezTo>
                    <a:pt x="108" y="74"/>
                    <a:pt x="109" y="75"/>
                    <a:pt x="109" y="76"/>
                  </a:cubicBezTo>
                  <a:cubicBezTo>
                    <a:pt x="109" y="76"/>
                    <a:pt x="109" y="77"/>
                    <a:pt x="108" y="78"/>
                  </a:cubicBezTo>
                  <a:cubicBezTo>
                    <a:pt x="108" y="78"/>
                    <a:pt x="108" y="79"/>
                    <a:pt x="108" y="79"/>
                  </a:cubicBezTo>
                  <a:cubicBezTo>
                    <a:pt x="108" y="81"/>
                    <a:pt x="107" y="84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105" y="86"/>
                    <a:pt x="105" y="86"/>
                    <a:pt x="105" y="86"/>
                  </a:cubicBezTo>
                  <a:cubicBezTo>
                    <a:pt x="105" y="86"/>
                    <a:pt x="105" y="86"/>
                    <a:pt x="104" y="86"/>
                  </a:cubicBezTo>
                  <a:cubicBezTo>
                    <a:pt x="103" y="87"/>
                    <a:pt x="102" y="87"/>
                    <a:pt x="101" y="87"/>
                  </a:cubicBezTo>
                  <a:cubicBezTo>
                    <a:pt x="101" y="87"/>
                    <a:pt x="101" y="87"/>
                    <a:pt x="101" y="88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1" y="88"/>
                    <a:pt x="102" y="88"/>
                    <a:pt x="102" y="88"/>
                  </a:cubicBezTo>
                  <a:cubicBezTo>
                    <a:pt x="103" y="89"/>
                    <a:pt x="104" y="89"/>
                    <a:pt x="105" y="89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05" y="89"/>
                    <a:pt x="105" y="89"/>
                    <a:pt x="105" y="88"/>
                  </a:cubicBezTo>
                  <a:cubicBezTo>
                    <a:pt x="105" y="88"/>
                    <a:pt x="105" y="87"/>
                    <a:pt x="106" y="87"/>
                  </a:cubicBezTo>
                  <a:cubicBezTo>
                    <a:pt x="106" y="87"/>
                    <a:pt x="106" y="87"/>
                    <a:pt x="106" y="87"/>
                  </a:cubicBezTo>
                  <a:cubicBezTo>
                    <a:pt x="108" y="86"/>
                    <a:pt x="108" y="85"/>
                    <a:pt x="109" y="84"/>
                  </a:cubicBezTo>
                  <a:cubicBezTo>
                    <a:pt x="109" y="83"/>
                    <a:pt x="109" y="82"/>
                    <a:pt x="110" y="81"/>
                  </a:cubicBezTo>
                  <a:cubicBezTo>
                    <a:pt x="111" y="80"/>
                    <a:pt x="111" y="80"/>
                    <a:pt x="110" y="78"/>
                  </a:cubicBezTo>
                  <a:cubicBezTo>
                    <a:pt x="110" y="77"/>
                    <a:pt x="110" y="76"/>
                    <a:pt x="110" y="75"/>
                  </a:cubicBezTo>
                  <a:cubicBezTo>
                    <a:pt x="111" y="73"/>
                    <a:pt x="113" y="73"/>
                    <a:pt x="114" y="73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6" y="72"/>
                    <a:pt x="116" y="72"/>
                    <a:pt x="116" y="72"/>
                  </a:cubicBezTo>
                  <a:cubicBezTo>
                    <a:pt x="115" y="72"/>
                    <a:pt x="115" y="72"/>
                    <a:pt x="114" y="72"/>
                  </a:cubicBezTo>
                  <a:cubicBezTo>
                    <a:pt x="112" y="73"/>
                    <a:pt x="112" y="73"/>
                    <a:pt x="110" y="72"/>
                  </a:cubicBezTo>
                  <a:cubicBezTo>
                    <a:pt x="109" y="72"/>
                    <a:pt x="109" y="71"/>
                    <a:pt x="109" y="70"/>
                  </a:cubicBezTo>
                  <a:cubicBezTo>
                    <a:pt x="109" y="70"/>
                    <a:pt x="109" y="69"/>
                    <a:pt x="109" y="69"/>
                  </a:cubicBezTo>
                  <a:cubicBezTo>
                    <a:pt x="108" y="67"/>
                    <a:pt x="109" y="66"/>
                    <a:pt x="109" y="64"/>
                  </a:cubicBezTo>
                  <a:cubicBezTo>
                    <a:pt x="110" y="63"/>
                    <a:pt x="110" y="62"/>
                    <a:pt x="110" y="61"/>
                  </a:cubicBezTo>
                  <a:cubicBezTo>
                    <a:pt x="110" y="61"/>
                    <a:pt x="109" y="60"/>
                    <a:pt x="109" y="60"/>
                  </a:cubicBezTo>
                  <a:cubicBezTo>
                    <a:pt x="108" y="58"/>
                    <a:pt x="106" y="55"/>
                    <a:pt x="108" y="53"/>
                  </a:cubicBezTo>
                  <a:cubicBezTo>
                    <a:pt x="108" y="52"/>
                    <a:pt x="109" y="51"/>
                    <a:pt x="110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2" y="49"/>
                    <a:pt x="111" y="48"/>
                    <a:pt x="111" y="47"/>
                  </a:cubicBezTo>
                  <a:cubicBezTo>
                    <a:pt x="111" y="47"/>
                    <a:pt x="111" y="46"/>
                    <a:pt x="111" y="46"/>
                  </a:cubicBezTo>
                  <a:cubicBezTo>
                    <a:pt x="111" y="46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3" y="45"/>
                    <a:pt x="113" y="47"/>
                    <a:pt x="113" y="47"/>
                  </a:cubicBezTo>
                  <a:cubicBezTo>
                    <a:pt x="114" y="47"/>
                    <a:pt x="114" y="48"/>
                    <a:pt x="114" y="48"/>
                  </a:cubicBezTo>
                  <a:cubicBezTo>
                    <a:pt x="114" y="49"/>
                    <a:pt x="114" y="49"/>
                    <a:pt x="114" y="49"/>
                  </a:cubicBezTo>
                  <a:cubicBezTo>
                    <a:pt x="114" y="50"/>
                    <a:pt x="114" y="51"/>
                    <a:pt x="114" y="51"/>
                  </a:cubicBezTo>
                  <a:cubicBezTo>
                    <a:pt x="113" y="52"/>
                    <a:pt x="113" y="52"/>
                    <a:pt x="113" y="53"/>
                  </a:cubicBezTo>
                  <a:cubicBezTo>
                    <a:pt x="113" y="53"/>
                    <a:pt x="113" y="53"/>
                    <a:pt x="113" y="53"/>
                  </a:cubicBezTo>
                  <a:cubicBezTo>
                    <a:pt x="114" y="54"/>
                    <a:pt x="114" y="55"/>
                    <a:pt x="114" y="56"/>
                  </a:cubicBezTo>
                  <a:cubicBezTo>
                    <a:pt x="114" y="56"/>
                    <a:pt x="113" y="56"/>
                    <a:pt x="113" y="56"/>
                  </a:cubicBezTo>
                  <a:cubicBezTo>
                    <a:pt x="114" y="57"/>
                    <a:pt x="116" y="58"/>
                    <a:pt x="118" y="58"/>
                  </a:cubicBezTo>
                  <a:cubicBezTo>
                    <a:pt x="118" y="58"/>
                    <a:pt x="119" y="58"/>
                    <a:pt x="119" y="58"/>
                  </a:cubicBezTo>
                  <a:cubicBezTo>
                    <a:pt x="119" y="57"/>
                    <a:pt x="119" y="57"/>
                    <a:pt x="119" y="57"/>
                  </a:cubicBezTo>
                  <a:cubicBezTo>
                    <a:pt x="118" y="57"/>
                    <a:pt x="118" y="57"/>
                    <a:pt x="118" y="57"/>
                  </a:cubicBezTo>
                  <a:cubicBezTo>
                    <a:pt x="116" y="57"/>
                    <a:pt x="114" y="55"/>
                    <a:pt x="114" y="54"/>
                  </a:cubicBezTo>
                  <a:cubicBezTo>
                    <a:pt x="114" y="52"/>
                    <a:pt x="114" y="52"/>
                    <a:pt x="115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6" y="52"/>
                    <a:pt x="116" y="52"/>
                    <a:pt x="116" y="53"/>
                  </a:cubicBezTo>
                  <a:cubicBezTo>
                    <a:pt x="116" y="53"/>
                    <a:pt x="116" y="53"/>
                    <a:pt x="117" y="53"/>
                  </a:cubicBezTo>
                  <a:cubicBezTo>
                    <a:pt x="117" y="53"/>
                    <a:pt x="118" y="53"/>
                    <a:pt x="118" y="52"/>
                  </a:cubicBezTo>
                  <a:cubicBezTo>
                    <a:pt x="117" y="52"/>
                    <a:pt x="117" y="52"/>
                    <a:pt x="117" y="51"/>
                  </a:cubicBezTo>
                  <a:cubicBezTo>
                    <a:pt x="117" y="51"/>
                    <a:pt x="118" y="50"/>
                    <a:pt x="119" y="50"/>
                  </a:cubicBezTo>
                  <a:cubicBezTo>
                    <a:pt x="119" y="49"/>
                    <a:pt x="120" y="49"/>
                    <a:pt x="120" y="49"/>
                  </a:cubicBezTo>
                  <a:cubicBezTo>
                    <a:pt x="121" y="49"/>
                    <a:pt x="122" y="49"/>
                    <a:pt x="124" y="50"/>
                  </a:cubicBezTo>
                  <a:cubicBezTo>
                    <a:pt x="125" y="51"/>
                    <a:pt x="126" y="52"/>
                    <a:pt x="127" y="53"/>
                  </a:cubicBezTo>
                  <a:cubicBezTo>
                    <a:pt x="128" y="54"/>
                    <a:pt x="130" y="54"/>
                    <a:pt x="130" y="54"/>
                  </a:cubicBezTo>
                  <a:cubicBezTo>
                    <a:pt x="131" y="54"/>
                    <a:pt x="131" y="54"/>
                    <a:pt x="131" y="54"/>
                  </a:cubicBezTo>
                  <a:cubicBezTo>
                    <a:pt x="131" y="53"/>
                    <a:pt x="131" y="53"/>
                    <a:pt x="131" y="53"/>
                  </a:cubicBezTo>
                  <a:cubicBezTo>
                    <a:pt x="130" y="53"/>
                    <a:pt x="130" y="53"/>
                    <a:pt x="130" y="53"/>
                  </a:cubicBezTo>
                  <a:cubicBezTo>
                    <a:pt x="129" y="52"/>
                    <a:pt x="129" y="52"/>
                    <a:pt x="129" y="50"/>
                  </a:cubicBezTo>
                  <a:cubicBezTo>
                    <a:pt x="128" y="50"/>
                    <a:pt x="128" y="50"/>
                    <a:pt x="127" y="50"/>
                  </a:cubicBezTo>
                  <a:cubicBezTo>
                    <a:pt x="126" y="50"/>
                    <a:pt x="126" y="49"/>
                    <a:pt x="125" y="49"/>
                  </a:cubicBezTo>
                  <a:cubicBezTo>
                    <a:pt x="125" y="48"/>
                    <a:pt x="125" y="47"/>
                    <a:pt x="125" y="46"/>
                  </a:cubicBezTo>
                  <a:cubicBezTo>
                    <a:pt x="125" y="46"/>
                    <a:pt x="125" y="45"/>
                    <a:pt x="125" y="45"/>
                  </a:cubicBezTo>
                  <a:cubicBezTo>
                    <a:pt x="125" y="45"/>
                    <a:pt x="125" y="44"/>
                    <a:pt x="125" y="44"/>
                  </a:cubicBezTo>
                  <a:cubicBezTo>
                    <a:pt x="124" y="44"/>
                    <a:pt x="124" y="43"/>
                    <a:pt x="124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6" y="38"/>
                    <a:pt x="129" y="38"/>
                    <a:pt x="131" y="38"/>
                  </a:cubicBezTo>
                  <a:cubicBezTo>
                    <a:pt x="132" y="38"/>
                    <a:pt x="133" y="37"/>
                    <a:pt x="133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6" y="37"/>
                    <a:pt x="137" y="37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9" y="36"/>
                    <a:pt x="139" y="36"/>
                    <a:pt x="139" y="35"/>
                  </a:cubicBezTo>
                  <a:cubicBezTo>
                    <a:pt x="139" y="34"/>
                    <a:pt x="138" y="34"/>
                    <a:pt x="137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8" y="31"/>
                  </a:cubicBezTo>
                  <a:cubicBezTo>
                    <a:pt x="137" y="31"/>
                    <a:pt x="137" y="31"/>
                    <a:pt x="136" y="30"/>
                  </a:cubicBezTo>
                  <a:cubicBezTo>
                    <a:pt x="136" y="30"/>
                    <a:pt x="136" y="29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39" y="28"/>
                    <a:pt x="140" y="27"/>
                  </a:cubicBezTo>
                  <a:cubicBezTo>
                    <a:pt x="140" y="27"/>
                    <a:pt x="140" y="27"/>
                    <a:pt x="139" y="27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6"/>
                    <a:pt x="142" y="26"/>
                    <a:pt x="143" y="25"/>
                  </a:cubicBezTo>
                  <a:cubicBezTo>
                    <a:pt x="143" y="25"/>
                    <a:pt x="143" y="24"/>
                    <a:pt x="143" y="24"/>
                  </a:cubicBezTo>
                  <a:cubicBezTo>
                    <a:pt x="144" y="23"/>
                    <a:pt x="144" y="23"/>
                    <a:pt x="145" y="22"/>
                  </a:cubicBezTo>
                  <a:cubicBezTo>
                    <a:pt x="146" y="22"/>
                    <a:pt x="147" y="22"/>
                    <a:pt x="147" y="22"/>
                  </a:cubicBezTo>
                  <a:cubicBezTo>
                    <a:pt x="149" y="21"/>
                    <a:pt x="153" y="20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8"/>
                    <a:pt x="153" y="18"/>
                    <a:pt x="153" y="17"/>
                  </a:cubicBezTo>
                  <a:cubicBezTo>
                    <a:pt x="154" y="17"/>
                    <a:pt x="156" y="16"/>
                    <a:pt x="157" y="16"/>
                  </a:cubicBezTo>
                  <a:cubicBezTo>
                    <a:pt x="158" y="16"/>
                    <a:pt x="158" y="16"/>
                    <a:pt x="159" y="16"/>
                  </a:cubicBezTo>
                  <a:cubicBezTo>
                    <a:pt x="159" y="16"/>
                    <a:pt x="159" y="16"/>
                    <a:pt x="160" y="16"/>
                  </a:cubicBezTo>
                  <a:cubicBezTo>
                    <a:pt x="160" y="16"/>
                    <a:pt x="161" y="16"/>
                    <a:pt x="161" y="17"/>
                  </a:cubicBezTo>
                  <a:cubicBezTo>
                    <a:pt x="161" y="17"/>
                    <a:pt x="161" y="17"/>
                    <a:pt x="161" y="18"/>
                  </a:cubicBezTo>
                  <a:cubicBezTo>
                    <a:pt x="161" y="18"/>
                    <a:pt x="162" y="18"/>
                    <a:pt x="162" y="18"/>
                  </a:cubicBezTo>
                  <a:cubicBezTo>
                    <a:pt x="162" y="18"/>
                    <a:pt x="162" y="18"/>
                    <a:pt x="162" y="19"/>
                  </a:cubicBezTo>
                  <a:cubicBezTo>
                    <a:pt x="163" y="18"/>
                    <a:pt x="163" y="18"/>
                    <a:pt x="163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17"/>
                    <a:pt x="164" y="17"/>
                    <a:pt x="165" y="16"/>
                  </a:cubicBezTo>
                  <a:cubicBezTo>
                    <a:pt x="167" y="15"/>
                    <a:pt x="168" y="15"/>
                    <a:pt x="169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9" y="16"/>
                    <a:pt x="168" y="15"/>
                    <a:pt x="167" y="15"/>
                  </a:cubicBezTo>
                  <a:cubicBezTo>
                    <a:pt x="167" y="14"/>
                    <a:pt x="167" y="14"/>
                    <a:pt x="167" y="14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7" y="13"/>
                    <a:pt x="168" y="13"/>
                    <a:pt x="168" y="13"/>
                  </a:cubicBezTo>
                  <a:cubicBezTo>
                    <a:pt x="170" y="13"/>
                    <a:pt x="171" y="13"/>
                    <a:pt x="172" y="12"/>
                  </a:cubicBezTo>
                  <a:cubicBezTo>
                    <a:pt x="172" y="12"/>
                    <a:pt x="172" y="12"/>
                    <a:pt x="172" y="12"/>
                  </a:cubicBezTo>
                  <a:cubicBezTo>
                    <a:pt x="172" y="11"/>
                    <a:pt x="172" y="11"/>
                    <a:pt x="172" y="11"/>
                  </a:cubicBezTo>
                  <a:cubicBezTo>
                    <a:pt x="172" y="11"/>
                    <a:pt x="172" y="11"/>
                    <a:pt x="172" y="11"/>
                  </a:cubicBezTo>
                  <a:cubicBezTo>
                    <a:pt x="172" y="10"/>
                    <a:pt x="172" y="9"/>
                    <a:pt x="172" y="8"/>
                  </a:cubicBezTo>
                  <a:cubicBezTo>
                    <a:pt x="173" y="5"/>
                    <a:pt x="176" y="1"/>
                    <a:pt x="178" y="1"/>
                  </a:cubicBezTo>
                  <a:cubicBezTo>
                    <a:pt x="179" y="0"/>
                    <a:pt x="179" y="0"/>
                    <a:pt x="180" y="0"/>
                  </a:cubicBezTo>
                  <a:cubicBezTo>
                    <a:pt x="182" y="0"/>
                    <a:pt x="184" y="2"/>
                    <a:pt x="184" y="4"/>
                  </a:cubicBezTo>
                  <a:cubicBezTo>
                    <a:pt x="184" y="5"/>
                    <a:pt x="184" y="5"/>
                    <a:pt x="184" y="6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84" y="7"/>
                    <a:pt x="184" y="7"/>
                    <a:pt x="184" y="7"/>
                  </a:cubicBezTo>
                  <a:cubicBezTo>
                    <a:pt x="184" y="7"/>
                    <a:pt x="184" y="7"/>
                    <a:pt x="184" y="7"/>
                  </a:cubicBezTo>
                  <a:cubicBezTo>
                    <a:pt x="184" y="8"/>
                    <a:pt x="184" y="8"/>
                    <a:pt x="185" y="8"/>
                  </a:cubicBezTo>
                  <a:cubicBezTo>
                    <a:pt x="186" y="8"/>
                    <a:pt x="187" y="8"/>
                    <a:pt x="187" y="9"/>
                  </a:cubicBezTo>
                  <a:cubicBezTo>
                    <a:pt x="188" y="10"/>
                    <a:pt x="186" y="12"/>
                    <a:pt x="185" y="13"/>
                  </a:cubicBezTo>
                  <a:cubicBezTo>
                    <a:pt x="187" y="13"/>
                    <a:pt x="187" y="13"/>
                    <a:pt x="188" y="11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8" y="10"/>
                    <a:pt x="189" y="10"/>
                    <a:pt x="190" y="10"/>
                  </a:cubicBezTo>
                  <a:cubicBezTo>
                    <a:pt x="191" y="10"/>
                    <a:pt x="192" y="10"/>
                    <a:pt x="193" y="10"/>
                  </a:cubicBezTo>
                  <a:cubicBezTo>
                    <a:pt x="194" y="10"/>
                    <a:pt x="194" y="10"/>
                    <a:pt x="194" y="10"/>
                  </a:cubicBezTo>
                  <a:cubicBezTo>
                    <a:pt x="196" y="11"/>
                    <a:pt x="197" y="11"/>
                    <a:pt x="198" y="12"/>
                  </a:cubicBezTo>
                  <a:cubicBezTo>
                    <a:pt x="198" y="13"/>
                    <a:pt x="198" y="13"/>
                    <a:pt x="198" y="13"/>
                  </a:cubicBezTo>
                  <a:cubicBezTo>
                    <a:pt x="199" y="14"/>
                    <a:pt x="199" y="15"/>
                    <a:pt x="199" y="16"/>
                  </a:cubicBezTo>
                  <a:cubicBezTo>
                    <a:pt x="199" y="16"/>
                    <a:pt x="200" y="16"/>
                    <a:pt x="200" y="16"/>
                  </a:cubicBezTo>
                  <a:cubicBezTo>
                    <a:pt x="200" y="16"/>
                    <a:pt x="200" y="16"/>
                    <a:pt x="200" y="16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16"/>
                    <a:pt x="201" y="17"/>
                    <a:pt x="202" y="17"/>
                  </a:cubicBezTo>
                  <a:cubicBezTo>
                    <a:pt x="202" y="19"/>
                    <a:pt x="203" y="20"/>
                    <a:pt x="202" y="22"/>
                  </a:cubicBezTo>
                  <a:cubicBezTo>
                    <a:pt x="202" y="22"/>
                    <a:pt x="202" y="22"/>
                    <a:pt x="202" y="22"/>
                  </a:cubicBezTo>
                  <a:cubicBezTo>
                    <a:pt x="203" y="22"/>
                    <a:pt x="203" y="22"/>
                    <a:pt x="203" y="22"/>
                  </a:cubicBezTo>
                  <a:cubicBezTo>
                    <a:pt x="202" y="23"/>
                    <a:pt x="202" y="23"/>
                    <a:pt x="202" y="23"/>
                  </a:cubicBezTo>
                  <a:cubicBezTo>
                    <a:pt x="202" y="23"/>
                    <a:pt x="202" y="24"/>
                    <a:pt x="202" y="24"/>
                  </a:cubicBezTo>
                  <a:cubicBezTo>
                    <a:pt x="202" y="25"/>
                    <a:pt x="202" y="26"/>
                    <a:pt x="201" y="27"/>
                  </a:cubicBezTo>
                  <a:cubicBezTo>
                    <a:pt x="201" y="27"/>
                    <a:pt x="200" y="28"/>
                    <a:pt x="199" y="28"/>
                  </a:cubicBezTo>
                  <a:cubicBezTo>
                    <a:pt x="200" y="29"/>
                    <a:pt x="200" y="29"/>
                    <a:pt x="200" y="29"/>
                  </a:cubicBezTo>
                  <a:cubicBezTo>
                    <a:pt x="199" y="29"/>
                    <a:pt x="199" y="29"/>
                    <a:pt x="199" y="29"/>
                  </a:cubicBezTo>
                  <a:cubicBezTo>
                    <a:pt x="199" y="29"/>
                    <a:pt x="199" y="29"/>
                    <a:pt x="199" y="29"/>
                  </a:cubicBezTo>
                  <a:cubicBezTo>
                    <a:pt x="198" y="29"/>
                    <a:pt x="198" y="29"/>
                    <a:pt x="198" y="29"/>
                  </a:cubicBezTo>
                  <a:cubicBezTo>
                    <a:pt x="198" y="30"/>
                    <a:pt x="198" y="30"/>
                    <a:pt x="198" y="30"/>
                  </a:cubicBezTo>
                  <a:cubicBezTo>
                    <a:pt x="198" y="30"/>
                    <a:pt x="198" y="31"/>
                    <a:pt x="197" y="31"/>
                  </a:cubicBezTo>
                  <a:cubicBezTo>
                    <a:pt x="197" y="31"/>
                    <a:pt x="197" y="31"/>
                    <a:pt x="196" y="31"/>
                  </a:cubicBezTo>
                  <a:cubicBezTo>
                    <a:pt x="196" y="32"/>
                    <a:pt x="195" y="32"/>
                    <a:pt x="194" y="32"/>
                  </a:cubicBezTo>
                  <a:cubicBezTo>
                    <a:pt x="193" y="33"/>
                    <a:pt x="192" y="35"/>
                    <a:pt x="192" y="36"/>
                  </a:cubicBezTo>
                  <a:cubicBezTo>
                    <a:pt x="191" y="37"/>
                    <a:pt x="191" y="37"/>
                    <a:pt x="191" y="38"/>
                  </a:cubicBezTo>
                  <a:cubicBezTo>
                    <a:pt x="190" y="38"/>
                    <a:pt x="190" y="38"/>
                    <a:pt x="190" y="38"/>
                  </a:cubicBezTo>
                  <a:cubicBezTo>
                    <a:pt x="190" y="39"/>
                    <a:pt x="189" y="40"/>
                    <a:pt x="188" y="40"/>
                  </a:cubicBezTo>
                  <a:cubicBezTo>
                    <a:pt x="188" y="40"/>
                    <a:pt x="188" y="40"/>
                    <a:pt x="188" y="40"/>
                  </a:cubicBezTo>
                  <a:cubicBezTo>
                    <a:pt x="188" y="40"/>
                    <a:pt x="187" y="40"/>
                    <a:pt x="187" y="40"/>
                  </a:cubicBezTo>
                  <a:cubicBezTo>
                    <a:pt x="187" y="40"/>
                    <a:pt x="187" y="40"/>
                    <a:pt x="187" y="40"/>
                  </a:cubicBezTo>
                  <a:cubicBezTo>
                    <a:pt x="186" y="41"/>
                    <a:pt x="186" y="41"/>
                    <a:pt x="185" y="42"/>
                  </a:cubicBezTo>
                  <a:cubicBezTo>
                    <a:pt x="186" y="42"/>
                    <a:pt x="186" y="42"/>
                    <a:pt x="186" y="42"/>
                  </a:cubicBezTo>
                  <a:cubicBezTo>
                    <a:pt x="187" y="42"/>
                    <a:pt x="187" y="42"/>
                    <a:pt x="187" y="42"/>
                  </a:cubicBezTo>
                  <a:cubicBezTo>
                    <a:pt x="188" y="42"/>
                    <a:pt x="190" y="41"/>
                    <a:pt x="191" y="41"/>
                  </a:cubicBezTo>
                  <a:cubicBezTo>
                    <a:pt x="191" y="41"/>
                    <a:pt x="191" y="40"/>
                    <a:pt x="191" y="40"/>
                  </a:cubicBezTo>
                  <a:cubicBezTo>
                    <a:pt x="191" y="40"/>
                    <a:pt x="191" y="40"/>
                    <a:pt x="190" y="40"/>
                  </a:cubicBezTo>
                  <a:cubicBezTo>
                    <a:pt x="191" y="39"/>
                    <a:pt x="191" y="39"/>
                    <a:pt x="191" y="39"/>
                  </a:cubicBezTo>
                  <a:cubicBezTo>
                    <a:pt x="191" y="39"/>
                    <a:pt x="191" y="39"/>
                    <a:pt x="192" y="40"/>
                  </a:cubicBezTo>
                  <a:cubicBezTo>
                    <a:pt x="192" y="40"/>
                    <a:pt x="192" y="40"/>
                    <a:pt x="192" y="40"/>
                  </a:cubicBezTo>
                  <a:cubicBezTo>
                    <a:pt x="192" y="40"/>
                    <a:pt x="192" y="40"/>
                    <a:pt x="192" y="40"/>
                  </a:cubicBezTo>
                  <a:cubicBezTo>
                    <a:pt x="191" y="39"/>
                    <a:pt x="191" y="38"/>
                    <a:pt x="192" y="37"/>
                  </a:cubicBezTo>
                  <a:cubicBezTo>
                    <a:pt x="192" y="36"/>
                    <a:pt x="192" y="36"/>
                    <a:pt x="193" y="35"/>
                  </a:cubicBezTo>
                  <a:cubicBezTo>
                    <a:pt x="194" y="35"/>
                    <a:pt x="194" y="36"/>
                    <a:pt x="195" y="36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195" y="36"/>
                    <a:pt x="195" y="36"/>
                    <a:pt x="196" y="36"/>
                  </a:cubicBezTo>
                  <a:cubicBezTo>
                    <a:pt x="196" y="36"/>
                    <a:pt x="196" y="36"/>
                    <a:pt x="196" y="35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197" y="37"/>
                    <a:pt x="197" y="37"/>
                    <a:pt x="197" y="37"/>
                  </a:cubicBezTo>
                  <a:cubicBezTo>
                    <a:pt x="197" y="37"/>
                    <a:pt x="198" y="38"/>
                    <a:pt x="198" y="38"/>
                  </a:cubicBezTo>
                  <a:cubicBezTo>
                    <a:pt x="199" y="38"/>
                    <a:pt x="199" y="38"/>
                    <a:pt x="199" y="38"/>
                  </a:cubicBezTo>
                  <a:cubicBezTo>
                    <a:pt x="199" y="37"/>
                    <a:pt x="199" y="37"/>
                    <a:pt x="199" y="36"/>
                  </a:cubicBezTo>
                  <a:cubicBezTo>
                    <a:pt x="200" y="36"/>
                    <a:pt x="200" y="36"/>
                    <a:pt x="200" y="36"/>
                  </a:cubicBezTo>
                  <a:cubicBezTo>
                    <a:pt x="200" y="36"/>
                    <a:pt x="200" y="37"/>
                    <a:pt x="201" y="38"/>
                  </a:cubicBezTo>
                  <a:cubicBezTo>
                    <a:pt x="201" y="38"/>
                    <a:pt x="201" y="39"/>
                    <a:pt x="201" y="40"/>
                  </a:cubicBezTo>
                  <a:cubicBezTo>
                    <a:pt x="201" y="40"/>
                    <a:pt x="201" y="40"/>
                    <a:pt x="201" y="40"/>
                  </a:cubicBezTo>
                  <a:cubicBezTo>
                    <a:pt x="201" y="39"/>
                    <a:pt x="202" y="39"/>
                    <a:pt x="202" y="39"/>
                  </a:cubicBezTo>
                  <a:cubicBezTo>
                    <a:pt x="204" y="38"/>
                    <a:pt x="206" y="38"/>
                    <a:pt x="207" y="38"/>
                  </a:cubicBezTo>
                  <a:cubicBezTo>
                    <a:pt x="209" y="39"/>
                    <a:pt x="211" y="39"/>
                    <a:pt x="214" y="40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4" y="41"/>
                    <a:pt x="214" y="41"/>
                    <a:pt x="214" y="41"/>
                  </a:cubicBezTo>
                  <a:cubicBezTo>
                    <a:pt x="213" y="41"/>
                    <a:pt x="213" y="41"/>
                    <a:pt x="213" y="41"/>
                  </a:cubicBezTo>
                  <a:cubicBezTo>
                    <a:pt x="213" y="42"/>
                    <a:pt x="214" y="43"/>
                    <a:pt x="215" y="43"/>
                  </a:cubicBezTo>
                  <a:cubicBezTo>
                    <a:pt x="215" y="43"/>
                    <a:pt x="216" y="43"/>
                    <a:pt x="216" y="43"/>
                  </a:cubicBezTo>
                  <a:cubicBezTo>
                    <a:pt x="217" y="44"/>
                    <a:pt x="218" y="44"/>
                    <a:pt x="219" y="44"/>
                  </a:cubicBezTo>
                  <a:cubicBezTo>
                    <a:pt x="219" y="44"/>
                    <a:pt x="220" y="44"/>
                    <a:pt x="220" y="44"/>
                  </a:cubicBezTo>
                  <a:cubicBezTo>
                    <a:pt x="223" y="44"/>
                    <a:pt x="224" y="43"/>
                    <a:pt x="224" y="43"/>
                  </a:cubicBezTo>
                  <a:cubicBezTo>
                    <a:pt x="223" y="41"/>
                    <a:pt x="223" y="40"/>
                    <a:pt x="223" y="38"/>
                  </a:cubicBezTo>
                  <a:cubicBezTo>
                    <a:pt x="224" y="37"/>
                    <a:pt x="224" y="37"/>
                    <a:pt x="224" y="37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24" y="38"/>
                    <a:pt x="224" y="38"/>
                    <a:pt x="225" y="38"/>
                  </a:cubicBezTo>
                  <a:cubicBezTo>
                    <a:pt x="225" y="36"/>
                    <a:pt x="225" y="36"/>
                    <a:pt x="225" y="36"/>
                  </a:cubicBezTo>
                  <a:cubicBezTo>
                    <a:pt x="225" y="37"/>
                    <a:pt x="225" y="37"/>
                    <a:pt x="225" y="37"/>
                  </a:cubicBezTo>
                  <a:cubicBezTo>
                    <a:pt x="226" y="37"/>
                    <a:pt x="226" y="37"/>
                    <a:pt x="227" y="37"/>
                  </a:cubicBezTo>
                  <a:cubicBezTo>
                    <a:pt x="228" y="38"/>
                    <a:pt x="231" y="40"/>
                    <a:pt x="232" y="40"/>
                  </a:cubicBezTo>
                  <a:cubicBezTo>
                    <a:pt x="232" y="39"/>
                    <a:pt x="233" y="39"/>
                    <a:pt x="233" y="39"/>
                  </a:cubicBezTo>
                  <a:cubicBezTo>
                    <a:pt x="235" y="39"/>
                    <a:pt x="237" y="41"/>
                    <a:pt x="238" y="43"/>
                  </a:cubicBezTo>
                  <a:cubicBezTo>
                    <a:pt x="238" y="43"/>
                    <a:pt x="238" y="43"/>
                    <a:pt x="238" y="43"/>
                  </a:cubicBezTo>
                  <a:cubicBezTo>
                    <a:pt x="239" y="44"/>
                    <a:pt x="239" y="45"/>
                    <a:pt x="238" y="46"/>
                  </a:cubicBezTo>
                  <a:cubicBezTo>
                    <a:pt x="238" y="47"/>
                    <a:pt x="238" y="47"/>
                    <a:pt x="238" y="47"/>
                  </a:cubicBezTo>
                  <a:cubicBezTo>
                    <a:pt x="238" y="47"/>
                    <a:pt x="238" y="48"/>
                    <a:pt x="238" y="48"/>
                  </a:cubicBezTo>
                  <a:cubicBezTo>
                    <a:pt x="239" y="49"/>
                    <a:pt x="239" y="49"/>
                    <a:pt x="239" y="50"/>
                  </a:cubicBezTo>
                  <a:cubicBezTo>
                    <a:pt x="239" y="51"/>
                    <a:pt x="238" y="51"/>
                    <a:pt x="238" y="52"/>
                  </a:cubicBezTo>
                  <a:cubicBezTo>
                    <a:pt x="237" y="52"/>
                    <a:pt x="237" y="53"/>
                    <a:pt x="237" y="54"/>
                  </a:cubicBezTo>
                  <a:cubicBezTo>
                    <a:pt x="238" y="54"/>
                    <a:pt x="239" y="56"/>
                    <a:pt x="239" y="57"/>
                  </a:cubicBezTo>
                  <a:cubicBezTo>
                    <a:pt x="239" y="58"/>
                    <a:pt x="240" y="58"/>
                    <a:pt x="240" y="58"/>
                  </a:cubicBezTo>
                  <a:cubicBezTo>
                    <a:pt x="240" y="59"/>
                    <a:pt x="240" y="59"/>
                    <a:pt x="241" y="59"/>
                  </a:cubicBezTo>
                  <a:cubicBezTo>
                    <a:pt x="241" y="59"/>
                    <a:pt x="242" y="59"/>
                    <a:pt x="242" y="60"/>
                  </a:cubicBezTo>
                  <a:cubicBezTo>
                    <a:pt x="243" y="59"/>
                    <a:pt x="243" y="57"/>
                    <a:pt x="244" y="56"/>
                  </a:cubicBezTo>
                  <a:cubicBezTo>
                    <a:pt x="244" y="55"/>
                    <a:pt x="244" y="53"/>
                    <a:pt x="245" y="52"/>
                  </a:cubicBezTo>
                  <a:cubicBezTo>
                    <a:pt x="246" y="51"/>
                    <a:pt x="246" y="51"/>
                    <a:pt x="246" y="51"/>
                  </a:cubicBezTo>
                  <a:cubicBezTo>
                    <a:pt x="246" y="52"/>
                    <a:pt x="246" y="52"/>
                    <a:pt x="246" y="52"/>
                  </a:cubicBezTo>
                  <a:cubicBezTo>
                    <a:pt x="246" y="52"/>
                    <a:pt x="247" y="53"/>
                    <a:pt x="247" y="53"/>
                  </a:cubicBezTo>
                  <a:cubicBezTo>
                    <a:pt x="248" y="55"/>
                    <a:pt x="248" y="55"/>
                    <a:pt x="250" y="56"/>
                  </a:cubicBezTo>
                  <a:cubicBezTo>
                    <a:pt x="250" y="56"/>
                    <a:pt x="250" y="56"/>
                    <a:pt x="250" y="55"/>
                  </a:cubicBezTo>
                  <a:cubicBezTo>
                    <a:pt x="251" y="55"/>
                    <a:pt x="251" y="54"/>
                    <a:pt x="252" y="54"/>
                  </a:cubicBezTo>
                  <a:cubicBezTo>
                    <a:pt x="252" y="54"/>
                    <a:pt x="252" y="54"/>
                    <a:pt x="253" y="54"/>
                  </a:cubicBezTo>
                  <a:cubicBezTo>
                    <a:pt x="253" y="54"/>
                    <a:pt x="253" y="54"/>
                    <a:pt x="254" y="55"/>
                  </a:cubicBezTo>
                  <a:cubicBezTo>
                    <a:pt x="255" y="55"/>
                    <a:pt x="257" y="57"/>
                    <a:pt x="258" y="57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59" y="56"/>
                    <a:pt x="260" y="55"/>
                    <a:pt x="262" y="55"/>
                  </a:cubicBezTo>
                  <a:cubicBezTo>
                    <a:pt x="261" y="52"/>
                    <a:pt x="262" y="50"/>
                    <a:pt x="264" y="48"/>
                  </a:cubicBezTo>
                  <a:cubicBezTo>
                    <a:pt x="264" y="48"/>
                    <a:pt x="264" y="47"/>
                    <a:pt x="264" y="47"/>
                  </a:cubicBezTo>
                  <a:cubicBezTo>
                    <a:pt x="264" y="46"/>
                    <a:pt x="264" y="45"/>
                    <a:pt x="264" y="45"/>
                  </a:cubicBezTo>
                  <a:cubicBezTo>
                    <a:pt x="265" y="45"/>
                    <a:pt x="265" y="45"/>
                    <a:pt x="265" y="45"/>
                  </a:cubicBezTo>
                  <a:cubicBezTo>
                    <a:pt x="265" y="45"/>
                    <a:pt x="265" y="45"/>
                    <a:pt x="265" y="45"/>
                  </a:cubicBezTo>
                  <a:cubicBezTo>
                    <a:pt x="268" y="46"/>
                    <a:pt x="268" y="46"/>
                    <a:pt x="268" y="46"/>
                  </a:cubicBezTo>
                  <a:cubicBezTo>
                    <a:pt x="272" y="46"/>
                    <a:pt x="276" y="47"/>
                    <a:pt x="280" y="48"/>
                  </a:cubicBezTo>
                  <a:cubicBezTo>
                    <a:pt x="281" y="49"/>
                    <a:pt x="281" y="49"/>
                    <a:pt x="281" y="49"/>
                  </a:cubicBezTo>
                  <a:cubicBezTo>
                    <a:pt x="281" y="49"/>
                    <a:pt x="282" y="49"/>
                    <a:pt x="282" y="49"/>
                  </a:cubicBezTo>
                  <a:cubicBezTo>
                    <a:pt x="284" y="49"/>
                    <a:pt x="286" y="50"/>
                    <a:pt x="286" y="53"/>
                  </a:cubicBezTo>
                  <a:cubicBezTo>
                    <a:pt x="287" y="54"/>
                    <a:pt x="287" y="54"/>
                    <a:pt x="287" y="54"/>
                  </a:cubicBezTo>
                  <a:cubicBezTo>
                    <a:pt x="285" y="53"/>
                    <a:pt x="285" y="53"/>
                    <a:pt x="285" y="53"/>
                  </a:cubicBezTo>
                  <a:cubicBezTo>
                    <a:pt x="285" y="53"/>
                    <a:pt x="285" y="53"/>
                    <a:pt x="284" y="54"/>
                  </a:cubicBezTo>
                  <a:cubicBezTo>
                    <a:pt x="285" y="54"/>
                    <a:pt x="286" y="54"/>
                    <a:pt x="287" y="55"/>
                  </a:cubicBezTo>
                  <a:cubicBezTo>
                    <a:pt x="287" y="55"/>
                    <a:pt x="287" y="55"/>
                    <a:pt x="287" y="55"/>
                  </a:cubicBezTo>
                  <a:cubicBezTo>
                    <a:pt x="288" y="56"/>
                    <a:pt x="288" y="56"/>
                    <a:pt x="288" y="56"/>
                  </a:cubicBezTo>
                  <a:cubicBezTo>
                    <a:pt x="288" y="56"/>
                    <a:pt x="288" y="55"/>
                    <a:pt x="288" y="55"/>
                  </a:cubicBezTo>
                  <a:cubicBezTo>
                    <a:pt x="290" y="55"/>
                    <a:pt x="291" y="56"/>
                    <a:pt x="291" y="57"/>
                  </a:cubicBezTo>
                  <a:cubicBezTo>
                    <a:pt x="292" y="58"/>
                    <a:pt x="291" y="59"/>
                    <a:pt x="291" y="59"/>
                  </a:cubicBezTo>
                  <a:cubicBezTo>
                    <a:pt x="291" y="60"/>
                    <a:pt x="292" y="60"/>
                    <a:pt x="292" y="60"/>
                  </a:cubicBezTo>
                  <a:cubicBezTo>
                    <a:pt x="293" y="60"/>
                    <a:pt x="293" y="59"/>
                    <a:pt x="294" y="59"/>
                  </a:cubicBezTo>
                  <a:cubicBezTo>
                    <a:pt x="295" y="59"/>
                    <a:pt x="295" y="59"/>
                    <a:pt x="297" y="59"/>
                  </a:cubicBezTo>
                  <a:cubicBezTo>
                    <a:pt x="306" y="59"/>
                    <a:pt x="306" y="59"/>
                    <a:pt x="306" y="59"/>
                  </a:cubicBezTo>
                  <a:cubicBezTo>
                    <a:pt x="307" y="59"/>
                    <a:pt x="307" y="60"/>
                    <a:pt x="308" y="60"/>
                  </a:cubicBezTo>
                  <a:cubicBezTo>
                    <a:pt x="309" y="62"/>
                    <a:pt x="310" y="64"/>
                    <a:pt x="309" y="65"/>
                  </a:cubicBezTo>
                  <a:cubicBezTo>
                    <a:pt x="309" y="65"/>
                    <a:pt x="309" y="66"/>
                    <a:pt x="309" y="66"/>
                  </a:cubicBezTo>
                  <a:cubicBezTo>
                    <a:pt x="309" y="67"/>
                    <a:pt x="309" y="67"/>
                    <a:pt x="310" y="67"/>
                  </a:cubicBezTo>
                  <a:cubicBezTo>
                    <a:pt x="310" y="67"/>
                    <a:pt x="310" y="68"/>
                    <a:pt x="310" y="68"/>
                  </a:cubicBezTo>
                  <a:cubicBezTo>
                    <a:pt x="311" y="68"/>
                    <a:pt x="312" y="68"/>
                    <a:pt x="312" y="69"/>
                  </a:cubicBezTo>
                  <a:cubicBezTo>
                    <a:pt x="314" y="68"/>
                    <a:pt x="315" y="67"/>
                    <a:pt x="317" y="67"/>
                  </a:cubicBezTo>
                  <a:cubicBezTo>
                    <a:pt x="318" y="67"/>
                    <a:pt x="319" y="67"/>
                    <a:pt x="319" y="67"/>
                  </a:cubicBezTo>
                  <a:cubicBezTo>
                    <a:pt x="322" y="69"/>
                    <a:pt x="324" y="69"/>
                    <a:pt x="326" y="67"/>
                  </a:cubicBezTo>
                  <a:cubicBezTo>
                    <a:pt x="327" y="67"/>
                    <a:pt x="327" y="67"/>
                    <a:pt x="327" y="67"/>
                  </a:cubicBezTo>
                  <a:cubicBezTo>
                    <a:pt x="327" y="67"/>
                    <a:pt x="327" y="67"/>
                    <a:pt x="327" y="67"/>
                  </a:cubicBezTo>
                  <a:cubicBezTo>
                    <a:pt x="328" y="68"/>
                    <a:pt x="328" y="69"/>
                    <a:pt x="328" y="70"/>
                  </a:cubicBezTo>
                  <a:cubicBezTo>
                    <a:pt x="328" y="70"/>
                    <a:pt x="328" y="71"/>
                    <a:pt x="329" y="71"/>
                  </a:cubicBezTo>
                  <a:cubicBezTo>
                    <a:pt x="329" y="71"/>
                    <a:pt x="329" y="71"/>
                    <a:pt x="329" y="72"/>
                  </a:cubicBezTo>
                  <a:cubicBezTo>
                    <a:pt x="330" y="72"/>
                    <a:pt x="331" y="74"/>
                    <a:pt x="332" y="74"/>
                  </a:cubicBezTo>
                  <a:cubicBezTo>
                    <a:pt x="332" y="74"/>
                    <a:pt x="332" y="74"/>
                    <a:pt x="332" y="74"/>
                  </a:cubicBezTo>
                  <a:cubicBezTo>
                    <a:pt x="333" y="74"/>
                    <a:pt x="334" y="72"/>
                    <a:pt x="334" y="71"/>
                  </a:cubicBezTo>
                  <a:cubicBezTo>
                    <a:pt x="334" y="71"/>
                    <a:pt x="334" y="69"/>
                    <a:pt x="332" y="69"/>
                  </a:cubicBezTo>
                  <a:cubicBezTo>
                    <a:pt x="330" y="69"/>
                    <a:pt x="330" y="69"/>
                    <a:pt x="330" y="69"/>
                  </a:cubicBezTo>
                  <a:cubicBezTo>
                    <a:pt x="332" y="68"/>
                    <a:pt x="332" y="68"/>
                    <a:pt x="332" y="68"/>
                  </a:cubicBezTo>
                  <a:cubicBezTo>
                    <a:pt x="332" y="68"/>
                    <a:pt x="332" y="67"/>
                    <a:pt x="332" y="67"/>
                  </a:cubicBezTo>
                  <a:cubicBezTo>
                    <a:pt x="332" y="66"/>
                    <a:pt x="333" y="65"/>
                    <a:pt x="334" y="65"/>
                  </a:cubicBezTo>
                  <a:cubicBezTo>
                    <a:pt x="334" y="65"/>
                    <a:pt x="334" y="65"/>
                    <a:pt x="334" y="65"/>
                  </a:cubicBezTo>
                  <a:cubicBezTo>
                    <a:pt x="335" y="65"/>
                    <a:pt x="335" y="65"/>
                    <a:pt x="336" y="66"/>
                  </a:cubicBezTo>
                  <a:cubicBezTo>
                    <a:pt x="337" y="66"/>
                    <a:pt x="338" y="66"/>
                    <a:pt x="340" y="67"/>
                  </a:cubicBezTo>
                  <a:cubicBezTo>
                    <a:pt x="341" y="67"/>
                    <a:pt x="342" y="67"/>
                    <a:pt x="343" y="66"/>
                  </a:cubicBezTo>
                  <a:cubicBezTo>
                    <a:pt x="344" y="66"/>
                    <a:pt x="345" y="66"/>
                    <a:pt x="346" y="66"/>
                  </a:cubicBezTo>
                  <a:cubicBezTo>
                    <a:pt x="347" y="66"/>
                    <a:pt x="348" y="67"/>
                    <a:pt x="349" y="68"/>
                  </a:cubicBezTo>
                  <a:cubicBezTo>
                    <a:pt x="350" y="68"/>
                    <a:pt x="350" y="69"/>
                    <a:pt x="351" y="69"/>
                  </a:cubicBezTo>
                  <a:cubicBezTo>
                    <a:pt x="352" y="70"/>
                    <a:pt x="353" y="71"/>
                    <a:pt x="354" y="72"/>
                  </a:cubicBezTo>
                  <a:cubicBezTo>
                    <a:pt x="355" y="72"/>
                    <a:pt x="355" y="72"/>
                    <a:pt x="355" y="72"/>
                  </a:cubicBezTo>
                  <a:cubicBezTo>
                    <a:pt x="355" y="72"/>
                    <a:pt x="356" y="73"/>
                    <a:pt x="356" y="73"/>
                  </a:cubicBezTo>
                  <a:cubicBezTo>
                    <a:pt x="357" y="73"/>
                    <a:pt x="358" y="74"/>
                    <a:pt x="358" y="74"/>
                  </a:cubicBezTo>
                  <a:cubicBezTo>
                    <a:pt x="359" y="75"/>
                    <a:pt x="360" y="77"/>
                    <a:pt x="361" y="77"/>
                  </a:cubicBezTo>
                  <a:cubicBezTo>
                    <a:pt x="362" y="77"/>
                    <a:pt x="362" y="77"/>
                    <a:pt x="363" y="78"/>
                  </a:cubicBezTo>
                  <a:cubicBezTo>
                    <a:pt x="363" y="78"/>
                    <a:pt x="363" y="79"/>
                    <a:pt x="363" y="79"/>
                  </a:cubicBezTo>
                  <a:cubicBezTo>
                    <a:pt x="363" y="79"/>
                    <a:pt x="363" y="79"/>
                    <a:pt x="363" y="79"/>
                  </a:cubicBezTo>
                  <a:cubicBezTo>
                    <a:pt x="364" y="79"/>
                    <a:pt x="364" y="79"/>
                    <a:pt x="364" y="79"/>
                  </a:cubicBezTo>
                  <a:cubicBezTo>
                    <a:pt x="365" y="79"/>
                    <a:pt x="365" y="79"/>
                    <a:pt x="365" y="79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7" y="80"/>
                    <a:pt x="367" y="82"/>
                    <a:pt x="367" y="83"/>
                  </a:cubicBezTo>
                  <a:cubicBezTo>
                    <a:pt x="367" y="84"/>
                    <a:pt x="367" y="84"/>
                    <a:pt x="368" y="84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8" y="84"/>
                    <a:pt x="368" y="85"/>
                    <a:pt x="368" y="85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9" y="84"/>
                    <a:pt x="369" y="84"/>
                    <a:pt x="369" y="84"/>
                  </a:cubicBezTo>
                  <a:cubicBezTo>
                    <a:pt x="369" y="84"/>
                    <a:pt x="369" y="84"/>
                    <a:pt x="369" y="84"/>
                  </a:cubicBezTo>
                  <a:cubicBezTo>
                    <a:pt x="369" y="83"/>
                    <a:pt x="369" y="83"/>
                    <a:pt x="369" y="83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71" y="84"/>
                    <a:pt x="371" y="84"/>
                  </a:cubicBezTo>
                  <a:cubicBezTo>
                    <a:pt x="371" y="84"/>
                    <a:pt x="371" y="84"/>
                    <a:pt x="371" y="84"/>
                  </a:cubicBezTo>
                  <a:cubicBezTo>
                    <a:pt x="373" y="84"/>
                    <a:pt x="375" y="85"/>
                    <a:pt x="377" y="87"/>
                  </a:cubicBezTo>
                  <a:cubicBezTo>
                    <a:pt x="377" y="88"/>
                    <a:pt x="378" y="88"/>
                    <a:pt x="378" y="89"/>
                  </a:cubicBezTo>
                  <a:cubicBezTo>
                    <a:pt x="378" y="89"/>
                    <a:pt x="378" y="89"/>
                    <a:pt x="378" y="89"/>
                  </a:cubicBezTo>
                  <a:cubicBezTo>
                    <a:pt x="379" y="89"/>
                    <a:pt x="379" y="90"/>
                    <a:pt x="379" y="90"/>
                  </a:cubicBezTo>
                  <a:cubicBezTo>
                    <a:pt x="381" y="90"/>
                    <a:pt x="381" y="90"/>
                    <a:pt x="381" y="90"/>
                  </a:cubicBezTo>
                  <a:cubicBezTo>
                    <a:pt x="379" y="91"/>
                    <a:pt x="379" y="91"/>
                    <a:pt x="379" y="91"/>
                  </a:cubicBezTo>
                  <a:cubicBezTo>
                    <a:pt x="379" y="91"/>
                    <a:pt x="379" y="91"/>
                    <a:pt x="379" y="91"/>
                  </a:cubicBezTo>
                  <a:cubicBezTo>
                    <a:pt x="378" y="91"/>
                    <a:pt x="377" y="92"/>
                    <a:pt x="377" y="93"/>
                  </a:cubicBezTo>
                  <a:cubicBezTo>
                    <a:pt x="378" y="95"/>
                    <a:pt x="378" y="95"/>
                    <a:pt x="378" y="95"/>
                  </a:cubicBezTo>
                  <a:cubicBezTo>
                    <a:pt x="376" y="93"/>
                    <a:pt x="376" y="93"/>
                    <a:pt x="376" y="93"/>
                  </a:cubicBezTo>
                  <a:cubicBezTo>
                    <a:pt x="376" y="93"/>
                    <a:pt x="376" y="93"/>
                    <a:pt x="376" y="93"/>
                  </a:cubicBezTo>
                  <a:cubicBezTo>
                    <a:pt x="376" y="93"/>
                    <a:pt x="376" y="93"/>
                    <a:pt x="376" y="93"/>
                  </a:cubicBezTo>
                  <a:cubicBezTo>
                    <a:pt x="377" y="95"/>
                    <a:pt x="377" y="95"/>
                    <a:pt x="377" y="95"/>
                  </a:cubicBezTo>
                  <a:cubicBezTo>
                    <a:pt x="376" y="94"/>
                    <a:pt x="376" y="94"/>
                    <a:pt x="376" y="94"/>
                  </a:cubicBezTo>
                  <a:cubicBezTo>
                    <a:pt x="375" y="94"/>
                    <a:pt x="375" y="94"/>
                    <a:pt x="374" y="95"/>
                  </a:cubicBezTo>
                  <a:cubicBezTo>
                    <a:pt x="374" y="95"/>
                    <a:pt x="374" y="95"/>
                    <a:pt x="374" y="95"/>
                  </a:cubicBezTo>
                  <a:cubicBezTo>
                    <a:pt x="374" y="95"/>
                    <a:pt x="374" y="95"/>
                    <a:pt x="374" y="95"/>
                  </a:cubicBezTo>
                  <a:cubicBezTo>
                    <a:pt x="375" y="96"/>
                    <a:pt x="375" y="96"/>
                    <a:pt x="375" y="96"/>
                  </a:cubicBezTo>
                  <a:cubicBezTo>
                    <a:pt x="373" y="97"/>
                    <a:pt x="373" y="97"/>
                    <a:pt x="373" y="97"/>
                  </a:cubicBezTo>
                  <a:cubicBezTo>
                    <a:pt x="373" y="97"/>
                    <a:pt x="373" y="97"/>
                    <a:pt x="373" y="97"/>
                  </a:cubicBezTo>
                  <a:cubicBezTo>
                    <a:pt x="373" y="97"/>
                    <a:pt x="373" y="97"/>
                    <a:pt x="373" y="97"/>
                  </a:cubicBezTo>
                  <a:cubicBezTo>
                    <a:pt x="372" y="98"/>
                    <a:pt x="372" y="98"/>
                    <a:pt x="372" y="98"/>
                  </a:cubicBezTo>
                  <a:cubicBezTo>
                    <a:pt x="372" y="98"/>
                    <a:pt x="372" y="98"/>
                    <a:pt x="373" y="98"/>
                  </a:cubicBezTo>
                  <a:cubicBezTo>
                    <a:pt x="373" y="99"/>
                    <a:pt x="373" y="99"/>
                    <a:pt x="373" y="99"/>
                  </a:cubicBezTo>
                  <a:cubicBezTo>
                    <a:pt x="376" y="101"/>
                    <a:pt x="376" y="101"/>
                    <a:pt x="376" y="101"/>
                  </a:cubicBezTo>
                  <a:cubicBezTo>
                    <a:pt x="373" y="100"/>
                    <a:pt x="373" y="100"/>
                    <a:pt x="373" y="100"/>
                  </a:cubicBezTo>
                  <a:cubicBezTo>
                    <a:pt x="373" y="100"/>
                    <a:pt x="372" y="100"/>
                    <a:pt x="372" y="100"/>
                  </a:cubicBezTo>
                  <a:cubicBezTo>
                    <a:pt x="372" y="100"/>
                    <a:pt x="372" y="100"/>
                    <a:pt x="372" y="100"/>
                  </a:cubicBezTo>
                  <a:cubicBezTo>
                    <a:pt x="372" y="100"/>
                    <a:pt x="372" y="100"/>
                    <a:pt x="372" y="100"/>
                  </a:cubicBezTo>
                  <a:cubicBezTo>
                    <a:pt x="372" y="100"/>
                    <a:pt x="372" y="100"/>
                    <a:pt x="372" y="100"/>
                  </a:cubicBezTo>
                  <a:cubicBezTo>
                    <a:pt x="372" y="101"/>
                    <a:pt x="372" y="101"/>
                    <a:pt x="372" y="101"/>
                  </a:cubicBezTo>
                  <a:cubicBezTo>
                    <a:pt x="371" y="101"/>
                    <a:pt x="371" y="101"/>
                    <a:pt x="371" y="101"/>
                  </a:cubicBezTo>
                  <a:cubicBezTo>
                    <a:pt x="371" y="101"/>
                    <a:pt x="371" y="101"/>
                    <a:pt x="370" y="101"/>
                  </a:cubicBezTo>
                  <a:cubicBezTo>
                    <a:pt x="370" y="102"/>
                    <a:pt x="370" y="102"/>
                    <a:pt x="370" y="102"/>
                  </a:cubicBezTo>
                  <a:cubicBezTo>
                    <a:pt x="369" y="100"/>
                    <a:pt x="369" y="100"/>
                    <a:pt x="369" y="100"/>
                  </a:cubicBezTo>
                  <a:cubicBezTo>
                    <a:pt x="369" y="100"/>
                    <a:pt x="369" y="100"/>
                    <a:pt x="369" y="100"/>
                  </a:cubicBezTo>
                  <a:cubicBezTo>
                    <a:pt x="369" y="100"/>
                    <a:pt x="369" y="100"/>
                    <a:pt x="369" y="100"/>
                  </a:cubicBezTo>
                  <a:cubicBezTo>
                    <a:pt x="368" y="100"/>
                    <a:pt x="368" y="100"/>
                    <a:pt x="368" y="100"/>
                  </a:cubicBezTo>
                  <a:cubicBezTo>
                    <a:pt x="368" y="99"/>
                    <a:pt x="368" y="99"/>
                    <a:pt x="368" y="98"/>
                  </a:cubicBezTo>
                  <a:cubicBezTo>
                    <a:pt x="368" y="98"/>
                    <a:pt x="368" y="98"/>
                    <a:pt x="367" y="98"/>
                  </a:cubicBezTo>
                  <a:cubicBezTo>
                    <a:pt x="367" y="98"/>
                    <a:pt x="367" y="98"/>
                    <a:pt x="367" y="98"/>
                  </a:cubicBezTo>
                  <a:cubicBezTo>
                    <a:pt x="367" y="98"/>
                    <a:pt x="367" y="98"/>
                    <a:pt x="367" y="98"/>
                  </a:cubicBezTo>
                  <a:cubicBezTo>
                    <a:pt x="365" y="98"/>
                    <a:pt x="364" y="96"/>
                    <a:pt x="364" y="95"/>
                  </a:cubicBezTo>
                  <a:cubicBezTo>
                    <a:pt x="364" y="94"/>
                    <a:pt x="364" y="94"/>
                    <a:pt x="363" y="94"/>
                  </a:cubicBezTo>
                  <a:cubicBezTo>
                    <a:pt x="363" y="94"/>
                    <a:pt x="362" y="94"/>
                    <a:pt x="362" y="94"/>
                  </a:cubicBezTo>
                  <a:cubicBezTo>
                    <a:pt x="361" y="94"/>
                    <a:pt x="359" y="94"/>
                    <a:pt x="358" y="94"/>
                  </a:cubicBezTo>
                  <a:cubicBezTo>
                    <a:pt x="358" y="93"/>
                    <a:pt x="358" y="92"/>
                    <a:pt x="357" y="91"/>
                  </a:cubicBezTo>
                  <a:cubicBezTo>
                    <a:pt x="357" y="91"/>
                    <a:pt x="357" y="91"/>
                    <a:pt x="357" y="90"/>
                  </a:cubicBezTo>
                  <a:cubicBezTo>
                    <a:pt x="357" y="90"/>
                    <a:pt x="357" y="90"/>
                    <a:pt x="357" y="90"/>
                  </a:cubicBezTo>
                  <a:cubicBezTo>
                    <a:pt x="357" y="90"/>
                    <a:pt x="356" y="91"/>
                    <a:pt x="356" y="91"/>
                  </a:cubicBezTo>
                  <a:cubicBezTo>
                    <a:pt x="356" y="91"/>
                    <a:pt x="356" y="92"/>
                    <a:pt x="357" y="9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58" y="94"/>
                    <a:pt x="357" y="95"/>
                    <a:pt x="356" y="95"/>
                  </a:cubicBezTo>
                  <a:cubicBezTo>
                    <a:pt x="356" y="96"/>
                    <a:pt x="356" y="96"/>
                    <a:pt x="356" y="96"/>
                  </a:cubicBezTo>
                  <a:cubicBezTo>
                    <a:pt x="355" y="97"/>
                    <a:pt x="354" y="98"/>
                    <a:pt x="353" y="98"/>
                  </a:cubicBezTo>
                  <a:cubicBezTo>
                    <a:pt x="353" y="99"/>
                    <a:pt x="352" y="99"/>
                    <a:pt x="352" y="99"/>
                  </a:cubicBezTo>
                  <a:cubicBezTo>
                    <a:pt x="352" y="100"/>
                    <a:pt x="352" y="100"/>
                    <a:pt x="352" y="100"/>
                  </a:cubicBezTo>
                  <a:cubicBezTo>
                    <a:pt x="352" y="100"/>
                    <a:pt x="352" y="100"/>
                    <a:pt x="352" y="100"/>
                  </a:cubicBezTo>
                  <a:cubicBezTo>
                    <a:pt x="352" y="100"/>
                    <a:pt x="352" y="100"/>
                    <a:pt x="352" y="100"/>
                  </a:cubicBezTo>
                  <a:cubicBezTo>
                    <a:pt x="352" y="101"/>
                    <a:pt x="352" y="101"/>
                    <a:pt x="352" y="101"/>
                  </a:cubicBezTo>
                  <a:cubicBezTo>
                    <a:pt x="353" y="102"/>
                    <a:pt x="353" y="103"/>
                    <a:pt x="353" y="104"/>
                  </a:cubicBezTo>
                  <a:cubicBezTo>
                    <a:pt x="353" y="104"/>
                    <a:pt x="353" y="104"/>
                    <a:pt x="353" y="104"/>
                  </a:cubicBezTo>
                  <a:cubicBezTo>
                    <a:pt x="353" y="105"/>
                    <a:pt x="354" y="106"/>
                    <a:pt x="354" y="106"/>
                  </a:cubicBezTo>
                  <a:cubicBezTo>
                    <a:pt x="355" y="107"/>
                    <a:pt x="355" y="107"/>
                    <a:pt x="355" y="107"/>
                  </a:cubicBezTo>
                  <a:cubicBezTo>
                    <a:pt x="354" y="107"/>
                    <a:pt x="354" y="107"/>
                    <a:pt x="354" y="107"/>
                  </a:cubicBezTo>
                  <a:cubicBezTo>
                    <a:pt x="354" y="108"/>
                    <a:pt x="355" y="109"/>
                    <a:pt x="354" y="109"/>
                  </a:cubicBezTo>
                  <a:cubicBezTo>
                    <a:pt x="354" y="110"/>
                    <a:pt x="354" y="110"/>
                    <a:pt x="353" y="111"/>
                  </a:cubicBezTo>
                  <a:cubicBezTo>
                    <a:pt x="353" y="111"/>
                    <a:pt x="353" y="111"/>
                    <a:pt x="353" y="111"/>
                  </a:cubicBezTo>
                  <a:cubicBezTo>
                    <a:pt x="353" y="111"/>
                    <a:pt x="353" y="111"/>
                    <a:pt x="353" y="111"/>
                  </a:cubicBezTo>
                  <a:cubicBezTo>
                    <a:pt x="352" y="111"/>
                    <a:pt x="351" y="110"/>
                    <a:pt x="351" y="110"/>
                  </a:cubicBezTo>
                  <a:cubicBezTo>
                    <a:pt x="350" y="110"/>
                    <a:pt x="350" y="109"/>
                    <a:pt x="350" y="109"/>
                  </a:cubicBezTo>
                  <a:cubicBezTo>
                    <a:pt x="350" y="109"/>
                    <a:pt x="350" y="109"/>
                    <a:pt x="350" y="109"/>
                  </a:cubicBezTo>
                  <a:cubicBezTo>
                    <a:pt x="349" y="110"/>
                    <a:pt x="349" y="110"/>
                    <a:pt x="349" y="110"/>
                  </a:cubicBezTo>
                  <a:cubicBezTo>
                    <a:pt x="349" y="110"/>
                    <a:pt x="349" y="110"/>
                    <a:pt x="349" y="110"/>
                  </a:cubicBezTo>
                  <a:cubicBezTo>
                    <a:pt x="348" y="110"/>
                    <a:pt x="348" y="110"/>
                    <a:pt x="347" y="111"/>
                  </a:cubicBezTo>
                  <a:cubicBezTo>
                    <a:pt x="347" y="111"/>
                    <a:pt x="346" y="111"/>
                    <a:pt x="346" y="111"/>
                  </a:cubicBezTo>
                  <a:cubicBezTo>
                    <a:pt x="345" y="111"/>
                    <a:pt x="345" y="112"/>
                    <a:pt x="345" y="112"/>
                  </a:cubicBezTo>
                  <a:cubicBezTo>
                    <a:pt x="344" y="112"/>
                    <a:pt x="344" y="112"/>
                    <a:pt x="344" y="113"/>
                  </a:cubicBezTo>
                  <a:cubicBezTo>
                    <a:pt x="343" y="113"/>
                    <a:pt x="343" y="113"/>
                    <a:pt x="342" y="113"/>
                  </a:cubicBezTo>
                  <a:cubicBezTo>
                    <a:pt x="341" y="114"/>
                    <a:pt x="338" y="115"/>
                    <a:pt x="338" y="116"/>
                  </a:cubicBezTo>
                  <a:cubicBezTo>
                    <a:pt x="338" y="117"/>
                    <a:pt x="338" y="117"/>
                    <a:pt x="338" y="117"/>
                  </a:cubicBezTo>
                  <a:cubicBezTo>
                    <a:pt x="337" y="117"/>
                    <a:pt x="337" y="117"/>
                    <a:pt x="337" y="117"/>
                  </a:cubicBezTo>
                  <a:cubicBezTo>
                    <a:pt x="337" y="117"/>
                    <a:pt x="337" y="117"/>
                    <a:pt x="337" y="117"/>
                  </a:cubicBezTo>
                  <a:cubicBezTo>
                    <a:pt x="337" y="118"/>
                    <a:pt x="336" y="119"/>
                    <a:pt x="335" y="119"/>
                  </a:cubicBezTo>
                  <a:cubicBezTo>
                    <a:pt x="335" y="119"/>
                    <a:pt x="334" y="119"/>
                    <a:pt x="334" y="119"/>
                  </a:cubicBezTo>
                  <a:cubicBezTo>
                    <a:pt x="334" y="120"/>
                    <a:pt x="334" y="120"/>
                    <a:pt x="333" y="121"/>
                  </a:cubicBezTo>
                  <a:cubicBezTo>
                    <a:pt x="333" y="121"/>
                    <a:pt x="333" y="122"/>
                    <a:pt x="333" y="122"/>
                  </a:cubicBezTo>
                  <a:cubicBezTo>
                    <a:pt x="333" y="123"/>
                    <a:pt x="333" y="123"/>
                    <a:pt x="333" y="123"/>
                  </a:cubicBezTo>
                  <a:cubicBezTo>
                    <a:pt x="332" y="122"/>
                    <a:pt x="332" y="122"/>
                    <a:pt x="332" y="122"/>
                  </a:cubicBezTo>
                  <a:cubicBezTo>
                    <a:pt x="329" y="118"/>
                    <a:pt x="326" y="118"/>
                    <a:pt x="324" y="123"/>
                  </a:cubicBezTo>
                  <a:cubicBezTo>
                    <a:pt x="323" y="124"/>
                    <a:pt x="323" y="124"/>
                    <a:pt x="323" y="124"/>
                  </a:cubicBezTo>
                  <a:cubicBezTo>
                    <a:pt x="323" y="122"/>
                    <a:pt x="323" y="122"/>
                    <a:pt x="323" y="122"/>
                  </a:cubicBezTo>
                  <a:cubicBezTo>
                    <a:pt x="323" y="122"/>
                    <a:pt x="323" y="122"/>
                    <a:pt x="323" y="122"/>
                  </a:cubicBezTo>
                  <a:cubicBezTo>
                    <a:pt x="323" y="121"/>
                    <a:pt x="323" y="120"/>
                    <a:pt x="323" y="120"/>
                  </a:cubicBezTo>
                  <a:cubicBezTo>
                    <a:pt x="322" y="121"/>
                    <a:pt x="321" y="121"/>
                    <a:pt x="321" y="122"/>
                  </a:cubicBezTo>
                  <a:cubicBezTo>
                    <a:pt x="321" y="124"/>
                    <a:pt x="321" y="124"/>
                    <a:pt x="321" y="124"/>
                  </a:cubicBezTo>
                  <a:cubicBezTo>
                    <a:pt x="320" y="123"/>
                    <a:pt x="320" y="123"/>
                    <a:pt x="320" y="123"/>
                  </a:cubicBezTo>
                  <a:cubicBezTo>
                    <a:pt x="320" y="122"/>
                    <a:pt x="320" y="122"/>
                    <a:pt x="320" y="122"/>
                  </a:cubicBezTo>
                  <a:cubicBezTo>
                    <a:pt x="319" y="122"/>
                    <a:pt x="319" y="122"/>
                    <a:pt x="319" y="122"/>
                  </a:cubicBezTo>
                  <a:cubicBezTo>
                    <a:pt x="319" y="122"/>
                    <a:pt x="319" y="122"/>
                    <a:pt x="319" y="122"/>
                  </a:cubicBezTo>
                  <a:cubicBezTo>
                    <a:pt x="319" y="123"/>
                    <a:pt x="319" y="123"/>
                    <a:pt x="319" y="123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2"/>
                    <a:pt x="318" y="122"/>
                    <a:pt x="318" y="122"/>
                  </a:cubicBezTo>
                  <a:cubicBezTo>
                    <a:pt x="318" y="122"/>
                    <a:pt x="317" y="123"/>
                    <a:pt x="316" y="125"/>
                  </a:cubicBezTo>
                  <a:cubicBezTo>
                    <a:pt x="316" y="126"/>
                    <a:pt x="316" y="126"/>
                    <a:pt x="316" y="126"/>
                  </a:cubicBezTo>
                  <a:cubicBezTo>
                    <a:pt x="316" y="126"/>
                    <a:pt x="316" y="127"/>
                    <a:pt x="316" y="127"/>
                  </a:cubicBezTo>
                  <a:cubicBezTo>
                    <a:pt x="315" y="128"/>
                    <a:pt x="314" y="130"/>
                    <a:pt x="314" y="131"/>
                  </a:cubicBezTo>
                  <a:cubicBezTo>
                    <a:pt x="315" y="130"/>
                    <a:pt x="316" y="130"/>
                    <a:pt x="317" y="131"/>
                  </a:cubicBezTo>
                  <a:cubicBezTo>
                    <a:pt x="317" y="132"/>
                    <a:pt x="317" y="132"/>
                    <a:pt x="316" y="133"/>
                  </a:cubicBezTo>
                  <a:cubicBezTo>
                    <a:pt x="316" y="133"/>
                    <a:pt x="316" y="134"/>
                    <a:pt x="316" y="134"/>
                  </a:cubicBezTo>
                  <a:cubicBezTo>
                    <a:pt x="316" y="135"/>
                    <a:pt x="316" y="135"/>
                    <a:pt x="316" y="136"/>
                  </a:cubicBezTo>
                  <a:cubicBezTo>
                    <a:pt x="316" y="136"/>
                    <a:pt x="316" y="136"/>
                    <a:pt x="316" y="136"/>
                  </a:cubicBezTo>
                  <a:cubicBezTo>
                    <a:pt x="317" y="136"/>
                    <a:pt x="317" y="136"/>
                    <a:pt x="317" y="136"/>
                  </a:cubicBezTo>
                  <a:cubicBezTo>
                    <a:pt x="317" y="136"/>
                    <a:pt x="317" y="136"/>
                    <a:pt x="317" y="136"/>
                  </a:cubicBezTo>
                  <a:cubicBezTo>
                    <a:pt x="317" y="137"/>
                    <a:pt x="317" y="138"/>
                    <a:pt x="316" y="139"/>
                  </a:cubicBezTo>
                  <a:cubicBezTo>
                    <a:pt x="316" y="140"/>
                    <a:pt x="316" y="140"/>
                    <a:pt x="316" y="140"/>
                  </a:cubicBezTo>
                  <a:cubicBezTo>
                    <a:pt x="315" y="140"/>
                    <a:pt x="315" y="140"/>
                    <a:pt x="315" y="140"/>
                  </a:cubicBezTo>
                  <a:cubicBezTo>
                    <a:pt x="315" y="139"/>
                    <a:pt x="315" y="139"/>
                    <a:pt x="315" y="139"/>
                  </a:cubicBezTo>
                  <a:cubicBezTo>
                    <a:pt x="314" y="139"/>
                    <a:pt x="314" y="139"/>
                    <a:pt x="314" y="140"/>
                  </a:cubicBezTo>
                  <a:cubicBezTo>
                    <a:pt x="314" y="140"/>
                    <a:pt x="313" y="140"/>
                    <a:pt x="313" y="141"/>
                  </a:cubicBezTo>
                  <a:cubicBezTo>
                    <a:pt x="313" y="142"/>
                    <a:pt x="313" y="142"/>
                    <a:pt x="314" y="142"/>
                  </a:cubicBezTo>
                  <a:cubicBezTo>
                    <a:pt x="314" y="143"/>
                    <a:pt x="314" y="144"/>
                    <a:pt x="313" y="145"/>
                  </a:cubicBezTo>
                  <a:cubicBezTo>
                    <a:pt x="313" y="146"/>
                    <a:pt x="312" y="146"/>
                    <a:pt x="312" y="145"/>
                  </a:cubicBezTo>
                  <a:cubicBezTo>
                    <a:pt x="311" y="145"/>
                    <a:pt x="311" y="145"/>
                    <a:pt x="311" y="145"/>
                  </a:cubicBezTo>
                  <a:cubicBezTo>
                    <a:pt x="311" y="145"/>
                    <a:pt x="311" y="146"/>
                    <a:pt x="310" y="146"/>
                  </a:cubicBezTo>
                  <a:cubicBezTo>
                    <a:pt x="310" y="146"/>
                    <a:pt x="310" y="147"/>
                    <a:pt x="310" y="147"/>
                  </a:cubicBezTo>
                  <a:cubicBezTo>
                    <a:pt x="309" y="147"/>
                    <a:pt x="309" y="148"/>
                    <a:pt x="309" y="149"/>
                  </a:cubicBezTo>
                  <a:cubicBezTo>
                    <a:pt x="309" y="150"/>
                    <a:pt x="309" y="150"/>
                    <a:pt x="309" y="150"/>
                  </a:cubicBezTo>
                  <a:cubicBezTo>
                    <a:pt x="309" y="151"/>
                    <a:pt x="309" y="151"/>
                    <a:pt x="309" y="151"/>
                  </a:cubicBezTo>
                  <a:cubicBezTo>
                    <a:pt x="309" y="151"/>
                    <a:pt x="309" y="151"/>
                    <a:pt x="309" y="151"/>
                  </a:cubicBezTo>
                  <a:cubicBezTo>
                    <a:pt x="308" y="151"/>
                    <a:pt x="308" y="151"/>
                    <a:pt x="308" y="151"/>
                  </a:cubicBezTo>
                  <a:cubicBezTo>
                    <a:pt x="306" y="151"/>
                    <a:pt x="306" y="153"/>
                    <a:pt x="306" y="154"/>
                  </a:cubicBezTo>
                  <a:cubicBezTo>
                    <a:pt x="305" y="156"/>
                    <a:pt x="304" y="157"/>
                    <a:pt x="303" y="158"/>
                  </a:cubicBezTo>
                  <a:cubicBezTo>
                    <a:pt x="303" y="158"/>
                    <a:pt x="302" y="159"/>
                    <a:pt x="302" y="159"/>
                  </a:cubicBezTo>
                  <a:cubicBezTo>
                    <a:pt x="301" y="160"/>
                    <a:pt x="301" y="160"/>
                    <a:pt x="301" y="160"/>
                  </a:cubicBezTo>
                  <a:cubicBezTo>
                    <a:pt x="301" y="159"/>
                    <a:pt x="301" y="159"/>
                    <a:pt x="301" y="159"/>
                  </a:cubicBezTo>
                  <a:cubicBezTo>
                    <a:pt x="301" y="157"/>
                    <a:pt x="300" y="156"/>
                    <a:pt x="300" y="154"/>
                  </a:cubicBezTo>
                  <a:cubicBezTo>
                    <a:pt x="299" y="151"/>
                    <a:pt x="298" y="147"/>
                    <a:pt x="298" y="144"/>
                  </a:cubicBezTo>
                  <a:cubicBezTo>
                    <a:pt x="298" y="143"/>
                    <a:pt x="298" y="143"/>
                    <a:pt x="298" y="143"/>
                  </a:cubicBezTo>
                  <a:cubicBezTo>
                    <a:pt x="298" y="140"/>
                    <a:pt x="298" y="137"/>
                    <a:pt x="299" y="136"/>
                  </a:cubicBezTo>
                  <a:cubicBezTo>
                    <a:pt x="299" y="135"/>
                    <a:pt x="300" y="135"/>
                    <a:pt x="300" y="134"/>
                  </a:cubicBezTo>
                  <a:cubicBezTo>
                    <a:pt x="301" y="133"/>
                    <a:pt x="302" y="133"/>
                    <a:pt x="301" y="132"/>
                  </a:cubicBezTo>
                  <a:cubicBezTo>
                    <a:pt x="300" y="130"/>
                    <a:pt x="300" y="130"/>
                    <a:pt x="300" y="130"/>
                  </a:cubicBezTo>
                  <a:cubicBezTo>
                    <a:pt x="302" y="131"/>
                    <a:pt x="302" y="131"/>
                    <a:pt x="302" y="131"/>
                  </a:cubicBezTo>
                  <a:cubicBezTo>
                    <a:pt x="304" y="131"/>
                    <a:pt x="307" y="128"/>
                    <a:pt x="308" y="125"/>
                  </a:cubicBezTo>
                  <a:cubicBezTo>
                    <a:pt x="309" y="125"/>
                    <a:pt x="309" y="124"/>
                    <a:pt x="309" y="124"/>
                  </a:cubicBezTo>
                  <a:cubicBezTo>
                    <a:pt x="312" y="121"/>
                    <a:pt x="314" y="119"/>
                    <a:pt x="317" y="117"/>
                  </a:cubicBezTo>
                  <a:cubicBezTo>
                    <a:pt x="317" y="117"/>
                    <a:pt x="317" y="116"/>
                    <a:pt x="317" y="115"/>
                  </a:cubicBezTo>
                  <a:cubicBezTo>
                    <a:pt x="317" y="114"/>
                    <a:pt x="318" y="114"/>
                    <a:pt x="318" y="113"/>
                  </a:cubicBezTo>
                  <a:cubicBezTo>
                    <a:pt x="318" y="113"/>
                    <a:pt x="318" y="113"/>
                    <a:pt x="318" y="113"/>
                  </a:cubicBezTo>
                  <a:cubicBezTo>
                    <a:pt x="318" y="112"/>
                    <a:pt x="318" y="111"/>
                    <a:pt x="318" y="111"/>
                  </a:cubicBezTo>
                  <a:cubicBezTo>
                    <a:pt x="318" y="110"/>
                    <a:pt x="319" y="110"/>
                    <a:pt x="319" y="110"/>
                  </a:cubicBezTo>
                  <a:cubicBezTo>
                    <a:pt x="319" y="110"/>
                    <a:pt x="320" y="110"/>
                    <a:pt x="320" y="109"/>
                  </a:cubicBezTo>
                  <a:cubicBezTo>
                    <a:pt x="320" y="109"/>
                    <a:pt x="320" y="109"/>
                    <a:pt x="320" y="109"/>
                  </a:cubicBezTo>
                  <a:cubicBezTo>
                    <a:pt x="320" y="109"/>
                    <a:pt x="320" y="109"/>
                    <a:pt x="320" y="109"/>
                  </a:cubicBezTo>
                  <a:cubicBezTo>
                    <a:pt x="319" y="109"/>
                    <a:pt x="317" y="110"/>
                    <a:pt x="317" y="111"/>
                  </a:cubicBezTo>
                  <a:cubicBezTo>
                    <a:pt x="317" y="111"/>
                    <a:pt x="317" y="112"/>
                    <a:pt x="317" y="113"/>
                  </a:cubicBezTo>
                  <a:cubicBezTo>
                    <a:pt x="317" y="113"/>
                    <a:pt x="317" y="114"/>
                    <a:pt x="317" y="114"/>
                  </a:cubicBezTo>
                  <a:cubicBezTo>
                    <a:pt x="316" y="116"/>
                    <a:pt x="316" y="116"/>
                    <a:pt x="316" y="116"/>
                  </a:cubicBezTo>
                  <a:cubicBezTo>
                    <a:pt x="315" y="114"/>
                    <a:pt x="315" y="114"/>
                    <a:pt x="315" y="114"/>
                  </a:cubicBezTo>
                  <a:cubicBezTo>
                    <a:pt x="315" y="114"/>
                    <a:pt x="315" y="114"/>
                    <a:pt x="315" y="114"/>
                  </a:cubicBezTo>
                  <a:cubicBezTo>
                    <a:pt x="314" y="114"/>
                    <a:pt x="312" y="117"/>
                    <a:pt x="311" y="118"/>
                  </a:cubicBezTo>
                  <a:cubicBezTo>
                    <a:pt x="310" y="119"/>
                    <a:pt x="310" y="119"/>
                    <a:pt x="310" y="119"/>
                  </a:cubicBezTo>
                  <a:cubicBezTo>
                    <a:pt x="307" y="122"/>
                    <a:pt x="307" y="122"/>
                    <a:pt x="307" y="122"/>
                  </a:cubicBezTo>
                  <a:cubicBezTo>
                    <a:pt x="309" y="118"/>
                    <a:pt x="309" y="118"/>
                    <a:pt x="309" y="118"/>
                  </a:cubicBezTo>
                  <a:cubicBezTo>
                    <a:pt x="309" y="118"/>
                    <a:pt x="309" y="118"/>
                    <a:pt x="309" y="117"/>
                  </a:cubicBezTo>
                  <a:cubicBezTo>
                    <a:pt x="309" y="117"/>
                    <a:pt x="309" y="117"/>
                    <a:pt x="309" y="117"/>
                  </a:cubicBezTo>
                  <a:cubicBezTo>
                    <a:pt x="309" y="117"/>
                    <a:pt x="309" y="117"/>
                    <a:pt x="309" y="117"/>
                  </a:cubicBezTo>
                  <a:cubicBezTo>
                    <a:pt x="308" y="118"/>
                    <a:pt x="308" y="118"/>
                    <a:pt x="308" y="118"/>
                  </a:cubicBezTo>
                  <a:cubicBezTo>
                    <a:pt x="308" y="117"/>
                    <a:pt x="308" y="117"/>
                    <a:pt x="308" y="117"/>
                  </a:cubicBezTo>
                  <a:cubicBezTo>
                    <a:pt x="308" y="116"/>
                    <a:pt x="308" y="115"/>
                    <a:pt x="309" y="114"/>
                  </a:cubicBezTo>
                  <a:cubicBezTo>
                    <a:pt x="309" y="114"/>
                    <a:pt x="309" y="114"/>
                    <a:pt x="309" y="114"/>
                  </a:cubicBezTo>
                  <a:cubicBezTo>
                    <a:pt x="308" y="114"/>
                    <a:pt x="308" y="114"/>
                    <a:pt x="307" y="113"/>
                  </a:cubicBezTo>
                  <a:cubicBezTo>
                    <a:pt x="307" y="113"/>
                    <a:pt x="306" y="113"/>
                    <a:pt x="306" y="113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03" y="114"/>
                    <a:pt x="303" y="114"/>
                    <a:pt x="302" y="116"/>
                  </a:cubicBezTo>
                  <a:cubicBezTo>
                    <a:pt x="301" y="117"/>
                    <a:pt x="300" y="119"/>
                    <a:pt x="298" y="120"/>
                  </a:cubicBezTo>
                  <a:cubicBezTo>
                    <a:pt x="298" y="120"/>
                    <a:pt x="297" y="121"/>
                    <a:pt x="297" y="121"/>
                  </a:cubicBezTo>
                  <a:cubicBezTo>
                    <a:pt x="297" y="122"/>
                    <a:pt x="297" y="122"/>
                    <a:pt x="296" y="123"/>
                  </a:cubicBezTo>
                  <a:cubicBezTo>
                    <a:pt x="296" y="123"/>
                    <a:pt x="296" y="123"/>
                    <a:pt x="296" y="123"/>
                  </a:cubicBezTo>
                  <a:cubicBezTo>
                    <a:pt x="296" y="123"/>
                    <a:pt x="296" y="123"/>
                    <a:pt x="296" y="123"/>
                  </a:cubicBezTo>
                  <a:cubicBezTo>
                    <a:pt x="297" y="124"/>
                    <a:pt x="298" y="124"/>
                    <a:pt x="298" y="125"/>
                  </a:cubicBezTo>
                  <a:cubicBezTo>
                    <a:pt x="298" y="125"/>
                    <a:pt x="298" y="126"/>
                    <a:pt x="298" y="126"/>
                  </a:cubicBezTo>
                  <a:cubicBezTo>
                    <a:pt x="297" y="126"/>
                    <a:pt x="296" y="126"/>
                    <a:pt x="295" y="126"/>
                  </a:cubicBezTo>
                  <a:cubicBezTo>
                    <a:pt x="295" y="126"/>
                    <a:pt x="295" y="126"/>
                    <a:pt x="294" y="126"/>
                  </a:cubicBezTo>
                  <a:cubicBezTo>
                    <a:pt x="294" y="126"/>
                    <a:pt x="293" y="126"/>
                    <a:pt x="293" y="126"/>
                  </a:cubicBezTo>
                  <a:cubicBezTo>
                    <a:pt x="292" y="127"/>
                    <a:pt x="291" y="127"/>
                    <a:pt x="290" y="127"/>
                  </a:cubicBezTo>
                  <a:cubicBezTo>
                    <a:pt x="289" y="127"/>
                    <a:pt x="288" y="127"/>
                    <a:pt x="288" y="126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5"/>
                    <a:pt x="289" y="125"/>
                    <a:pt x="290" y="125"/>
                  </a:cubicBezTo>
                  <a:cubicBezTo>
                    <a:pt x="289" y="124"/>
                    <a:pt x="289" y="124"/>
                    <a:pt x="289" y="124"/>
                  </a:cubicBezTo>
                  <a:cubicBezTo>
                    <a:pt x="288" y="124"/>
                    <a:pt x="288" y="124"/>
                    <a:pt x="288" y="124"/>
                  </a:cubicBezTo>
                  <a:cubicBezTo>
                    <a:pt x="287" y="124"/>
                    <a:pt x="287" y="124"/>
                    <a:pt x="286" y="124"/>
                  </a:cubicBezTo>
                  <a:cubicBezTo>
                    <a:pt x="285" y="124"/>
                    <a:pt x="285" y="124"/>
                    <a:pt x="284" y="124"/>
                  </a:cubicBezTo>
                  <a:cubicBezTo>
                    <a:pt x="284" y="124"/>
                    <a:pt x="284" y="124"/>
                    <a:pt x="284" y="124"/>
                  </a:cubicBezTo>
                  <a:cubicBezTo>
                    <a:pt x="284" y="124"/>
                    <a:pt x="284" y="124"/>
                    <a:pt x="284" y="124"/>
                  </a:cubicBezTo>
                  <a:cubicBezTo>
                    <a:pt x="284" y="125"/>
                    <a:pt x="284" y="125"/>
                    <a:pt x="284" y="125"/>
                  </a:cubicBezTo>
                  <a:cubicBezTo>
                    <a:pt x="284" y="126"/>
                    <a:pt x="284" y="126"/>
                    <a:pt x="284" y="126"/>
                  </a:cubicBezTo>
                  <a:cubicBezTo>
                    <a:pt x="283" y="125"/>
                    <a:pt x="283" y="125"/>
                    <a:pt x="283" y="125"/>
                  </a:cubicBezTo>
                  <a:cubicBezTo>
                    <a:pt x="282" y="125"/>
                    <a:pt x="282" y="125"/>
                    <a:pt x="282" y="125"/>
                  </a:cubicBezTo>
                  <a:cubicBezTo>
                    <a:pt x="282" y="125"/>
                    <a:pt x="282" y="125"/>
                    <a:pt x="282" y="125"/>
                  </a:cubicBezTo>
                  <a:cubicBezTo>
                    <a:pt x="281" y="125"/>
                    <a:pt x="281" y="126"/>
                    <a:pt x="280" y="126"/>
                  </a:cubicBezTo>
                  <a:cubicBezTo>
                    <a:pt x="279" y="125"/>
                    <a:pt x="279" y="125"/>
                    <a:pt x="279" y="125"/>
                  </a:cubicBezTo>
                  <a:cubicBezTo>
                    <a:pt x="278" y="125"/>
                    <a:pt x="278" y="125"/>
                    <a:pt x="278" y="125"/>
                  </a:cubicBezTo>
                  <a:cubicBezTo>
                    <a:pt x="277" y="125"/>
                    <a:pt x="277" y="125"/>
                    <a:pt x="277" y="126"/>
                  </a:cubicBezTo>
                  <a:cubicBezTo>
                    <a:pt x="277" y="127"/>
                    <a:pt x="277" y="127"/>
                    <a:pt x="277" y="127"/>
                  </a:cubicBezTo>
                  <a:cubicBezTo>
                    <a:pt x="276" y="126"/>
                    <a:pt x="276" y="126"/>
                    <a:pt x="276" y="126"/>
                  </a:cubicBezTo>
                  <a:cubicBezTo>
                    <a:pt x="276" y="125"/>
                    <a:pt x="275" y="125"/>
                    <a:pt x="273" y="125"/>
                  </a:cubicBezTo>
                  <a:cubicBezTo>
                    <a:pt x="271" y="125"/>
                    <a:pt x="269" y="125"/>
                    <a:pt x="268" y="126"/>
                  </a:cubicBezTo>
                  <a:cubicBezTo>
                    <a:pt x="267" y="127"/>
                    <a:pt x="266" y="128"/>
                    <a:pt x="266" y="129"/>
                  </a:cubicBezTo>
                  <a:cubicBezTo>
                    <a:pt x="264" y="131"/>
                    <a:pt x="263" y="132"/>
                    <a:pt x="261" y="134"/>
                  </a:cubicBezTo>
                  <a:cubicBezTo>
                    <a:pt x="260" y="135"/>
                    <a:pt x="259" y="136"/>
                    <a:pt x="258" y="137"/>
                  </a:cubicBezTo>
                  <a:cubicBezTo>
                    <a:pt x="257" y="139"/>
                    <a:pt x="256" y="140"/>
                    <a:pt x="255" y="141"/>
                  </a:cubicBezTo>
                  <a:cubicBezTo>
                    <a:pt x="254" y="142"/>
                    <a:pt x="253" y="143"/>
                    <a:pt x="253" y="144"/>
                  </a:cubicBezTo>
                  <a:cubicBezTo>
                    <a:pt x="253" y="144"/>
                    <a:pt x="253" y="144"/>
                    <a:pt x="253" y="144"/>
                  </a:cubicBezTo>
                  <a:cubicBezTo>
                    <a:pt x="253" y="144"/>
                    <a:pt x="253" y="144"/>
                    <a:pt x="254" y="144"/>
                  </a:cubicBezTo>
                  <a:cubicBezTo>
                    <a:pt x="255" y="144"/>
                    <a:pt x="255" y="144"/>
                    <a:pt x="255" y="144"/>
                  </a:cubicBezTo>
                  <a:cubicBezTo>
                    <a:pt x="256" y="144"/>
                    <a:pt x="256" y="144"/>
                    <a:pt x="256" y="144"/>
                  </a:cubicBezTo>
                  <a:cubicBezTo>
                    <a:pt x="256" y="146"/>
                    <a:pt x="256" y="146"/>
                    <a:pt x="256" y="146"/>
                  </a:cubicBezTo>
                  <a:cubicBezTo>
                    <a:pt x="256" y="146"/>
                    <a:pt x="256" y="145"/>
                    <a:pt x="257" y="145"/>
                  </a:cubicBezTo>
                  <a:cubicBezTo>
                    <a:pt x="259" y="145"/>
                    <a:pt x="259" y="145"/>
                    <a:pt x="259" y="145"/>
                  </a:cubicBezTo>
                  <a:cubicBezTo>
                    <a:pt x="259" y="145"/>
                    <a:pt x="259" y="145"/>
                    <a:pt x="259" y="145"/>
                  </a:cubicBezTo>
                  <a:cubicBezTo>
                    <a:pt x="260" y="145"/>
                    <a:pt x="260" y="145"/>
                    <a:pt x="260" y="145"/>
                  </a:cubicBezTo>
                  <a:cubicBezTo>
                    <a:pt x="262" y="145"/>
                    <a:pt x="263" y="146"/>
                    <a:pt x="264" y="147"/>
                  </a:cubicBezTo>
                  <a:cubicBezTo>
                    <a:pt x="264" y="148"/>
                    <a:pt x="265" y="148"/>
                    <a:pt x="265" y="149"/>
                  </a:cubicBezTo>
                  <a:cubicBezTo>
                    <a:pt x="266" y="149"/>
                    <a:pt x="266" y="154"/>
                    <a:pt x="266" y="155"/>
                  </a:cubicBezTo>
                  <a:cubicBezTo>
                    <a:pt x="265" y="157"/>
                    <a:pt x="264" y="159"/>
                    <a:pt x="265" y="161"/>
                  </a:cubicBezTo>
                  <a:cubicBezTo>
                    <a:pt x="265" y="163"/>
                    <a:pt x="265" y="167"/>
                    <a:pt x="264" y="168"/>
                  </a:cubicBezTo>
                  <a:cubicBezTo>
                    <a:pt x="262" y="170"/>
                    <a:pt x="260" y="172"/>
                    <a:pt x="259" y="174"/>
                  </a:cubicBezTo>
                  <a:cubicBezTo>
                    <a:pt x="258" y="176"/>
                    <a:pt x="257" y="178"/>
                    <a:pt x="255" y="180"/>
                  </a:cubicBezTo>
                  <a:cubicBezTo>
                    <a:pt x="255" y="180"/>
                    <a:pt x="255" y="180"/>
                    <a:pt x="254" y="181"/>
                  </a:cubicBezTo>
                  <a:cubicBezTo>
                    <a:pt x="253" y="183"/>
                    <a:pt x="252" y="184"/>
                    <a:pt x="250" y="186"/>
                  </a:cubicBezTo>
                  <a:cubicBezTo>
                    <a:pt x="249" y="186"/>
                    <a:pt x="248" y="187"/>
                    <a:pt x="246" y="187"/>
                  </a:cubicBezTo>
                  <a:cubicBezTo>
                    <a:pt x="245" y="187"/>
                    <a:pt x="245" y="187"/>
                    <a:pt x="245" y="186"/>
                  </a:cubicBezTo>
                  <a:cubicBezTo>
                    <a:pt x="244" y="186"/>
                    <a:pt x="244" y="186"/>
                    <a:pt x="244" y="186"/>
                  </a:cubicBezTo>
                  <a:cubicBezTo>
                    <a:pt x="244" y="186"/>
                    <a:pt x="244" y="186"/>
                    <a:pt x="244" y="186"/>
                  </a:cubicBezTo>
                  <a:cubicBezTo>
                    <a:pt x="244" y="186"/>
                    <a:pt x="244" y="186"/>
                    <a:pt x="244" y="186"/>
                  </a:cubicBezTo>
                  <a:cubicBezTo>
                    <a:pt x="243" y="186"/>
                    <a:pt x="243" y="187"/>
                    <a:pt x="242" y="187"/>
                  </a:cubicBezTo>
                  <a:cubicBezTo>
                    <a:pt x="242" y="187"/>
                    <a:pt x="242" y="188"/>
                    <a:pt x="242" y="188"/>
                  </a:cubicBezTo>
                  <a:cubicBezTo>
                    <a:pt x="241" y="189"/>
                    <a:pt x="241" y="189"/>
                    <a:pt x="241" y="189"/>
                  </a:cubicBezTo>
                  <a:cubicBezTo>
                    <a:pt x="241" y="188"/>
                    <a:pt x="241" y="188"/>
                    <a:pt x="241" y="188"/>
                  </a:cubicBezTo>
                  <a:cubicBezTo>
                    <a:pt x="240" y="186"/>
                    <a:pt x="241" y="185"/>
                    <a:pt x="241" y="185"/>
                  </a:cubicBezTo>
                  <a:cubicBezTo>
                    <a:pt x="241" y="185"/>
                    <a:pt x="242" y="184"/>
                    <a:pt x="242" y="184"/>
                  </a:cubicBezTo>
                  <a:cubicBezTo>
                    <a:pt x="242" y="184"/>
                    <a:pt x="242" y="183"/>
                    <a:pt x="242" y="183"/>
                  </a:cubicBezTo>
                  <a:cubicBezTo>
                    <a:pt x="242" y="182"/>
                    <a:pt x="242" y="182"/>
                    <a:pt x="242" y="182"/>
                  </a:cubicBezTo>
                  <a:cubicBezTo>
                    <a:pt x="242" y="181"/>
                    <a:pt x="242" y="181"/>
                    <a:pt x="242" y="181"/>
                  </a:cubicBezTo>
                  <a:cubicBezTo>
                    <a:pt x="241" y="180"/>
                    <a:pt x="242" y="179"/>
                    <a:pt x="243" y="179"/>
                  </a:cubicBezTo>
                  <a:cubicBezTo>
                    <a:pt x="244" y="178"/>
                    <a:pt x="244" y="178"/>
                    <a:pt x="245" y="178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46" y="178"/>
                    <a:pt x="247" y="178"/>
                    <a:pt x="248" y="173"/>
                  </a:cubicBezTo>
                  <a:cubicBezTo>
                    <a:pt x="248" y="173"/>
                    <a:pt x="248" y="173"/>
                    <a:pt x="248" y="173"/>
                  </a:cubicBezTo>
                  <a:cubicBezTo>
                    <a:pt x="249" y="172"/>
                    <a:pt x="249" y="172"/>
                    <a:pt x="249" y="171"/>
                  </a:cubicBezTo>
                  <a:cubicBezTo>
                    <a:pt x="250" y="171"/>
                    <a:pt x="250" y="171"/>
                    <a:pt x="250" y="170"/>
                  </a:cubicBezTo>
                  <a:cubicBezTo>
                    <a:pt x="250" y="170"/>
                    <a:pt x="250" y="170"/>
                    <a:pt x="250" y="169"/>
                  </a:cubicBezTo>
                  <a:cubicBezTo>
                    <a:pt x="250" y="169"/>
                    <a:pt x="250" y="169"/>
                    <a:pt x="250" y="168"/>
                  </a:cubicBezTo>
                  <a:cubicBezTo>
                    <a:pt x="248" y="169"/>
                    <a:pt x="247" y="170"/>
                    <a:pt x="246" y="170"/>
                  </a:cubicBezTo>
                  <a:cubicBezTo>
                    <a:pt x="245" y="171"/>
                    <a:pt x="245" y="171"/>
                    <a:pt x="245" y="171"/>
                  </a:cubicBezTo>
                  <a:cubicBezTo>
                    <a:pt x="244" y="171"/>
                    <a:pt x="244" y="171"/>
                    <a:pt x="243" y="171"/>
                  </a:cubicBezTo>
                  <a:cubicBezTo>
                    <a:pt x="242" y="171"/>
                    <a:pt x="241" y="170"/>
                    <a:pt x="241" y="169"/>
                  </a:cubicBezTo>
                  <a:cubicBezTo>
                    <a:pt x="241" y="168"/>
                    <a:pt x="241" y="168"/>
                    <a:pt x="241" y="168"/>
                  </a:cubicBezTo>
                  <a:cubicBezTo>
                    <a:pt x="240" y="166"/>
                    <a:pt x="239" y="165"/>
                    <a:pt x="237" y="164"/>
                  </a:cubicBezTo>
                  <a:cubicBezTo>
                    <a:pt x="233" y="164"/>
                    <a:pt x="233" y="163"/>
                    <a:pt x="233" y="161"/>
                  </a:cubicBezTo>
                  <a:cubicBezTo>
                    <a:pt x="232" y="160"/>
                    <a:pt x="232" y="160"/>
                    <a:pt x="232" y="160"/>
                  </a:cubicBezTo>
                  <a:cubicBezTo>
                    <a:pt x="232" y="159"/>
                    <a:pt x="232" y="158"/>
                    <a:pt x="232" y="157"/>
                  </a:cubicBezTo>
                  <a:cubicBezTo>
                    <a:pt x="231" y="156"/>
                    <a:pt x="231" y="155"/>
                    <a:pt x="231" y="154"/>
                  </a:cubicBezTo>
                  <a:cubicBezTo>
                    <a:pt x="230" y="152"/>
                    <a:pt x="229" y="152"/>
                    <a:pt x="228" y="152"/>
                  </a:cubicBezTo>
                  <a:cubicBezTo>
                    <a:pt x="227" y="151"/>
                    <a:pt x="227" y="151"/>
                    <a:pt x="226" y="151"/>
                  </a:cubicBezTo>
                  <a:cubicBezTo>
                    <a:pt x="226" y="151"/>
                    <a:pt x="226" y="151"/>
                    <a:pt x="225" y="150"/>
                  </a:cubicBezTo>
                  <a:cubicBezTo>
                    <a:pt x="225" y="150"/>
                    <a:pt x="225" y="150"/>
                    <a:pt x="224" y="150"/>
                  </a:cubicBezTo>
                  <a:cubicBezTo>
                    <a:pt x="220" y="150"/>
                    <a:pt x="220" y="150"/>
                    <a:pt x="220" y="150"/>
                  </a:cubicBezTo>
                  <a:cubicBezTo>
                    <a:pt x="219" y="151"/>
                    <a:pt x="218" y="151"/>
                    <a:pt x="217" y="152"/>
                  </a:cubicBezTo>
                  <a:cubicBezTo>
                    <a:pt x="218" y="152"/>
                    <a:pt x="218" y="152"/>
                    <a:pt x="218" y="153"/>
                  </a:cubicBezTo>
                  <a:cubicBezTo>
                    <a:pt x="219" y="154"/>
                    <a:pt x="218" y="155"/>
                    <a:pt x="217" y="156"/>
                  </a:cubicBezTo>
                  <a:cubicBezTo>
                    <a:pt x="217" y="156"/>
                    <a:pt x="217" y="157"/>
                    <a:pt x="216" y="157"/>
                  </a:cubicBezTo>
                  <a:cubicBezTo>
                    <a:pt x="216" y="157"/>
                    <a:pt x="216" y="158"/>
                    <a:pt x="216" y="158"/>
                  </a:cubicBezTo>
                  <a:cubicBezTo>
                    <a:pt x="216" y="160"/>
                    <a:pt x="215" y="162"/>
                    <a:pt x="214" y="163"/>
                  </a:cubicBezTo>
                  <a:cubicBezTo>
                    <a:pt x="214" y="163"/>
                    <a:pt x="213" y="163"/>
                    <a:pt x="213" y="163"/>
                  </a:cubicBezTo>
                  <a:cubicBezTo>
                    <a:pt x="212" y="164"/>
                    <a:pt x="211" y="164"/>
                    <a:pt x="210" y="164"/>
                  </a:cubicBezTo>
                  <a:cubicBezTo>
                    <a:pt x="210" y="163"/>
                    <a:pt x="210" y="163"/>
                    <a:pt x="210" y="163"/>
                  </a:cubicBezTo>
                  <a:cubicBezTo>
                    <a:pt x="208" y="163"/>
                    <a:pt x="208" y="163"/>
                    <a:pt x="207" y="163"/>
                  </a:cubicBezTo>
                  <a:cubicBezTo>
                    <a:pt x="206" y="163"/>
                    <a:pt x="205" y="163"/>
                    <a:pt x="205" y="162"/>
                  </a:cubicBezTo>
                  <a:cubicBezTo>
                    <a:pt x="204" y="162"/>
                    <a:pt x="204" y="162"/>
                    <a:pt x="204" y="162"/>
                  </a:cubicBezTo>
                  <a:cubicBezTo>
                    <a:pt x="203" y="162"/>
                    <a:pt x="202" y="162"/>
                    <a:pt x="202" y="163"/>
                  </a:cubicBezTo>
                  <a:cubicBezTo>
                    <a:pt x="202" y="163"/>
                    <a:pt x="202" y="163"/>
                    <a:pt x="201" y="163"/>
                  </a:cubicBezTo>
                  <a:cubicBezTo>
                    <a:pt x="200" y="164"/>
                    <a:pt x="197" y="165"/>
                    <a:pt x="194" y="165"/>
                  </a:cubicBezTo>
                  <a:cubicBezTo>
                    <a:pt x="192" y="165"/>
                    <a:pt x="191" y="165"/>
                    <a:pt x="189" y="164"/>
                  </a:cubicBezTo>
                  <a:cubicBezTo>
                    <a:pt x="188" y="163"/>
                    <a:pt x="186" y="162"/>
                    <a:pt x="184" y="161"/>
                  </a:cubicBezTo>
                  <a:cubicBezTo>
                    <a:pt x="183" y="160"/>
                    <a:pt x="183" y="160"/>
                    <a:pt x="183" y="160"/>
                  </a:cubicBezTo>
                  <a:cubicBezTo>
                    <a:pt x="182" y="160"/>
                    <a:pt x="181" y="160"/>
                    <a:pt x="180" y="161"/>
                  </a:cubicBezTo>
                  <a:cubicBezTo>
                    <a:pt x="180" y="161"/>
                    <a:pt x="179" y="162"/>
                    <a:pt x="178" y="161"/>
                  </a:cubicBezTo>
                  <a:cubicBezTo>
                    <a:pt x="176" y="161"/>
                    <a:pt x="175" y="160"/>
                    <a:pt x="174" y="160"/>
                  </a:cubicBezTo>
                  <a:cubicBezTo>
                    <a:pt x="174" y="159"/>
                    <a:pt x="174" y="159"/>
                    <a:pt x="174" y="158"/>
                  </a:cubicBezTo>
                  <a:cubicBezTo>
                    <a:pt x="174" y="158"/>
                    <a:pt x="174" y="157"/>
                    <a:pt x="174" y="157"/>
                  </a:cubicBezTo>
                  <a:cubicBezTo>
                    <a:pt x="174" y="157"/>
                    <a:pt x="173" y="157"/>
                    <a:pt x="173" y="156"/>
                  </a:cubicBezTo>
                  <a:cubicBezTo>
                    <a:pt x="172" y="156"/>
                    <a:pt x="169" y="155"/>
                    <a:pt x="168" y="155"/>
                  </a:cubicBezTo>
                  <a:cubicBezTo>
                    <a:pt x="168" y="155"/>
                    <a:pt x="168" y="155"/>
                    <a:pt x="167" y="155"/>
                  </a:cubicBezTo>
                  <a:cubicBezTo>
                    <a:pt x="167" y="156"/>
                    <a:pt x="166" y="156"/>
                    <a:pt x="166" y="157"/>
                  </a:cubicBezTo>
                  <a:cubicBezTo>
                    <a:pt x="165" y="157"/>
                    <a:pt x="166" y="157"/>
                    <a:pt x="166" y="158"/>
                  </a:cubicBezTo>
                  <a:cubicBezTo>
                    <a:pt x="166" y="159"/>
                    <a:pt x="166" y="159"/>
                    <a:pt x="166" y="160"/>
                  </a:cubicBezTo>
                  <a:cubicBezTo>
                    <a:pt x="166" y="160"/>
                    <a:pt x="166" y="160"/>
                    <a:pt x="166" y="161"/>
                  </a:cubicBezTo>
                  <a:cubicBezTo>
                    <a:pt x="166" y="161"/>
                    <a:pt x="166" y="162"/>
                    <a:pt x="165" y="162"/>
                  </a:cubicBezTo>
                  <a:cubicBezTo>
                    <a:pt x="165" y="162"/>
                    <a:pt x="165" y="163"/>
                    <a:pt x="164" y="163"/>
                  </a:cubicBezTo>
                  <a:cubicBezTo>
                    <a:pt x="164" y="163"/>
                    <a:pt x="163" y="162"/>
                    <a:pt x="163" y="162"/>
                  </a:cubicBezTo>
                  <a:cubicBezTo>
                    <a:pt x="163" y="162"/>
                    <a:pt x="162" y="162"/>
                    <a:pt x="162" y="162"/>
                  </a:cubicBezTo>
                  <a:cubicBezTo>
                    <a:pt x="158" y="162"/>
                    <a:pt x="158" y="162"/>
                    <a:pt x="158" y="162"/>
                  </a:cubicBezTo>
                  <a:cubicBezTo>
                    <a:pt x="158" y="162"/>
                    <a:pt x="157" y="162"/>
                    <a:pt x="157" y="161"/>
                  </a:cubicBezTo>
                  <a:cubicBezTo>
                    <a:pt x="157" y="161"/>
                    <a:pt x="156" y="161"/>
                    <a:pt x="156" y="161"/>
                  </a:cubicBezTo>
                  <a:cubicBezTo>
                    <a:pt x="156" y="161"/>
                    <a:pt x="155" y="161"/>
                    <a:pt x="155" y="161"/>
                  </a:cubicBezTo>
                  <a:cubicBezTo>
                    <a:pt x="153" y="160"/>
                    <a:pt x="151" y="160"/>
                    <a:pt x="150" y="161"/>
                  </a:cubicBezTo>
                  <a:cubicBezTo>
                    <a:pt x="148" y="161"/>
                    <a:pt x="147" y="162"/>
                    <a:pt x="145" y="163"/>
                  </a:cubicBezTo>
                  <a:cubicBezTo>
                    <a:pt x="144" y="164"/>
                    <a:pt x="144" y="164"/>
                    <a:pt x="144" y="164"/>
                  </a:cubicBezTo>
                  <a:cubicBezTo>
                    <a:pt x="144" y="164"/>
                    <a:pt x="143" y="165"/>
                    <a:pt x="143" y="165"/>
                  </a:cubicBezTo>
                  <a:cubicBezTo>
                    <a:pt x="142" y="166"/>
                    <a:pt x="142" y="167"/>
                    <a:pt x="140" y="167"/>
                  </a:cubicBezTo>
                  <a:cubicBezTo>
                    <a:pt x="140" y="167"/>
                    <a:pt x="140" y="167"/>
                    <a:pt x="139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9" y="165"/>
                    <a:pt x="139" y="165"/>
                    <a:pt x="139" y="165"/>
                  </a:cubicBezTo>
                  <a:cubicBezTo>
                    <a:pt x="140" y="165"/>
                    <a:pt x="140" y="165"/>
                    <a:pt x="140" y="164"/>
                  </a:cubicBezTo>
                  <a:cubicBezTo>
                    <a:pt x="140" y="164"/>
                    <a:pt x="139" y="163"/>
                    <a:pt x="139" y="163"/>
                  </a:cubicBezTo>
                  <a:cubicBezTo>
                    <a:pt x="139" y="164"/>
                    <a:pt x="139" y="164"/>
                    <a:pt x="139" y="164"/>
                  </a:cubicBezTo>
                  <a:cubicBezTo>
                    <a:pt x="138" y="164"/>
                    <a:pt x="137" y="164"/>
                    <a:pt x="136" y="163"/>
                  </a:cubicBezTo>
                  <a:cubicBezTo>
                    <a:pt x="135" y="163"/>
                    <a:pt x="134" y="162"/>
                    <a:pt x="134" y="161"/>
                  </a:cubicBezTo>
                  <a:cubicBezTo>
                    <a:pt x="133" y="160"/>
                    <a:pt x="133" y="160"/>
                    <a:pt x="132" y="159"/>
                  </a:cubicBezTo>
                  <a:cubicBezTo>
                    <a:pt x="131" y="159"/>
                    <a:pt x="131" y="159"/>
                    <a:pt x="130" y="159"/>
                  </a:cubicBezTo>
                  <a:cubicBezTo>
                    <a:pt x="130" y="160"/>
                    <a:pt x="129" y="160"/>
                    <a:pt x="128" y="160"/>
                  </a:cubicBezTo>
                  <a:cubicBezTo>
                    <a:pt x="128" y="160"/>
                    <a:pt x="127" y="160"/>
                    <a:pt x="127" y="160"/>
                  </a:cubicBezTo>
                  <a:cubicBezTo>
                    <a:pt x="126" y="159"/>
                    <a:pt x="126" y="159"/>
                    <a:pt x="126" y="158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26" y="158"/>
                    <a:pt x="125" y="158"/>
                    <a:pt x="125" y="159"/>
                  </a:cubicBezTo>
                  <a:cubicBezTo>
                    <a:pt x="125" y="159"/>
                    <a:pt x="125" y="159"/>
                    <a:pt x="125" y="159"/>
                  </a:cubicBezTo>
                  <a:cubicBezTo>
                    <a:pt x="124" y="160"/>
                    <a:pt x="124" y="160"/>
                    <a:pt x="124" y="160"/>
                  </a:cubicBezTo>
                  <a:cubicBezTo>
                    <a:pt x="124" y="159"/>
                    <a:pt x="124" y="159"/>
                    <a:pt x="124" y="159"/>
                  </a:cubicBezTo>
                  <a:cubicBezTo>
                    <a:pt x="122" y="156"/>
                    <a:pt x="120" y="153"/>
                    <a:pt x="119" y="150"/>
                  </a:cubicBezTo>
                  <a:cubicBezTo>
                    <a:pt x="118" y="150"/>
                    <a:pt x="118" y="149"/>
                    <a:pt x="117" y="148"/>
                  </a:cubicBezTo>
                  <a:cubicBezTo>
                    <a:pt x="117" y="148"/>
                    <a:pt x="116" y="148"/>
                    <a:pt x="116" y="148"/>
                  </a:cubicBezTo>
                  <a:cubicBezTo>
                    <a:pt x="115" y="147"/>
                    <a:pt x="115" y="147"/>
                    <a:pt x="115" y="146"/>
                  </a:cubicBezTo>
                  <a:cubicBezTo>
                    <a:pt x="115" y="146"/>
                    <a:pt x="115" y="146"/>
                    <a:pt x="115" y="146"/>
                  </a:cubicBezTo>
                  <a:cubicBezTo>
                    <a:pt x="114" y="147"/>
                    <a:pt x="112" y="148"/>
                    <a:pt x="112" y="149"/>
                  </a:cubicBezTo>
                  <a:cubicBezTo>
                    <a:pt x="112" y="150"/>
                    <a:pt x="112" y="150"/>
                    <a:pt x="112" y="150"/>
                  </a:cubicBezTo>
                  <a:cubicBezTo>
                    <a:pt x="111" y="149"/>
                    <a:pt x="111" y="149"/>
                    <a:pt x="111" y="149"/>
                  </a:cubicBezTo>
                  <a:cubicBezTo>
                    <a:pt x="110" y="149"/>
                    <a:pt x="110" y="149"/>
                    <a:pt x="109" y="149"/>
                  </a:cubicBezTo>
                  <a:cubicBezTo>
                    <a:pt x="108" y="150"/>
                    <a:pt x="108" y="150"/>
                    <a:pt x="108" y="150"/>
                  </a:cubicBezTo>
                  <a:cubicBezTo>
                    <a:pt x="108" y="149"/>
                    <a:pt x="108" y="149"/>
                    <a:pt x="108" y="149"/>
                  </a:cubicBezTo>
                  <a:cubicBezTo>
                    <a:pt x="108" y="148"/>
                    <a:pt x="108" y="148"/>
                    <a:pt x="108" y="147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8"/>
                    <a:pt x="108" y="148"/>
                    <a:pt x="108" y="148"/>
                  </a:cubicBezTo>
                  <a:cubicBezTo>
                    <a:pt x="106" y="148"/>
                    <a:pt x="106" y="148"/>
                    <a:pt x="106" y="148"/>
                  </a:cubicBezTo>
                  <a:cubicBezTo>
                    <a:pt x="106" y="147"/>
                    <a:pt x="106" y="147"/>
                    <a:pt x="106" y="147"/>
                  </a:cubicBezTo>
                  <a:cubicBezTo>
                    <a:pt x="106" y="147"/>
                    <a:pt x="106" y="146"/>
                    <a:pt x="106" y="146"/>
                  </a:cubicBezTo>
                  <a:cubicBezTo>
                    <a:pt x="105" y="147"/>
                    <a:pt x="105" y="147"/>
                    <a:pt x="104" y="147"/>
                  </a:cubicBezTo>
                  <a:cubicBezTo>
                    <a:pt x="104" y="147"/>
                    <a:pt x="103" y="147"/>
                    <a:pt x="103" y="146"/>
                  </a:cubicBezTo>
                  <a:cubicBezTo>
                    <a:pt x="103" y="146"/>
                    <a:pt x="103" y="145"/>
                    <a:pt x="103" y="145"/>
                  </a:cubicBezTo>
                  <a:cubicBezTo>
                    <a:pt x="103" y="145"/>
                    <a:pt x="103" y="143"/>
                    <a:pt x="102" y="142"/>
                  </a:cubicBezTo>
                  <a:cubicBezTo>
                    <a:pt x="102" y="142"/>
                    <a:pt x="100" y="142"/>
                    <a:pt x="100" y="142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98" y="142"/>
                    <a:pt x="98" y="142"/>
                    <a:pt x="97" y="143"/>
                  </a:cubicBezTo>
                  <a:cubicBezTo>
                    <a:pt x="97" y="143"/>
                    <a:pt x="97" y="143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5" y="144"/>
                    <a:pt x="94" y="144"/>
                    <a:pt x="93" y="144"/>
                  </a:cubicBezTo>
                  <a:cubicBezTo>
                    <a:pt x="92" y="145"/>
                    <a:pt x="92" y="145"/>
                    <a:pt x="91" y="145"/>
                  </a:cubicBezTo>
                  <a:cubicBezTo>
                    <a:pt x="91" y="145"/>
                    <a:pt x="90" y="145"/>
                    <a:pt x="90" y="145"/>
                  </a:cubicBezTo>
                  <a:cubicBezTo>
                    <a:pt x="90" y="145"/>
                    <a:pt x="90" y="146"/>
                    <a:pt x="90" y="146"/>
                  </a:cubicBezTo>
                  <a:cubicBezTo>
                    <a:pt x="89" y="146"/>
                    <a:pt x="88" y="146"/>
                    <a:pt x="87" y="147"/>
                  </a:cubicBezTo>
                  <a:cubicBezTo>
                    <a:pt x="86" y="147"/>
                    <a:pt x="85" y="147"/>
                    <a:pt x="84" y="14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83" y="147"/>
                    <a:pt x="82" y="147"/>
                    <a:pt x="82" y="147"/>
                  </a:cubicBezTo>
                  <a:cubicBezTo>
                    <a:pt x="81" y="147"/>
                    <a:pt x="81" y="147"/>
                    <a:pt x="80" y="147"/>
                  </a:cubicBezTo>
                  <a:cubicBezTo>
                    <a:pt x="80" y="148"/>
                    <a:pt x="80" y="148"/>
                    <a:pt x="81" y="148"/>
                  </a:cubicBezTo>
                  <a:cubicBezTo>
                    <a:pt x="81" y="148"/>
                    <a:pt x="81" y="148"/>
                    <a:pt x="81" y="148"/>
                  </a:cubicBezTo>
                  <a:cubicBezTo>
                    <a:pt x="81" y="148"/>
                    <a:pt x="81" y="148"/>
                    <a:pt x="81" y="14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82" y="149"/>
                    <a:pt x="83" y="149"/>
                    <a:pt x="83" y="150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151"/>
                    <a:pt x="82" y="151"/>
                    <a:pt x="82" y="151"/>
                  </a:cubicBezTo>
                  <a:cubicBezTo>
                    <a:pt x="81" y="151"/>
                    <a:pt x="80" y="151"/>
                    <a:pt x="80" y="152"/>
                  </a:cubicBezTo>
                  <a:cubicBezTo>
                    <a:pt x="80" y="152"/>
                    <a:pt x="80" y="153"/>
                    <a:pt x="80" y="153"/>
                  </a:cubicBezTo>
                  <a:cubicBezTo>
                    <a:pt x="80" y="154"/>
                    <a:pt x="80" y="154"/>
                    <a:pt x="79" y="154"/>
                  </a:cubicBezTo>
                  <a:cubicBezTo>
                    <a:pt x="79" y="155"/>
                    <a:pt x="79" y="155"/>
                    <a:pt x="78" y="155"/>
                  </a:cubicBezTo>
                  <a:cubicBezTo>
                    <a:pt x="79" y="155"/>
                    <a:pt x="81" y="156"/>
                    <a:pt x="81" y="156"/>
                  </a:cubicBezTo>
                  <a:cubicBezTo>
                    <a:pt x="82" y="156"/>
                    <a:pt x="82" y="156"/>
                    <a:pt x="82" y="156"/>
                  </a:cubicBezTo>
                  <a:cubicBezTo>
                    <a:pt x="82" y="157"/>
                    <a:pt x="82" y="157"/>
                    <a:pt x="82" y="157"/>
                  </a:cubicBezTo>
                  <a:cubicBezTo>
                    <a:pt x="82" y="159"/>
                    <a:pt x="80" y="161"/>
                    <a:pt x="78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7" y="160"/>
                    <a:pt x="77" y="160"/>
                    <a:pt x="77" y="160"/>
                  </a:cubicBezTo>
                  <a:cubicBezTo>
                    <a:pt x="76" y="160"/>
                    <a:pt x="76" y="160"/>
                    <a:pt x="76" y="160"/>
                  </a:cubicBezTo>
                  <a:cubicBezTo>
                    <a:pt x="75" y="160"/>
                    <a:pt x="74" y="159"/>
                    <a:pt x="74" y="159"/>
                  </a:cubicBezTo>
                  <a:cubicBezTo>
                    <a:pt x="74" y="158"/>
                    <a:pt x="74" y="158"/>
                    <a:pt x="73" y="158"/>
                  </a:cubicBezTo>
                  <a:cubicBezTo>
                    <a:pt x="73" y="158"/>
                    <a:pt x="73" y="158"/>
                    <a:pt x="73" y="159"/>
                  </a:cubicBezTo>
                  <a:cubicBezTo>
                    <a:pt x="72" y="159"/>
                    <a:pt x="72" y="159"/>
                    <a:pt x="72" y="159"/>
                  </a:cubicBezTo>
                  <a:cubicBezTo>
                    <a:pt x="72" y="159"/>
                    <a:pt x="72" y="159"/>
                    <a:pt x="72" y="159"/>
                  </a:cubicBezTo>
                  <a:cubicBezTo>
                    <a:pt x="71" y="159"/>
                    <a:pt x="71" y="159"/>
                    <a:pt x="71" y="159"/>
                  </a:cubicBezTo>
                  <a:cubicBezTo>
                    <a:pt x="71" y="159"/>
                    <a:pt x="70" y="159"/>
                    <a:pt x="70" y="159"/>
                  </a:cubicBezTo>
                  <a:cubicBezTo>
                    <a:pt x="70" y="158"/>
                    <a:pt x="70" y="158"/>
                    <a:pt x="70" y="158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69" y="159"/>
                    <a:pt x="69" y="159"/>
                    <a:pt x="68" y="160"/>
                  </a:cubicBezTo>
                  <a:cubicBezTo>
                    <a:pt x="68" y="160"/>
                    <a:pt x="67" y="160"/>
                    <a:pt x="67" y="160"/>
                  </a:cubicBezTo>
                  <a:cubicBezTo>
                    <a:pt x="67" y="160"/>
                    <a:pt x="66" y="160"/>
                    <a:pt x="66" y="160"/>
                  </a:cubicBezTo>
                  <a:cubicBezTo>
                    <a:pt x="66" y="160"/>
                    <a:pt x="66" y="160"/>
                    <a:pt x="66" y="159"/>
                  </a:cubicBezTo>
                  <a:cubicBezTo>
                    <a:pt x="66" y="159"/>
                    <a:pt x="66" y="159"/>
                    <a:pt x="66" y="160"/>
                  </a:cubicBezTo>
                  <a:cubicBezTo>
                    <a:pt x="66" y="160"/>
                    <a:pt x="66" y="160"/>
                    <a:pt x="66" y="160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158"/>
                    <a:pt x="63" y="157"/>
                    <a:pt x="61" y="157"/>
                  </a:cubicBezTo>
                  <a:cubicBezTo>
                    <a:pt x="61" y="157"/>
                    <a:pt x="60" y="156"/>
                    <a:pt x="60" y="156"/>
                  </a:cubicBezTo>
                  <a:cubicBezTo>
                    <a:pt x="60" y="156"/>
                    <a:pt x="59" y="156"/>
                    <a:pt x="59" y="156"/>
                  </a:cubicBezTo>
                  <a:cubicBezTo>
                    <a:pt x="59" y="156"/>
                    <a:pt x="59" y="156"/>
                    <a:pt x="59" y="157"/>
                  </a:cubicBezTo>
                  <a:cubicBezTo>
                    <a:pt x="59" y="157"/>
                    <a:pt x="59" y="157"/>
                    <a:pt x="59" y="157"/>
                  </a:cubicBezTo>
                  <a:cubicBezTo>
                    <a:pt x="58" y="157"/>
                    <a:pt x="58" y="157"/>
                    <a:pt x="58" y="157"/>
                  </a:cubicBezTo>
                  <a:cubicBezTo>
                    <a:pt x="57" y="156"/>
                    <a:pt x="57" y="156"/>
                    <a:pt x="56" y="157"/>
                  </a:cubicBezTo>
                  <a:cubicBezTo>
                    <a:pt x="56" y="157"/>
                    <a:pt x="56" y="157"/>
                    <a:pt x="55" y="158"/>
                  </a:cubicBezTo>
                  <a:cubicBezTo>
                    <a:pt x="55" y="158"/>
                    <a:pt x="54" y="158"/>
                    <a:pt x="54" y="158"/>
                  </a:cubicBezTo>
                  <a:cubicBezTo>
                    <a:pt x="54" y="158"/>
                    <a:pt x="54" y="158"/>
                    <a:pt x="54" y="158"/>
                  </a:cubicBezTo>
                  <a:cubicBezTo>
                    <a:pt x="54" y="158"/>
                    <a:pt x="54" y="159"/>
                    <a:pt x="53" y="159"/>
                  </a:cubicBezTo>
                  <a:cubicBezTo>
                    <a:pt x="53" y="159"/>
                    <a:pt x="52" y="160"/>
                    <a:pt x="52" y="160"/>
                  </a:cubicBezTo>
                  <a:cubicBezTo>
                    <a:pt x="52" y="161"/>
                    <a:pt x="52" y="162"/>
                    <a:pt x="52" y="163"/>
                  </a:cubicBezTo>
                  <a:cubicBezTo>
                    <a:pt x="52" y="163"/>
                    <a:pt x="51" y="163"/>
                    <a:pt x="51" y="163"/>
                  </a:cubicBezTo>
                  <a:cubicBezTo>
                    <a:pt x="50" y="163"/>
                    <a:pt x="50" y="163"/>
                    <a:pt x="49" y="161"/>
                  </a:cubicBezTo>
                  <a:cubicBezTo>
                    <a:pt x="49" y="161"/>
                    <a:pt x="49" y="162"/>
                    <a:pt x="48" y="162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3"/>
                    <a:pt x="48" y="163"/>
                    <a:pt x="48" y="164"/>
                  </a:cubicBezTo>
                  <a:cubicBezTo>
                    <a:pt x="48" y="165"/>
                    <a:pt x="48" y="165"/>
                    <a:pt x="48" y="166"/>
                  </a:cubicBezTo>
                  <a:cubicBezTo>
                    <a:pt x="47" y="166"/>
                    <a:pt x="47" y="166"/>
                    <a:pt x="47" y="167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48" y="167"/>
                    <a:pt x="48" y="168"/>
                    <a:pt x="48" y="168"/>
                  </a:cubicBezTo>
                  <a:cubicBezTo>
                    <a:pt x="48" y="169"/>
                    <a:pt x="48" y="169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9"/>
                    <a:pt x="51" y="169"/>
                    <a:pt x="53" y="173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2" y="174"/>
                    <a:pt x="52" y="174"/>
                    <a:pt x="52" y="174"/>
                  </a:cubicBezTo>
                  <a:cubicBezTo>
                    <a:pt x="52" y="174"/>
                    <a:pt x="52" y="174"/>
                    <a:pt x="52" y="174"/>
                  </a:cubicBezTo>
                  <a:cubicBezTo>
                    <a:pt x="52" y="174"/>
                    <a:pt x="52" y="174"/>
                    <a:pt x="52" y="174"/>
                  </a:cubicBezTo>
                  <a:cubicBezTo>
                    <a:pt x="54" y="175"/>
                    <a:pt x="54" y="175"/>
                    <a:pt x="54" y="175"/>
                  </a:cubicBezTo>
                  <a:cubicBezTo>
                    <a:pt x="52" y="175"/>
                    <a:pt x="52" y="175"/>
                    <a:pt x="52" y="175"/>
                  </a:cubicBezTo>
                  <a:cubicBezTo>
                    <a:pt x="51" y="175"/>
                    <a:pt x="51" y="176"/>
                    <a:pt x="50" y="176"/>
                  </a:cubicBezTo>
                  <a:cubicBezTo>
                    <a:pt x="50" y="178"/>
                    <a:pt x="50" y="178"/>
                    <a:pt x="50" y="178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9" y="176"/>
                    <a:pt x="49" y="177"/>
                    <a:pt x="49" y="177"/>
                  </a:cubicBezTo>
                  <a:cubicBezTo>
                    <a:pt x="49" y="178"/>
                    <a:pt x="49" y="178"/>
                    <a:pt x="49" y="178"/>
                  </a:cubicBezTo>
                  <a:cubicBezTo>
                    <a:pt x="49" y="177"/>
                    <a:pt x="49" y="177"/>
                    <a:pt x="49" y="177"/>
                  </a:cubicBezTo>
                  <a:cubicBezTo>
                    <a:pt x="48" y="178"/>
                    <a:pt x="48" y="178"/>
                    <a:pt x="48" y="179"/>
                  </a:cubicBezTo>
                  <a:cubicBezTo>
                    <a:pt x="47" y="179"/>
                    <a:pt x="47" y="180"/>
                    <a:pt x="47" y="180"/>
                  </a:cubicBezTo>
                  <a:cubicBezTo>
                    <a:pt x="47" y="180"/>
                    <a:pt x="47" y="181"/>
                    <a:pt x="48" y="181"/>
                  </a:cubicBezTo>
                  <a:cubicBezTo>
                    <a:pt x="48" y="182"/>
                    <a:pt x="48" y="182"/>
                    <a:pt x="48" y="182"/>
                  </a:cubicBezTo>
                  <a:cubicBezTo>
                    <a:pt x="49" y="178"/>
                    <a:pt x="49" y="178"/>
                    <a:pt x="49" y="178"/>
                  </a:cubicBezTo>
                  <a:cubicBezTo>
                    <a:pt x="49" y="183"/>
                    <a:pt x="49" y="183"/>
                    <a:pt x="49" y="183"/>
                  </a:cubicBezTo>
                  <a:cubicBezTo>
                    <a:pt x="49" y="184"/>
                    <a:pt x="50" y="185"/>
                    <a:pt x="50" y="186"/>
                  </a:cubicBezTo>
                  <a:cubicBezTo>
                    <a:pt x="50" y="187"/>
                    <a:pt x="51" y="187"/>
                    <a:pt x="51" y="189"/>
                  </a:cubicBezTo>
                  <a:cubicBezTo>
                    <a:pt x="51" y="190"/>
                    <a:pt x="50" y="191"/>
                    <a:pt x="50" y="191"/>
                  </a:cubicBezTo>
                  <a:cubicBezTo>
                    <a:pt x="49" y="191"/>
                    <a:pt x="49" y="191"/>
                    <a:pt x="49" y="191"/>
                  </a:cubicBezTo>
                  <a:close/>
                  <a:moveTo>
                    <a:pt x="32" y="183"/>
                  </a:moveTo>
                  <a:cubicBezTo>
                    <a:pt x="32" y="183"/>
                    <a:pt x="33" y="183"/>
                    <a:pt x="33" y="183"/>
                  </a:cubicBezTo>
                  <a:cubicBezTo>
                    <a:pt x="35" y="183"/>
                    <a:pt x="38" y="184"/>
                    <a:pt x="39" y="185"/>
                  </a:cubicBezTo>
                  <a:cubicBezTo>
                    <a:pt x="40" y="185"/>
                    <a:pt x="41" y="185"/>
                    <a:pt x="42" y="185"/>
                  </a:cubicBezTo>
                  <a:cubicBezTo>
                    <a:pt x="42" y="185"/>
                    <a:pt x="43" y="185"/>
                    <a:pt x="44" y="186"/>
                  </a:cubicBezTo>
                  <a:cubicBezTo>
                    <a:pt x="45" y="186"/>
                    <a:pt x="45" y="187"/>
                    <a:pt x="45" y="187"/>
                  </a:cubicBezTo>
                  <a:cubicBezTo>
                    <a:pt x="45" y="187"/>
                    <a:pt x="45" y="187"/>
                    <a:pt x="45" y="188"/>
                  </a:cubicBezTo>
                  <a:cubicBezTo>
                    <a:pt x="46" y="188"/>
                    <a:pt x="47" y="188"/>
                    <a:pt x="47" y="189"/>
                  </a:cubicBezTo>
                  <a:cubicBezTo>
                    <a:pt x="48" y="189"/>
                    <a:pt x="48" y="189"/>
                    <a:pt x="48" y="189"/>
                  </a:cubicBezTo>
                  <a:cubicBezTo>
                    <a:pt x="48" y="189"/>
                    <a:pt x="49" y="190"/>
                    <a:pt x="49" y="190"/>
                  </a:cubicBezTo>
                  <a:cubicBezTo>
                    <a:pt x="49" y="190"/>
                    <a:pt x="49" y="190"/>
                    <a:pt x="49" y="190"/>
                  </a:cubicBezTo>
                  <a:cubicBezTo>
                    <a:pt x="49" y="190"/>
                    <a:pt x="49" y="190"/>
                    <a:pt x="49" y="190"/>
                  </a:cubicBezTo>
                  <a:cubicBezTo>
                    <a:pt x="49" y="190"/>
                    <a:pt x="49" y="190"/>
                    <a:pt x="49" y="190"/>
                  </a:cubicBezTo>
                  <a:cubicBezTo>
                    <a:pt x="50" y="190"/>
                    <a:pt x="50" y="189"/>
                    <a:pt x="50" y="189"/>
                  </a:cubicBezTo>
                  <a:cubicBezTo>
                    <a:pt x="50" y="188"/>
                    <a:pt x="49" y="187"/>
                    <a:pt x="49" y="186"/>
                  </a:cubicBezTo>
                  <a:cubicBezTo>
                    <a:pt x="49" y="186"/>
                    <a:pt x="49" y="185"/>
                    <a:pt x="48" y="185"/>
                  </a:cubicBezTo>
                  <a:cubicBezTo>
                    <a:pt x="48" y="185"/>
                    <a:pt x="48" y="185"/>
                    <a:pt x="48" y="185"/>
                  </a:cubicBezTo>
                  <a:cubicBezTo>
                    <a:pt x="48" y="184"/>
                    <a:pt x="48" y="184"/>
                    <a:pt x="48" y="184"/>
                  </a:cubicBezTo>
                  <a:cubicBezTo>
                    <a:pt x="48" y="183"/>
                    <a:pt x="47" y="183"/>
                    <a:pt x="47" y="182"/>
                  </a:cubicBezTo>
                  <a:cubicBezTo>
                    <a:pt x="46" y="181"/>
                    <a:pt x="46" y="181"/>
                    <a:pt x="46" y="180"/>
                  </a:cubicBezTo>
                  <a:cubicBezTo>
                    <a:pt x="46" y="180"/>
                    <a:pt x="46" y="179"/>
                    <a:pt x="47" y="178"/>
                  </a:cubicBezTo>
                  <a:cubicBezTo>
                    <a:pt x="47" y="178"/>
                    <a:pt x="48" y="177"/>
                    <a:pt x="48" y="176"/>
                  </a:cubicBezTo>
                  <a:cubicBezTo>
                    <a:pt x="48" y="175"/>
                    <a:pt x="48" y="175"/>
                    <a:pt x="48" y="175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48" y="175"/>
                    <a:pt x="48" y="175"/>
                    <a:pt x="48" y="175"/>
                  </a:cubicBezTo>
                  <a:cubicBezTo>
                    <a:pt x="47" y="174"/>
                    <a:pt x="47" y="174"/>
                    <a:pt x="47" y="174"/>
                  </a:cubicBezTo>
                  <a:cubicBezTo>
                    <a:pt x="48" y="174"/>
                    <a:pt x="48" y="174"/>
                    <a:pt x="48" y="174"/>
                  </a:cubicBezTo>
                  <a:cubicBezTo>
                    <a:pt x="49" y="174"/>
                    <a:pt x="50" y="174"/>
                    <a:pt x="50" y="175"/>
                  </a:cubicBezTo>
                  <a:cubicBezTo>
                    <a:pt x="50" y="175"/>
                    <a:pt x="50" y="174"/>
                    <a:pt x="51" y="174"/>
                  </a:cubicBezTo>
                  <a:cubicBezTo>
                    <a:pt x="50" y="174"/>
                    <a:pt x="50" y="174"/>
                    <a:pt x="50" y="173"/>
                  </a:cubicBezTo>
                  <a:cubicBezTo>
                    <a:pt x="50" y="173"/>
                    <a:pt x="50" y="173"/>
                    <a:pt x="51" y="172"/>
                  </a:cubicBezTo>
                  <a:cubicBezTo>
                    <a:pt x="50" y="170"/>
                    <a:pt x="49" y="170"/>
                    <a:pt x="49" y="170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48" y="171"/>
                    <a:pt x="48" y="171"/>
                    <a:pt x="48" y="171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48" y="170"/>
                    <a:pt x="47" y="169"/>
                    <a:pt x="47" y="169"/>
                  </a:cubicBezTo>
                  <a:cubicBezTo>
                    <a:pt x="47" y="169"/>
                    <a:pt x="47" y="168"/>
                    <a:pt x="47" y="168"/>
                  </a:cubicBezTo>
                  <a:cubicBezTo>
                    <a:pt x="46" y="168"/>
                    <a:pt x="46" y="167"/>
                    <a:pt x="46" y="167"/>
                  </a:cubicBezTo>
                  <a:cubicBezTo>
                    <a:pt x="46" y="166"/>
                    <a:pt x="46" y="165"/>
                    <a:pt x="47" y="165"/>
                  </a:cubicBezTo>
                  <a:cubicBezTo>
                    <a:pt x="47" y="165"/>
                    <a:pt x="47" y="164"/>
                    <a:pt x="47" y="164"/>
                  </a:cubicBezTo>
                  <a:cubicBezTo>
                    <a:pt x="47" y="163"/>
                    <a:pt x="47" y="163"/>
                    <a:pt x="47" y="162"/>
                  </a:cubicBezTo>
                  <a:cubicBezTo>
                    <a:pt x="47" y="162"/>
                    <a:pt x="47" y="161"/>
                    <a:pt x="47" y="161"/>
                  </a:cubicBezTo>
                  <a:cubicBezTo>
                    <a:pt x="48" y="161"/>
                    <a:pt x="48" y="160"/>
                    <a:pt x="48" y="16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9" y="159"/>
                    <a:pt x="49" y="159"/>
                    <a:pt x="49" y="159"/>
                  </a:cubicBezTo>
                  <a:cubicBezTo>
                    <a:pt x="49" y="160"/>
                    <a:pt x="49" y="160"/>
                    <a:pt x="49" y="160"/>
                  </a:cubicBezTo>
                  <a:cubicBezTo>
                    <a:pt x="50" y="161"/>
                    <a:pt x="51" y="162"/>
                    <a:pt x="51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51" y="162"/>
                    <a:pt x="51" y="160"/>
                    <a:pt x="51" y="160"/>
                  </a:cubicBezTo>
                  <a:cubicBezTo>
                    <a:pt x="51" y="160"/>
                    <a:pt x="51" y="160"/>
                    <a:pt x="51" y="160"/>
                  </a:cubicBezTo>
                  <a:cubicBezTo>
                    <a:pt x="50" y="159"/>
                    <a:pt x="50" y="159"/>
                    <a:pt x="50" y="159"/>
                  </a:cubicBezTo>
                  <a:cubicBezTo>
                    <a:pt x="51" y="159"/>
                    <a:pt x="51" y="159"/>
                    <a:pt x="51" y="159"/>
                  </a:cubicBezTo>
                  <a:cubicBezTo>
                    <a:pt x="51" y="159"/>
                    <a:pt x="52" y="159"/>
                    <a:pt x="52" y="158"/>
                  </a:cubicBezTo>
                  <a:cubicBezTo>
                    <a:pt x="52" y="158"/>
                    <a:pt x="52" y="157"/>
                    <a:pt x="53" y="157"/>
                  </a:cubicBezTo>
                  <a:cubicBezTo>
                    <a:pt x="53" y="157"/>
                    <a:pt x="53" y="157"/>
                    <a:pt x="54" y="157"/>
                  </a:cubicBezTo>
                  <a:cubicBezTo>
                    <a:pt x="54" y="157"/>
                    <a:pt x="54" y="157"/>
                    <a:pt x="55" y="157"/>
                  </a:cubicBezTo>
                  <a:cubicBezTo>
                    <a:pt x="55" y="156"/>
                    <a:pt x="55" y="156"/>
                    <a:pt x="55" y="156"/>
                  </a:cubicBezTo>
                  <a:cubicBezTo>
                    <a:pt x="56" y="155"/>
                    <a:pt x="57" y="155"/>
                    <a:pt x="58" y="155"/>
                  </a:cubicBezTo>
                  <a:cubicBezTo>
                    <a:pt x="58" y="155"/>
                    <a:pt x="59" y="155"/>
                    <a:pt x="59" y="155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5"/>
                    <a:pt x="61" y="156"/>
                    <a:pt x="61" y="156"/>
                  </a:cubicBezTo>
                  <a:cubicBezTo>
                    <a:pt x="63" y="156"/>
                    <a:pt x="64" y="157"/>
                    <a:pt x="65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6" y="158"/>
                    <a:pt x="66" y="158"/>
                    <a:pt x="66" y="158"/>
                  </a:cubicBezTo>
                  <a:cubicBezTo>
                    <a:pt x="66" y="158"/>
                    <a:pt x="66" y="158"/>
                    <a:pt x="66" y="158"/>
                  </a:cubicBezTo>
                  <a:cubicBezTo>
                    <a:pt x="67" y="158"/>
                    <a:pt x="67" y="159"/>
                    <a:pt x="67" y="159"/>
                  </a:cubicBezTo>
                  <a:cubicBezTo>
                    <a:pt x="67" y="159"/>
                    <a:pt x="68" y="159"/>
                    <a:pt x="68" y="159"/>
                  </a:cubicBezTo>
                  <a:cubicBezTo>
                    <a:pt x="68" y="158"/>
                    <a:pt x="69" y="158"/>
                    <a:pt x="70" y="158"/>
                  </a:cubicBezTo>
                  <a:cubicBezTo>
                    <a:pt x="70" y="157"/>
                    <a:pt x="71" y="157"/>
                    <a:pt x="71" y="157"/>
                  </a:cubicBezTo>
                  <a:cubicBezTo>
                    <a:pt x="71" y="157"/>
                    <a:pt x="71" y="157"/>
                    <a:pt x="71" y="157"/>
                  </a:cubicBezTo>
                  <a:cubicBezTo>
                    <a:pt x="72" y="158"/>
                    <a:pt x="72" y="158"/>
                    <a:pt x="72" y="158"/>
                  </a:cubicBezTo>
                  <a:cubicBezTo>
                    <a:pt x="72" y="158"/>
                    <a:pt x="72" y="158"/>
                    <a:pt x="72" y="158"/>
                  </a:cubicBezTo>
                  <a:cubicBezTo>
                    <a:pt x="72" y="158"/>
                    <a:pt x="72" y="157"/>
                    <a:pt x="73" y="157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4" y="157"/>
                    <a:pt x="75" y="158"/>
                    <a:pt x="75" y="158"/>
                  </a:cubicBezTo>
                  <a:cubicBezTo>
                    <a:pt x="75" y="159"/>
                    <a:pt x="75" y="159"/>
                    <a:pt x="76" y="159"/>
                  </a:cubicBezTo>
                  <a:cubicBezTo>
                    <a:pt x="77" y="159"/>
                    <a:pt x="77" y="159"/>
                    <a:pt x="77" y="159"/>
                  </a:cubicBezTo>
                  <a:cubicBezTo>
                    <a:pt x="77" y="159"/>
                    <a:pt x="77" y="159"/>
                    <a:pt x="77" y="159"/>
                  </a:cubicBezTo>
                  <a:cubicBezTo>
                    <a:pt x="77" y="159"/>
                    <a:pt x="77" y="159"/>
                    <a:pt x="77" y="159"/>
                  </a:cubicBezTo>
                  <a:cubicBezTo>
                    <a:pt x="77" y="159"/>
                    <a:pt x="77" y="158"/>
                    <a:pt x="78" y="158"/>
                  </a:cubicBezTo>
                  <a:cubicBezTo>
                    <a:pt x="78" y="158"/>
                    <a:pt x="78" y="158"/>
                    <a:pt x="78" y="158"/>
                  </a:cubicBezTo>
                  <a:cubicBezTo>
                    <a:pt x="79" y="159"/>
                    <a:pt x="79" y="159"/>
                    <a:pt x="79" y="159"/>
                  </a:cubicBezTo>
                  <a:cubicBezTo>
                    <a:pt x="80" y="159"/>
                    <a:pt x="81" y="158"/>
                    <a:pt x="81" y="157"/>
                  </a:cubicBezTo>
                  <a:cubicBezTo>
                    <a:pt x="79" y="157"/>
                    <a:pt x="78" y="156"/>
                    <a:pt x="77" y="155"/>
                  </a:cubicBezTo>
                  <a:cubicBezTo>
                    <a:pt x="77" y="155"/>
                    <a:pt x="77" y="155"/>
                    <a:pt x="77" y="155"/>
                  </a:cubicBezTo>
                  <a:cubicBezTo>
                    <a:pt x="77" y="154"/>
                    <a:pt x="77" y="154"/>
                    <a:pt x="77" y="154"/>
                  </a:cubicBezTo>
                  <a:cubicBezTo>
                    <a:pt x="78" y="154"/>
                    <a:pt x="78" y="154"/>
                    <a:pt x="78" y="153"/>
                  </a:cubicBezTo>
                  <a:cubicBezTo>
                    <a:pt x="79" y="153"/>
                    <a:pt x="79" y="153"/>
                    <a:pt x="79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2"/>
                    <a:pt x="79" y="151"/>
                    <a:pt x="79" y="151"/>
                  </a:cubicBezTo>
                  <a:cubicBezTo>
                    <a:pt x="79" y="151"/>
                    <a:pt x="80" y="150"/>
                    <a:pt x="81" y="150"/>
                  </a:cubicBezTo>
                  <a:cubicBezTo>
                    <a:pt x="80" y="150"/>
                    <a:pt x="80" y="150"/>
                    <a:pt x="80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79" y="149"/>
                    <a:pt x="79" y="149"/>
                    <a:pt x="79" y="149"/>
                  </a:cubicBezTo>
                  <a:cubicBezTo>
                    <a:pt x="79" y="148"/>
                    <a:pt x="79" y="148"/>
                    <a:pt x="79" y="148"/>
                  </a:cubicBezTo>
                  <a:cubicBezTo>
                    <a:pt x="79" y="148"/>
                    <a:pt x="79" y="148"/>
                    <a:pt x="79" y="148"/>
                  </a:cubicBezTo>
                  <a:cubicBezTo>
                    <a:pt x="79" y="147"/>
                    <a:pt x="79" y="147"/>
                    <a:pt x="79" y="147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80" y="146"/>
                    <a:pt x="80" y="146"/>
                    <a:pt x="80" y="146"/>
                  </a:cubicBezTo>
                  <a:cubicBezTo>
                    <a:pt x="80" y="146"/>
                    <a:pt x="81" y="146"/>
                    <a:pt x="82" y="146"/>
                  </a:cubicBezTo>
                  <a:cubicBezTo>
                    <a:pt x="82" y="146"/>
                    <a:pt x="83" y="146"/>
                    <a:pt x="83" y="146"/>
                  </a:cubicBezTo>
                  <a:cubicBezTo>
                    <a:pt x="85" y="146"/>
                    <a:pt x="86" y="146"/>
                    <a:pt x="87" y="145"/>
                  </a:cubicBezTo>
                  <a:cubicBezTo>
                    <a:pt x="87" y="145"/>
                    <a:pt x="88" y="145"/>
                    <a:pt x="89" y="145"/>
                  </a:cubicBezTo>
                  <a:cubicBezTo>
                    <a:pt x="89" y="145"/>
                    <a:pt x="89" y="145"/>
                    <a:pt x="89" y="145"/>
                  </a:cubicBezTo>
                  <a:cubicBezTo>
                    <a:pt x="90" y="144"/>
                    <a:pt x="90" y="144"/>
                    <a:pt x="91" y="144"/>
                  </a:cubicBezTo>
                  <a:cubicBezTo>
                    <a:pt x="91" y="144"/>
                    <a:pt x="92" y="143"/>
                    <a:pt x="93" y="143"/>
                  </a:cubicBezTo>
                  <a:cubicBezTo>
                    <a:pt x="94" y="143"/>
                    <a:pt x="94" y="143"/>
                    <a:pt x="95" y="143"/>
                  </a:cubicBezTo>
                  <a:cubicBezTo>
                    <a:pt x="96" y="143"/>
                    <a:pt x="96" y="143"/>
                    <a:pt x="96" y="143"/>
                  </a:cubicBezTo>
                  <a:cubicBezTo>
                    <a:pt x="96" y="142"/>
                    <a:pt x="96" y="142"/>
                    <a:pt x="96" y="142"/>
                  </a:cubicBezTo>
                  <a:cubicBezTo>
                    <a:pt x="96" y="142"/>
                    <a:pt x="96" y="142"/>
                    <a:pt x="96" y="141"/>
                  </a:cubicBezTo>
                  <a:cubicBezTo>
                    <a:pt x="97" y="141"/>
                    <a:pt x="98" y="141"/>
                    <a:pt x="99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100" y="141"/>
                    <a:pt x="103" y="141"/>
                    <a:pt x="103" y="142"/>
                  </a:cubicBezTo>
                  <a:cubicBezTo>
                    <a:pt x="104" y="142"/>
                    <a:pt x="104" y="143"/>
                    <a:pt x="104" y="144"/>
                  </a:cubicBezTo>
                  <a:cubicBezTo>
                    <a:pt x="104" y="144"/>
                    <a:pt x="104" y="145"/>
                    <a:pt x="104" y="146"/>
                  </a:cubicBezTo>
                  <a:cubicBezTo>
                    <a:pt x="104" y="146"/>
                    <a:pt x="104" y="146"/>
                    <a:pt x="104" y="146"/>
                  </a:cubicBezTo>
                  <a:cubicBezTo>
                    <a:pt x="104" y="146"/>
                    <a:pt x="105" y="146"/>
                    <a:pt x="105" y="145"/>
                  </a:cubicBezTo>
                  <a:cubicBezTo>
                    <a:pt x="105" y="144"/>
                    <a:pt x="105" y="144"/>
                    <a:pt x="105" y="144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06" y="145"/>
                    <a:pt x="107" y="146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08" y="146"/>
                    <a:pt x="108" y="146"/>
                    <a:pt x="109" y="146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0" y="147"/>
                    <a:pt x="110" y="147"/>
                    <a:pt x="110" y="147"/>
                  </a:cubicBezTo>
                  <a:cubicBezTo>
                    <a:pt x="110" y="147"/>
                    <a:pt x="110" y="147"/>
                    <a:pt x="109" y="148"/>
                  </a:cubicBezTo>
                  <a:cubicBezTo>
                    <a:pt x="109" y="148"/>
                    <a:pt x="109" y="148"/>
                    <a:pt x="109" y="148"/>
                  </a:cubicBezTo>
                  <a:cubicBezTo>
                    <a:pt x="110" y="148"/>
                    <a:pt x="110" y="148"/>
                    <a:pt x="111" y="148"/>
                  </a:cubicBezTo>
                  <a:cubicBezTo>
                    <a:pt x="111" y="147"/>
                    <a:pt x="113" y="146"/>
                    <a:pt x="115" y="145"/>
                  </a:cubicBezTo>
                  <a:cubicBezTo>
                    <a:pt x="115" y="145"/>
                    <a:pt x="116" y="145"/>
                    <a:pt x="116" y="145"/>
                  </a:cubicBezTo>
                  <a:cubicBezTo>
                    <a:pt x="117" y="144"/>
                    <a:pt x="117" y="144"/>
                    <a:pt x="117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16" y="146"/>
                    <a:pt x="116" y="147"/>
                    <a:pt x="117" y="147"/>
                  </a:cubicBezTo>
                  <a:cubicBezTo>
                    <a:pt x="117" y="147"/>
                    <a:pt x="117" y="147"/>
                    <a:pt x="118" y="148"/>
                  </a:cubicBezTo>
                  <a:cubicBezTo>
                    <a:pt x="118" y="148"/>
                    <a:pt x="119" y="149"/>
                    <a:pt x="120" y="150"/>
                  </a:cubicBezTo>
                  <a:cubicBezTo>
                    <a:pt x="121" y="152"/>
                    <a:pt x="123" y="155"/>
                    <a:pt x="124" y="158"/>
                  </a:cubicBezTo>
                  <a:cubicBezTo>
                    <a:pt x="125" y="157"/>
                    <a:pt x="125" y="157"/>
                    <a:pt x="126" y="157"/>
                  </a:cubicBezTo>
                  <a:cubicBezTo>
                    <a:pt x="126" y="157"/>
                    <a:pt x="126" y="157"/>
                    <a:pt x="126" y="157"/>
                  </a:cubicBezTo>
                  <a:cubicBezTo>
                    <a:pt x="127" y="157"/>
                    <a:pt x="127" y="158"/>
                    <a:pt x="127" y="158"/>
                  </a:cubicBezTo>
                  <a:cubicBezTo>
                    <a:pt x="127" y="158"/>
                    <a:pt x="127" y="159"/>
                    <a:pt x="127" y="159"/>
                  </a:cubicBezTo>
                  <a:cubicBezTo>
                    <a:pt x="128" y="159"/>
                    <a:pt x="129" y="159"/>
                    <a:pt x="130" y="158"/>
                  </a:cubicBezTo>
                  <a:cubicBezTo>
                    <a:pt x="131" y="158"/>
                    <a:pt x="132" y="157"/>
                    <a:pt x="133" y="158"/>
                  </a:cubicBezTo>
                  <a:cubicBezTo>
                    <a:pt x="134" y="159"/>
                    <a:pt x="134" y="160"/>
                    <a:pt x="135" y="160"/>
                  </a:cubicBezTo>
                  <a:cubicBezTo>
                    <a:pt x="135" y="161"/>
                    <a:pt x="136" y="162"/>
                    <a:pt x="136" y="163"/>
                  </a:cubicBezTo>
                  <a:cubicBezTo>
                    <a:pt x="137" y="163"/>
                    <a:pt x="138" y="163"/>
                    <a:pt x="138" y="163"/>
                  </a:cubicBezTo>
                  <a:cubicBezTo>
                    <a:pt x="138" y="163"/>
                    <a:pt x="139" y="162"/>
                    <a:pt x="139" y="162"/>
                  </a:cubicBezTo>
                  <a:cubicBezTo>
                    <a:pt x="139" y="162"/>
                    <a:pt x="140" y="163"/>
                    <a:pt x="141" y="164"/>
                  </a:cubicBezTo>
                  <a:cubicBezTo>
                    <a:pt x="141" y="164"/>
                    <a:pt x="141" y="165"/>
                    <a:pt x="141" y="165"/>
                  </a:cubicBezTo>
                  <a:cubicBezTo>
                    <a:pt x="141" y="165"/>
                    <a:pt x="142" y="165"/>
                    <a:pt x="142" y="164"/>
                  </a:cubicBezTo>
                  <a:cubicBezTo>
                    <a:pt x="142" y="164"/>
                    <a:pt x="143" y="163"/>
                    <a:pt x="143" y="163"/>
                  </a:cubicBezTo>
                  <a:cubicBezTo>
                    <a:pt x="145" y="162"/>
                    <a:pt x="145" y="162"/>
                    <a:pt x="145" y="162"/>
                  </a:cubicBezTo>
                  <a:cubicBezTo>
                    <a:pt x="146" y="161"/>
                    <a:pt x="148" y="160"/>
                    <a:pt x="150" y="160"/>
                  </a:cubicBezTo>
                  <a:cubicBezTo>
                    <a:pt x="151" y="159"/>
                    <a:pt x="153" y="159"/>
                    <a:pt x="155" y="160"/>
                  </a:cubicBezTo>
                  <a:cubicBezTo>
                    <a:pt x="155" y="160"/>
                    <a:pt x="156" y="160"/>
                    <a:pt x="157" y="160"/>
                  </a:cubicBezTo>
                  <a:cubicBezTo>
                    <a:pt x="157" y="160"/>
                    <a:pt x="158" y="160"/>
                    <a:pt x="158" y="161"/>
                  </a:cubicBezTo>
                  <a:cubicBezTo>
                    <a:pt x="158" y="161"/>
                    <a:pt x="158" y="161"/>
                    <a:pt x="158" y="161"/>
                  </a:cubicBezTo>
                  <a:cubicBezTo>
                    <a:pt x="162" y="161"/>
                    <a:pt x="162" y="161"/>
                    <a:pt x="162" y="161"/>
                  </a:cubicBezTo>
                  <a:cubicBezTo>
                    <a:pt x="162" y="161"/>
                    <a:pt x="163" y="161"/>
                    <a:pt x="163" y="161"/>
                  </a:cubicBezTo>
                  <a:cubicBezTo>
                    <a:pt x="163" y="161"/>
                    <a:pt x="164" y="161"/>
                    <a:pt x="164" y="161"/>
                  </a:cubicBezTo>
                  <a:cubicBezTo>
                    <a:pt x="164" y="161"/>
                    <a:pt x="165" y="161"/>
                    <a:pt x="165" y="161"/>
                  </a:cubicBezTo>
                  <a:cubicBezTo>
                    <a:pt x="165" y="161"/>
                    <a:pt x="165" y="161"/>
                    <a:pt x="165" y="161"/>
                  </a:cubicBezTo>
                  <a:cubicBezTo>
                    <a:pt x="165" y="161"/>
                    <a:pt x="164" y="160"/>
                    <a:pt x="165" y="160"/>
                  </a:cubicBezTo>
                  <a:cubicBezTo>
                    <a:pt x="165" y="159"/>
                    <a:pt x="165" y="159"/>
                    <a:pt x="165" y="158"/>
                  </a:cubicBezTo>
                  <a:cubicBezTo>
                    <a:pt x="164" y="158"/>
                    <a:pt x="164" y="157"/>
                    <a:pt x="164" y="156"/>
                  </a:cubicBezTo>
                  <a:cubicBezTo>
                    <a:pt x="165" y="156"/>
                    <a:pt x="166" y="155"/>
                    <a:pt x="167" y="154"/>
                  </a:cubicBezTo>
                  <a:cubicBezTo>
                    <a:pt x="167" y="154"/>
                    <a:pt x="167" y="154"/>
                    <a:pt x="168" y="154"/>
                  </a:cubicBezTo>
                  <a:cubicBezTo>
                    <a:pt x="168" y="154"/>
                    <a:pt x="168" y="153"/>
                    <a:pt x="168" y="153"/>
                  </a:cubicBezTo>
                  <a:cubicBezTo>
                    <a:pt x="169" y="153"/>
                    <a:pt x="171" y="154"/>
                    <a:pt x="173" y="155"/>
                  </a:cubicBezTo>
                  <a:cubicBezTo>
                    <a:pt x="174" y="156"/>
                    <a:pt x="174" y="156"/>
                    <a:pt x="174" y="156"/>
                  </a:cubicBezTo>
                  <a:cubicBezTo>
                    <a:pt x="175" y="156"/>
                    <a:pt x="175" y="157"/>
                    <a:pt x="175" y="158"/>
                  </a:cubicBezTo>
                  <a:cubicBezTo>
                    <a:pt x="175" y="158"/>
                    <a:pt x="175" y="159"/>
                    <a:pt x="175" y="159"/>
                  </a:cubicBezTo>
                  <a:cubicBezTo>
                    <a:pt x="176" y="159"/>
                    <a:pt x="177" y="160"/>
                    <a:pt x="178" y="160"/>
                  </a:cubicBezTo>
                  <a:cubicBezTo>
                    <a:pt x="179" y="161"/>
                    <a:pt x="179" y="160"/>
                    <a:pt x="180" y="160"/>
                  </a:cubicBezTo>
                  <a:cubicBezTo>
                    <a:pt x="180" y="159"/>
                    <a:pt x="181" y="159"/>
                    <a:pt x="182" y="159"/>
                  </a:cubicBezTo>
                  <a:cubicBezTo>
                    <a:pt x="182" y="159"/>
                    <a:pt x="183" y="159"/>
                    <a:pt x="183" y="159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87" y="161"/>
                    <a:pt x="188" y="162"/>
                    <a:pt x="190" y="163"/>
                  </a:cubicBezTo>
                  <a:cubicBezTo>
                    <a:pt x="191" y="164"/>
                    <a:pt x="192" y="164"/>
                    <a:pt x="194" y="164"/>
                  </a:cubicBezTo>
                  <a:cubicBezTo>
                    <a:pt x="196" y="164"/>
                    <a:pt x="199" y="163"/>
                    <a:pt x="201" y="162"/>
                  </a:cubicBezTo>
                  <a:cubicBezTo>
                    <a:pt x="201" y="162"/>
                    <a:pt x="201" y="162"/>
                    <a:pt x="201" y="162"/>
                  </a:cubicBezTo>
                  <a:cubicBezTo>
                    <a:pt x="202" y="161"/>
                    <a:pt x="203" y="161"/>
                    <a:pt x="204" y="161"/>
                  </a:cubicBezTo>
                  <a:cubicBezTo>
                    <a:pt x="204" y="161"/>
                    <a:pt x="204" y="161"/>
                    <a:pt x="204" y="161"/>
                  </a:cubicBezTo>
                  <a:cubicBezTo>
                    <a:pt x="204" y="161"/>
                    <a:pt x="205" y="161"/>
                    <a:pt x="205" y="161"/>
                  </a:cubicBezTo>
                  <a:cubicBezTo>
                    <a:pt x="206" y="161"/>
                    <a:pt x="206" y="162"/>
                    <a:pt x="206" y="162"/>
                  </a:cubicBezTo>
                  <a:cubicBezTo>
                    <a:pt x="207" y="162"/>
                    <a:pt x="207" y="162"/>
                    <a:pt x="207" y="162"/>
                  </a:cubicBezTo>
                  <a:cubicBezTo>
                    <a:pt x="208" y="162"/>
                    <a:pt x="209" y="162"/>
                    <a:pt x="210" y="162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2" y="163"/>
                    <a:pt x="213" y="162"/>
                  </a:cubicBezTo>
                  <a:cubicBezTo>
                    <a:pt x="213" y="162"/>
                    <a:pt x="213" y="162"/>
                    <a:pt x="213" y="162"/>
                  </a:cubicBezTo>
                  <a:cubicBezTo>
                    <a:pt x="214" y="161"/>
                    <a:pt x="215" y="159"/>
                    <a:pt x="215" y="158"/>
                  </a:cubicBezTo>
                  <a:cubicBezTo>
                    <a:pt x="215" y="157"/>
                    <a:pt x="215" y="157"/>
                    <a:pt x="215" y="156"/>
                  </a:cubicBezTo>
                  <a:cubicBezTo>
                    <a:pt x="215" y="156"/>
                    <a:pt x="216" y="156"/>
                    <a:pt x="216" y="155"/>
                  </a:cubicBezTo>
                  <a:cubicBezTo>
                    <a:pt x="216" y="155"/>
                    <a:pt x="217" y="154"/>
                    <a:pt x="217" y="153"/>
                  </a:cubicBezTo>
                  <a:cubicBezTo>
                    <a:pt x="217" y="153"/>
                    <a:pt x="217" y="153"/>
                    <a:pt x="216" y="153"/>
                  </a:cubicBezTo>
                  <a:cubicBezTo>
                    <a:pt x="215" y="154"/>
                    <a:pt x="215" y="154"/>
                    <a:pt x="215" y="154"/>
                  </a:cubicBezTo>
                  <a:cubicBezTo>
                    <a:pt x="216" y="153"/>
                    <a:pt x="216" y="153"/>
                    <a:pt x="216" y="153"/>
                  </a:cubicBezTo>
                  <a:cubicBezTo>
                    <a:pt x="216" y="150"/>
                    <a:pt x="218" y="149"/>
                    <a:pt x="220" y="149"/>
                  </a:cubicBezTo>
                  <a:cubicBezTo>
                    <a:pt x="224" y="149"/>
                    <a:pt x="224" y="149"/>
                    <a:pt x="224" y="149"/>
                  </a:cubicBezTo>
                  <a:cubicBezTo>
                    <a:pt x="225" y="149"/>
                    <a:pt x="225" y="149"/>
                    <a:pt x="226" y="149"/>
                  </a:cubicBezTo>
                  <a:cubicBezTo>
                    <a:pt x="226" y="150"/>
                    <a:pt x="226" y="150"/>
                    <a:pt x="227" y="150"/>
                  </a:cubicBezTo>
                  <a:cubicBezTo>
                    <a:pt x="227" y="150"/>
                    <a:pt x="228" y="150"/>
                    <a:pt x="228" y="150"/>
                  </a:cubicBezTo>
                  <a:cubicBezTo>
                    <a:pt x="230" y="151"/>
                    <a:pt x="231" y="151"/>
                    <a:pt x="232" y="154"/>
                  </a:cubicBezTo>
                  <a:cubicBezTo>
                    <a:pt x="232" y="155"/>
                    <a:pt x="232" y="156"/>
                    <a:pt x="233" y="157"/>
                  </a:cubicBezTo>
                  <a:cubicBezTo>
                    <a:pt x="233" y="157"/>
                    <a:pt x="233" y="158"/>
                    <a:pt x="234" y="159"/>
                  </a:cubicBezTo>
                  <a:cubicBezTo>
                    <a:pt x="234" y="160"/>
                    <a:pt x="234" y="160"/>
                    <a:pt x="234" y="160"/>
                  </a:cubicBezTo>
                  <a:cubicBezTo>
                    <a:pt x="234" y="163"/>
                    <a:pt x="234" y="163"/>
                    <a:pt x="237" y="163"/>
                  </a:cubicBezTo>
                  <a:cubicBezTo>
                    <a:pt x="239" y="164"/>
                    <a:pt x="241" y="165"/>
                    <a:pt x="242" y="167"/>
                  </a:cubicBezTo>
                  <a:cubicBezTo>
                    <a:pt x="242" y="168"/>
                    <a:pt x="242" y="168"/>
                    <a:pt x="242" y="168"/>
                  </a:cubicBezTo>
                  <a:cubicBezTo>
                    <a:pt x="242" y="169"/>
                    <a:pt x="243" y="170"/>
                    <a:pt x="243" y="170"/>
                  </a:cubicBezTo>
                  <a:cubicBezTo>
                    <a:pt x="243" y="170"/>
                    <a:pt x="244" y="170"/>
                    <a:pt x="244" y="169"/>
                  </a:cubicBezTo>
                  <a:cubicBezTo>
                    <a:pt x="245" y="169"/>
                    <a:pt x="245" y="169"/>
                    <a:pt x="245" y="169"/>
                  </a:cubicBezTo>
                  <a:cubicBezTo>
                    <a:pt x="247" y="168"/>
                    <a:pt x="249" y="168"/>
                    <a:pt x="250" y="167"/>
                  </a:cubicBezTo>
                  <a:cubicBezTo>
                    <a:pt x="252" y="166"/>
                    <a:pt x="252" y="166"/>
                    <a:pt x="252" y="166"/>
                  </a:cubicBezTo>
                  <a:cubicBezTo>
                    <a:pt x="251" y="168"/>
                    <a:pt x="251" y="168"/>
                    <a:pt x="251" y="168"/>
                  </a:cubicBezTo>
                  <a:cubicBezTo>
                    <a:pt x="251" y="168"/>
                    <a:pt x="251" y="168"/>
                    <a:pt x="251" y="169"/>
                  </a:cubicBezTo>
                  <a:cubicBezTo>
                    <a:pt x="251" y="169"/>
                    <a:pt x="251" y="170"/>
                    <a:pt x="251" y="171"/>
                  </a:cubicBezTo>
                  <a:cubicBezTo>
                    <a:pt x="251" y="171"/>
                    <a:pt x="251" y="171"/>
                    <a:pt x="250" y="172"/>
                  </a:cubicBezTo>
                  <a:cubicBezTo>
                    <a:pt x="250" y="172"/>
                    <a:pt x="250" y="173"/>
                    <a:pt x="249" y="173"/>
                  </a:cubicBezTo>
                  <a:cubicBezTo>
                    <a:pt x="249" y="174"/>
                    <a:pt x="249" y="174"/>
                    <a:pt x="249" y="174"/>
                  </a:cubicBezTo>
                  <a:cubicBezTo>
                    <a:pt x="248" y="177"/>
                    <a:pt x="247" y="180"/>
                    <a:pt x="246" y="180"/>
                  </a:cubicBezTo>
                  <a:cubicBezTo>
                    <a:pt x="246" y="180"/>
                    <a:pt x="246" y="180"/>
                    <a:pt x="246" y="180"/>
                  </a:cubicBezTo>
                  <a:cubicBezTo>
                    <a:pt x="245" y="179"/>
                    <a:pt x="245" y="179"/>
                    <a:pt x="245" y="179"/>
                  </a:cubicBezTo>
                  <a:cubicBezTo>
                    <a:pt x="245" y="179"/>
                    <a:pt x="244" y="179"/>
                    <a:pt x="244" y="179"/>
                  </a:cubicBezTo>
                  <a:cubicBezTo>
                    <a:pt x="244" y="179"/>
                    <a:pt x="244" y="179"/>
                    <a:pt x="243" y="179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81"/>
                    <a:pt x="243" y="181"/>
                    <a:pt x="243" y="182"/>
                  </a:cubicBezTo>
                  <a:cubicBezTo>
                    <a:pt x="243" y="182"/>
                    <a:pt x="243" y="182"/>
                    <a:pt x="243" y="182"/>
                  </a:cubicBezTo>
                  <a:cubicBezTo>
                    <a:pt x="243" y="183"/>
                    <a:pt x="243" y="184"/>
                    <a:pt x="243" y="185"/>
                  </a:cubicBezTo>
                  <a:cubicBezTo>
                    <a:pt x="242" y="185"/>
                    <a:pt x="242" y="185"/>
                    <a:pt x="242" y="185"/>
                  </a:cubicBezTo>
                  <a:cubicBezTo>
                    <a:pt x="242" y="186"/>
                    <a:pt x="242" y="186"/>
                    <a:pt x="242" y="186"/>
                  </a:cubicBezTo>
                  <a:cubicBezTo>
                    <a:pt x="242" y="186"/>
                    <a:pt x="242" y="186"/>
                    <a:pt x="243" y="185"/>
                  </a:cubicBezTo>
                  <a:cubicBezTo>
                    <a:pt x="243" y="184"/>
                    <a:pt x="243" y="184"/>
                    <a:pt x="243" y="184"/>
                  </a:cubicBezTo>
                  <a:cubicBezTo>
                    <a:pt x="244" y="183"/>
                    <a:pt x="244" y="183"/>
                    <a:pt x="244" y="183"/>
                  </a:cubicBezTo>
                  <a:cubicBezTo>
                    <a:pt x="244" y="184"/>
                    <a:pt x="244" y="184"/>
                    <a:pt x="244" y="184"/>
                  </a:cubicBezTo>
                  <a:cubicBezTo>
                    <a:pt x="244" y="184"/>
                    <a:pt x="244" y="184"/>
                    <a:pt x="244" y="184"/>
                  </a:cubicBezTo>
                  <a:cubicBezTo>
                    <a:pt x="246" y="183"/>
                    <a:pt x="246" y="183"/>
                    <a:pt x="246" y="183"/>
                  </a:cubicBezTo>
                  <a:cubicBezTo>
                    <a:pt x="245" y="185"/>
                    <a:pt x="245" y="185"/>
                    <a:pt x="245" y="185"/>
                  </a:cubicBezTo>
                  <a:cubicBezTo>
                    <a:pt x="245" y="185"/>
                    <a:pt x="245" y="185"/>
                    <a:pt x="245" y="186"/>
                  </a:cubicBezTo>
                  <a:cubicBezTo>
                    <a:pt x="246" y="186"/>
                    <a:pt x="246" y="186"/>
                    <a:pt x="246" y="186"/>
                  </a:cubicBezTo>
                  <a:cubicBezTo>
                    <a:pt x="247" y="186"/>
                    <a:pt x="249" y="185"/>
                    <a:pt x="249" y="185"/>
                  </a:cubicBezTo>
                  <a:cubicBezTo>
                    <a:pt x="251" y="184"/>
                    <a:pt x="252" y="182"/>
                    <a:pt x="254" y="180"/>
                  </a:cubicBezTo>
                  <a:cubicBezTo>
                    <a:pt x="254" y="180"/>
                    <a:pt x="254" y="179"/>
                    <a:pt x="254" y="179"/>
                  </a:cubicBezTo>
                  <a:cubicBezTo>
                    <a:pt x="256" y="177"/>
                    <a:pt x="257" y="176"/>
                    <a:pt x="258" y="174"/>
                  </a:cubicBezTo>
                  <a:cubicBezTo>
                    <a:pt x="259" y="172"/>
                    <a:pt x="261" y="169"/>
                    <a:pt x="263" y="167"/>
                  </a:cubicBezTo>
                  <a:cubicBezTo>
                    <a:pt x="263" y="166"/>
                    <a:pt x="264" y="163"/>
                    <a:pt x="264" y="162"/>
                  </a:cubicBezTo>
                  <a:cubicBezTo>
                    <a:pt x="263" y="159"/>
                    <a:pt x="264" y="157"/>
                    <a:pt x="265" y="154"/>
                  </a:cubicBezTo>
                  <a:cubicBezTo>
                    <a:pt x="265" y="154"/>
                    <a:pt x="265" y="150"/>
                    <a:pt x="265" y="150"/>
                  </a:cubicBezTo>
                  <a:cubicBezTo>
                    <a:pt x="264" y="149"/>
                    <a:pt x="263" y="148"/>
                    <a:pt x="263" y="148"/>
                  </a:cubicBezTo>
                  <a:cubicBezTo>
                    <a:pt x="262" y="147"/>
                    <a:pt x="262" y="147"/>
                    <a:pt x="260" y="146"/>
                  </a:cubicBezTo>
                  <a:cubicBezTo>
                    <a:pt x="260" y="148"/>
                    <a:pt x="260" y="149"/>
                    <a:pt x="259" y="149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258" y="149"/>
                    <a:pt x="258" y="149"/>
                    <a:pt x="258" y="149"/>
                  </a:cubicBezTo>
                  <a:cubicBezTo>
                    <a:pt x="258" y="149"/>
                    <a:pt x="257" y="149"/>
                    <a:pt x="256" y="149"/>
                  </a:cubicBezTo>
                  <a:cubicBezTo>
                    <a:pt x="254" y="149"/>
                    <a:pt x="254" y="149"/>
                    <a:pt x="254" y="149"/>
                  </a:cubicBezTo>
                  <a:cubicBezTo>
                    <a:pt x="256" y="148"/>
                    <a:pt x="256" y="148"/>
                    <a:pt x="256" y="148"/>
                  </a:cubicBezTo>
                  <a:cubicBezTo>
                    <a:pt x="256" y="148"/>
                    <a:pt x="256" y="148"/>
                    <a:pt x="256" y="148"/>
                  </a:cubicBezTo>
                  <a:cubicBezTo>
                    <a:pt x="256" y="148"/>
                    <a:pt x="256" y="148"/>
                    <a:pt x="255" y="149"/>
                  </a:cubicBezTo>
                  <a:cubicBezTo>
                    <a:pt x="255" y="149"/>
                    <a:pt x="255" y="149"/>
                    <a:pt x="255" y="149"/>
                  </a:cubicBezTo>
                  <a:cubicBezTo>
                    <a:pt x="255" y="145"/>
                    <a:pt x="255" y="145"/>
                    <a:pt x="255" y="145"/>
                  </a:cubicBezTo>
                  <a:cubicBezTo>
                    <a:pt x="253" y="145"/>
                    <a:pt x="252" y="145"/>
                    <a:pt x="252" y="144"/>
                  </a:cubicBezTo>
                  <a:cubicBezTo>
                    <a:pt x="251" y="143"/>
                    <a:pt x="252" y="142"/>
                    <a:pt x="254" y="140"/>
                  </a:cubicBezTo>
                  <a:cubicBezTo>
                    <a:pt x="255" y="139"/>
                    <a:pt x="256" y="138"/>
                    <a:pt x="257" y="137"/>
                  </a:cubicBezTo>
                  <a:cubicBezTo>
                    <a:pt x="258" y="135"/>
                    <a:pt x="259" y="134"/>
                    <a:pt x="261" y="133"/>
                  </a:cubicBezTo>
                  <a:cubicBezTo>
                    <a:pt x="262" y="132"/>
                    <a:pt x="263" y="130"/>
                    <a:pt x="265" y="128"/>
                  </a:cubicBezTo>
                  <a:cubicBezTo>
                    <a:pt x="265" y="127"/>
                    <a:pt x="266" y="126"/>
                    <a:pt x="267" y="125"/>
                  </a:cubicBezTo>
                  <a:cubicBezTo>
                    <a:pt x="268" y="124"/>
                    <a:pt x="271" y="123"/>
                    <a:pt x="273" y="123"/>
                  </a:cubicBezTo>
                  <a:cubicBezTo>
                    <a:pt x="275" y="123"/>
                    <a:pt x="276" y="124"/>
                    <a:pt x="276" y="124"/>
                  </a:cubicBezTo>
                  <a:cubicBezTo>
                    <a:pt x="277" y="124"/>
                    <a:pt x="277" y="124"/>
                    <a:pt x="278" y="124"/>
                  </a:cubicBezTo>
                  <a:cubicBezTo>
                    <a:pt x="278" y="124"/>
                    <a:pt x="279" y="124"/>
                    <a:pt x="279" y="124"/>
                  </a:cubicBezTo>
                  <a:cubicBezTo>
                    <a:pt x="279" y="124"/>
                    <a:pt x="280" y="124"/>
                    <a:pt x="280" y="124"/>
                  </a:cubicBezTo>
                  <a:cubicBezTo>
                    <a:pt x="281" y="124"/>
                    <a:pt x="281" y="124"/>
                    <a:pt x="281" y="124"/>
                  </a:cubicBezTo>
                  <a:cubicBezTo>
                    <a:pt x="282" y="124"/>
                    <a:pt x="282" y="124"/>
                    <a:pt x="282" y="124"/>
                  </a:cubicBezTo>
                  <a:cubicBezTo>
                    <a:pt x="282" y="124"/>
                    <a:pt x="282" y="124"/>
                    <a:pt x="282" y="124"/>
                  </a:cubicBezTo>
                  <a:cubicBezTo>
                    <a:pt x="283" y="124"/>
                    <a:pt x="283" y="124"/>
                    <a:pt x="283" y="124"/>
                  </a:cubicBezTo>
                  <a:cubicBezTo>
                    <a:pt x="283" y="123"/>
                    <a:pt x="283" y="123"/>
                    <a:pt x="283" y="123"/>
                  </a:cubicBezTo>
                  <a:cubicBezTo>
                    <a:pt x="284" y="123"/>
                    <a:pt x="284" y="122"/>
                    <a:pt x="284" y="122"/>
                  </a:cubicBezTo>
                  <a:cubicBezTo>
                    <a:pt x="285" y="122"/>
                    <a:pt x="285" y="123"/>
                    <a:pt x="286" y="123"/>
                  </a:cubicBezTo>
                  <a:cubicBezTo>
                    <a:pt x="287" y="123"/>
                    <a:pt x="287" y="123"/>
                    <a:pt x="288" y="123"/>
                  </a:cubicBezTo>
                  <a:cubicBezTo>
                    <a:pt x="289" y="123"/>
                    <a:pt x="289" y="123"/>
                    <a:pt x="289" y="123"/>
                  </a:cubicBezTo>
                  <a:cubicBezTo>
                    <a:pt x="289" y="123"/>
                    <a:pt x="290" y="123"/>
                    <a:pt x="291" y="124"/>
                  </a:cubicBezTo>
                  <a:cubicBezTo>
                    <a:pt x="292" y="125"/>
                    <a:pt x="292" y="125"/>
                    <a:pt x="292" y="125"/>
                  </a:cubicBezTo>
                  <a:cubicBezTo>
                    <a:pt x="290" y="126"/>
                    <a:pt x="290" y="126"/>
                    <a:pt x="290" y="126"/>
                  </a:cubicBezTo>
                  <a:cubicBezTo>
                    <a:pt x="290" y="126"/>
                    <a:pt x="290" y="126"/>
                    <a:pt x="289" y="126"/>
                  </a:cubicBezTo>
                  <a:cubicBezTo>
                    <a:pt x="290" y="126"/>
                    <a:pt x="291" y="126"/>
                    <a:pt x="292" y="125"/>
                  </a:cubicBezTo>
                  <a:cubicBezTo>
                    <a:pt x="293" y="125"/>
                    <a:pt x="294" y="125"/>
                    <a:pt x="294" y="125"/>
                  </a:cubicBezTo>
                  <a:cubicBezTo>
                    <a:pt x="295" y="124"/>
                    <a:pt x="295" y="125"/>
                    <a:pt x="296" y="125"/>
                  </a:cubicBezTo>
                  <a:cubicBezTo>
                    <a:pt x="296" y="125"/>
                    <a:pt x="296" y="125"/>
                    <a:pt x="297" y="125"/>
                  </a:cubicBezTo>
                  <a:cubicBezTo>
                    <a:pt x="296" y="125"/>
                    <a:pt x="296" y="125"/>
                    <a:pt x="295" y="125"/>
                  </a:cubicBezTo>
                  <a:cubicBezTo>
                    <a:pt x="295" y="124"/>
                    <a:pt x="295" y="124"/>
                    <a:pt x="295" y="124"/>
                  </a:cubicBezTo>
                  <a:cubicBezTo>
                    <a:pt x="295" y="124"/>
                    <a:pt x="295" y="124"/>
                    <a:pt x="295" y="124"/>
                  </a:cubicBezTo>
                  <a:cubicBezTo>
                    <a:pt x="295" y="124"/>
                    <a:pt x="295" y="123"/>
                    <a:pt x="295" y="123"/>
                  </a:cubicBezTo>
                  <a:cubicBezTo>
                    <a:pt x="295" y="123"/>
                    <a:pt x="295" y="122"/>
                    <a:pt x="295" y="122"/>
                  </a:cubicBezTo>
                  <a:cubicBezTo>
                    <a:pt x="295" y="122"/>
                    <a:pt x="295" y="122"/>
                    <a:pt x="295" y="122"/>
                  </a:cubicBezTo>
                  <a:cubicBezTo>
                    <a:pt x="295" y="122"/>
                    <a:pt x="295" y="122"/>
                    <a:pt x="295" y="122"/>
                  </a:cubicBezTo>
                  <a:cubicBezTo>
                    <a:pt x="296" y="122"/>
                    <a:pt x="296" y="121"/>
                    <a:pt x="296" y="121"/>
                  </a:cubicBezTo>
                  <a:cubicBezTo>
                    <a:pt x="296" y="120"/>
                    <a:pt x="297" y="119"/>
                    <a:pt x="297" y="119"/>
                  </a:cubicBezTo>
                  <a:cubicBezTo>
                    <a:pt x="299" y="118"/>
                    <a:pt x="300" y="117"/>
                    <a:pt x="301" y="115"/>
                  </a:cubicBezTo>
                  <a:cubicBezTo>
                    <a:pt x="302" y="113"/>
                    <a:pt x="303" y="113"/>
                    <a:pt x="305" y="112"/>
                  </a:cubicBezTo>
                  <a:cubicBezTo>
                    <a:pt x="306" y="112"/>
                    <a:pt x="306" y="112"/>
                    <a:pt x="306" y="112"/>
                  </a:cubicBezTo>
                  <a:cubicBezTo>
                    <a:pt x="306" y="112"/>
                    <a:pt x="307" y="112"/>
                    <a:pt x="308" y="112"/>
                  </a:cubicBezTo>
                  <a:cubicBezTo>
                    <a:pt x="308" y="113"/>
                    <a:pt x="309" y="113"/>
                    <a:pt x="309" y="112"/>
                  </a:cubicBezTo>
                  <a:cubicBezTo>
                    <a:pt x="311" y="109"/>
                    <a:pt x="311" y="109"/>
                    <a:pt x="311" y="109"/>
                  </a:cubicBezTo>
                  <a:cubicBezTo>
                    <a:pt x="310" y="112"/>
                    <a:pt x="310" y="112"/>
                    <a:pt x="310" y="112"/>
                  </a:cubicBezTo>
                  <a:cubicBezTo>
                    <a:pt x="310" y="113"/>
                    <a:pt x="310" y="114"/>
                    <a:pt x="310" y="115"/>
                  </a:cubicBezTo>
                  <a:cubicBezTo>
                    <a:pt x="310" y="115"/>
                    <a:pt x="309" y="116"/>
                    <a:pt x="309" y="116"/>
                  </a:cubicBezTo>
                  <a:cubicBezTo>
                    <a:pt x="309" y="116"/>
                    <a:pt x="310" y="116"/>
                    <a:pt x="310" y="116"/>
                  </a:cubicBezTo>
                  <a:cubicBezTo>
                    <a:pt x="311" y="116"/>
                    <a:pt x="311" y="116"/>
                    <a:pt x="311" y="116"/>
                  </a:cubicBezTo>
                  <a:cubicBezTo>
                    <a:pt x="311" y="116"/>
                    <a:pt x="311" y="116"/>
                    <a:pt x="311" y="116"/>
                  </a:cubicBezTo>
                  <a:cubicBezTo>
                    <a:pt x="312" y="114"/>
                    <a:pt x="314" y="113"/>
                    <a:pt x="315" y="113"/>
                  </a:cubicBezTo>
                  <a:cubicBezTo>
                    <a:pt x="315" y="113"/>
                    <a:pt x="315" y="113"/>
                    <a:pt x="315" y="113"/>
                  </a:cubicBezTo>
                  <a:cubicBezTo>
                    <a:pt x="315" y="112"/>
                    <a:pt x="315" y="111"/>
                    <a:pt x="316" y="110"/>
                  </a:cubicBezTo>
                  <a:cubicBezTo>
                    <a:pt x="317" y="109"/>
                    <a:pt x="318" y="108"/>
                    <a:pt x="320" y="108"/>
                  </a:cubicBezTo>
                  <a:cubicBezTo>
                    <a:pt x="320" y="108"/>
                    <a:pt x="321" y="108"/>
                    <a:pt x="321" y="109"/>
                  </a:cubicBezTo>
                  <a:cubicBezTo>
                    <a:pt x="321" y="109"/>
                    <a:pt x="321" y="109"/>
                    <a:pt x="321" y="110"/>
                  </a:cubicBezTo>
                  <a:cubicBezTo>
                    <a:pt x="321" y="110"/>
                    <a:pt x="320" y="111"/>
                    <a:pt x="320" y="111"/>
                  </a:cubicBezTo>
                  <a:cubicBezTo>
                    <a:pt x="319" y="111"/>
                    <a:pt x="319" y="111"/>
                    <a:pt x="319" y="111"/>
                  </a:cubicBezTo>
                  <a:cubicBezTo>
                    <a:pt x="319" y="111"/>
                    <a:pt x="319" y="112"/>
                    <a:pt x="319" y="113"/>
                  </a:cubicBezTo>
                  <a:cubicBezTo>
                    <a:pt x="319" y="113"/>
                    <a:pt x="319" y="113"/>
                    <a:pt x="319" y="114"/>
                  </a:cubicBezTo>
                  <a:cubicBezTo>
                    <a:pt x="319" y="114"/>
                    <a:pt x="319" y="114"/>
                    <a:pt x="318" y="115"/>
                  </a:cubicBezTo>
                  <a:cubicBezTo>
                    <a:pt x="318" y="116"/>
                    <a:pt x="318" y="117"/>
                    <a:pt x="318" y="117"/>
                  </a:cubicBezTo>
                  <a:cubicBezTo>
                    <a:pt x="318" y="117"/>
                    <a:pt x="318" y="117"/>
                    <a:pt x="318" y="117"/>
                  </a:cubicBezTo>
                  <a:cubicBezTo>
                    <a:pt x="318" y="118"/>
                    <a:pt x="318" y="118"/>
                    <a:pt x="318" y="118"/>
                  </a:cubicBezTo>
                  <a:cubicBezTo>
                    <a:pt x="315" y="119"/>
                    <a:pt x="312" y="121"/>
                    <a:pt x="310" y="124"/>
                  </a:cubicBezTo>
                  <a:cubicBezTo>
                    <a:pt x="310" y="125"/>
                    <a:pt x="310" y="125"/>
                    <a:pt x="309" y="126"/>
                  </a:cubicBezTo>
                  <a:cubicBezTo>
                    <a:pt x="308" y="128"/>
                    <a:pt x="305" y="132"/>
                    <a:pt x="303" y="132"/>
                  </a:cubicBezTo>
                  <a:cubicBezTo>
                    <a:pt x="303" y="133"/>
                    <a:pt x="302" y="134"/>
                    <a:pt x="301" y="135"/>
                  </a:cubicBezTo>
                  <a:cubicBezTo>
                    <a:pt x="301" y="136"/>
                    <a:pt x="300" y="136"/>
                    <a:pt x="300" y="136"/>
                  </a:cubicBezTo>
                  <a:cubicBezTo>
                    <a:pt x="299" y="138"/>
                    <a:pt x="299" y="141"/>
                    <a:pt x="299" y="143"/>
                  </a:cubicBezTo>
                  <a:cubicBezTo>
                    <a:pt x="299" y="144"/>
                    <a:pt x="299" y="144"/>
                    <a:pt x="299" y="144"/>
                  </a:cubicBezTo>
                  <a:cubicBezTo>
                    <a:pt x="299" y="147"/>
                    <a:pt x="300" y="151"/>
                    <a:pt x="301" y="154"/>
                  </a:cubicBezTo>
                  <a:cubicBezTo>
                    <a:pt x="301" y="155"/>
                    <a:pt x="302" y="156"/>
                    <a:pt x="302" y="157"/>
                  </a:cubicBezTo>
                  <a:cubicBezTo>
                    <a:pt x="302" y="157"/>
                    <a:pt x="302" y="157"/>
                    <a:pt x="302" y="157"/>
                  </a:cubicBezTo>
                  <a:cubicBezTo>
                    <a:pt x="303" y="156"/>
                    <a:pt x="304" y="155"/>
                    <a:pt x="305" y="153"/>
                  </a:cubicBezTo>
                  <a:cubicBezTo>
                    <a:pt x="305" y="152"/>
                    <a:pt x="306" y="149"/>
                    <a:pt x="308" y="149"/>
                  </a:cubicBezTo>
                  <a:cubicBezTo>
                    <a:pt x="308" y="149"/>
                    <a:pt x="308" y="149"/>
                    <a:pt x="308" y="149"/>
                  </a:cubicBezTo>
                  <a:cubicBezTo>
                    <a:pt x="308" y="149"/>
                    <a:pt x="308" y="149"/>
                    <a:pt x="308" y="149"/>
                  </a:cubicBezTo>
                  <a:cubicBezTo>
                    <a:pt x="308" y="148"/>
                    <a:pt x="308" y="147"/>
                    <a:pt x="309" y="146"/>
                  </a:cubicBezTo>
                  <a:cubicBezTo>
                    <a:pt x="309" y="146"/>
                    <a:pt x="309" y="146"/>
                    <a:pt x="309" y="145"/>
                  </a:cubicBezTo>
                  <a:cubicBezTo>
                    <a:pt x="310" y="145"/>
                    <a:pt x="310" y="144"/>
                    <a:pt x="311" y="144"/>
                  </a:cubicBezTo>
                  <a:cubicBezTo>
                    <a:pt x="311" y="144"/>
                    <a:pt x="312" y="144"/>
                    <a:pt x="312" y="144"/>
                  </a:cubicBezTo>
                  <a:cubicBezTo>
                    <a:pt x="312" y="144"/>
                    <a:pt x="312" y="144"/>
                    <a:pt x="312" y="144"/>
                  </a:cubicBezTo>
                  <a:cubicBezTo>
                    <a:pt x="313" y="144"/>
                    <a:pt x="313" y="144"/>
                    <a:pt x="313" y="143"/>
                  </a:cubicBezTo>
                  <a:cubicBezTo>
                    <a:pt x="312" y="142"/>
                    <a:pt x="312" y="142"/>
                    <a:pt x="312" y="141"/>
                  </a:cubicBezTo>
                  <a:cubicBezTo>
                    <a:pt x="312" y="140"/>
                    <a:pt x="313" y="139"/>
                    <a:pt x="313" y="139"/>
                  </a:cubicBezTo>
                  <a:cubicBezTo>
                    <a:pt x="314" y="138"/>
                    <a:pt x="314" y="138"/>
                    <a:pt x="314" y="138"/>
                  </a:cubicBezTo>
                  <a:cubicBezTo>
                    <a:pt x="313" y="137"/>
                    <a:pt x="313" y="137"/>
                    <a:pt x="313" y="137"/>
                  </a:cubicBezTo>
                  <a:cubicBezTo>
                    <a:pt x="314" y="137"/>
                    <a:pt x="314" y="137"/>
                    <a:pt x="314" y="137"/>
                  </a:cubicBezTo>
                  <a:cubicBezTo>
                    <a:pt x="314" y="137"/>
                    <a:pt x="315" y="136"/>
                    <a:pt x="315" y="136"/>
                  </a:cubicBezTo>
                  <a:cubicBezTo>
                    <a:pt x="315" y="136"/>
                    <a:pt x="315" y="135"/>
                    <a:pt x="315" y="134"/>
                  </a:cubicBezTo>
                  <a:cubicBezTo>
                    <a:pt x="315" y="134"/>
                    <a:pt x="315" y="133"/>
                    <a:pt x="315" y="133"/>
                  </a:cubicBezTo>
                  <a:cubicBezTo>
                    <a:pt x="315" y="132"/>
                    <a:pt x="316" y="132"/>
                    <a:pt x="316" y="131"/>
                  </a:cubicBezTo>
                  <a:cubicBezTo>
                    <a:pt x="316" y="131"/>
                    <a:pt x="316" y="131"/>
                    <a:pt x="315" y="131"/>
                  </a:cubicBezTo>
                  <a:cubicBezTo>
                    <a:pt x="315" y="131"/>
                    <a:pt x="315" y="132"/>
                    <a:pt x="314" y="132"/>
                  </a:cubicBezTo>
                  <a:cubicBezTo>
                    <a:pt x="314" y="133"/>
                    <a:pt x="314" y="133"/>
                    <a:pt x="314" y="133"/>
                  </a:cubicBezTo>
                  <a:cubicBezTo>
                    <a:pt x="314" y="132"/>
                    <a:pt x="314" y="132"/>
                    <a:pt x="314" y="132"/>
                  </a:cubicBezTo>
                  <a:cubicBezTo>
                    <a:pt x="312" y="130"/>
                    <a:pt x="314" y="128"/>
                    <a:pt x="315" y="126"/>
                  </a:cubicBezTo>
                  <a:cubicBezTo>
                    <a:pt x="315" y="126"/>
                    <a:pt x="315" y="126"/>
                    <a:pt x="315" y="125"/>
                  </a:cubicBezTo>
                  <a:cubicBezTo>
                    <a:pt x="315" y="125"/>
                    <a:pt x="315" y="125"/>
                    <a:pt x="315" y="125"/>
                  </a:cubicBezTo>
                  <a:cubicBezTo>
                    <a:pt x="316" y="123"/>
                    <a:pt x="317" y="121"/>
                    <a:pt x="318" y="121"/>
                  </a:cubicBezTo>
                  <a:cubicBezTo>
                    <a:pt x="318" y="121"/>
                    <a:pt x="318" y="121"/>
                    <a:pt x="318" y="121"/>
                  </a:cubicBezTo>
                  <a:cubicBezTo>
                    <a:pt x="319" y="121"/>
                    <a:pt x="319" y="121"/>
                    <a:pt x="319" y="121"/>
                  </a:cubicBezTo>
                  <a:cubicBezTo>
                    <a:pt x="319" y="121"/>
                    <a:pt x="319" y="121"/>
                    <a:pt x="319" y="121"/>
                  </a:cubicBezTo>
                  <a:cubicBezTo>
                    <a:pt x="319" y="120"/>
                    <a:pt x="319" y="120"/>
                    <a:pt x="319" y="120"/>
                  </a:cubicBezTo>
                  <a:cubicBezTo>
                    <a:pt x="320" y="121"/>
                    <a:pt x="320" y="121"/>
                    <a:pt x="320" y="121"/>
                  </a:cubicBezTo>
                  <a:cubicBezTo>
                    <a:pt x="320" y="121"/>
                    <a:pt x="320" y="121"/>
                    <a:pt x="320" y="121"/>
                  </a:cubicBezTo>
                  <a:cubicBezTo>
                    <a:pt x="321" y="120"/>
                    <a:pt x="321" y="120"/>
                    <a:pt x="322" y="119"/>
                  </a:cubicBezTo>
                  <a:cubicBezTo>
                    <a:pt x="322" y="119"/>
                    <a:pt x="322" y="119"/>
                    <a:pt x="322" y="119"/>
                  </a:cubicBezTo>
                  <a:cubicBezTo>
                    <a:pt x="323" y="119"/>
                    <a:pt x="323" y="119"/>
                    <a:pt x="324" y="119"/>
                  </a:cubicBezTo>
                  <a:cubicBezTo>
                    <a:pt x="324" y="119"/>
                    <a:pt x="324" y="120"/>
                    <a:pt x="324" y="120"/>
                  </a:cubicBezTo>
                  <a:cubicBezTo>
                    <a:pt x="326" y="117"/>
                    <a:pt x="329" y="117"/>
                    <a:pt x="332" y="120"/>
                  </a:cubicBezTo>
                  <a:cubicBezTo>
                    <a:pt x="332" y="120"/>
                    <a:pt x="333" y="119"/>
                    <a:pt x="334" y="118"/>
                  </a:cubicBezTo>
                  <a:cubicBezTo>
                    <a:pt x="334" y="118"/>
                    <a:pt x="334" y="118"/>
                    <a:pt x="335" y="118"/>
                  </a:cubicBezTo>
                  <a:cubicBezTo>
                    <a:pt x="336" y="117"/>
                    <a:pt x="336" y="117"/>
                    <a:pt x="336" y="116"/>
                  </a:cubicBezTo>
                  <a:cubicBezTo>
                    <a:pt x="336" y="115"/>
                    <a:pt x="336" y="115"/>
                    <a:pt x="336" y="115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38" y="114"/>
                    <a:pt x="340" y="113"/>
                    <a:pt x="342" y="112"/>
                  </a:cubicBezTo>
                  <a:cubicBezTo>
                    <a:pt x="342" y="112"/>
                    <a:pt x="343" y="112"/>
                    <a:pt x="343" y="112"/>
                  </a:cubicBezTo>
                  <a:cubicBezTo>
                    <a:pt x="343" y="112"/>
                    <a:pt x="343" y="111"/>
                    <a:pt x="344" y="111"/>
                  </a:cubicBezTo>
                  <a:cubicBezTo>
                    <a:pt x="344" y="111"/>
                    <a:pt x="345" y="110"/>
                    <a:pt x="346" y="110"/>
                  </a:cubicBezTo>
                  <a:cubicBezTo>
                    <a:pt x="346" y="110"/>
                    <a:pt x="346" y="110"/>
                    <a:pt x="346" y="109"/>
                  </a:cubicBezTo>
                  <a:cubicBezTo>
                    <a:pt x="347" y="109"/>
                    <a:pt x="348" y="109"/>
                    <a:pt x="348" y="109"/>
                  </a:cubicBezTo>
                  <a:cubicBezTo>
                    <a:pt x="348" y="109"/>
                    <a:pt x="348" y="108"/>
                    <a:pt x="348" y="108"/>
                  </a:cubicBezTo>
                  <a:cubicBezTo>
                    <a:pt x="348" y="108"/>
                    <a:pt x="348" y="108"/>
                    <a:pt x="348" y="108"/>
                  </a:cubicBezTo>
                  <a:cubicBezTo>
                    <a:pt x="346" y="103"/>
                    <a:pt x="346" y="103"/>
                    <a:pt x="346" y="103"/>
                  </a:cubicBezTo>
                  <a:cubicBezTo>
                    <a:pt x="349" y="107"/>
                    <a:pt x="349" y="107"/>
                    <a:pt x="349" y="107"/>
                  </a:cubicBezTo>
                  <a:cubicBezTo>
                    <a:pt x="349" y="107"/>
                    <a:pt x="349" y="108"/>
                    <a:pt x="349" y="108"/>
                  </a:cubicBezTo>
                  <a:cubicBezTo>
                    <a:pt x="349" y="108"/>
                    <a:pt x="349" y="108"/>
                    <a:pt x="349" y="108"/>
                  </a:cubicBezTo>
                  <a:cubicBezTo>
                    <a:pt x="349" y="108"/>
                    <a:pt x="349" y="108"/>
                    <a:pt x="349" y="108"/>
                  </a:cubicBezTo>
                  <a:cubicBezTo>
                    <a:pt x="350" y="108"/>
                    <a:pt x="351" y="108"/>
                    <a:pt x="352" y="109"/>
                  </a:cubicBezTo>
                  <a:cubicBezTo>
                    <a:pt x="352" y="109"/>
                    <a:pt x="352" y="110"/>
                    <a:pt x="353" y="110"/>
                  </a:cubicBezTo>
                  <a:cubicBezTo>
                    <a:pt x="353" y="110"/>
                    <a:pt x="353" y="109"/>
                    <a:pt x="353" y="109"/>
                  </a:cubicBezTo>
                  <a:cubicBezTo>
                    <a:pt x="353" y="108"/>
                    <a:pt x="353" y="107"/>
                    <a:pt x="352" y="107"/>
                  </a:cubicBezTo>
                  <a:cubicBezTo>
                    <a:pt x="351" y="106"/>
                    <a:pt x="351" y="106"/>
                    <a:pt x="351" y="106"/>
                  </a:cubicBezTo>
                  <a:cubicBezTo>
                    <a:pt x="353" y="106"/>
                    <a:pt x="353" y="106"/>
                    <a:pt x="353" y="106"/>
                  </a:cubicBezTo>
                  <a:cubicBezTo>
                    <a:pt x="353" y="106"/>
                    <a:pt x="353" y="106"/>
                    <a:pt x="353" y="106"/>
                  </a:cubicBezTo>
                  <a:cubicBezTo>
                    <a:pt x="353" y="106"/>
                    <a:pt x="352" y="105"/>
                    <a:pt x="352" y="105"/>
                  </a:cubicBezTo>
                  <a:cubicBezTo>
                    <a:pt x="352" y="104"/>
                    <a:pt x="352" y="104"/>
                    <a:pt x="352" y="104"/>
                  </a:cubicBezTo>
                  <a:cubicBezTo>
                    <a:pt x="352" y="104"/>
                    <a:pt x="352" y="104"/>
                    <a:pt x="352" y="104"/>
                  </a:cubicBezTo>
                  <a:cubicBezTo>
                    <a:pt x="352" y="102"/>
                    <a:pt x="352" y="102"/>
                    <a:pt x="351" y="102"/>
                  </a:cubicBezTo>
                  <a:cubicBezTo>
                    <a:pt x="350" y="102"/>
                    <a:pt x="350" y="102"/>
                    <a:pt x="350" y="102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0" y="101"/>
                    <a:pt x="350" y="101"/>
                    <a:pt x="350" y="100"/>
                  </a:cubicBezTo>
                  <a:cubicBezTo>
                    <a:pt x="349" y="100"/>
                    <a:pt x="349" y="98"/>
                    <a:pt x="349" y="98"/>
                  </a:cubicBezTo>
                  <a:cubicBezTo>
                    <a:pt x="349" y="97"/>
                    <a:pt x="349" y="97"/>
                    <a:pt x="349" y="97"/>
                  </a:cubicBezTo>
                  <a:cubicBezTo>
                    <a:pt x="349" y="97"/>
                    <a:pt x="349" y="97"/>
                    <a:pt x="349" y="97"/>
                  </a:cubicBezTo>
                  <a:cubicBezTo>
                    <a:pt x="350" y="97"/>
                    <a:pt x="351" y="97"/>
                    <a:pt x="352" y="98"/>
                  </a:cubicBezTo>
                  <a:cubicBezTo>
                    <a:pt x="352" y="98"/>
                    <a:pt x="352" y="98"/>
                    <a:pt x="352" y="97"/>
                  </a:cubicBezTo>
                  <a:cubicBezTo>
                    <a:pt x="353" y="97"/>
                    <a:pt x="354" y="96"/>
                    <a:pt x="355" y="95"/>
                  </a:cubicBezTo>
                  <a:cubicBezTo>
                    <a:pt x="355" y="95"/>
                    <a:pt x="355" y="95"/>
                    <a:pt x="355" y="95"/>
                  </a:cubicBezTo>
                  <a:cubicBezTo>
                    <a:pt x="356" y="94"/>
                    <a:pt x="356" y="94"/>
                    <a:pt x="356" y="93"/>
                  </a:cubicBezTo>
                  <a:cubicBezTo>
                    <a:pt x="356" y="93"/>
                    <a:pt x="356" y="93"/>
                    <a:pt x="356" y="93"/>
                  </a:cubicBezTo>
                  <a:cubicBezTo>
                    <a:pt x="355" y="92"/>
                    <a:pt x="355" y="91"/>
                    <a:pt x="355" y="90"/>
                  </a:cubicBezTo>
                  <a:cubicBezTo>
                    <a:pt x="355" y="89"/>
                    <a:pt x="355" y="89"/>
                    <a:pt x="355" y="89"/>
                  </a:cubicBezTo>
                  <a:cubicBezTo>
                    <a:pt x="355" y="89"/>
                    <a:pt x="355" y="89"/>
                    <a:pt x="355" y="89"/>
                  </a:cubicBezTo>
                  <a:cubicBezTo>
                    <a:pt x="356" y="89"/>
                    <a:pt x="356" y="89"/>
                    <a:pt x="356" y="89"/>
                  </a:cubicBezTo>
                  <a:cubicBezTo>
                    <a:pt x="356" y="89"/>
                    <a:pt x="356" y="89"/>
                    <a:pt x="356" y="89"/>
                  </a:cubicBezTo>
                  <a:cubicBezTo>
                    <a:pt x="356" y="86"/>
                    <a:pt x="356" y="86"/>
                    <a:pt x="356" y="86"/>
                  </a:cubicBezTo>
                  <a:cubicBezTo>
                    <a:pt x="357" y="89"/>
                    <a:pt x="357" y="89"/>
                    <a:pt x="357" y="89"/>
                  </a:cubicBezTo>
                  <a:cubicBezTo>
                    <a:pt x="357" y="89"/>
                    <a:pt x="357" y="89"/>
                    <a:pt x="357" y="89"/>
                  </a:cubicBezTo>
                  <a:cubicBezTo>
                    <a:pt x="357" y="89"/>
                    <a:pt x="358" y="89"/>
                    <a:pt x="358" y="89"/>
                  </a:cubicBezTo>
                  <a:cubicBezTo>
                    <a:pt x="358" y="89"/>
                    <a:pt x="358" y="89"/>
                    <a:pt x="358" y="89"/>
                  </a:cubicBezTo>
                  <a:cubicBezTo>
                    <a:pt x="358" y="89"/>
                    <a:pt x="358" y="89"/>
                    <a:pt x="358" y="88"/>
                  </a:cubicBezTo>
                  <a:cubicBezTo>
                    <a:pt x="359" y="87"/>
                    <a:pt x="359" y="87"/>
                    <a:pt x="359" y="87"/>
                  </a:cubicBezTo>
                  <a:cubicBezTo>
                    <a:pt x="359" y="89"/>
                    <a:pt x="359" y="89"/>
                    <a:pt x="359" y="89"/>
                  </a:cubicBezTo>
                  <a:cubicBezTo>
                    <a:pt x="359" y="89"/>
                    <a:pt x="359" y="90"/>
                    <a:pt x="359" y="90"/>
                  </a:cubicBezTo>
                  <a:cubicBezTo>
                    <a:pt x="359" y="91"/>
                    <a:pt x="359" y="91"/>
                    <a:pt x="358" y="91"/>
                  </a:cubicBezTo>
                  <a:cubicBezTo>
                    <a:pt x="358" y="91"/>
                    <a:pt x="358" y="91"/>
                    <a:pt x="358" y="91"/>
                  </a:cubicBezTo>
                  <a:cubicBezTo>
                    <a:pt x="358" y="91"/>
                    <a:pt x="359" y="93"/>
                    <a:pt x="359" y="93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60" y="93"/>
                    <a:pt x="361" y="93"/>
                    <a:pt x="362" y="93"/>
                  </a:cubicBezTo>
                  <a:cubicBezTo>
                    <a:pt x="362" y="92"/>
                    <a:pt x="363" y="92"/>
                    <a:pt x="363" y="92"/>
                  </a:cubicBezTo>
                  <a:cubicBezTo>
                    <a:pt x="363" y="92"/>
                    <a:pt x="363" y="92"/>
                    <a:pt x="363" y="92"/>
                  </a:cubicBezTo>
                  <a:cubicBezTo>
                    <a:pt x="365" y="92"/>
                    <a:pt x="365" y="94"/>
                    <a:pt x="365" y="95"/>
                  </a:cubicBezTo>
                  <a:cubicBezTo>
                    <a:pt x="366" y="96"/>
                    <a:pt x="366" y="97"/>
                    <a:pt x="367" y="97"/>
                  </a:cubicBezTo>
                  <a:cubicBezTo>
                    <a:pt x="367" y="97"/>
                    <a:pt x="367" y="97"/>
                    <a:pt x="367" y="97"/>
                  </a:cubicBezTo>
                  <a:cubicBezTo>
                    <a:pt x="367" y="97"/>
                    <a:pt x="367" y="97"/>
                    <a:pt x="367" y="97"/>
                  </a:cubicBezTo>
                  <a:cubicBezTo>
                    <a:pt x="368" y="96"/>
                    <a:pt x="368" y="96"/>
                    <a:pt x="368" y="96"/>
                  </a:cubicBezTo>
                  <a:cubicBezTo>
                    <a:pt x="368" y="97"/>
                    <a:pt x="368" y="97"/>
                    <a:pt x="368" y="97"/>
                  </a:cubicBezTo>
                  <a:cubicBezTo>
                    <a:pt x="368" y="97"/>
                    <a:pt x="368" y="97"/>
                    <a:pt x="368" y="97"/>
                  </a:cubicBezTo>
                  <a:cubicBezTo>
                    <a:pt x="369" y="98"/>
                    <a:pt x="369" y="98"/>
                    <a:pt x="369" y="99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1" y="99"/>
                    <a:pt x="371" y="99"/>
                    <a:pt x="371" y="99"/>
                  </a:cubicBezTo>
                  <a:cubicBezTo>
                    <a:pt x="371" y="98"/>
                    <a:pt x="371" y="98"/>
                    <a:pt x="371" y="98"/>
                  </a:cubicBezTo>
                  <a:cubicBezTo>
                    <a:pt x="371" y="98"/>
                    <a:pt x="371" y="98"/>
                    <a:pt x="371" y="98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1" y="97"/>
                    <a:pt x="371" y="97"/>
                    <a:pt x="371" y="97"/>
                  </a:cubicBezTo>
                  <a:cubicBezTo>
                    <a:pt x="371" y="97"/>
                    <a:pt x="372" y="96"/>
                    <a:pt x="373" y="96"/>
                  </a:cubicBezTo>
                  <a:cubicBezTo>
                    <a:pt x="373" y="96"/>
                    <a:pt x="372" y="96"/>
                    <a:pt x="372" y="96"/>
                  </a:cubicBezTo>
                  <a:cubicBezTo>
                    <a:pt x="372" y="96"/>
                    <a:pt x="372" y="96"/>
                    <a:pt x="372" y="95"/>
                  </a:cubicBezTo>
                  <a:cubicBezTo>
                    <a:pt x="372" y="94"/>
                    <a:pt x="372" y="94"/>
                    <a:pt x="372" y="94"/>
                  </a:cubicBezTo>
                  <a:cubicBezTo>
                    <a:pt x="373" y="94"/>
                    <a:pt x="373" y="94"/>
                    <a:pt x="373" y="94"/>
                  </a:cubicBezTo>
                  <a:cubicBezTo>
                    <a:pt x="374" y="93"/>
                    <a:pt x="374" y="93"/>
                    <a:pt x="375" y="93"/>
                  </a:cubicBezTo>
                  <a:cubicBezTo>
                    <a:pt x="375" y="93"/>
                    <a:pt x="375" y="93"/>
                    <a:pt x="375" y="92"/>
                  </a:cubicBezTo>
                  <a:cubicBezTo>
                    <a:pt x="375" y="92"/>
                    <a:pt x="375" y="92"/>
                    <a:pt x="375" y="92"/>
                  </a:cubicBezTo>
                  <a:cubicBezTo>
                    <a:pt x="374" y="90"/>
                    <a:pt x="374" y="90"/>
                    <a:pt x="374" y="90"/>
                  </a:cubicBezTo>
                  <a:cubicBezTo>
                    <a:pt x="376" y="91"/>
                    <a:pt x="376" y="91"/>
                    <a:pt x="376" y="91"/>
                  </a:cubicBezTo>
                  <a:cubicBezTo>
                    <a:pt x="376" y="91"/>
                    <a:pt x="376" y="92"/>
                    <a:pt x="376" y="92"/>
                  </a:cubicBezTo>
                  <a:cubicBezTo>
                    <a:pt x="376" y="91"/>
                    <a:pt x="377" y="91"/>
                    <a:pt x="378" y="90"/>
                  </a:cubicBezTo>
                  <a:cubicBezTo>
                    <a:pt x="377" y="90"/>
                    <a:pt x="377" y="90"/>
                    <a:pt x="377" y="90"/>
                  </a:cubicBezTo>
                  <a:cubicBezTo>
                    <a:pt x="376" y="90"/>
                    <a:pt x="376" y="90"/>
                    <a:pt x="376" y="90"/>
                  </a:cubicBezTo>
                  <a:cubicBezTo>
                    <a:pt x="376" y="89"/>
                    <a:pt x="376" y="89"/>
                    <a:pt x="376" y="89"/>
                  </a:cubicBezTo>
                  <a:cubicBezTo>
                    <a:pt x="377" y="89"/>
                    <a:pt x="376" y="88"/>
                    <a:pt x="376" y="88"/>
                  </a:cubicBezTo>
                  <a:cubicBezTo>
                    <a:pt x="375" y="86"/>
                    <a:pt x="373" y="85"/>
                    <a:pt x="372" y="85"/>
                  </a:cubicBezTo>
                  <a:cubicBezTo>
                    <a:pt x="372" y="85"/>
                    <a:pt x="371" y="86"/>
                    <a:pt x="371" y="86"/>
                  </a:cubicBezTo>
                  <a:cubicBezTo>
                    <a:pt x="370" y="86"/>
                    <a:pt x="370" y="86"/>
                    <a:pt x="370" y="86"/>
                  </a:cubicBezTo>
                  <a:cubicBezTo>
                    <a:pt x="370" y="86"/>
                    <a:pt x="370" y="86"/>
                    <a:pt x="370" y="85"/>
                  </a:cubicBezTo>
                  <a:cubicBezTo>
                    <a:pt x="370" y="85"/>
                    <a:pt x="370" y="85"/>
                    <a:pt x="370" y="85"/>
                  </a:cubicBezTo>
                  <a:cubicBezTo>
                    <a:pt x="370" y="85"/>
                    <a:pt x="370" y="85"/>
                    <a:pt x="370" y="85"/>
                  </a:cubicBezTo>
                  <a:cubicBezTo>
                    <a:pt x="370" y="85"/>
                    <a:pt x="370" y="85"/>
                    <a:pt x="369" y="85"/>
                  </a:cubicBezTo>
                  <a:cubicBezTo>
                    <a:pt x="370" y="86"/>
                    <a:pt x="370" y="87"/>
                    <a:pt x="370" y="87"/>
                  </a:cubicBezTo>
                  <a:cubicBezTo>
                    <a:pt x="370" y="88"/>
                    <a:pt x="370" y="89"/>
                    <a:pt x="369" y="89"/>
                  </a:cubicBezTo>
                  <a:cubicBezTo>
                    <a:pt x="368" y="91"/>
                    <a:pt x="368" y="91"/>
                    <a:pt x="368" y="91"/>
                  </a:cubicBezTo>
                  <a:cubicBezTo>
                    <a:pt x="368" y="89"/>
                    <a:pt x="368" y="89"/>
                    <a:pt x="368" y="89"/>
                  </a:cubicBezTo>
                  <a:cubicBezTo>
                    <a:pt x="369" y="88"/>
                    <a:pt x="368" y="87"/>
                    <a:pt x="368" y="87"/>
                  </a:cubicBezTo>
                  <a:cubicBezTo>
                    <a:pt x="367" y="86"/>
                    <a:pt x="367" y="85"/>
                    <a:pt x="366" y="84"/>
                  </a:cubicBezTo>
                  <a:cubicBezTo>
                    <a:pt x="366" y="84"/>
                    <a:pt x="366" y="84"/>
                    <a:pt x="366" y="83"/>
                  </a:cubicBezTo>
                  <a:cubicBezTo>
                    <a:pt x="362" y="81"/>
                    <a:pt x="362" y="81"/>
                    <a:pt x="362" y="81"/>
                  </a:cubicBezTo>
                  <a:cubicBezTo>
                    <a:pt x="363" y="80"/>
                    <a:pt x="363" y="80"/>
                    <a:pt x="363" y="80"/>
                  </a:cubicBezTo>
                  <a:cubicBezTo>
                    <a:pt x="363" y="80"/>
                    <a:pt x="363" y="80"/>
                    <a:pt x="363" y="80"/>
                  </a:cubicBezTo>
                  <a:cubicBezTo>
                    <a:pt x="363" y="80"/>
                    <a:pt x="362" y="80"/>
                    <a:pt x="362" y="80"/>
                  </a:cubicBezTo>
                  <a:cubicBezTo>
                    <a:pt x="361" y="80"/>
                    <a:pt x="361" y="80"/>
                    <a:pt x="361" y="80"/>
                  </a:cubicBezTo>
                  <a:cubicBezTo>
                    <a:pt x="362" y="79"/>
                    <a:pt x="362" y="79"/>
                    <a:pt x="362" y="79"/>
                  </a:cubicBezTo>
                  <a:cubicBezTo>
                    <a:pt x="362" y="79"/>
                    <a:pt x="362" y="79"/>
                    <a:pt x="362" y="79"/>
                  </a:cubicBezTo>
                  <a:cubicBezTo>
                    <a:pt x="362" y="78"/>
                    <a:pt x="361" y="78"/>
                    <a:pt x="361" y="78"/>
                  </a:cubicBezTo>
                  <a:cubicBezTo>
                    <a:pt x="359" y="78"/>
                    <a:pt x="357" y="76"/>
                    <a:pt x="357" y="75"/>
                  </a:cubicBezTo>
                  <a:cubicBezTo>
                    <a:pt x="357" y="74"/>
                    <a:pt x="356" y="74"/>
                    <a:pt x="356" y="74"/>
                  </a:cubicBezTo>
                  <a:cubicBezTo>
                    <a:pt x="355" y="74"/>
                    <a:pt x="354" y="73"/>
                    <a:pt x="354" y="73"/>
                  </a:cubicBezTo>
                  <a:cubicBezTo>
                    <a:pt x="353" y="72"/>
                    <a:pt x="353" y="72"/>
                    <a:pt x="353" y="72"/>
                  </a:cubicBezTo>
                  <a:cubicBezTo>
                    <a:pt x="352" y="71"/>
                    <a:pt x="351" y="70"/>
                    <a:pt x="350" y="70"/>
                  </a:cubicBezTo>
                  <a:cubicBezTo>
                    <a:pt x="350" y="70"/>
                    <a:pt x="349" y="69"/>
                    <a:pt x="349" y="69"/>
                  </a:cubicBezTo>
                  <a:cubicBezTo>
                    <a:pt x="348" y="68"/>
                    <a:pt x="347" y="68"/>
                    <a:pt x="346" y="68"/>
                  </a:cubicBezTo>
                  <a:cubicBezTo>
                    <a:pt x="345" y="68"/>
                    <a:pt x="344" y="68"/>
                    <a:pt x="344" y="68"/>
                  </a:cubicBezTo>
                  <a:cubicBezTo>
                    <a:pt x="342" y="68"/>
                    <a:pt x="341" y="68"/>
                    <a:pt x="339" y="68"/>
                  </a:cubicBezTo>
                  <a:cubicBezTo>
                    <a:pt x="338" y="68"/>
                    <a:pt x="337" y="67"/>
                    <a:pt x="336" y="67"/>
                  </a:cubicBezTo>
                  <a:cubicBezTo>
                    <a:pt x="335" y="67"/>
                    <a:pt x="334" y="66"/>
                    <a:pt x="334" y="66"/>
                  </a:cubicBezTo>
                  <a:cubicBezTo>
                    <a:pt x="334" y="66"/>
                    <a:pt x="334" y="67"/>
                    <a:pt x="333" y="67"/>
                  </a:cubicBezTo>
                  <a:cubicBezTo>
                    <a:pt x="333" y="67"/>
                    <a:pt x="333" y="68"/>
                    <a:pt x="333" y="68"/>
                  </a:cubicBezTo>
                  <a:cubicBezTo>
                    <a:pt x="334" y="69"/>
                    <a:pt x="335" y="70"/>
                    <a:pt x="335" y="71"/>
                  </a:cubicBezTo>
                  <a:cubicBezTo>
                    <a:pt x="335" y="73"/>
                    <a:pt x="334" y="75"/>
                    <a:pt x="332" y="75"/>
                  </a:cubicBezTo>
                  <a:cubicBezTo>
                    <a:pt x="331" y="75"/>
                    <a:pt x="330" y="74"/>
                    <a:pt x="329" y="73"/>
                  </a:cubicBezTo>
                  <a:cubicBezTo>
                    <a:pt x="328" y="72"/>
                    <a:pt x="328" y="72"/>
                    <a:pt x="328" y="72"/>
                  </a:cubicBezTo>
                  <a:cubicBezTo>
                    <a:pt x="327" y="71"/>
                    <a:pt x="327" y="71"/>
                    <a:pt x="327" y="70"/>
                  </a:cubicBezTo>
                  <a:cubicBezTo>
                    <a:pt x="327" y="69"/>
                    <a:pt x="327" y="69"/>
                    <a:pt x="327" y="68"/>
                  </a:cubicBezTo>
                  <a:cubicBezTo>
                    <a:pt x="324" y="70"/>
                    <a:pt x="322" y="70"/>
                    <a:pt x="319" y="68"/>
                  </a:cubicBezTo>
                  <a:cubicBezTo>
                    <a:pt x="318" y="68"/>
                    <a:pt x="318" y="68"/>
                    <a:pt x="317" y="68"/>
                  </a:cubicBezTo>
                  <a:cubicBezTo>
                    <a:pt x="315" y="68"/>
                    <a:pt x="313" y="69"/>
                    <a:pt x="312" y="70"/>
                  </a:cubicBezTo>
                  <a:cubicBezTo>
                    <a:pt x="311" y="71"/>
                    <a:pt x="311" y="71"/>
                    <a:pt x="311" y="71"/>
                  </a:cubicBezTo>
                  <a:cubicBezTo>
                    <a:pt x="311" y="70"/>
                    <a:pt x="311" y="70"/>
                    <a:pt x="311" y="70"/>
                  </a:cubicBezTo>
                  <a:cubicBezTo>
                    <a:pt x="311" y="69"/>
                    <a:pt x="311" y="69"/>
                    <a:pt x="310" y="69"/>
                  </a:cubicBezTo>
                  <a:cubicBezTo>
                    <a:pt x="310" y="69"/>
                    <a:pt x="310" y="69"/>
                    <a:pt x="309" y="68"/>
                  </a:cubicBezTo>
                  <a:cubicBezTo>
                    <a:pt x="307" y="68"/>
                    <a:pt x="307" y="67"/>
                    <a:pt x="308" y="65"/>
                  </a:cubicBezTo>
                  <a:cubicBezTo>
                    <a:pt x="308" y="65"/>
                    <a:pt x="308" y="65"/>
                    <a:pt x="308" y="65"/>
                  </a:cubicBezTo>
                  <a:cubicBezTo>
                    <a:pt x="308" y="64"/>
                    <a:pt x="308" y="62"/>
                    <a:pt x="307" y="61"/>
                  </a:cubicBezTo>
                  <a:cubicBezTo>
                    <a:pt x="306" y="60"/>
                    <a:pt x="306" y="60"/>
                    <a:pt x="306" y="60"/>
                  </a:cubicBezTo>
                  <a:cubicBezTo>
                    <a:pt x="297" y="60"/>
                    <a:pt x="297" y="60"/>
                    <a:pt x="297" y="60"/>
                  </a:cubicBezTo>
                  <a:cubicBezTo>
                    <a:pt x="297" y="60"/>
                    <a:pt x="297" y="60"/>
                    <a:pt x="297" y="60"/>
                  </a:cubicBezTo>
                  <a:cubicBezTo>
                    <a:pt x="296" y="60"/>
                    <a:pt x="295" y="60"/>
                    <a:pt x="294" y="60"/>
                  </a:cubicBezTo>
                  <a:cubicBezTo>
                    <a:pt x="293" y="61"/>
                    <a:pt x="293" y="61"/>
                    <a:pt x="292" y="61"/>
                  </a:cubicBezTo>
                  <a:cubicBezTo>
                    <a:pt x="291" y="61"/>
                    <a:pt x="290" y="60"/>
                    <a:pt x="290" y="60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90" y="59"/>
                    <a:pt x="290" y="59"/>
                    <a:pt x="290" y="59"/>
                  </a:cubicBezTo>
                  <a:cubicBezTo>
                    <a:pt x="290" y="58"/>
                    <a:pt x="290" y="58"/>
                    <a:pt x="290" y="57"/>
                  </a:cubicBezTo>
                  <a:cubicBezTo>
                    <a:pt x="290" y="57"/>
                    <a:pt x="289" y="57"/>
                    <a:pt x="288" y="57"/>
                  </a:cubicBezTo>
                  <a:cubicBezTo>
                    <a:pt x="288" y="57"/>
                    <a:pt x="288" y="57"/>
                    <a:pt x="288" y="57"/>
                  </a:cubicBezTo>
                  <a:cubicBezTo>
                    <a:pt x="287" y="57"/>
                    <a:pt x="287" y="56"/>
                    <a:pt x="286" y="56"/>
                  </a:cubicBezTo>
                  <a:cubicBezTo>
                    <a:pt x="286" y="56"/>
                    <a:pt x="286" y="55"/>
                    <a:pt x="286" y="55"/>
                  </a:cubicBezTo>
                  <a:cubicBezTo>
                    <a:pt x="286" y="55"/>
                    <a:pt x="285" y="55"/>
                    <a:pt x="284" y="55"/>
                  </a:cubicBezTo>
                  <a:cubicBezTo>
                    <a:pt x="284" y="55"/>
                    <a:pt x="284" y="55"/>
                    <a:pt x="283" y="55"/>
                  </a:cubicBezTo>
                  <a:cubicBezTo>
                    <a:pt x="283" y="55"/>
                    <a:pt x="283" y="55"/>
                    <a:pt x="283" y="55"/>
                  </a:cubicBezTo>
                  <a:cubicBezTo>
                    <a:pt x="283" y="54"/>
                    <a:pt x="283" y="54"/>
                    <a:pt x="283" y="54"/>
                  </a:cubicBezTo>
                  <a:cubicBezTo>
                    <a:pt x="283" y="53"/>
                    <a:pt x="284" y="52"/>
                    <a:pt x="285" y="52"/>
                  </a:cubicBezTo>
                  <a:cubicBezTo>
                    <a:pt x="284" y="51"/>
                    <a:pt x="284" y="50"/>
                    <a:pt x="282" y="50"/>
                  </a:cubicBezTo>
                  <a:cubicBezTo>
                    <a:pt x="282" y="50"/>
                    <a:pt x="281" y="50"/>
                    <a:pt x="281" y="50"/>
                  </a:cubicBezTo>
                  <a:cubicBezTo>
                    <a:pt x="280" y="50"/>
                    <a:pt x="280" y="50"/>
                    <a:pt x="280" y="50"/>
                  </a:cubicBezTo>
                  <a:cubicBezTo>
                    <a:pt x="276" y="49"/>
                    <a:pt x="272" y="48"/>
                    <a:pt x="268" y="47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6"/>
                    <a:pt x="265" y="46"/>
                    <a:pt x="265" y="47"/>
                  </a:cubicBezTo>
                  <a:cubicBezTo>
                    <a:pt x="266" y="47"/>
                    <a:pt x="266" y="48"/>
                    <a:pt x="265" y="48"/>
                  </a:cubicBezTo>
                  <a:cubicBezTo>
                    <a:pt x="263" y="51"/>
                    <a:pt x="262" y="52"/>
                    <a:pt x="263" y="56"/>
                  </a:cubicBezTo>
                  <a:cubicBezTo>
                    <a:pt x="264" y="57"/>
                    <a:pt x="264" y="57"/>
                    <a:pt x="264" y="57"/>
                  </a:cubicBezTo>
                  <a:cubicBezTo>
                    <a:pt x="262" y="56"/>
                    <a:pt x="262" y="56"/>
                    <a:pt x="262" y="56"/>
                  </a:cubicBezTo>
                  <a:cubicBezTo>
                    <a:pt x="261" y="56"/>
                    <a:pt x="260" y="57"/>
                    <a:pt x="259" y="58"/>
                  </a:cubicBezTo>
                  <a:cubicBezTo>
                    <a:pt x="259" y="58"/>
                    <a:pt x="259" y="58"/>
                    <a:pt x="258" y="58"/>
                  </a:cubicBezTo>
                  <a:cubicBezTo>
                    <a:pt x="258" y="59"/>
                    <a:pt x="258" y="59"/>
                    <a:pt x="258" y="59"/>
                  </a:cubicBezTo>
                  <a:cubicBezTo>
                    <a:pt x="258" y="59"/>
                    <a:pt x="258" y="59"/>
                    <a:pt x="258" y="59"/>
                  </a:cubicBezTo>
                  <a:cubicBezTo>
                    <a:pt x="257" y="59"/>
                    <a:pt x="256" y="58"/>
                    <a:pt x="253" y="56"/>
                  </a:cubicBezTo>
                  <a:cubicBezTo>
                    <a:pt x="253" y="55"/>
                    <a:pt x="252" y="55"/>
                    <a:pt x="252" y="55"/>
                  </a:cubicBezTo>
                  <a:cubicBezTo>
                    <a:pt x="252" y="55"/>
                    <a:pt x="252" y="55"/>
                    <a:pt x="252" y="55"/>
                  </a:cubicBezTo>
                  <a:cubicBezTo>
                    <a:pt x="252" y="55"/>
                    <a:pt x="252" y="55"/>
                    <a:pt x="251" y="56"/>
                  </a:cubicBezTo>
                  <a:cubicBezTo>
                    <a:pt x="251" y="56"/>
                    <a:pt x="251" y="57"/>
                    <a:pt x="249" y="57"/>
                  </a:cubicBezTo>
                  <a:cubicBezTo>
                    <a:pt x="247" y="57"/>
                    <a:pt x="247" y="55"/>
                    <a:pt x="246" y="53"/>
                  </a:cubicBezTo>
                  <a:cubicBezTo>
                    <a:pt x="246" y="53"/>
                    <a:pt x="246" y="53"/>
                    <a:pt x="246" y="53"/>
                  </a:cubicBezTo>
                  <a:cubicBezTo>
                    <a:pt x="245" y="54"/>
                    <a:pt x="245" y="56"/>
                    <a:pt x="245" y="57"/>
                  </a:cubicBezTo>
                  <a:cubicBezTo>
                    <a:pt x="244" y="58"/>
                    <a:pt x="244" y="60"/>
                    <a:pt x="243" y="61"/>
                  </a:cubicBezTo>
                  <a:cubicBezTo>
                    <a:pt x="242" y="63"/>
                    <a:pt x="242" y="63"/>
                    <a:pt x="242" y="63"/>
                  </a:cubicBezTo>
                  <a:cubicBezTo>
                    <a:pt x="242" y="61"/>
                    <a:pt x="242" y="61"/>
                    <a:pt x="242" y="61"/>
                  </a:cubicBezTo>
                  <a:cubicBezTo>
                    <a:pt x="242" y="60"/>
                    <a:pt x="241" y="60"/>
                    <a:pt x="240" y="60"/>
                  </a:cubicBezTo>
                  <a:cubicBezTo>
                    <a:pt x="240" y="60"/>
                    <a:pt x="239" y="60"/>
                    <a:pt x="239" y="59"/>
                  </a:cubicBezTo>
                  <a:cubicBezTo>
                    <a:pt x="239" y="58"/>
                    <a:pt x="238" y="58"/>
                    <a:pt x="238" y="58"/>
                  </a:cubicBezTo>
                  <a:cubicBezTo>
                    <a:pt x="238" y="57"/>
                    <a:pt x="237" y="55"/>
                    <a:pt x="237" y="55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3"/>
                    <a:pt x="236" y="52"/>
                    <a:pt x="237" y="51"/>
                  </a:cubicBezTo>
                  <a:cubicBezTo>
                    <a:pt x="237" y="51"/>
                    <a:pt x="238" y="50"/>
                    <a:pt x="238" y="50"/>
                  </a:cubicBezTo>
                  <a:cubicBezTo>
                    <a:pt x="238" y="49"/>
                    <a:pt x="238" y="49"/>
                    <a:pt x="237" y="49"/>
                  </a:cubicBezTo>
                  <a:cubicBezTo>
                    <a:pt x="237" y="48"/>
                    <a:pt x="237" y="48"/>
                    <a:pt x="237" y="47"/>
                  </a:cubicBezTo>
                  <a:cubicBezTo>
                    <a:pt x="237" y="47"/>
                    <a:pt x="237" y="46"/>
                    <a:pt x="237" y="46"/>
                  </a:cubicBezTo>
                  <a:cubicBezTo>
                    <a:pt x="238" y="45"/>
                    <a:pt x="238" y="44"/>
                    <a:pt x="237" y="44"/>
                  </a:cubicBezTo>
                  <a:cubicBezTo>
                    <a:pt x="237" y="44"/>
                    <a:pt x="237" y="44"/>
                    <a:pt x="237" y="43"/>
                  </a:cubicBezTo>
                  <a:cubicBezTo>
                    <a:pt x="236" y="42"/>
                    <a:pt x="234" y="40"/>
                    <a:pt x="233" y="40"/>
                  </a:cubicBezTo>
                  <a:cubicBezTo>
                    <a:pt x="233" y="40"/>
                    <a:pt x="233" y="41"/>
                    <a:pt x="232" y="41"/>
                  </a:cubicBezTo>
                  <a:cubicBezTo>
                    <a:pt x="232" y="41"/>
                    <a:pt x="232" y="41"/>
                    <a:pt x="232" y="41"/>
                  </a:cubicBezTo>
                  <a:cubicBezTo>
                    <a:pt x="231" y="41"/>
                    <a:pt x="229" y="40"/>
                    <a:pt x="226" y="38"/>
                  </a:cubicBezTo>
                  <a:cubicBezTo>
                    <a:pt x="226" y="38"/>
                    <a:pt x="226" y="38"/>
                    <a:pt x="226" y="38"/>
                  </a:cubicBezTo>
                  <a:cubicBezTo>
                    <a:pt x="225" y="39"/>
                    <a:pt x="225" y="39"/>
                    <a:pt x="225" y="39"/>
                  </a:cubicBezTo>
                  <a:cubicBezTo>
                    <a:pt x="225" y="39"/>
                    <a:pt x="225" y="39"/>
                    <a:pt x="225" y="39"/>
                  </a:cubicBezTo>
                  <a:cubicBezTo>
                    <a:pt x="225" y="39"/>
                    <a:pt x="225" y="39"/>
                    <a:pt x="224" y="39"/>
                  </a:cubicBezTo>
                  <a:cubicBezTo>
                    <a:pt x="224" y="40"/>
                    <a:pt x="224" y="41"/>
                    <a:pt x="225" y="43"/>
                  </a:cubicBezTo>
                  <a:cubicBezTo>
                    <a:pt x="225" y="43"/>
                    <a:pt x="225" y="43"/>
                    <a:pt x="225" y="44"/>
                  </a:cubicBezTo>
                  <a:cubicBezTo>
                    <a:pt x="224" y="45"/>
                    <a:pt x="222" y="45"/>
                    <a:pt x="220" y="45"/>
                  </a:cubicBezTo>
                  <a:cubicBezTo>
                    <a:pt x="220" y="45"/>
                    <a:pt x="220" y="45"/>
                    <a:pt x="219" y="45"/>
                  </a:cubicBezTo>
                  <a:cubicBezTo>
                    <a:pt x="218" y="45"/>
                    <a:pt x="217" y="45"/>
                    <a:pt x="216" y="44"/>
                  </a:cubicBezTo>
                  <a:cubicBezTo>
                    <a:pt x="215" y="44"/>
                    <a:pt x="215" y="44"/>
                    <a:pt x="214" y="44"/>
                  </a:cubicBezTo>
                  <a:cubicBezTo>
                    <a:pt x="213" y="44"/>
                    <a:pt x="212" y="42"/>
                    <a:pt x="212" y="41"/>
                  </a:cubicBezTo>
                  <a:cubicBezTo>
                    <a:pt x="212" y="41"/>
                    <a:pt x="212" y="41"/>
                    <a:pt x="212" y="40"/>
                  </a:cubicBezTo>
                  <a:cubicBezTo>
                    <a:pt x="210" y="40"/>
                    <a:pt x="208" y="40"/>
                    <a:pt x="207" y="39"/>
                  </a:cubicBezTo>
                  <a:cubicBezTo>
                    <a:pt x="206" y="39"/>
                    <a:pt x="204" y="40"/>
                    <a:pt x="203" y="40"/>
                  </a:cubicBezTo>
                  <a:cubicBezTo>
                    <a:pt x="203" y="40"/>
                    <a:pt x="203" y="40"/>
                    <a:pt x="202" y="40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203" y="41"/>
                    <a:pt x="203" y="41"/>
                    <a:pt x="203" y="41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3" y="42"/>
                    <a:pt x="203" y="42"/>
                    <a:pt x="203" y="42"/>
                  </a:cubicBezTo>
                  <a:cubicBezTo>
                    <a:pt x="203" y="43"/>
                    <a:pt x="201" y="43"/>
                    <a:pt x="200" y="43"/>
                  </a:cubicBezTo>
                  <a:cubicBezTo>
                    <a:pt x="199" y="43"/>
                    <a:pt x="199" y="43"/>
                    <a:pt x="199" y="43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200" y="40"/>
                    <a:pt x="200" y="39"/>
                  </a:cubicBezTo>
                  <a:cubicBezTo>
                    <a:pt x="199" y="39"/>
                    <a:pt x="196" y="39"/>
                    <a:pt x="196" y="37"/>
                  </a:cubicBezTo>
                  <a:cubicBezTo>
                    <a:pt x="196" y="37"/>
                    <a:pt x="196" y="37"/>
                    <a:pt x="196" y="37"/>
                  </a:cubicBezTo>
                  <a:cubicBezTo>
                    <a:pt x="195" y="37"/>
                    <a:pt x="195" y="37"/>
                    <a:pt x="195" y="37"/>
                  </a:cubicBezTo>
                  <a:cubicBezTo>
                    <a:pt x="195" y="37"/>
                    <a:pt x="194" y="37"/>
                    <a:pt x="194" y="37"/>
                  </a:cubicBezTo>
                  <a:cubicBezTo>
                    <a:pt x="194" y="37"/>
                    <a:pt x="194" y="36"/>
                    <a:pt x="193" y="36"/>
                  </a:cubicBezTo>
                  <a:cubicBezTo>
                    <a:pt x="193" y="37"/>
                    <a:pt x="193" y="37"/>
                    <a:pt x="193" y="37"/>
                  </a:cubicBezTo>
                  <a:cubicBezTo>
                    <a:pt x="193" y="38"/>
                    <a:pt x="193" y="38"/>
                    <a:pt x="193" y="38"/>
                  </a:cubicBezTo>
                  <a:cubicBezTo>
                    <a:pt x="193" y="38"/>
                    <a:pt x="194" y="37"/>
                    <a:pt x="194" y="37"/>
                  </a:cubicBezTo>
                  <a:cubicBezTo>
                    <a:pt x="195" y="37"/>
                    <a:pt x="195" y="38"/>
                    <a:pt x="196" y="39"/>
                  </a:cubicBezTo>
                  <a:cubicBezTo>
                    <a:pt x="196" y="39"/>
                    <a:pt x="196" y="39"/>
                    <a:pt x="196" y="39"/>
                  </a:cubicBezTo>
                  <a:cubicBezTo>
                    <a:pt x="195" y="39"/>
                    <a:pt x="195" y="39"/>
                    <a:pt x="195" y="39"/>
                  </a:cubicBezTo>
                  <a:cubicBezTo>
                    <a:pt x="195" y="39"/>
                    <a:pt x="195" y="40"/>
                    <a:pt x="195" y="40"/>
                  </a:cubicBezTo>
                  <a:cubicBezTo>
                    <a:pt x="194" y="41"/>
                    <a:pt x="193" y="41"/>
                    <a:pt x="192" y="41"/>
                  </a:cubicBezTo>
                  <a:cubicBezTo>
                    <a:pt x="192" y="41"/>
                    <a:pt x="192" y="41"/>
                    <a:pt x="192" y="41"/>
                  </a:cubicBezTo>
                  <a:cubicBezTo>
                    <a:pt x="191" y="43"/>
                    <a:pt x="188" y="43"/>
                    <a:pt x="187" y="44"/>
                  </a:cubicBezTo>
                  <a:cubicBezTo>
                    <a:pt x="187" y="44"/>
                    <a:pt x="187" y="44"/>
                    <a:pt x="187" y="44"/>
                  </a:cubicBezTo>
                  <a:cubicBezTo>
                    <a:pt x="187" y="44"/>
                    <a:pt x="187" y="44"/>
                    <a:pt x="186" y="43"/>
                  </a:cubicBezTo>
                  <a:cubicBezTo>
                    <a:pt x="186" y="43"/>
                    <a:pt x="185" y="43"/>
                    <a:pt x="185" y="43"/>
                  </a:cubicBezTo>
                  <a:cubicBezTo>
                    <a:pt x="185" y="44"/>
                    <a:pt x="185" y="44"/>
                    <a:pt x="185" y="44"/>
                  </a:cubicBezTo>
                  <a:cubicBezTo>
                    <a:pt x="185" y="44"/>
                    <a:pt x="186" y="45"/>
                    <a:pt x="186" y="45"/>
                  </a:cubicBezTo>
                  <a:cubicBezTo>
                    <a:pt x="190" y="48"/>
                    <a:pt x="190" y="48"/>
                    <a:pt x="190" y="48"/>
                  </a:cubicBezTo>
                  <a:cubicBezTo>
                    <a:pt x="185" y="46"/>
                    <a:pt x="185" y="46"/>
                    <a:pt x="185" y="46"/>
                  </a:cubicBezTo>
                  <a:cubicBezTo>
                    <a:pt x="185" y="46"/>
                    <a:pt x="185" y="45"/>
                    <a:pt x="185" y="45"/>
                  </a:cubicBezTo>
                  <a:cubicBezTo>
                    <a:pt x="184" y="45"/>
                    <a:pt x="184" y="45"/>
                    <a:pt x="183" y="46"/>
                  </a:cubicBezTo>
                  <a:cubicBezTo>
                    <a:pt x="182" y="45"/>
                    <a:pt x="182" y="45"/>
                    <a:pt x="182" y="45"/>
                  </a:cubicBezTo>
                  <a:cubicBezTo>
                    <a:pt x="183" y="43"/>
                    <a:pt x="184" y="41"/>
                    <a:pt x="186" y="39"/>
                  </a:cubicBezTo>
                  <a:cubicBezTo>
                    <a:pt x="186" y="39"/>
                    <a:pt x="187" y="39"/>
                    <a:pt x="188" y="39"/>
                  </a:cubicBezTo>
                  <a:cubicBezTo>
                    <a:pt x="188" y="39"/>
                    <a:pt x="188" y="39"/>
                    <a:pt x="188" y="39"/>
                  </a:cubicBezTo>
                  <a:cubicBezTo>
                    <a:pt x="189" y="39"/>
                    <a:pt x="189" y="38"/>
                    <a:pt x="189" y="38"/>
                  </a:cubicBezTo>
                  <a:cubicBezTo>
                    <a:pt x="189" y="38"/>
                    <a:pt x="189" y="37"/>
                    <a:pt x="190" y="37"/>
                  </a:cubicBezTo>
                  <a:cubicBezTo>
                    <a:pt x="190" y="37"/>
                    <a:pt x="190" y="36"/>
                    <a:pt x="191" y="35"/>
                  </a:cubicBezTo>
                  <a:cubicBezTo>
                    <a:pt x="192" y="34"/>
                    <a:pt x="193" y="32"/>
                    <a:pt x="194" y="31"/>
                  </a:cubicBezTo>
                  <a:cubicBezTo>
                    <a:pt x="194" y="31"/>
                    <a:pt x="195" y="31"/>
                    <a:pt x="196" y="30"/>
                  </a:cubicBezTo>
                  <a:cubicBezTo>
                    <a:pt x="196" y="30"/>
                    <a:pt x="197" y="30"/>
                    <a:pt x="197" y="3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9"/>
                    <a:pt x="197" y="29"/>
                    <a:pt x="197" y="28"/>
                  </a:cubicBezTo>
                  <a:cubicBezTo>
                    <a:pt x="197" y="28"/>
                    <a:pt x="197" y="28"/>
                    <a:pt x="197" y="28"/>
                  </a:cubicBezTo>
                  <a:cubicBezTo>
                    <a:pt x="198" y="28"/>
                    <a:pt x="198" y="28"/>
                    <a:pt x="198" y="28"/>
                  </a:cubicBezTo>
                  <a:cubicBezTo>
                    <a:pt x="199" y="27"/>
                    <a:pt x="200" y="27"/>
                    <a:pt x="200" y="26"/>
                  </a:cubicBezTo>
                  <a:cubicBezTo>
                    <a:pt x="201" y="25"/>
                    <a:pt x="201" y="25"/>
                    <a:pt x="201" y="24"/>
                  </a:cubicBezTo>
                  <a:cubicBezTo>
                    <a:pt x="201" y="24"/>
                    <a:pt x="201" y="23"/>
                    <a:pt x="201" y="23"/>
                  </a:cubicBezTo>
                  <a:cubicBezTo>
                    <a:pt x="199" y="23"/>
                    <a:pt x="199" y="22"/>
                    <a:pt x="198" y="21"/>
                  </a:cubicBezTo>
                  <a:cubicBezTo>
                    <a:pt x="197" y="17"/>
                    <a:pt x="197" y="17"/>
                    <a:pt x="197" y="17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1" y="20"/>
                    <a:pt x="201" y="19"/>
                    <a:pt x="201" y="18"/>
                  </a:cubicBezTo>
                  <a:cubicBezTo>
                    <a:pt x="200" y="18"/>
                    <a:pt x="200" y="18"/>
                    <a:pt x="200" y="17"/>
                  </a:cubicBezTo>
                  <a:cubicBezTo>
                    <a:pt x="200" y="17"/>
                    <a:pt x="200" y="17"/>
                    <a:pt x="200" y="17"/>
                  </a:cubicBezTo>
                  <a:cubicBezTo>
                    <a:pt x="200" y="18"/>
                    <a:pt x="200" y="18"/>
                    <a:pt x="200" y="18"/>
                  </a:cubicBezTo>
                  <a:cubicBezTo>
                    <a:pt x="199" y="18"/>
                    <a:pt x="199" y="18"/>
                    <a:pt x="199" y="18"/>
                  </a:cubicBezTo>
                  <a:cubicBezTo>
                    <a:pt x="198" y="17"/>
                    <a:pt x="198" y="16"/>
                    <a:pt x="198" y="16"/>
                  </a:cubicBezTo>
                  <a:cubicBezTo>
                    <a:pt x="198" y="15"/>
                    <a:pt x="198" y="15"/>
                    <a:pt x="198" y="14"/>
                  </a:cubicBezTo>
                  <a:cubicBezTo>
                    <a:pt x="197" y="14"/>
                    <a:pt x="197" y="14"/>
                    <a:pt x="197" y="13"/>
                  </a:cubicBezTo>
                  <a:cubicBezTo>
                    <a:pt x="196" y="12"/>
                    <a:pt x="195" y="12"/>
                    <a:pt x="194" y="12"/>
                  </a:cubicBezTo>
                  <a:cubicBezTo>
                    <a:pt x="194" y="12"/>
                    <a:pt x="194" y="12"/>
                    <a:pt x="193" y="11"/>
                  </a:cubicBezTo>
                  <a:cubicBezTo>
                    <a:pt x="192" y="11"/>
                    <a:pt x="191" y="11"/>
                    <a:pt x="190" y="11"/>
                  </a:cubicBezTo>
                  <a:cubicBezTo>
                    <a:pt x="189" y="11"/>
                    <a:pt x="189" y="11"/>
                    <a:pt x="189" y="11"/>
                  </a:cubicBezTo>
                  <a:cubicBezTo>
                    <a:pt x="189" y="12"/>
                    <a:pt x="189" y="12"/>
                    <a:pt x="189" y="12"/>
                  </a:cubicBezTo>
                  <a:cubicBezTo>
                    <a:pt x="187" y="14"/>
                    <a:pt x="187" y="14"/>
                    <a:pt x="184" y="14"/>
                  </a:cubicBezTo>
                  <a:cubicBezTo>
                    <a:pt x="183" y="14"/>
                    <a:pt x="183" y="14"/>
                    <a:pt x="183" y="14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85" y="12"/>
                    <a:pt x="187" y="10"/>
                    <a:pt x="186" y="9"/>
                  </a:cubicBezTo>
                  <a:cubicBezTo>
                    <a:pt x="186" y="9"/>
                    <a:pt x="186" y="9"/>
                    <a:pt x="185" y="9"/>
                  </a:cubicBezTo>
                  <a:cubicBezTo>
                    <a:pt x="184" y="9"/>
                    <a:pt x="183" y="9"/>
                    <a:pt x="183" y="8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12"/>
                    <a:pt x="176" y="12"/>
                    <a:pt x="176" y="12"/>
                  </a:cubicBezTo>
                  <a:cubicBezTo>
                    <a:pt x="179" y="8"/>
                    <a:pt x="179" y="8"/>
                    <a:pt x="179" y="8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181" y="7"/>
                    <a:pt x="183" y="5"/>
                    <a:pt x="183" y="5"/>
                  </a:cubicBezTo>
                  <a:cubicBezTo>
                    <a:pt x="183" y="3"/>
                    <a:pt x="181" y="1"/>
                    <a:pt x="179" y="2"/>
                  </a:cubicBezTo>
                  <a:cubicBezTo>
                    <a:pt x="177" y="2"/>
                    <a:pt x="174" y="6"/>
                    <a:pt x="173" y="9"/>
                  </a:cubicBezTo>
                  <a:cubicBezTo>
                    <a:pt x="173" y="10"/>
                    <a:pt x="173" y="11"/>
                    <a:pt x="173" y="11"/>
                  </a:cubicBezTo>
                  <a:cubicBezTo>
                    <a:pt x="175" y="13"/>
                    <a:pt x="175" y="13"/>
                    <a:pt x="175" y="13"/>
                  </a:cubicBezTo>
                  <a:cubicBezTo>
                    <a:pt x="173" y="12"/>
                    <a:pt x="173" y="12"/>
                    <a:pt x="173" y="12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2" y="14"/>
                    <a:pt x="170" y="14"/>
                    <a:pt x="169" y="14"/>
                  </a:cubicBezTo>
                  <a:cubicBezTo>
                    <a:pt x="170" y="15"/>
                    <a:pt x="170" y="16"/>
                    <a:pt x="170" y="18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9" y="18"/>
                    <a:pt x="169" y="18"/>
                    <a:pt x="169" y="18"/>
                  </a:cubicBezTo>
                  <a:cubicBezTo>
                    <a:pt x="168" y="18"/>
                    <a:pt x="168" y="18"/>
                    <a:pt x="168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5" y="17"/>
                    <a:pt x="165" y="18"/>
                    <a:pt x="165" y="18"/>
                  </a:cubicBezTo>
                  <a:cubicBezTo>
                    <a:pt x="165" y="19"/>
                    <a:pt x="165" y="19"/>
                    <a:pt x="165" y="19"/>
                  </a:cubicBezTo>
                  <a:cubicBezTo>
                    <a:pt x="164" y="19"/>
                    <a:pt x="164" y="19"/>
                    <a:pt x="164" y="19"/>
                  </a:cubicBezTo>
                  <a:cubicBezTo>
                    <a:pt x="163" y="20"/>
                    <a:pt x="163" y="20"/>
                    <a:pt x="162" y="20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9"/>
                    <a:pt x="161" y="19"/>
                    <a:pt x="160" y="20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9" y="19"/>
                    <a:pt x="159" y="19"/>
                    <a:pt x="159" y="19"/>
                  </a:cubicBezTo>
                  <a:cubicBezTo>
                    <a:pt x="160" y="18"/>
                    <a:pt x="160" y="18"/>
                    <a:pt x="160" y="17"/>
                  </a:cubicBezTo>
                  <a:cubicBezTo>
                    <a:pt x="160" y="17"/>
                    <a:pt x="160" y="17"/>
                    <a:pt x="160" y="17"/>
                  </a:cubicBezTo>
                  <a:cubicBezTo>
                    <a:pt x="159" y="17"/>
                    <a:pt x="159" y="17"/>
                    <a:pt x="159" y="17"/>
                  </a:cubicBezTo>
                  <a:cubicBezTo>
                    <a:pt x="159" y="18"/>
                    <a:pt x="158" y="18"/>
                    <a:pt x="158" y="18"/>
                  </a:cubicBezTo>
                  <a:cubicBezTo>
                    <a:pt x="157" y="18"/>
                    <a:pt x="156" y="18"/>
                    <a:pt x="155" y="18"/>
                  </a:cubicBezTo>
                  <a:cubicBezTo>
                    <a:pt x="155" y="19"/>
                    <a:pt x="155" y="19"/>
                    <a:pt x="155" y="19"/>
                  </a:cubicBezTo>
                  <a:cubicBezTo>
                    <a:pt x="155" y="21"/>
                    <a:pt x="152" y="22"/>
                    <a:pt x="148" y="23"/>
                  </a:cubicBezTo>
                  <a:cubicBezTo>
                    <a:pt x="147" y="23"/>
                    <a:pt x="146" y="23"/>
                    <a:pt x="146" y="23"/>
                  </a:cubicBezTo>
                  <a:cubicBezTo>
                    <a:pt x="145" y="24"/>
                    <a:pt x="145" y="24"/>
                    <a:pt x="144" y="25"/>
                  </a:cubicBezTo>
                  <a:cubicBezTo>
                    <a:pt x="144" y="25"/>
                    <a:pt x="144" y="25"/>
                    <a:pt x="143" y="26"/>
                  </a:cubicBezTo>
                  <a:cubicBezTo>
                    <a:pt x="143" y="26"/>
                    <a:pt x="142" y="27"/>
                    <a:pt x="142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28"/>
                    <a:pt x="140" y="29"/>
                    <a:pt x="140" y="30"/>
                  </a:cubicBezTo>
                  <a:cubicBezTo>
                    <a:pt x="140" y="30"/>
                    <a:pt x="140" y="30"/>
                    <a:pt x="140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8" y="33"/>
                  </a:cubicBezTo>
                  <a:cubicBezTo>
                    <a:pt x="139" y="33"/>
                    <a:pt x="140" y="34"/>
                    <a:pt x="140" y="35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7"/>
                    <a:pt x="139" y="37"/>
                    <a:pt x="138" y="38"/>
                  </a:cubicBezTo>
                  <a:cubicBezTo>
                    <a:pt x="137" y="38"/>
                    <a:pt x="136" y="38"/>
                    <a:pt x="135" y="38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3" y="39"/>
                    <a:pt x="132" y="39"/>
                    <a:pt x="131" y="39"/>
                  </a:cubicBezTo>
                  <a:cubicBezTo>
                    <a:pt x="129" y="39"/>
                    <a:pt x="127" y="39"/>
                    <a:pt x="126" y="40"/>
                  </a:cubicBezTo>
                  <a:cubicBezTo>
                    <a:pt x="126" y="40"/>
                    <a:pt x="126" y="40"/>
                    <a:pt x="126" y="41"/>
                  </a:cubicBezTo>
                  <a:cubicBezTo>
                    <a:pt x="126" y="41"/>
                    <a:pt x="126" y="41"/>
                    <a:pt x="125" y="42"/>
                  </a:cubicBezTo>
                  <a:cubicBezTo>
                    <a:pt x="126" y="42"/>
                    <a:pt x="126" y="42"/>
                    <a:pt x="126" y="42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5" y="43"/>
                    <a:pt x="125" y="43"/>
                    <a:pt x="126" y="43"/>
                  </a:cubicBezTo>
                  <a:cubicBezTo>
                    <a:pt x="126" y="44"/>
                    <a:pt x="126" y="44"/>
                    <a:pt x="127" y="45"/>
                  </a:cubicBezTo>
                  <a:cubicBezTo>
                    <a:pt x="127" y="45"/>
                    <a:pt x="127" y="46"/>
                    <a:pt x="126" y="46"/>
                  </a:cubicBezTo>
                  <a:cubicBezTo>
                    <a:pt x="126" y="47"/>
                    <a:pt x="126" y="48"/>
                    <a:pt x="126" y="48"/>
                  </a:cubicBezTo>
                  <a:cubicBezTo>
                    <a:pt x="126" y="48"/>
                    <a:pt x="127" y="49"/>
                    <a:pt x="128" y="49"/>
                  </a:cubicBezTo>
                  <a:cubicBezTo>
                    <a:pt x="128" y="49"/>
                    <a:pt x="129" y="49"/>
                    <a:pt x="130" y="50"/>
                  </a:cubicBezTo>
                  <a:cubicBezTo>
                    <a:pt x="130" y="51"/>
                    <a:pt x="130" y="51"/>
                    <a:pt x="131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3" y="53"/>
                    <a:pt x="133" y="55"/>
                    <a:pt x="132" y="57"/>
                  </a:cubicBezTo>
                  <a:cubicBezTo>
                    <a:pt x="132" y="58"/>
                    <a:pt x="132" y="59"/>
                    <a:pt x="132" y="59"/>
                  </a:cubicBezTo>
                  <a:cubicBezTo>
                    <a:pt x="133" y="61"/>
                    <a:pt x="133" y="62"/>
                    <a:pt x="133" y="63"/>
                  </a:cubicBezTo>
                  <a:cubicBezTo>
                    <a:pt x="133" y="64"/>
                    <a:pt x="132" y="64"/>
                    <a:pt x="132" y="65"/>
                  </a:cubicBezTo>
                  <a:cubicBezTo>
                    <a:pt x="131" y="65"/>
                    <a:pt x="131" y="65"/>
                    <a:pt x="132" y="65"/>
                  </a:cubicBezTo>
                  <a:cubicBezTo>
                    <a:pt x="132" y="67"/>
                    <a:pt x="132" y="67"/>
                    <a:pt x="132" y="67"/>
                  </a:cubicBezTo>
                  <a:cubicBezTo>
                    <a:pt x="131" y="66"/>
                    <a:pt x="131" y="66"/>
                    <a:pt x="131" y="66"/>
                  </a:cubicBezTo>
                  <a:cubicBezTo>
                    <a:pt x="129" y="65"/>
                    <a:pt x="128" y="64"/>
                    <a:pt x="129" y="62"/>
                  </a:cubicBezTo>
                  <a:cubicBezTo>
                    <a:pt x="129" y="62"/>
                    <a:pt x="129" y="61"/>
                    <a:pt x="129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8" y="58"/>
                    <a:pt x="128" y="58"/>
                    <a:pt x="129" y="57"/>
                  </a:cubicBezTo>
                  <a:cubicBezTo>
                    <a:pt x="130" y="56"/>
                    <a:pt x="130" y="56"/>
                    <a:pt x="131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28" y="55"/>
                    <a:pt x="127" y="55"/>
                    <a:pt x="127" y="54"/>
                  </a:cubicBezTo>
                  <a:cubicBezTo>
                    <a:pt x="125" y="52"/>
                    <a:pt x="125" y="52"/>
                    <a:pt x="123" y="51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1" y="50"/>
                    <a:pt x="121" y="50"/>
                    <a:pt x="120" y="50"/>
                  </a:cubicBezTo>
                  <a:cubicBezTo>
                    <a:pt x="120" y="50"/>
                    <a:pt x="120" y="51"/>
                    <a:pt x="119" y="51"/>
                  </a:cubicBezTo>
                  <a:cubicBezTo>
                    <a:pt x="119" y="51"/>
                    <a:pt x="118" y="51"/>
                    <a:pt x="118" y="51"/>
                  </a:cubicBezTo>
                  <a:cubicBezTo>
                    <a:pt x="118" y="51"/>
                    <a:pt x="119" y="51"/>
                    <a:pt x="119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9" y="53"/>
                    <a:pt x="119" y="53"/>
                    <a:pt x="119" y="53"/>
                  </a:cubicBezTo>
                  <a:cubicBezTo>
                    <a:pt x="118" y="54"/>
                    <a:pt x="118" y="54"/>
                    <a:pt x="117" y="55"/>
                  </a:cubicBezTo>
                  <a:cubicBezTo>
                    <a:pt x="117" y="55"/>
                    <a:pt x="117" y="55"/>
                    <a:pt x="116" y="55"/>
                  </a:cubicBezTo>
                  <a:cubicBezTo>
                    <a:pt x="116" y="55"/>
                    <a:pt x="115" y="54"/>
                    <a:pt x="115" y="53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5" y="53"/>
                    <a:pt x="115" y="54"/>
                    <a:pt x="115" y="54"/>
                  </a:cubicBezTo>
                  <a:cubicBezTo>
                    <a:pt x="116" y="55"/>
                    <a:pt x="117" y="56"/>
                    <a:pt x="118" y="56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19" y="60"/>
                    <a:pt x="118" y="60"/>
                    <a:pt x="118" y="59"/>
                  </a:cubicBezTo>
                  <a:cubicBezTo>
                    <a:pt x="116" y="59"/>
                    <a:pt x="113" y="58"/>
                    <a:pt x="112" y="56"/>
                  </a:cubicBezTo>
                  <a:cubicBezTo>
                    <a:pt x="111" y="56"/>
                    <a:pt x="111" y="56"/>
                    <a:pt x="111" y="56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3" y="55"/>
                    <a:pt x="113" y="55"/>
                    <a:pt x="113" y="55"/>
                  </a:cubicBezTo>
                  <a:cubicBezTo>
                    <a:pt x="113" y="55"/>
                    <a:pt x="113" y="54"/>
                    <a:pt x="112" y="54"/>
                  </a:cubicBezTo>
                  <a:cubicBezTo>
                    <a:pt x="112" y="53"/>
                    <a:pt x="112" y="53"/>
                    <a:pt x="112" y="53"/>
                  </a:cubicBezTo>
                  <a:cubicBezTo>
                    <a:pt x="112" y="52"/>
                    <a:pt x="112" y="51"/>
                    <a:pt x="113" y="51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49"/>
                    <a:pt x="113" y="49"/>
                    <a:pt x="113" y="48"/>
                  </a:cubicBezTo>
                  <a:cubicBezTo>
                    <a:pt x="113" y="48"/>
                    <a:pt x="113" y="48"/>
                    <a:pt x="112" y="4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3" y="49"/>
                    <a:pt x="113" y="50"/>
                    <a:pt x="112" y="50"/>
                  </a:cubicBezTo>
                  <a:cubicBezTo>
                    <a:pt x="112" y="51"/>
                    <a:pt x="111" y="51"/>
                    <a:pt x="111" y="51"/>
                  </a:cubicBezTo>
                  <a:cubicBezTo>
                    <a:pt x="110" y="52"/>
                    <a:pt x="109" y="53"/>
                    <a:pt x="109" y="53"/>
                  </a:cubicBezTo>
                  <a:cubicBezTo>
                    <a:pt x="107" y="55"/>
                    <a:pt x="109" y="57"/>
                    <a:pt x="110" y="59"/>
                  </a:cubicBezTo>
                  <a:cubicBezTo>
                    <a:pt x="110" y="60"/>
                    <a:pt x="111" y="60"/>
                    <a:pt x="111" y="61"/>
                  </a:cubicBezTo>
                  <a:cubicBezTo>
                    <a:pt x="111" y="62"/>
                    <a:pt x="111" y="63"/>
                    <a:pt x="110" y="65"/>
                  </a:cubicBezTo>
                  <a:cubicBezTo>
                    <a:pt x="110" y="66"/>
                    <a:pt x="109" y="67"/>
                    <a:pt x="110" y="68"/>
                  </a:cubicBezTo>
                  <a:cubicBezTo>
                    <a:pt x="110" y="69"/>
                    <a:pt x="110" y="70"/>
                    <a:pt x="110" y="70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2" y="72"/>
                    <a:pt x="112" y="72"/>
                    <a:pt x="114" y="71"/>
                  </a:cubicBezTo>
                  <a:cubicBezTo>
                    <a:pt x="114" y="71"/>
                    <a:pt x="115" y="71"/>
                    <a:pt x="115" y="71"/>
                  </a:cubicBezTo>
                  <a:cubicBezTo>
                    <a:pt x="118" y="71"/>
                    <a:pt x="120" y="76"/>
                    <a:pt x="120" y="76"/>
                  </a:cubicBezTo>
                  <a:cubicBezTo>
                    <a:pt x="120" y="77"/>
                    <a:pt x="119" y="78"/>
                    <a:pt x="119" y="78"/>
                  </a:cubicBezTo>
                  <a:cubicBezTo>
                    <a:pt x="119" y="79"/>
                    <a:pt x="119" y="79"/>
                    <a:pt x="119" y="79"/>
                  </a:cubicBezTo>
                  <a:cubicBezTo>
                    <a:pt x="118" y="80"/>
                    <a:pt x="119" y="80"/>
                    <a:pt x="120" y="81"/>
                  </a:cubicBezTo>
                  <a:cubicBezTo>
                    <a:pt x="120" y="81"/>
                    <a:pt x="121" y="81"/>
                    <a:pt x="121" y="81"/>
                  </a:cubicBezTo>
                  <a:cubicBezTo>
                    <a:pt x="123" y="82"/>
                    <a:pt x="123" y="82"/>
                    <a:pt x="123" y="82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9" y="82"/>
                    <a:pt x="118" y="82"/>
                    <a:pt x="117" y="81"/>
                  </a:cubicBezTo>
                  <a:cubicBezTo>
                    <a:pt x="117" y="81"/>
                    <a:pt x="117" y="80"/>
                    <a:pt x="117" y="78"/>
                  </a:cubicBezTo>
                  <a:cubicBezTo>
                    <a:pt x="117" y="77"/>
                    <a:pt x="117" y="76"/>
                    <a:pt x="116" y="76"/>
                  </a:cubicBezTo>
                  <a:cubicBezTo>
                    <a:pt x="116" y="75"/>
                    <a:pt x="115" y="74"/>
                    <a:pt x="115" y="74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4"/>
                    <a:pt x="112" y="74"/>
                    <a:pt x="111" y="75"/>
                  </a:cubicBezTo>
                  <a:cubicBezTo>
                    <a:pt x="111" y="76"/>
                    <a:pt x="111" y="76"/>
                    <a:pt x="111" y="77"/>
                  </a:cubicBezTo>
                  <a:cubicBezTo>
                    <a:pt x="112" y="80"/>
                    <a:pt x="112" y="81"/>
                    <a:pt x="111" y="82"/>
                  </a:cubicBezTo>
                  <a:cubicBezTo>
                    <a:pt x="110" y="83"/>
                    <a:pt x="110" y="83"/>
                    <a:pt x="110" y="84"/>
                  </a:cubicBezTo>
                  <a:cubicBezTo>
                    <a:pt x="109" y="86"/>
                    <a:pt x="108" y="87"/>
                    <a:pt x="107" y="88"/>
                  </a:cubicBezTo>
                  <a:cubicBezTo>
                    <a:pt x="106" y="88"/>
                    <a:pt x="106" y="88"/>
                    <a:pt x="106" y="88"/>
                  </a:cubicBezTo>
                  <a:cubicBezTo>
                    <a:pt x="106" y="88"/>
                    <a:pt x="106" y="88"/>
                    <a:pt x="106" y="88"/>
                  </a:cubicBezTo>
                  <a:cubicBezTo>
                    <a:pt x="106" y="89"/>
                    <a:pt x="106" y="90"/>
                    <a:pt x="105" y="90"/>
                  </a:cubicBezTo>
                  <a:cubicBezTo>
                    <a:pt x="105" y="90"/>
                    <a:pt x="103" y="90"/>
                    <a:pt x="102" y="90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0" y="89"/>
                    <a:pt x="100" y="89"/>
                    <a:pt x="100" y="88"/>
                  </a:cubicBezTo>
                  <a:cubicBezTo>
                    <a:pt x="100" y="87"/>
                    <a:pt x="100" y="87"/>
                    <a:pt x="100" y="87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100" y="86"/>
                    <a:pt x="100" y="86"/>
                    <a:pt x="100" y="86"/>
                  </a:cubicBezTo>
                  <a:cubicBezTo>
                    <a:pt x="101" y="86"/>
                    <a:pt x="103" y="86"/>
                    <a:pt x="104" y="85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104" y="85"/>
                    <a:pt x="104" y="84"/>
                    <a:pt x="103" y="84"/>
                  </a:cubicBezTo>
                  <a:cubicBezTo>
                    <a:pt x="104" y="83"/>
                    <a:pt x="104" y="83"/>
                    <a:pt x="104" y="83"/>
                  </a:cubicBezTo>
                  <a:cubicBezTo>
                    <a:pt x="106" y="84"/>
                    <a:pt x="107" y="81"/>
                    <a:pt x="107" y="79"/>
                  </a:cubicBezTo>
                  <a:cubicBezTo>
                    <a:pt x="107" y="78"/>
                    <a:pt x="107" y="78"/>
                    <a:pt x="107" y="77"/>
                  </a:cubicBezTo>
                  <a:cubicBezTo>
                    <a:pt x="108" y="77"/>
                    <a:pt x="108" y="76"/>
                    <a:pt x="108" y="76"/>
                  </a:cubicBezTo>
                  <a:cubicBezTo>
                    <a:pt x="108" y="75"/>
                    <a:pt x="107" y="75"/>
                    <a:pt x="107" y="74"/>
                  </a:cubicBezTo>
                  <a:cubicBezTo>
                    <a:pt x="106" y="74"/>
                    <a:pt x="105" y="73"/>
                    <a:pt x="106" y="72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6" y="66"/>
                    <a:pt x="106" y="66"/>
                  </a:cubicBezTo>
                  <a:cubicBezTo>
                    <a:pt x="106" y="65"/>
                    <a:pt x="105" y="64"/>
                    <a:pt x="106" y="63"/>
                  </a:cubicBezTo>
                  <a:cubicBezTo>
                    <a:pt x="107" y="61"/>
                    <a:pt x="106" y="58"/>
                    <a:pt x="104" y="56"/>
                  </a:cubicBezTo>
                  <a:cubicBezTo>
                    <a:pt x="104" y="55"/>
                    <a:pt x="104" y="54"/>
                    <a:pt x="105" y="52"/>
                  </a:cubicBezTo>
                  <a:cubicBezTo>
                    <a:pt x="105" y="51"/>
                    <a:pt x="106" y="49"/>
                    <a:pt x="106" y="49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7"/>
                    <a:pt x="106" y="47"/>
                    <a:pt x="105" y="47"/>
                  </a:cubicBezTo>
                  <a:cubicBezTo>
                    <a:pt x="103" y="46"/>
                    <a:pt x="101" y="46"/>
                    <a:pt x="99" y="45"/>
                  </a:cubicBezTo>
                  <a:cubicBezTo>
                    <a:pt x="99" y="45"/>
                    <a:pt x="98" y="46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7" y="54"/>
                    <a:pt x="96" y="55"/>
                    <a:pt x="95" y="56"/>
                  </a:cubicBezTo>
                  <a:cubicBezTo>
                    <a:pt x="94" y="56"/>
                    <a:pt x="94" y="57"/>
                    <a:pt x="93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4" y="59"/>
                    <a:pt x="94" y="59"/>
                    <a:pt x="94" y="59"/>
                  </a:cubicBezTo>
                  <a:cubicBezTo>
                    <a:pt x="94" y="59"/>
                    <a:pt x="94" y="60"/>
                    <a:pt x="94" y="60"/>
                  </a:cubicBezTo>
                  <a:cubicBezTo>
                    <a:pt x="94" y="60"/>
                    <a:pt x="94" y="60"/>
                    <a:pt x="93" y="60"/>
                  </a:cubicBezTo>
                  <a:cubicBezTo>
                    <a:pt x="94" y="60"/>
                    <a:pt x="94" y="61"/>
                    <a:pt x="95" y="61"/>
                  </a:cubicBezTo>
                  <a:cubicBezTo>
                    <a:pt x="95" y="61"/>
                    <a:pt x="95" y="62"/>
                    <a:pt x="95" y="63"/>
                  </a:cubicBezTo>
                  <a:cubicBezTo>
                    <a:pt x="95" y="63"/>
                    <a:pt x="94" y="64"/>
                    <a:pt x="95" y="64"/>
                  </a:cubicBezTo>
                  <a:cubicBezTo>
                    <a:pt x="95" y="65"/>
                    <a:pt x="94" y="66"/>
                    <a:pt x="94" y="66"/>
                  </a:cubicBezTo>
                  <a:cubicBezTo>
                    <a:pt x="94" y="67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6" y="69"/>
                    <a:pt x="97" y="69"/>
                    <a:pt x="97" y="71"/>
                  </a:cubicBezTo>
                  <a:cubicBezTo>
                    <a:pt x="97" y="71"/>
                    <a:pt x="97" y="72"/>
                    <a:pt x="97" y="72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3"/>
                    <a:pt x="99" y="73"/>
                    <a:pt x="99" y="73"/>
                  </a:cubicBezTo>
                  <a:cubicBezTo>
                    <a:pt x="99" y="74"/>
                    <a:pt x="99" y="74"/>
                    <a:pt x="99" y="74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4" y="75"/>
                    <a:pt x="92" y="73"/>
                    <a:pt x="89" y="71"/>
                  </a:cubicBezTo>
                  <a:cubicBezTo>
                    <a:pt x="87" y="70"/>
                    <a:pt x="83" y="68"/>
                    <a:pt x="81" y="68"/>
                  </a:cubicBezTo>
                  <a:cubicBezTo>
                    <a:pt x="81" y="68"/>
                    <a:pt x="80" y="68"/>
                    <a:pt x="80" y="68"/>
                  </a:cubicBezTo>
                  <a:cubicBezTo>
                    <a:pt x="80" y="68"/>
                    <a:pt x="79" y="68"/>
                    <a:pt x="79" y="68"/>
                  </a:cubicBezTo>
                  <a:cubicBezTo>
                    <a:pt x="79" y="69"/>
                    <a:pt x="79" y="69"/>
                    <a:pt x="79" y="70"/>
                  </a:cubicBezTo>
                  <a:cubicBezTo>
                    <a:pt x="80" y="71"/>
                    <a:pt x="80" y="73"/>
                    <a:pt x="78" y="75"/>
                  </a:cubicBezTo>
                  <a:cubicBezTo>
                    <a:pt x="78" y="75"/>
                    <a:pt x="78" y="75"/>
                    <a:pt x="78" y="76"/>
                  </a:cubicBezTo>
                  <a:cubicBezTo>
                    <a:pt x="77" y="77"/>
                    <a:pt x="77" y="77"/>
                    <a:pt x="76" y="77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5" y="76"/>
                    <a:pt x="75" y="76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4"/>
                    <a:pt x="75" y="74"/>
                    <a:pt x="75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3" y="75"/>
                    <a:pt x="72" y="76"/>
                    <a:pt x="71" y="76"/>
                  </a:cubicBezTo>
                  <a:cubicBezTo>
                    <a:pt x="71" y="76"/>
                    <a:pt x="70" y="76"/>
                    <a:pt x="69" y="76"/>
                  </a:cubicBezTo>
                  <a:cubicBezTo>
                    <a:pt x="69" y="76"/>
                    <a:pt x="68" y="76"/>
                    <a:pt x="68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6"/>
                    <a:pt x="67" y="77"/>
                    <a:pt x="67" y="77"/>
                  </a:cubicBezTo>
                  <a:cubicBezTo>
                    <a:pt x="66" y="78"/>
                    <a:pt x="65" y="79"/>
                    <a:pt x="63" y="78"/>
                  </a:cubicBezTo>
                  <a:cubicBezTo>
                    <a:pt x="62" y="77"/>
                    <a:pt x="63" y="76"/>
                    <a:pt x="63" y="75"/>
                  </a:cubicBezTo>
                  <a:cubicBezTo>
                    <a:pt x="63" y="75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2" y="74"/>
                    <a:pt x="62" y="75"/>
                    <a:pt x="62" y="75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1" y="76"/>
                    <a:pt x="61" y="76"/>
                    <a:pt x="60" y="76"/>
                  </a:cubicBezTo>
                  <a:cubicBezTo>
                    <a:pt x="60" y="76"/>
                    <a:pt x="60" y="77"/>
                    <a:pt x="60" y="77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7" y="77"/>
                    <a:pt x="54" y="79"/>
                    <a:pt x="53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0" y="82"/>
                    <a:pt x="50" y="82"/>
                    <a:pt x="49" y="84"/>
                  </a:cubicBezTo>
                  <a:cubicBezTo>
                    <a:pt x="49" y="86"/>
                    <a:pt x="49" y="86"/>
                    <a:pt x="47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7"/>
                    <a:pt x="46" y="87"/>
                    <a:pt x="46" y="87"/>
                  </a:cubicBezTo>
                  <a:cubicBezTo>
                    <a:pt x="46" y="87"/>
                    <a:pt x="46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4" y="86"/>
                    <a:pt x="44" y="85"/>
                    <a:pt x="43" y="85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42" y="83"/>
                    <a:pt x="42" y="82"/>
                    <a:pt x="42" y="81"/>
                  </a:cubicBezTo>
                  <a:cubicBezTo>
                    <a:pt x="43" y="80"/>
                    <a:pt x="44" y="80"/>
                    <a:pt x="46" y="80"/>
                  </a:cubicBezTo>
                  <a:cubicBezTo>
                    <a:pt x="45" y="77"/>
                    <a:pt x="43" y="76"/>
                    <a:pt x="40" y="76"/>
                  </a:cubicBezTo>
                  <a:cubicBezTo>
                    <a:pt x="41" y="76"/>
                    <a:pt x="41" y="77"/>
                    <a:pt x="41" y="79"/>
                  </a:cubicBezTo>
                  <a:cubicBezTo>
                    <a:pt x="41" y="79"/>
                    <a:pt x="41" y="80"/>
                    <a:pt x="41" y="81"/>
                  </a:cubicBezTo>
                  <a:cubicBezTo>
                    <a:pt x="41" y="81"/>
                    <a:pt x="40" y="82"/>
                    <a:pt x="40" y="83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2" y="85"/>
                    <a:pt x="42" y="85"/>
                    <a:pt x="42" y="87"/>
                  </a:cubicBezTo>
                  <a:cubicBezTo>
                    <a:pt x="41" y="89"/>
                    <a:pt x="41" y="90"/>
                    <a:pt x="41" y="91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0" y="91"/>
                    <a:pt x="40" y="91"/>
                    <a:pt x="39" y="91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39" y="90"/>
                    <a:pt x="38" y="90"/>
                    <a:pt x="38" y="89"/>
                  </a:cubicBezTo>
                  <a:cubicBezTo>
                    <a:pt x="38" y="89"/>
                    <a:pt x="37" y="88"/>
                    <a:pt x="37" y="88"/>
                  </a:cubicBezTo>
                  <a:cubicBezTo>
                    <a:pt x="36" y="88"/>
                    <a:pt x="36" y="89"/>
                    <a:pt x="35" y="90"/>
                  </a:cubicBezTo>
                  <a:cubicBezTo>
                    <a:pt x="35" y="91"/>
                    <a:pt x="34" y="91"/>
                    <a:pt x="34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2" y="93"/>
                    <a:pt x="31" y="93"/>
                    <a:pt x="31" y="95"/>
                  </a:cubicBezTo>
                  <a:cubicBezTo>
                    <a:pt x="32" y="95"/>
                    <a:pt x="32" y="97"/>
                    <a:pt x="33" y="98"/>
                  </a:cubicBezTo>
                  <a:cubicBezTo>
                    <a:pt x="33" y="98"/>
                    <a:pt x="33" y="99"/>
                    <a:pt x="34" y="99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2" y="100"/>
                    <a:pt x="32" y="99"/>
                  </a:cubicBezTo>
                  <a:cubicBezTo>
                    <a:pt x="31" y="99"/>
                    <a:pt x="29" y="98"/>
                    <a:pt x="28" y="98"/>
                  </a:cubicBezTo>
                  <a:cubicBezTo>
                    <a:pt x="28" y="98"/>
                    <a:pt x="27" y="98"/>
                    <a:pt x="27" y="99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26" y="98"/>
                    <a:pt x="26" y="98"/>
                    <a:pt x="26" y="97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25" y="97"/>
                    <a:pt x="25" y="96"/>
                    <a:pt x="24" y="96"/>
                  </a:cubicBezTo>
                  <a:cubicBezTo>
                    <a:pt x="24" y="96"/>
                    <a:pt x="24" y="96"/>
                    <a:pt x="24" y="97"/>
                  </a:cubicBezTo>
                  <a:cubicBezTo>
                    <a:pt x="24" y="97"/>
                    <a:pt x="24" y="98"/>
                    <a:pt x="24" y="98"/>
                  </a:cubicBezTo>
                  <a:cubicBezTo>
                    <a:pt x="24" y="99"/>
                    <a:pt x="25" y="99"/>
                    <a:pt x="26" y="99"/>
                  </a:cubicBezTo>
                  <a:cubicBezTo>
                    <a:pt x="27" y="98"/>
                    <a:pt x="27" y="98"/>
                    <a:pt x="27" y="98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7" y="101"/>
                    <a:pt x="27" y="102"/>
                    <a:pt x="27" y="103"/>
                  </a:cubicBezTo>
                  <a:cubicBezTo>
                    <a:pt x="27" y="103"/>
                    <a:pt x="26" y="104"/>
                    <a:pt x="24" y="103"/>
                  </a:cubicBezTo>
                  <a:cubicBezTo>
                    <a:pt x="23" y="102"/>
                    <a:pt x="22" y="102"/>
                    <a:pt x="21" y="101"/>
                  </a:cubicBezTo>
                  <a:cubicBezTo>
                    <a:pt x="20" y="101"/>
                    <a:pt x="20" y="100"/>
                    <a:pt x="19" y="100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98"/>
                    <a:pt x="19" y="97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7" y="95"/>
                    <a:pt x="18" y="94"/>
                    <a:pt x="18" y="93"/>
                  </a:cubicBezTo>
                  <a:cubicBezTo>
                    <a:pt x="18" y="93"/>
                    <a:pt x="18" y="92"/>
                    <a:pt x="18" y="92"/>
                  </a:cubicBezTo>
                  <a:cubicBezTo>
                    <a:pt x="18" y="91"/>
                    <a:pt x="15" y="88"/>
                    <a:pt x="14" y="86"/>
                  </a:cubicBezTo>
                  <a:cubicBezTo>
                    <a:pt x="13" y="86"/>
                    <a:pt x="12" y="85"/>
                    <a:pt x="12" y="85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4"/>
                    <a:pt x="13" y="84"/>
                    <a:pt x="13" y="84"/>
                  </a:cubicBezTo>
                  <a:cubicBezTo>
                    <a:pt x="14" y="84"/>
                    <a:pt x="15" y="84"/>
                    <a:pt x="16" y="85"/>
                  </a:cubicBezTo>
                  <a:cubicBezTo>
                    <a:pt x="16" y="85"/>
                    <a:pt x="17" y="86"/>
                    <a:pt x="18" y="86"/>
                  </a:cubicBezTo>
                  <a:cubicBezTo>
                    <a:pt x="18" y="86"/>
                    <a:pt x="19" y="87"/>
                    <a:pt x="19" y="87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20" y="88"/>
                    <a:pt x="22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4" y="88"/>
                    <a:pt x="24" y="89"/>
                    <a:pt x="25" y="89"/>
                  </a:cubicBezTo>
                  <a:cubicBezTo>
                    <a:pt x="27" y="89"/>
                    <a:pt x="28" y="90"/>
                    <a:pt x="30" y="89"/>
                  </a:cubicBezTo>
                  <a:cubicBezTo>
                    <a:pt x="32" y="88"/>
                    <a:pt x="33" y="86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3" y="83"/>
                    <a:pt x="33" y="83"/>
                    <a:pt x="33" y="82"/>
                  </a:cubicBezTo>
                  <a:cubicBezTo>
                    <a:pt x="33" y="81"/>
                    <a:pt x="32" y="81"/>
                    <a:pt x="32" y="80"/>
                  </a:cubicBezTo>
                  <a:cubicBezTo>
                    <a:pt x="32" y="80"/>
                    <a:pt x="32" y="80"/>
                    <a:pt x="31" y="80"/>
                  </a:cubicBezTo>
                  <a:cubicBezTo>
                    <a:pt x="31" y="79"/>
                    <a:pt x="30" y="79"/>
                    <a:pt x="29" y="78"/>
                  </a:cubicBezTo>
                  <a:cubicBezTo>
                    <a:pt x="28" y="78"/>
                    <a:pt x="27" y="78"/>
                    <a:pt x="26" y="77"/>
                  </a:cubicBezTo>
                  <a:cubicBezTo>
                    <a:pt x="26" y="77"/>
                    <a:pt x="26" y="76"/>
                    <a:pt x="25" y="76"/>
                  </a:cubicBezTo>
                  <a:cubicBezTo>
                    <a:pt x="24" y="74"/>
                    <a:pt x="22" y="72"/>
                    <a:pt x="21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2"/>
                    <a:pt x="20" y="72"/>
                    <a:pt x="20" y="72"/>
                  </a:cubicBezTo>
                  <a:cubicBezTo>
                    <a:pt x="19" y="72"/>
                    <a:pt x="19" y="72"/>
                    <a:pt x="18" y="72"/>
                  </a:cubicBezTo>
                  <a:cubicBezTo>
                    <a:pt x="18" y="72"/>
                    <a:pt x="16" y="72"/>
                    <a:pt x="15" y="71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70"/>
                    <a:pt x="14" y="70"/>
                    <a:pt x="13" y="70"/>
                  </a:cubicBezTo>
                  <a:cubicBezTo>
                    <a:pt x="13" y="70"/>
                    <a:pt x="12" y="70"/>
                    <a:pt x="12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1" y="69"/>
                    <a:pt x="10" y="69"/>
                    <a:pt x="10" y="68"/>
                  </a:cubicBezTo>
                  <a:cubicBezTo>
                    <a:pt x="10" y="69"/>
                    <a:pt x="10" y="69"/>
                    <a:pt x="10" y="69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0" y="69"/>
                    <a:pt x="10" y="69"/>
                    <a:pt x="10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71"/>
                    <a:pt x="7" y="72"/>
                    <a:pt x="6" y="73"/>
                  </a:cubicBezTo>
                  <a:cubicBezTo>
                    <a:pt x="6" y="73"/>
                    <a:pt x="6" y="73"/>
                    <a:pt x="5" y="73"/>
                  </a:cubicBezTo>
                  <a:cubicBezTo>
                    <a:pt x="6" y="74"/>
                    <a:pt x="5" y="74"/>
                    <a:pt x="5" y="75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5" y="76"/>
                    <a:pt x="5" y="76"/>
                    <a:pt x="6" y="77"/>
                  </a:cubicBezTo>
                  <a:cubicBezTo>
                    <a:pt x="6" y="77"/>
                    <a:pt x="6" y="77"/>
                    <a:pt x="7" y="78"/>
                  </a:cubicBezTo>
                  <a:cubicBezTo>
                    <a:pt x="9" y="80"/>
                    <a:pt x="8" y="82"/>
                    <a:pt x="7" y="84"/>
                  </a:cubicBezTo>
                  <a:cubicBezTo>
                    <a:pt x="7" y="86"/>
                    <a:pt x="7" y="87"/>
                    <a:pt x="8" y="89"/>
                  </a:cubicBezTo>
                  <a:cubicBezTo>
                    <a:pt x="8" y="89"/>
                    <a:pt x="8" y="90"/>
                    <a:pt x="8" y="91"/>
                  </a:cubicBezTo>
                  <a:cubicBezTo>
                    <a:pt x="9" y="92"/>
                    <a:pt x="9" y="93"/>
                    <a:pt x="8" y="94"/>
                  </a:cubicBezTo>
                  <a:cubicBezTo>
                    <a:pt x="8" y="95"/>
                    <a:pt x="8" y="96"/>
                    <a:pt x="8" y="97"/>
                  </a:cubicBezTo>
                  <a:cubicBezTo>
                    <a:pt x="8" y="97"/>
                    <a:pt x="8" y="97"/>
                    <a:pt x="9" y="98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9" y="99"/>
                    <a:pt x="9" y="100"/>
                  </a:cubicBezTo>
                  <a:cubicBezTo>
                    <a:pt x="10" y="100"/>
                    <a:pt x="10" y="101"/>
                    <a:pt x="9" y="102"/>
                  </a:cubicBezTo>
                  <a:cubicBezTo>
                    <a:pt x="9" y="103"/>
                    <a:pt x="10" y="104"/>
                    <a:pt x="10" y="105"/>
                  </a:cubicBezTo>
                  <a:cubicBezTo>
                    <a:pt x="11" y="105"/>
                    <a:pt x="12" y="106"/>
                    <a:pt x="12" y="108"/>
                  </a:cubicBezTo>
                  <a:cubicBezTo>
                    <a:pt x="12" y="111"/>
                    <a:pt x="7" y="115"/>
                    <a:pt x="4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5" y="119"/>
                    <a:pt x="5" y="119"/>
                    <a:pt x="5" y="119"/>
                  </a:cubicBezTo>
                  <a:cubicBezTo>
                    <a:pt x="5" y="120"/>
                    <a:pt x="6" y="120"/>
                    <a:pt x="6" y="120"/>
                  </a:cubicBezTo>
                  <a:cubicBezTo>
                    <a:pt x="7" y="120"/>
                    <a:pt x="8" y="120"/>
                    <a:pt x="9" y="121"/>
                  </a:cubicBezTo>
                  <a:cubicBezTo>
                    <a:pt x="10" y="122"/>
                    <a:pt x="10" y="122"/>
                    <a:pt x="10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7" y="122"/>
                    <a:pt x="6" y="122"/>
                    <a:pt x="5" y="123"/>
                  </a:cubicBezTo>
                  <a:cubicBezTo>
                    <a:pt x="5" y="123"/>
                    <a:pt x="5" y="123"/>
                    <a:pt x="4" y="124"/>
                  </a:cubicBezTo>
                  <a:cubicBezTo>
                    <a:pt x="4" y="124"/>
                    <a:pt x="4" y="125"/>
                    <a:pt x="4" y="126"/>
                  </a:cubicBezTo>
                  <a:cubicBezTo>
                    <a:pt x="3" y="126"/>
                    <a:pt x="3" y="127"/>
                    <a:pt x="2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8"/>
                    <a:pt x="2" y="128"/>
                    <a:pt x="3" y="128"/>
                  </a:cubicBezTo>
                  <a:cubicBezTo>
                    <a:pt x="3" y="129"/>
                    <a:pt x="3" y="129"/>
                    <a:pt x="3" y="130"/>
                  </a:cubicBezTo>
                  <a:cubicBezTo>
                    <a:pt x="3" y="131"/>
                    <a:pt x="3" y="131"/>
                    <a:pt x="3" y="132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3" y="132"/>
                    <a:pt x="3" y="133"/>
                    <a:pt x="3" y="134"/>
                  </a:cubicBezTo>
                  <a:cubicBezTo>
                    <a:pt x="4" y="134"/>
                    <a:pt x="4" y="135"/>
                    <a:pt x="4" y="135"/>
                  </a:cubicBezTo>
                  <a:cubicBezTo>
                    <a:pt x="4" y="135"/>
                    <a:pt x="4" y="135"/>
                    <a:pt x="4" y="135"/>
                  </a:cubicBezTo>
                  <a:cubicBezTo>
                    <a:pt x="4" y="137"/>
                    <a:pt x="5" y="138"/>
                    <a:pt x="5" y="138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6" y="138"/>
                    <a:pt x="6" y="138"/>
                    <a:pt x="6" y="138"/>
                  </a:cubicBezTo>
                  <a:cubicBezTo>
                    <a:pt x="6" y="138"/>
                    <a:pt x="7" y="138"/>
                    <a:pt x="7" y="139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9" y="139"/>
                    <a:pt x="10" y="139"/>
                    <a:pt x="11" y="140"/>
                  </a:cubicBezTo>
                  <a:cubicBezTo>
                    <a:pt x="11" y="141"/>
                    <a:pt x="11" y="142"/>
                    <a:pt x="11" y="143"/>
                  </a:cubicBezTo>
                  <a:cubicBezTo>
                    <a:pt x="11" y="144"/>
                    <a:pt x="11" y="144"/>
                    <a:pt x="12" y="146"/>
                  </a:cubicBezTo>
                  <a:cubicBezTo>
                    <a:pt x="13" y="146"/>
                    <a:pt x="13" y="147"/>
                    <a:pt x="13" y="147"/>
                  </a:cubicBezTo>
                  <a:cubicBezTo>
                    <a:pt x="13" y="147"/>
                    <a:pt x="14" y="147"/>
                    <a:pt x="14" y="147"/>
                  </a:cubicBezTo>
                  <a:cubicBezTo>
                    <a:pt x="14" y="147"/>
                    <a:pt x="15" y="148"/>
                    <a:pt x="15" y="149"/>
                  </a:cubicBezTo>
                  <a:cubicBezTo>
                    <a:pt x="15" y="150"/>
                    <a:pt x="15" y="150"/>
                    <a:pt x="14" y="150"/>
                  </a:cubicBezTo>
                  <a:cubicBezTo>
                    <a:pt x="13" y="150"/>
                    <a:pt x="13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1"/>
                    <a:pt x="12" y="152"/>
                    <a:pt x="12" y="153"/>
                  </a:cubicBezTo>
                  <a:cubicBezTo>
                    <a:pt x="13" y="153"/>
                    <a:pt x="13" y="153"/>
                    <a:pt x="13" y="153"/>
                  </a:cubicBezTo>
                  <a:cubicBezTo>
                    <a:pt x="13" y="153"/>
                    <a:pt x="13" y="153"/>
                    <a:pt x="13" y="153"/>
                  </a:cubicBezTo>
                  <a:cubicBezTo>
                    <a:pt x="14" y="152"/>
                    <a:pt x="14" y="152"/>
                    <a:pt x="15" y="152"/>
                  </a:cubicBezTo>
                  <a:cubicBezTo>
                    <a:pt x="17" y="152"/>
                    <a:pt x="19" y="154"/>
                    <a:pt x="19" y="155"/>
                  </a:cubicBezTo>
                  <a:cubicBezTo>
                    <a:pt x="19" y="155"/>
                    <a:pt x="19" y="156"/>
                    <a:pt x="18" y="156"/>
                  </a:cubicBezTo>
                  <a:cubicBezTo>
                    <a:pt x="18" y="156"/>
                    <a:pt x="19" y="156"/>
                    <a:pt x="19" y="157"/>
                  </a:cubicBezTo>
                  <a:cubicBezTo>
                    <a:pt x="19" y="157"/>
                    <a:pt x="19" y="157"/>
                    <a:pt x="20" y="157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57"/>
                    <a:pt x="21" y="157"/>
                    <a:pt x="21" y="157"/>
                  </a:cubicBezTo>
                  <a:cubicBezTo>
                    <a:pt x="21" y="158"/>
                    <a:pt x="21" y="158"/>
                    <a:pt x="21" y="159"/>
                  </a:cubicBezTo>
                  <a:cubicBezTo>
                    <a:pt x="21" y="159"/>
                    <a:pt x="21" y="159"/>
                    <a:pt x="21" y="159"/>
                  </a:cubicBezTo>
                  <a:cubicBezTo>
                    <a:pt x="21" y="160"/>
                    <a:pt x="22" y="160"/>
                    <a:pt x="23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25" y="160"/>
                    <a:pt x="26" y="160"/>
                    <a:pt x="26" y="160"/>
                  </a:cubicBezTo>
                  <a:cubicBezTo>
                    <a:pt x="27" y="161"/>
                    <a:pt x="28" y="162"/>
                    <a:pt x="29" y="162"/>
                  </a:cubicBezTo>
                  <a:cubicBezTo>
                    <a:pt x="30" y="162"/>
                    <a:pt x="31" y="162"/>
                    <a:pt x="32" y="163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63"/>
                    <a:pt x="32" y="164"/>
                    <a:pt x="32" y="165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33" y="166"/>
                    <a:pt x="33" y="166"/>
                    <a:pt x="33" y="166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1" y="166"/>
                    <a:pt x="31" y="167"/>
                    <a:pt x="31" y="168"/>
                  </a:cubicBezTo>
                  <a:cubicBezTo>
                    <a:pt x="32" y="168"/>
                    <a:pt x="32" y="169"/>
                    <a:pt x="31" y="169"/>
                  </a:cubicBezTo>
                  <a:cubicBezTo>
                    <a:pt x="31" y="170"/>
                    <a:pt x="30" y="170"/>
                    <a:pt x="30" y="170"/>
                  </a:cubicBezTo>
                  <a:cubicBezTo>
                    <a:pt x="29" y="170"/>
                    <a:pt x="28" y="170"/>
                    <a:pt x="28" y="171"/>
                  </a:cubicBezTo>
                  <a:cubicBezTo>
                    <a:pt x="28" y="171"/>
                    <a:pt x="28" y="171"/>
                    <a:pt x="28" y="171"/>
                  </a:cubicBezTo>
                  <a:cubicBezTo>
                    <a:pt x="29" y="171"/>
                    <a:pt x="30" y="171"/>
                    <a:pt x="30" y="172"/>
                  </a:cubicBezTo>
                  <a:cubicBezTo>
                    <a:pt x="31" y="172"/>
                    <a:pt x="31" y="172"/>
                    <a:pt x="31" y="172"/>
                  </a:cubicBezTo>
                  <a:cubicBezTo>
                    <a:pt x="30" y="173"/>
                    <a:pt x="30" y="173"/>
                    <a:pt x="30" y="173"/>
                  </a:cubicBezTo>
                  <a:cubicBezTo>
                    <a:pt x="29" y="173"/>
                    <a:pt x="29" y="173"/>
                    <a:pt x="28" y="173"/>
                  </a:cubicBezTo>
                  <a:cubicBezTo>
                    <a:pt x="28" y="174"/>
                    <a:pt x="27" y="174"/>
                    <a:pt x="27" y="174"/>
                  </a:cubicBezTo>
                  <a:cubicBezTo>
                    <a:pt x="27" y="174"/>
                    <a:pt x="27" y="174"/>
                    <a:pt x="27" y="174"/>
                  </a:cubicBezTo>
                  <a:cubicBezTo>
                    <a:pt x="27" y="174"/>
                    <a:pt x="27" y="174"/>
                    <a:pt x="27" y="174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28" y="176"/>
                    <a:pt x="28" y="176"/>
                    <a:pt x="28" y="176"/>
                  </a:cubicBezTo>
                  <a:cubicBezTo>
                    <a:pt x="27" y="176"/>
                    <a:pt x="27" y="176"/>
                    <a:pt x="26" y="177"/>
                  </a:cubicBezTo>
                  <a:cubicBezTo>
                    <a:pt x="26" y="178"/>
                    <a:pt x="25" y="178"/>
                    <a:pt x="25" y="178"/>
                  </a:cubicBezTo>
                  <a:cubicBezTo>
                    <a:pt x="24" y="178"/>
                    <a:pt x="24" y="178"/>
                    <a:pt x="24" y="178"/>
                  </a:cubicBezTo>
                  <a:cubicBezTo>
                    <a:pt x="24" y="179"/>
                    <a:pt x="25" y="179"/>
                    <a:pt x="27" y="180"/>
                  </a:cubicBezTo>
                  <a:cubicBezTo>
                    <a:pt x="28" y="181"/>
                    <a:pt x="28" y="181"/>
                    <a:pt x="28" y="181"/>
                  </a:cubicBezTo>
                  <a:cubicBezTo>
                    <a:pt x="29" y="181"/>
                    <a:pt x="29" y="182"/>
                    <a:pt x="30" y="182"/>
                  </a:cubicBezTo>
                  <a:cubicBezTo>
                    <a:pt x="30" y="182"/>
                    <a:pt x="30" y="183"/>
                    <a:pt x="30" y="183"/>
                  </a:cubicBezTo>
                  <a:cubicBezTo>
                    <a:pt x="31" y="183"/>
                    <a:pt x="31" y="183"/>
                    <a:pt x="31" y="183"/>
                  </a:cubicBezTo>
                  <a:cubicBezTo>
                    <a:pt x="31" y="183"/>
                    <a:pt x="31" y="183"/>
                    <a:pt x="31" y="183"/>
                  </a:cubicBezTo>
                  <a:cubicBezTo>
                    <a:pt x="32" y="183"/>
                    <a:pt x="32" y="183"/>
                    <a:pt x="32" y="183"/>
                  </a:cubicBezTo>
                  <a:close/>
                  <a:moveTo>
                    <a:pt x="259" y="145"/>
                  </a:moveTo>
                  <a:cubicBezTo>
                    <a:pt x="257" y="146"/>
                    <a:pt x="257" y="146"/>
                    <a:pt x="257" y="146"/>
                  </a:cubicBezTo>
                  <a:cubicBezTo>
                    <a:pt x="257" y="146"/>
                    <a:pt x="257" y="147"/>
                    <a:pt x="257" y="147"/>
                  </a:cubicBezTo>
                  <a:cubicBezTo>
                    <a:pt x="257" y="147"/>
                    <a:pt x="258" y="147"/>
                    <a:pt x="257" y="148"/>
                  </a:cubicBezTo>
                  <a:cubicBezTo>
                    <a:pt x="258" y="148"/>
                    <a:pt x="258" y="148"/>
                    <a:pt x="259" y="147"/>
                  </a:cubicBezTo>
                  <a:cubicBezTo>
                    <a:pt x="259" y="147"/>
                    <a:pt x="259" y="147"/>
                    <a:pt x="259" y="147"/>
                  </a:cubicBezTo>
                  <a:cubicBezTo>
                    <a:pt x="259" y="147"/>
                    <a:pt x="259" y="146"/>
                    <a:pt x="259" y="146"/>
                  </a:cubicBezTo>
                  <a:lnTo>
                    <a:pt x="259" y="145"/>
                  </a:lnTo>
                  <a:close/>
                  <a:moveTo>
                    <a:pt x="350" y="98"/>
                  </a:moveTo>
                  <a:cubicBezTo>
                    <a:pt x="350" y="99"/>
                    <a:pt x="350" y="100"/>
                    <a:pt x="351" y="100"/>
                  </a:cubicBezTo>
                  <a:cubicBezTo>
                    <a:pt x="351" y="100"/>
                    <a:pt x="351" y="100"/>
                    <a:pt x="351" y="100"/>
                  </a:cubicBezTo>
                  <a:cubicBezTo>
                    <a:pt x="351" y="99"/>
                    <a:pt x="351" y="99"/>
                    <a:pt x="351" y="99"/>
                  </a:cubicBezTo>
                  <a:cubicBezTo>
                    <a:pt x="351" y="98"/>
                    <a:pt x="350" y="98"/>
                    <a:pt x="350" y="98"/>
                  </a:cubicBezTo>
                  <a:close/>
                  <a:moveTo>
                    <a:pt x="116" y="72"/>
                  </a:moveTo>
                  <a:cubicBezTo>
                    <a:pt x="116" y="73"/>
                    <a:pt x="116" y="73"/>
                    <a:pt x="116" y="73"/>
                  </a:cubicBezTo>
                  <a:cubicBezTo>
                    <a:pt x="116" y="74"/>
                    <a:pt x="117" y="74"/>
                    <a:pt x="117" y="75"/>
                  </a:cubicBezTo>
                  <a:cubicBezTo>
                    <a:pt x="118" y="76"/>
                    <a:pt x="118" y="76"/>
                    <a:pt x="118" y="77"/>
                  </a:cubicBezTo>
                  <a:cubicBezTo>
                    <a:pt x="119" y="77"/>
                    <a:pt x="119" y="77"/>
                    <a:pt x="118" y="77"/>
                  </a:cubicBezTo>
                  <a:cubicBezTo>
                    <a:pt x="118" y="75"/>
                    <a:pt x="117" y="74"/>
                    <a:pt x="116" y="72"/>
                  </a:cubicBezTo>
                  <a:close/>
                  <a:moveTo>
                    <a:pt x="131" y="56"/>
                  </a:moveTo>
                  <a:cubicBezTo>
                    <a:pt x="131" y="57"/>
                    <a:pt x="131" y="57"/>
                    <a:pt x="130" y="58"/>
                  </a:cubicBezTo>
                  <a:cubicBezTo>
                    <a:pt x="129" y="58"/>
                    <a:pt x="129" y="58"/>
                    <a:pt x="130" y="59"/>
                  </a:cubicBezTo>
                  <a:cubicBezTo>
                    <a:pt x="130" y="60"/>
                    <a:pt x="130" y="60"/>
                    <a:pt x="130" y="60"/>
                  </a:cubicBezTo>
                  <a:cubicBezTo>
                    <a:pt x="130" y="61"/>
                    <a:pt x="130" y="62"/>
                    <a:pt x="130" y="62"/>
                  </a:cubicBezTo>
                  <a:cubicBezTo>
                    <a:pt x="130" y="63"/>
                    <a:pt x="130" y="64"/>
                    <a:pt x="130" y="64"/>
                  </a:cubicBezTo>
                  <a:cubicBezTo>
                    <a:pt x="131" y="64"/>
                    <a:pt x="131" y="64"/>
                    <a:pt x="131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2"/>
                    <a:pt x="131" y="61"/>
                    <a:pt x="131" y="60"/>
                  </a:cubicBezTo>
                  <a:cubicBezTo>
                    <a:pt x="131" y="59"/>
                    <a:pt x="131" y="58"/>
                    <a:pt x="131" y="57"/>
                  </a:cubicBezTo>
                  <a:cubicBezTo>
                    <a:pt x="131" y="57"/>
                    <a:pt x="131" y="56"/>
                    <a:pt x="131" y="56"/>
                  </a:cubicBezTo>
                  <a:close/>
                  <a:moveTo>
                    <a:pt x="194" y="39"/>
                  </a:moveTo>
                  <a:cubicBezTo>
                    <a:pt x="194" y="39"/>
                    <a:pt x="194" y="39"/>
                    <a:pt x="193" y="39"/>
                  </a:cubicBezTo>
                  <a:cubicBezTo>
                    <a:pt x="193" y="39"/>
                    <a:pt x="193" y="40"/>
                    <a:pt x="193" y="40"/>
                  </a:cubicBezTo>
                  <a:cubicBezTo>
                    <a:pt x="192" y="40"/>
                    <a:pt x="192" y="40"/>
                    <a:pt x="192" y="40"/>
                  </a:cubicBezTo>
                  <a:cubicBezTo>
                    <a:pt x="193" y="40"/>
                    <a:pt x="193" y="39"/>
                    <a:pt x="194" y="39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9"/>
                    <a:pt x="194" y="39"/>
                    <a:pt x="194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7" name="Freeform 725"/>
            <p:cNvSpPr/>
            <p:nvPr/>
          </p:nvSpPr>
          <p:spPr bwMode="auto">
            <a:xfrm>
              <a:off x="6492925" y="1801391"/>
              <a:ext cx="12700" cy="7938"/>
            </a:xfrm>
            <a:custGeom>
              <a:avLst/>
              <a:gdLst>
                <a:gd name="T0" fmla="*/ 2147483646 w 2"/>
                <a:gd name="T1" fmla="*/ 0 h 1"/>
                <a:gd name="T2" fmla="*/ 2147483646 w 2"/>
                <a:gd name="T3" fmla="*/ 0 h 1"/>
                <a:gd name="T4" fmla="*/ 0 w 2"/>
                <a:gd name="T5" fmla="*/ 2147483646 h 1"/>
                <a:gd name="T6" fmla="*/ 2147483646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8" name="Freeform 726"/>
            <p:cNvSpPr/>
            <p:nvPr/>
          </p:nvSpPr>
          <p:spPr bwMode="auto">
            <a:xfrm>
              <a:off x="6477050" y="1795042"/>
              <a:ext cx="44450" cy="20638"/>
            </a:xfrm>
            <a:custGeom>
              <a:avLst/>
              <a:gdLst>
                <a:gd name="T0" fmla="*/ 0 w 6"/>
                <a:gd name="T1" fmla="*/ 2147483646 h 3"/>
                <a:gd name="T2" fmla="*/ 2147483646 w 6"/>
                <a:gd name="T3" fmla="*/ 2147483646 h 3"/>
                <a:gd name="T4" fmla="*/ 2147483646 w 6"/>
                <a:gd name="T5" fmla="*/ 2147483646 h 3"/>
                <a:gd name="T6" fmla="*/ 2147483646 w 6"/>
                <a:gd name="T7" fmla="*/ 0 h 3"/>
                <a:gd name="T8" fmla="*/ 2147483646 w 6"/>
                <a:gd name="T9" fmla="*/ 0 h 3"/>
                <a:gd name="T10" fmla="*/ 2147483646 w 6"/>
                <a:gd name="T11" fmla="*/ 0 h 3"/>
                <a:gd name="T12" fmla="*/ 2147483646 w 6"/>
                <a:gd name="T13" fmla="*/ 0 h 3"/>
                <a:gd name="T14" fmla="*/ 2147483646 w 6"/>
                <a:gd name="T15" fmla="*/ 2147483646 h 3"/>
                <a:gd name="T16" fmla="*/ 2147483646 w 6"/>
                <a:gd name="T17" fmla="*/ 2147483646 h 3"/>
                <a:gd name="T18" fmla="*/ 2147483646 w 6"/>
                <a:gd name="T19" fmla="*/ 2147483646 h 3"/>
                <a:gd name="T20" fmla="*/ 0 w 6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2" y="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9" name="Freeform 727"/>
            <p:cNvSpPr/>
            <p:nvPr/>
          </p:nvSpPr>
          <p:spPr bwMode="auto">
            <a:xfrm>
              <a:off x="6402438" y="1853780"/>
              <a:ext cx="9525" cy="6350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0" name="Freeform 728"/>
            <p:cNvSpPr/>
            <p:nvPr/>
          </p:nvSpPr>
          <p:spPr bwMode="auto">
            <a:xfrm>
              <a:off x="6396088" y="1847429"/>
              <a:ext cx="28575" cy="22226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0 w 4"/>
                <a:gd name="T7" fmla="*/ 2147483646 h 3"/>
                <a:gd name="T8" fmla="*/ 2147483646 w 4"/>
                <a:gd name="T9" fmla="*/ 0 h 3"/>
                <a:gd name="T10" fmla="*/ 2147483646 w 4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1" name="Freeform 729"/>
            <p:cNvSpPr/>
            <p:nvPr/>
          </p:nvSpPr>
          <p:spPr bwMode="auto">
            <a:xfrm>
              <a:off x="6470700" y="1825205"/>
              <a:ext cx="12700" cy="12700"/>
            </a:xfrm>
            <a:custGeom>
              <a:avLst/>
              <a:gdLst>
                <a:gd name="T0" fmla="*/ 0 w 2"/>
                <a:gd name="T1" fmla="*/ 2147483646 h 2"/>
                <a:gd name="T2" fmla="*/ 2147483646 w 2"/>
                <a:gd name="T3" fmla="*/ 0 h 2"/>
                <a:gd name="T4" fmla="*/ 0 w 2"/>
                <a:gd name="T5" fmla="*/ 2147483646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2" y="1"/>
                    <a:pt x="1" y="2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2" name="Freeform 730"/>
            <p:cNvSpPr/>
            <p:nvPr/>
          </p:nvSpPr>
          <p:spPr bwMode="auto">
            <a:xfrm>
              <a:off x="6456413" y="1815680"/>
              <a:ext cx="26987" cy="22226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0 w 4"/>
                <a:gd name="T5" fmla="*/ 2147483646 h 3"/>
                <a:gd name="T6" fmla="*/ 2147483646 w 4"/>
                <a:gd name="T7" fmla="*/ 2147483646 h 3"/>
                <a:gd name="T8" fmla="*/ 2147483646 w 4"/>
                <a:gd name="T9" fmla="*/ 2147483646 h 3"/>
                <a:gd name="T10" fmla="*/ 2147483646 w 4"/>
                <a:gd name="T11" fmla="*/ 0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cubicBezTo>
                    <a:pt x="2" y="3"/>
                    <a:pt x="2" y="3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3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3" name="Freeform 731"/>
            <p:cNvSpPr/>
            <p:nvPr/>
          </p:nvSpPr>
          <p:spPr bwMode="auto">
            <a:xfrm>
              <a:off x="6499275" y="1898229"/>
              <a:ext cx="82550" cy="38100"/>
            </a:xfrm>
            <a:custGeom>
              <a:avLst/>
              <a:gdLst>
                <a:gd name="T0" fmla="*/ 0 w 11"/>
                <a:gd name="T1" fmla="*/ 2147483646 h 5"/>
                <a:gd name="T2" fmla="*/ 2147483646 w 11"/>
                <a:gd name="T3" fmla="*/ 2147483646 h 5"/>
                <a:gd name="T4" fmla="*/ 2147483646 w 11"/>
                <a:gd name="T5" fmla="*/ 0 h 5"/>
                <a:gd name="T6" fmla="*/ 2147483646 w 11"/>
                <a:gd name="T7" fmla="*/ 0 h 5"/>
                <a:gd name="T8" fmla="*/ 2147483646 w 11"/>
                <a:gd name="T9" fmla="*/ 2147483646 h 5"/>
                <a:gd name="T10" fmla="*/ 2147483646 w 11"/>
                <a:gd name="T11" fmla="*/ 2147483646 h 5"/>
                <a:gd name="T12" fmla="*/ 2147483646 w 11"/>
                <a:gd name="T13" fmla="*/ 2147483646 h 5"/>
                <a:gd name="T14" fmla="*/ 2147483646 w 11"/>
                <a:gd name="T15" fmla="*/ 2147483646 h 5"/>
                <a:gd name="T16" fmla="*/ 2147483646 w 11"/>
                <a:gd name="T17" fmla="*/ 2147483646 h 5"/>
                <a:gd name="T18" fmla="*/ 0 w 11"/>
                <a:gd name="T19" fmla="*/ 2147483646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" h="5">
                  <a:moveTo>
                    <a:pt x="0" y="5"/>
                  </a:moveTo>
                  <a:cubicBezTo>
                    <a:pt x="1" y="4"/>
                    <a:pt x="3" y="1"/>
                    <a:pt x="5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8" y="2"/>
                    <a:pt x="9" y="2"/>
                    <a:pt x="11" y="3"/>
                  </a:cubicBezTo>
                  <a:cubicBezTo>
                    <a:pt x="9" y="3"/>
                    <a:pt x="2" y="3"/>
                    <a:pt x="2" y="5"/>
                  </a:cubicBezTo>
                  <a:cubicBezTo>
                    <a:pt x="1" y="5"/>
                    <a:pt x="1" y="5"/>
                    <a:pt x="0" y="5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4" name="Freeform 732"/>
            <p:cNvSpPr>
              <a:spLocks noEditPoints="1"/>
            </p:cNvSpPr>
            <p:nvPr/>
          </p:nvSpPr>
          <p:spPr bwMode="auto">
            <a:xfrm>
              <a:off x="6492925" y="1891879"/>
              <a:ext cx="120650" cy="50800"/>
            </a:xfrm>
            <a:custGeom>
              <a:avLst/>
              <a:gdLst>
                <a:gd name="T0" fmla="*/ 2147483646 w 16"/>
                <a:gd name="T1" fmla="*/ 2147483646 h 7"/>
                <a:gd name="T2" fmla="*/ 2147483646 w 16"/>
                <a:gd name="T3" fmla="*/ 2147483646 h 7"/>
                <a:gd name="T4" fmla="*/ 2147483646 w 16"/>
                <a:gd name="T5" fmla="*/ 2147483646 h 7"/>
                <a:gd name="T6" fmla="*/ 0 w 16"/>
                <a:gd name="T7" fmla="*/ 2147483646 h 7"/>
                <a:gd name="T8" fmla="*/ 2147483646 w 16"/>
                <a:gd name="T9" fmla="*/ 2147483646 h 7"/>
                <a:gd name="T10" fmla="*/ 2147483646 w 16"/>
                <a:gd name="T11" fmla="*/ 2147483646 h 7"/>
                <a:gd name="T12" fmla="*/ 2147483646 w 16"/>
                <a:gd name="T13" fmla="*/ 2147483646 h 7"/>
                <a:gd name="T14" fmla="*/ 2147483646 w 16"/>
                <a:gd name="T15" fmla="*/ 2147483646 h 7"/>
                <a:gd name="T16" fmla="*/ 2147483646 w 16"/>
                <a:gd name="T17" fmla="*/ 2147483646 h 7"/>
                <a:gd name="T18" fmla="*/ 2147483646 w 16"/>
                <a:gd name="T19" fmla="*/ 0 h 7"/>
                <a:gd name="T20" fmla="*/ 2147483646 w 16"/>
                <a:gd name="T21" fmla="*/ 2147483646 h 7"/>
                <a:gd name="T22" fmla="*/ 2147483646 w 16"/>
                <a:gd name="T23" fmla="*/ 2147483646 h 7"/>
                <a:gd name="T24" fmla="*/ 2147483646 w 16"/>
                <a:gd name="T25" fmla="*/ 2147483646 h 7"/>
                <a:gd name="T26" fmla="*/ 2147483646 w 16"/>
                <a:gd name="T27" fmla="*/ 2147483646 h 7"/>
                <a:gd name="T28" fmla="*/ 2147483646 w 16"/>
                <a:gd name="T29" fmla="*/ 2147483646 h 7"/>
                <a:gd name="T30" fmla="*/ 2147483646 w 16"/>
                <a:gd name="T31" fmla="*/ 2147483646 h 7"/>
                <a:gd name="T32" fmla="*/ 2147483646 w 16"/>
                <a:gd name="T33" fmla="*/ 2147483646 h 7"/>
                <a:gd name="T34" fmla="*/ 2147483646 w 16"/>
                <a:gd name="T35" fmla="*/ 2147483646 h 7"/>
                <a:gd name="T36" fmla="*/ 2147483646 w 16"/>
                <a:gd name="T37" fmla="*/ 2147483646 h 7"/>
                <a:gd name="T38" fmla="*/ 2147483646 w 16"/>
                <a:gd name="T39" fmla="*/ 2147483646 h 7"/>
                <a:gd name="T40" fmla="*/ 2147483646 w 16"/>
                <a:gd name="T41" fmla="*/ 2147483646 h 7"/>
                <a:gd name="T42" fmla="*/ 2147483646 w 16"/>
                <a:gd name="T43" fmla="*/ 2147483646 h 7"/>
                <a:gd name="T44" fmla="*/ 2147483646 w 16"/>
                <a:gd name="T45" fmla="*/ 2147483646 h 7"/>
                <a:gd name="T46" fmla="*/ 2147483646 w 16"/>
                <a:gd name="T47" fmla="*/ 2147483646 h 7"/>
                <a:gd name="T48" fmla="*/ 2147483646 w 16"/>
                <a:gd name="T49" fmla="*/ 2147483646 h 7"/>
                <a:gd name="T50" fmla="*/ 2147483646 w 16"/>
                <a:gd name="T51" fmla="*/ 2147483646 h 7"/>
                <a:gd name="T52" fmla="*/ 2147483646 w 16"/>
                <a:gd name="T53" fmla="*/ 2147483646 h 7"/>
                <a:gd name="T54" fmla="*/ 2147483646 w 16"/>
                <a:gd name="T55" fmla="*/ 2147483646 h 7"/>
                <a:gd name="T56" fmla="*/ 2147483646 w 16"/>
                <a:gd name="T57" fmla="*/ 2147483646 h 7"/>
                <a:gd name="T58" fmla="*/ 2147483646 w 16"/>
                <a:gd name="T59" fmla="*/ 2147483646 h 7"/>
                <a:gd name="T60" fmla="*/ 2147483646 w 16"/>
                <a:gd name="T61" fmla="*/ 2147483646 h 7"/>
                <a:gd name="T62" fmla="*/ 2147483646 w 16"/>
                <a:gd name="T63" fmla="*/ 2147483646 h 7"/>
                <a:gd name="T64" fmla="*/ 2147483646 w 16"/>
                <a:gd name="T65" fmla="*/ 2147483646 h 7"/>
                <a:gd name="T66" fmla="*/ 2147483646 w 16"/>
                <a:gd name="T67" fmla="*/ 2147483646 h 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6" h="7">
                  <a:moveTo>
                    <a:pt x="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2" y="4"/>
                    <a:pt x="3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2"/>
                    <a:pt x="11" y="3"/>
                    <a:pt x="12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9" y="4"/>
                    <a:pt x="5" y="5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lnTo>
                    <a:pt x="4" y="7"/>
                  </a:lnTo>
                  <a:close/>
                  <a:moveTo>
                    <a:pt x="2" y="6"/>
                  </a:move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5"/>
                    <a:pt x="4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4" y="3"/>
                    <a:pt x="3" y="4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5" name="Freeform 733"/>
            <p:cNvSpPr/>
            <p:nvPr/>
          </p:nvSpPr>
          <p:spPr bwMode="auto">
            <a:xfrm>
              <a:off x="6700888" y="2077616"/>
              <a:ext cx="60325" cy="119063"/>
            </a:xfrm>
            <a:custGeom>
              <a:avLst/>
              <a:gdLst>
                <a:gd name="T0" fmla="*/ 2147483646 w 8"/>
                <a:gd name="T1" fmla="*/ 0 h 16"/>
                <a:gd name="T2" fmla="*/ 2147483646 w 8"/>
                <a:gd name="T3" fmla="*/ 2147483646 h 16"/>
                <a:gd name="T4" fmla="*/ 2147483646 w 8"/>
                <a:gd name="T5" fmla="*/ 2147483646 h 16"/>
                <a:gd name="T6" fmla="*/ 2147483646 w 8"/>
                <a:gd name="T7" fmla="*/ 2147483646 h 16"/>
                <a:gd name="T8" fmla="*/ 2147483646 w 8"/>
                <a:gd name="T9" fmla="*/ 2147483646 h 16"/>
                <a:gd name="T10" fmla="*/ 2147483646 w 8"/>
                <a:gd name="T11" fmla="*/ 2147483646 h 16"/>
                <a:gd name="T12" fmla="*/ 2147483646 w 8"/>
                <a:gd name="T13" fmla="*/ 2147483646 h 16"/>
                <a:gd name="T14" fmla="*/ 2147483646 w 8"/>
                <a:gd name="T15" fmla="*/ 2147483646 h 16"/>
                <a:gd name="T16" fmla="*/ 2147483646 w 8"/>
                <a:gd name="T17" fmla="*/ 2147483646 h 16"/>
                <a:gd name="T18" fmla="*/ 2147483646 w 8"/>
                <a:gd name="T19" fmla="*/ 2147483646 h 16"/>
                <a:gd name="T20" fmla="*/ 2147483646 w 8"/>
                <a:gd name="T21" fmla="*/ 2147483646 h 16"/>
                <a:gd name="T22" fmla="*/ 2147483646 w 8"/>
                <a:gd name="T23" fmla="*/ 2147483646 h 16"/>
                <a:gd name="T24" fmla="*/ 2147483646 w 8"/>
                <a:gd name="T25" fmla="*/ 2147483646 h 16"/>
                <a:gd name="T26" fmla="*/ 2147483646 w 8"/>
                <a:gd name="T27" fmla="*/ 2147483646 h 16"/>
                <a:gd name="T28" fmla="*/ 2147483646 w 8"/>
                <a:gd name="T29" fmla="*/ 0 h 16"/>
                <a:gd name="T30" fmla="*/ 2147483646 w 8"/>
                <a:gd name="T31" fmla="*/ 0 h 16"/>
                <a:gd name="T32" fmla="*/ 2147483646 w 8"/>
                <a:gd name="T33" fmla="*/ 0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" h="16">
                  <a:moveTo>
                    <a:pt x="3" y="0"/>
                  </a:moveTo>
                  <a:cubicBezTo>
                    <a:pt x="3" y="0"/>
                    <a:pt x="4" y="0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3" y="2"/>
                    <a:pt x="6" y="8"/>
                    <a:pt x="7" y="9"/>
                  </a:cubicBezTo>
                  <a:cubicBezTo>
                    <a:pt x="8" y="11"/>
                    <a:pt x="8" y="12"/>
                    <a:pt x="7" y="14"/>
                  </a:cubicBezTo>
                  <a:cubicBezTo>
                    <a:pt x="5" y="16"/>
                    <a:pt x="6" y="13"/>
                    <a:pt x="7" y="11"/>
                  </a:cubicBezTo>
                  <a:cubicBezTo>
                    <a:pt x="7" y="11"/>
                    <a:pt x="6" y="12"/>
                    <a:pt x="6" y="12"/>
                  </a:cubicBezTo>
                  <a:cubicBezTo>
                    <a:pt x="7" y="10"/>
                    <a:pt x="6" y="9"/>
                    <a:pt x="5" y="11"/>
                  </a:cubicBezTo>
                  <a:cubicBezTo>
                    <a:pt x="5" y="10"/>
                    <a:pt x="5" y="9"/>
                    <a:pt x="5" y="8"/>
                  </a:cubicBezTo>
                  <a:cubicBezTo>
                    <a:pt x="3" y="10"/>
                    <a:pt x="4" y="8"/>
                    <a:pt x="3" y="8"/>
                  </a:cubicBezTo>
                  <a:cubicBezTo>
                    <a:pt x="3" y="7"/>
                    <a:pt x="0" y="5"/>
                    <a:pt x="2" y="5"/>
                  </a:cubicBezTo>
                  <a:cubicBezTo>
                    <a:pt x="1" y="5"/>
                    <a:pt x="0" y="4"/>
                    <a:pt x="1" y="3"/>
                  </a:cubicBezTo>
                  <a:cubicBezTo>
                    <a:pt x="2" y="1"/>
                    <a:pt x="2" y="2"/>
                    <a:pt x="4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6" name="Freeform 734"/>
            <p:cNvSpPr>
              <a:spLocks noEditPoints="1"/>
            </p:cNvSpPr>
            <p:nvPr/>
          </p:nvSpPr>
          <p:spPr bwMode="auto">
            <a:xfrm>
              <a:off x="6700888" y="2068092"/>
              <a:ext cx="66675" cy="119063"/>
            </a:xfrm>
            <a:custGeom>
              <a:avLst/>
              <a:gdLst>
                <a:gd name="T0" fmla="*/ 2147483646 w 9"/>
                <a:gd name="T1" fmla="*/ 2147483646 h 16"/>
                <a:gd name="T2" fmla="*/ 2147483646 w 9"/>
                <a:gd name="T3" fmla="*/ 2147483646 h 16"/>
                <a:gd name="T4" fmla="*/ 2147483646 w 9"/>
                <a:gd name="T5" fmla="*/ 2147483646 h 16"/>
                <a:gd name="T6" fmla="*/ 2147483646 w 9"/>
                <a:gd name="T7" fmla="*/ 2147483646 h 16"/>
                <a:gd name="T8" fmla="*/ 2147483646 w 9"/>
                <a:gd name="T9" fmla="*/ 2147483646 h 16"/>
                <a:gd name="T10" fmla="*/ 2147483646 w 9"/>
                <a:gd name="T11" fmla="*/ 2147483646 h 16"/>
                <a:gd name="T12" fmla="*/ 0 w 9"/>
                <a:gd name="T13" fmla="*/ 2147483646 h 16"/>
                <a:gd name="T14" fmla="*/ 0 w 9"/>
                <a:gd name="T15" fmla="*/ 2147483646 h 16"/>
                <a:gd name="T16" fmla="*/ 0 w 9"/>
                <a:gd name="T17" fmla="*/ 2147483646 h 16"/>
                <a:gd name="T18" fmla="*/ 2147483646 w 9"/>
                <a:gd name="T19" fmla="*/ 2147483646 h 16"/>
                <a:gd name="T20" fmla="*/ 2147483646 w 9"/>
                <a:gd name="T21" fmla="*/ 2147483646 h 16"/>
                <a:gd name="T22" fmla="*/ 2147483646 w 9"/>
                <a:gd name="T23" fmla="*/ 2147483646 h 16"/>
                <a:gd name="T24" fmla="*/ 2147483646 w 9"/>
                <a:gd name="T25" fmla="*/ 0 h 16"/>
                <a:gd name="T26" fmla="*/ 2147483646 w 9"/>
                <a:gd name="T27" fmla="*/ 0 h 16"/>
                <a:gd name="T28" fmla="*/ 2147483646 w 9"/>
                <a:gd name="T29" fmla="*/ 2147483646 h 16"/>
                <a:gd name="T30" fmla="*/ 2147483646 w 9"/>
                <a:gd name="T31" fmla="*/ 2147483646 h 16"/>
                <a:gd name="T32" fmla="*/ 2147483646 w 9"/>
                <a:gd name="T33" fmla="*/ 2147483646 h 16"/>
                <a:gd name="T34" fmla="*/ 2147483646 w 9"/>
                <a:gd name="T35" fmla="*/ 2147483646 h 16"/>
                <a:gd name="T36" fmla="*/ 2147483646 w 9"/>
                <a:gd name="T37" fmla="*/ 2147483646 h 16"/>
                <a:gd name="T38" fmla="*/ 2147483646 w 9"/>
                <a:gd name="T39" fmla="*/ 2147483646 h 16"/>
                <a:gd name="T40" fmla="*/ 2147483646 w 9"/>
                <a:gd name="T41" fmla="*/ 2147483646 h 16"/>
                <a:gd name="T42" fmla="*/ 2147483646 w 9"/>
                <a:gd name="T43" fmla="*/ 2147483646 h 16"/>
                <a:gd name="T44" fmla="*/ 2147483646 w 9"/>
                <a:gd name="T45" fmla="*/ 2147483646 h 16"/>
                <a:gd name="T46" fmla="*/ 2147483646 w 9"/>
                <a:gd name="T47" fmla="*/ 2147483646 h 16"/>
                <a:gd name="T48" fmla="*/ 2147483646 w 9"/>
                <a:gd name="T49" fmla="*/ 2147483646 h 16"/>
                <a:gd name="T50" fmla="*/ 2147483646 w 9"/>
                <a:gd name="T51" fmla="*/ 2147483646 h 16"/>
                <a:gd name="T52" fmla="*/ 2147483646 w 9"/>
                <a:gd name="T53" fmla="*/ 2147483646 h 16"/>
                <a:gd name="T54" fmla="*/ 2147483646 w 9"/>
                <a:gd name="T55" fmla="*/ 2147483646 h 16"/>
                <a:gd name="T56" fmla="*/ 2147483646 w 9"/>
                <a:gd name="T57" fmla="*/ 2147483646 h 16"/>
                <a:gd name="T58" fmla="*/ 2147483646 w 9"/>
                <a:gd name="T59" fmla="*/ 2147483646 h 16"/>
                <a:gd name="T60" fmla="*/ 2147483646 w 9"/>
                <a:gd name="T61" fmla="*/ 2147483646 h 16"/>
                <a:gd name="T62" fmla="*/ 2147483646 w 9"/>
                <a:gd name="T63" fmla="*/ 2147483646 h 16"/>
                <a:gd name="T64" fmla="*/ 2147483646 w 9"/>
                <a:gd name="T65" fmla="*/ 2147483646 h 16"/>
                <a:gd name="T66" fmla="*/ 2147483646 w 9"/>
                <a:gd name="T67" fmla="*/ 2147483646 h 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9" h="16"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6" y="15"/>
                    <a:pt x="5" y="15"/>
                    <a:pt x="6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1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2" y="9"/>
                    <a:pt x="2" y="8"/>
                  </a:cubicBezTo>
                  <a:cubicBezTo>
                    <a:pt x="2" y="8"/>
                    <a:pt x="1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7"/>
                    <a:pt x="6" y="9"/>
                    <a:pt x="7" y="10"/>
                  </a:cubicBezTo>
                  <a:cubicBezTo>
                    <a:pt x="7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3"/>
                    <a:pt x="9" y="14"/>
                    <a:pt x="7" y="15"/>
                  </a:cubicBezTo>
                  <a:cubicBezTo>
                    <a:pt x="7" y="16"/>
                    <a:pt x="7" y="16"/>
                    <a:pt x="6" y="16"/>
                  </a:cubicBezTo>
                  <a:close/>
                  <a:moveTo>
                    <a:pt x="5" y="8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5" y="9"/>
                    <a:pt x="5" y="8"/>
                  </a:cubicBezTo>
                  <a:close/>
                  <a:moveTo>
                    <a:pt x="4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7"/>
                    <a:pt x="4" y="6"/>
                    <a:pt x="4" y="6"/>
                  </a:cubicBezTo>
                  <a:close/>
                  <a:moveTo>
                    <a:pt x="2" y="4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7" name="Freeform 735"/>
            <p:cNvSpPr/>
            <p:nvPr/>
          </p:nvSpPr>
          <p:spPr bwMode="auto">
            <a:xfrm>
              <a:off x="6248450" y="1623591"/>
              <a:ext cx="141288" cy="95250"/>
            </a:xfrm>
            <a:custGeom>
              <a:avLst/>
              <a:gdLst>
                <a:gd name="T0" fmla="*/ 2147483646 w 19"/>
                <a:gd name="T1" fmla="*/ 0 h 13"/>
                <a:gd name="T2" fmla="*/ 2147483646 w 19"/>
                <a:gd name="T3" fmla="*/ 2147483646 h 13"/>
                <a:gd name="T4" fmla="*/ 2147483646 w 19"/>
                <a:gd name="T5" fmla="*/ 2147483646 h 13"/>
                <a:gd name="T6" fmla="*/ 2147483646 w 19"/>
                <a:gd name="T7" fmla="*/ 2147483646 h 13"/>
                <a:gd name="T8" fmla="*/ 2147483646 w 19"/>
                <a:gd name="T9" fmla="*/ 2147483646 h 13"/>
                <a:gd name="T10" fmla="*/ 2147483646 w 19"/>
                <a:gd name="T11" fmla="*/ 2147483646 h 13"/>
                <a:gd name="T12" fmla="*/ 2147483646 w 19"/>
                <a:gd name="T13" fmla="*/ 2147483646 h 13"/>
                <a:gd name="T14" fmla="*/ 2147483646 w 19"/>
                <a:gd name="T15" fmla="*/ 2147483646 h 13"/>
                <a:gd name="T16" fmla="*/ 2147483646 w 19"/>
                <a:gd name="T17" fmla="*/ 2147483646 h 13"/>
                <a:gd name="T18" fmla="*/ 2147483646 w 19"/>
                <a:gd name="T19" fmla="*/ 2147483646 h 13"/>
                <a:gd name="T20" fmla="*/ 2147483646 w 19"/>
                <a:gd name="T21" fmla="*/ 2147483646 h 13"/>
                <a:gd name="T22" fmla="*/ 2147483646 w 19"/>
                <a:gd name="T23" fmla="*/ 2147483646 h 13"/>
                <a:gd name="T24" fmla="*/ 2147483646 w 19"/>
                <a:gd name="T25" fmla="*/ 2147483646 h 13"/>
                <a:gd name="T26" fmla="*/ 2147483646 w 19"/>
                <a:gd name="T27" fmla="*/ 2147483646 h 13"/>
                <a:gd name="T28" fmla="*/ 2147483646 w 19"/>
                <a:gd name="T29" fmla="*/ 2147483646 h 13"/>
                <a:gd name="T30" fmla="*/ 2147483646 w 19"/>
                <a:gd name="T31" fmla="*/ 2147483646 h 13"/>
                <a:gd name="T32" fmla="*/ 2147483646 w 19"/>
                <a:gd name="T33" fmla="*/ 2147483646 h 13"/>
                <a:gd name="T34" fmla="*/ 2147483646 w 19"/>
                <a:gd name="T35" fmla="*/ 2147483646 h 13"/>
                <a:gd name="T36" fmla="*/ 2147483646 w 19"/>
                <a:gd name="T37" fmla="*/ 2147483646 h 13"/>
                <a:gd name="T38" fmla="*/ 2147483646 w 19"/>
                <a:gd name="T39" fmla="*/ 2147483646 h 13"/>
                <a:gd name="T40" fmla="*/ 2147483646 w 19"/>
                <a:gd name="T41" fmla="*/ 2147483646 h 13"/>
                <a:gd name="T42" fmla="*/ 2147483646 w 19"/>
                <a:gd name="T43" fmla="*/ 2147483646 h 13"/>
                <a:gd name="T44" fmla="*/ 2147483646 w 19"/>
                <a:gd name="T45" fmla="*/ 0 h 1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" h="13">
                  <a:moveTo>
                    <a:pt x="14" y="0"/>
                  </a:moveTo>
                  <a:cubicBezTo>
                    <a:pt x="14" y="0"/>
                    <a:pt x="15" y="1"/>
                    <a:pt x="16" y="1"/>
                  </a:cubicBezTo>
                  <a:cubicBezTo>
                    <a:pt x="15" y="1"/>
                    <a:pt x="11" y="4"/>
                    <a:pt x="13" y="4"/>
                  </a:cubicBezTo>
                  <a:cubicBezTo>
                    <a:pt x="16" y="4"/>
                    <a:pt x="17" y="4"/>
                    <a:pt x="19" y="2"/>
                  </a:cubicBezTo>
                  <a:cubicBezTo>
                    <a:pt x="19" y="3"/>
                    <a:pt x="19" y="3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4"/>
                    <a:pt x="19" y="7"/>
                    <a:pt x="17" y="8"/>
                  </a:cubicBezTo>
                  <a:cubicBezTo>
                    <a:pt x="16" y="8"/>
                    <a:pt x="15" y="7"/>
                    <a:pt x="15" y="7"/>
                  </a:cubicBezTo>
                  <a:cubicBezTo>
                    <a:pt x="13" y="8"/>
                    <a:pt x="14" y="9"/>
                    <a:pt x="15" y="10"/>
                  </a:cubicBezTo>
                  <a:cubicBezTo>
                    <a:pt x="13" y="9"/>
                    <a:pt x="12" y="12"/>
                    <a:pt x="10" y="13"/>
                  </a:cubicBezTo>
                  <a:cubicBezTo>
                    <a:pt x="10" y="11"/>
                    <a:pt x="13" y="11"/>
                    <a:pt x="12" y="8"/>
                  </a:cubicBezTo>
                  <a:cubicBezTo>
                    <a:pt x="12" y="9"/>
                    <a:pt x="11" y="9"/>
                    <a:pt x="10" y="9"/>
                  </a:cubicBezTo>
                  <a:cubicBezTo>
                    <a:pt x="10" y="10"/>
                    <a:pt x="10" y="11"/>
                    <a:pt x="10" y="11"/>
                  </a:cubicBezTo>
                  <a:cubicBezTo>
                    <a:pt x="8" y="12"/>
                    <a:pt x="7" y="11"/>
                    <a:pt x="5" y="11"/>
                  </a:cubicBezTo>
                  <a:cubicBezTo>
                    <a:pt x="7" y="11"/>
                    <a:pt x="6" y="9"/>
                    <a:pt x="7" y="9"/>
                  </a:cubicBezTo>
                  <a:cubicBezTo>
                    <a:pt x="8" y="8"/>
                    <a:pt x="9" y="7"/>
                    <a:pt x="8" y="6"/>
                  </a:cubicBezTo>
                  <a:cubicBezTo>
                    <a:pt x="9" y="6"/>
                    <a:pt x="10" y="7"/>
                    <a:pt x="10" y="6"/>
                  </a:cubicBezTo>
                  <a:cubicBezTo>
                    <a:pt x="10" y="6"/>
                    <a:pt x="9" y="5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6" y="5"/>
                    <a:pt x="7" y="6"/>
                    <a:pt x="6" y="6"/>
                  </a:cubicBezTo>
                  <a:cubicBezTo>
                    <a:pt x="5" y="6"/>
                    <a:pt x="3" y="4"/>
                    <a:pt x="2" y="6"/>
                  </a:cubicBezTo>
                  <a:cubicBezTo>
                    <a:pt x="0" y="4"/>
                    <a:pt x="6" y="3"/>
                    <a:pt x="7" y="3"/>
                  </a:cubicBezTo>
                  <a:cubicBezTo>
                    <a:pt x="10" y="3"/>
                    <a:pt x="12" y="1"/>
                    <a:pt x="14" y="0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8" name="Freeform 736"/>
            <p:cNvSpPr>
              <a:spLocks noEditPoints="1"/>
            </p:cNvSpPr>
            <p:nvPr/>
          </p:nvSpPr>
          <p:spPr bwMode="auto">
            <a:xfrm>
              <a:off x="6254800" y="1615655"/>
              <a:ext cx="163513" cy="112712"/>
            </a:xfrm>
            <a:custGeom>
              <a:avLst/>
              <a:gdLst>
                <a:gd name="T0" fmla="*/ 2147483646 w 22"/>
                <a:gd name="T1" fmla="*/ 2147483646 h 15"/>
                <a:gd name="T2" fmla="*/ 2147483646 w 22"/>
                <a:gd name="T3" fmla="*/ 2147483646 h 15"/>
                <a:gd name="T4" fmla="*/ 2147483646 w 22"/>
                <a:gd name="T5" fmla="*/ 2147483646 h 15"/>
                <a:gd name="T6" fmla="*/ 2147483646 w 22"/>
                <a:gd name="T7" fmla="*/ 2147483646 h 15"/>
                <a:gd name="T8" fmla="*/ 2147483646 w 22"/>
                <a:gd name="T9" fmla="*/ 2147483646 h 15"/>
                <a:gd name="T10" fmla="*/ 2147483646 w 22"/>
                <a:gd name="T11" fmla="*/ 2147483646 h 15"/>
                <a:gd name="T12" fmla="*/ 2147483646 w 22"/>
                <a:gd name="T13" fmla="*/ 2147483646 h 15"/>
                <a:gd name="T14" fmla="*/ 2147483646 w 22"/>
                <a:gd name="T15" fmla="*/ 2147483646 h 15"/>
                <a:gd name="T16" fmla="*/ 2147483646 w 22"/>
                <a:gd name="T17" fmla="*/ 2147483646 h 15"/>
                <a:gd name="T18" fmla="*/ 2147483646 w 22"/>
                <a:gd name="T19" fmla="*/ 2147483646 h 15"/>
                <a:gd name="T20" fmla="*/ 0 w 22"/>
                <a:gd name="T21" fmla="*/ 2147483646 h 15"/>
                <a:gd name="T22" fmla="*/ 2147483646 w 22"/>
                <a:gd name="T23" fmla="*/ 2147483646 h 15"/>
                <a:gd name="T24" fmla="*/ 2147483646 w 22"/>
                <a:gd name="T25" fmla="*/ 2147483646 h 15"/>
                <a:gd name="T26" fmla="*/ 2147483646 w 22"/>
                <a:gd name="T27" fmla="*/ 2147483646 h 15"/>
                <a:gd name="T28" fmla="*/ 2147483646 w 22"/>
                <a:gd name="T29" fmla="*/ 2147483646 h 15"/>
                <a:gd name="T30" fmla="*/ 2147483646 w 22"/>
                <a:gd name="T31" fmla="*/ 2147483646 h 15"/>
                <a:gd name="T32" fmla="*/ 2147483646 w 22"/>
                <a:gd name="T33" fmla="*/ 2147483646 h 15"/>
                <a:gd name="T34" fmla="*/ 2147483646 w 22"/>
                <a:gd name="T35" fmla="*/ 2147483646 h 15"/>
                <a:gd name="T36" fmla="*/ 2147483646 w 22"/>
                <a:gd name="T37" fmla="*/ 2147483646 h 15"/>
                <a:gd name="T38" fmla="*/ 2147483646 w 22"/>
                <a:gd name="T39" fmla="*/ 2147483646 h 15"/>
                <a:gd name="T40" fmla="*/ 2147483646 w 22"/>
                <a:gd name="T41" fmla="*/ 2147483646 h 15"/>
                <a:gd name="T42" fmla="*/ 2147483646 w 22"/>
                <a:gd name="T43" fmla="*/ 2147483646 h 15"/>
                <a:gd name="T44" fmla="*/ 2147483646 w 22"/>
                <a:gd name="T45" fmla="*/ 2147483646 h 15"/>
                <a:gd name="T46" fmla="*/ 2147483646 w 22"/>
                <a:gd name="T47" fmla="*/ 2147483646 h 15"/>
                <a:gd name="T48" fmla="*/ 2147483646 w 22"/>
                <a:gd name="T49" fmla="*/ 2147483646 h 15"/>
                <a:gd name="T50" fmla="*/ 2147483646 w 22"/>
                <a:gd name="T51" fmla="*/ 2147483646 h 15"/>
                <a:gd name="T52" fmla="*/ 2147483646 w 22"/>
                <a:gd name="T53" fmla="*/ 2147483646 h 15"/>
                <a:gd name="T54" fmla="*/ 2147483646 w 22"/>
                <a:gd name="T55" fmla="*/ 2147483646 h 15"/>
                <a:gd name="T56" fmla="*/ 2147483646 w 22"/>
                <a:gd name="T57" fmla="*/ 2147483646 h 15"/>
                <a:gd name="T58" fmla="*/ 2147483646 w 22"/>
                <a:gd name="T59" fmla="*/ 2147483646 h 15"/>
                <a:gd name="T60" fmla="*/ 2147483646 w 22"/>
                <a:gd name="T61" fmla="*/ 2147483646 h 15"/>
                <a:gd name="T62" fmla="*/ 2147483646 w 22"/>
                <a:gd name="T63" fmla="*/ 2147483646 h 15"/>
                <a:gd name="T64" fmla="*/ 2147483646 w 22"/>
                <a:gd name="T65" fmla="*/ 2147483646 h 15"/>
                <a:gd name="T66" fmla="*/ 2147483646 w 22"/>
                <a:gd name="T67" fmla="*/ 2147483646 h 15"/>
                <a:gd name="T68" fmla="*/ 2147483646 w 22"/>
                <a:gd name="T69" fmla="*/ 2147483646 h 15"/>
                <a:gd name="T70" fmla="*/ 2147483646 w 22"/>
                <a:gd name="T71" fmla="*/ 2147483646 h 15"/>
                <a:gd name="T72" fmla="*/ 2147483646 w 22"/>
                <a:gd name="T73" fmla="*/ 2147483646 h 15"/>
                <a:gd name="T74" fmla="*/ 2147483646 w 22"/>
                <a:gd name="T75" fmla="*/ 2147483646 h 15"/>
                <a:gd name="T76" fmla="*/ 2147483646 w 22"/>
                <a:gd name="T77" fmla="*/ 2147483646 h 15"/>
                <a:gd name="T78" fmla="*/ 2147483646 w 22"/>
                <a:gd name="T79" fmla="*/ 2147483646 h 15"/>
                <a:gd name="T80" fmla="*/ 2147483646 w 22"/>
                <a:gd name="T81" fmla="*/ 2147483646 h 15"/>
                <a:gd name="T82" fmla="*/ 2147483646 w 22"/>
                <a:gd name="T83" fmla="*/ 2147483646 h 15"/>
                <a:gd name="T84" fmla="*/ 2147483646 w 22"/>
                <a:gd name="T85" fmla="*/ 2147483646 h 15"/>
                <a:gd name="T86" fmla="*/ 2147483646 w 22"/>
                <a:gd name="T87" fmla="*/ 2147483646 h 15"/>
                <a:gd name="T88" fmla="*/ 2147483646 w 22"/>
                <a:gd name="T89" fmla="*/ 2147483646 h 15"/>
                <a:gd name="T90" fmla="*/ 2147483646 w 22"/>
                <a:gd name="T91" fmla="*/ 2147483646 h 15"/>
                <a:gd name="T92" fmla="*/ 2147483646 w 22"/>
                <a:gd name="T93" fmla="*/ 2147483646 h 1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2" h="15">
                  <a:moveTo>
                    <a:pt x="9" y="15"/>
                  </a:move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8" y="14"/>
                    <a:pt x="7" y="13"/>
                    <a:pt x="5" y="13"/>
                  </a:cubicBezTo>
                  <a:cubicBezTo>
                    <a:pt x="5" y="13"/>
                    <a:pt x="5" y="12"/>
                    <a:pt x="4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10"/>
                    <a:pt x="6" y="9"/>
                  </a:cubicBezTo>
                  <a:cubicBezTo>
                    <a:pt x="6" y="9"/>
                    <a:pt x="7" y="9"/>
                    <a:pt x="7" y="8"/>
                  </a:cubicBezTo>
                  <a:cubicBezTo>
                    <a:pt x="7" y="8"/>
                    <a:pt x="7" y="8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1" y="4"/>
                    <a:pt x="3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8" y="3"/>
                    <a:pt x="10" y="2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3"/>
                    <a:pt x="13" y="4"/>
                    <a:pt x="12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5"/>
                    <a:pt x="18" y="3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5"/>
                    <a:pt x="18" y="5"/>
                    <a:pt x="18" y="6"/>
                  </a:cubicBezTo>
                  <a:cubicBezTo>
                    <a:pt x="18" y="7"/>
                    <a:pt x="18" y="9"/>
                    <a:pt x="16" y="9"/>
                  </a:cubicBezTo>
                  <a:cubicBezTo>
                    <a:pt x="16" y="10"/>
                    <a:pt x="15" y="9"/>
                    <a:pt x="15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0"/>
                    <a:pt x="14" y="10"/>
                    <a:pt x="14" y="10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1"/>
                    <a:pt x="12" y="13"/>
                    <a:pt x="11" y="13"/>
                  </a:cubicBezTo>
                  <a:cubicBezTo>
                    <a:pt x="10" y="14"/>
                    <a:pt x="10" y="14"/>
                    <a:pt x="10" y="14"/>
                  </a:cubicBezTo>
                  <a:lnTo>
                    <a:pt x="9" y="15"/>
                  </a:lnTo>
                  <a:close/>
                  <a:moveTo>
                    <a:pt x="6" y="12"/>
                  </a:moveTo>
                  <a:cubicBezTo>
                    <a:pt x="6" y="12"/>
                    <a:pt x="7" y="12"/>
                    <a:pt x="7" y="12"/>
                  </a:cubicBezTo>
                  <a:cubicBezTo>
                    <a:pt x="8" y="12"/>
                    <a:pt x="8" y="12"/>
                    <a:pt x="9" y="12"/>
                  </a:cubicBezTo>
                  <a:cubicBezTo>
                    <a:pt x="9" y="12"/>
                    <a:pt x="8" y="11"/>
                    <a:pt x="8" y="11"/>
                  </a:cubicBezTo>
                  <a:cubicBezTo>
                    <a:pt x="8" y="11"/>
                    <a:pt x="8" y="10"/>
                    <a:pt x="9" y="10"/>
                  </a:cubicBezTo>
                  <a:cubicBezTo>
                    <a:pt x="10" y="10"/>
                    <a:pt x="10" y="9"/>
                    <a:pt x="11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10"/>
                    <a:pt x="12" y="10"/>
                    <a:pt x="12" y="11"/>
                  </a:cubicBezTo>
                  <a:cubicBezTo>
                    <a:pt x="12" y="11"/>
                    <a:pt x="12" y="11"/>
                    <a:pt x="13" y="10"/>
                  </a:cubicBezTo>
                  <a:cubicBezTo>
                    <a:pt x="12" y="10"/>
                    <a:pt x="12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6" y="8"/>
                    <a:pt x="16" y="8"/>
                  </a:cubicBezTo>
                  <a:cubicBezTo>
                    <a:pt x="17" y="8"/>
                    <a:pt x="17" y="7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5" y="6"/>
                    <a:pt x="13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1" y="4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8" y="4"/>
                    <a:pt x="6" y="5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4" y="5"/>
                    <a:pt x="2" y="5"/>
                    <a:pt x="1" y="6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4" y="6"/>
                    <a:pt x="4" y="6"/>
                    <a:pt x="5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9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6" y="11"/>
                    <a:pt x="6" y="11"/>
                    <a:pt x="6" y="12"/>
                  </a:cubicBezTo>
                  <a:close/>
                  <a:moveTo>
                    <a:pt x="11" y="10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1"/>
                    <a:pt x="11" y="11"/>
                    <a:pt x="11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9" name="Freeform 737"/>
            <p:cNvSpPr/>
            <p:nvPr/>
          </p:nvSpPr>
          <p:spPr bwMode="auto">
            <a:xfrm>
              <a:off x="6924725" y="2977730"/>
              <a:ext cx="28575" cy="22226"/>
            </a:xfrm>
            <a:custGeom>
              <a:avLst/>
              <a:gdLst>
                <a:gd name="T0" fmla="*/ 2147483646 w 4"/>
                <a:gd name="T1" fmla="*/ 0 h 3"/>
                <a:gd name="T2" fmla="*/ 2147483646 w 4"/>
                <a:gd name="T3" fmla="*/ 2147483646 h 3"/>
                <a:gd name="T4" fmla="*/ 2147483646 w 4"/>
                <a:gd name="T5" fmla="*/ 0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cubicBezTo>
                    <a:pt x="3" y="1"/>
                    <a:pt x="4" y="2"/>
                    <a:pt x="4" y="3"/>
                  </a:cubicBezTo>
                  <a:cubicBezTo>
                    <a:pt x="3" y="3"/>
                    <a:pt x="0" y="1"/>
                    <a:pt x="2" y="0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90" name="Freeform 738"/>
            <p:cNvSpPr/>
            <p:nvPr/>
          </p:nvSpPr>
          <p:spPr bwMode="auto">
            <a:xfrm>
              <a:off x="6931075" y="2977731"/>
              <a:ext cx="31750" cy="22226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0 w 4"/>
                <a:gd name="T5" fmla="*/ 2147483646 h 3"/>
                <a:gd name="T6" fmla="*/ 2147483646 w 4"/>
                <a:gd name="T7" fmla="*/ 0 h 3"/>
                <a:gd name="T8" fmla="*/ 2147483646 w 4"/>
                <a:gd name="T9" fmla="*/ 0 h 3"/>
                <a:gd name="T10" fmla="*/ 2147483646 w 4"/>
                <a:gd name="T11" fmla="*/ 0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1"/>
                    <a:pt x="3" y="2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91" name="Freeform 741"/>
            <p:cNvSpPr/>
            <p:nvPr/>
          </p:nvSpPr>
          <p:spPr bwMode="auto">
            <a:xfrm>
              <a:off x="6827888" y="2218905"/>
              <a:ext cx="282575" cy="192088"/>
            </a:xfrm>
            <a:custGeom>
              <a:avLst/>
              <a:gdLst>
                <a:gd name="T0" fmla="*/ 2147483646 w 38"/>
                <a:gd name="T1" fmla="*/ 2147483646 h 26"/>
                <a:gd name="T2" fmla="*/ 2147483646 w 38"/>
                <a:gd name="T3" fmla="*/ 2147483646 h 26"/>
                <a:gd name="T4" fmla="*/ 2147483646 w 38"/>
                <a:gd name="T5" fmla="*/ 2147483646 h 26"/>
                <a:gd name="T6" fmla="*/ 2147483646 w 38"/>
                <a:gd name="T7" fmla="*/ 2147483646 h 26"/>
                <a:gd name="T8" fmla="*/ 2147483646 w 38"/>
                <a:gd name="T9" fmla="*/ 2147483646 h 26"/>
                <a:gd name="T10" fmla="*/ 0 w 38"/>
                <a:gd name="T11" fmla="*/ 2147483646 h 26"/>
                <a:gd name="T12" fmla="*/ 2147483646 w 38"/>
                <a:gd name="T13" fmla="*/ 2147483646 h 26"/>
                <a:gd name="T14" fmla="*/ 2147483646 w 38"/>
                <a:gd name="T15" fmla="*/ 2147483646 h 26"/>
                <a:gd name="T16" fmla="*/ 2147483646 w 38"/>
                <a:gd name="T17" fmla="*/ 2147483646 h 26"/>
                <a:gd name="T18" fmla="*/ 2147483646 w 38"/>
                <a:gd name="T19" fmla="*/ 2147483646 h 26"/>
                <a:gd name="T20" fmla="*/ 2147483646 w 38"/>
                <a:gd name="T21" fmla="*/ 2147483646 h 26"/>
                <a:gd name="T22" fmla="*/ 2147483646 w 38"/>
                <a:gd name="T23" fmla="*/ 2147483646 h 26"/>
                <a:gd name="T24" fmla="*/ 2147483646 w 38"/>
                <a:gd name="T25" fmla="*/ 2147483646 h 26"/>
                <a:gd name="T26" fmla="*/ 2147483646 w 38"/>
                <a:gd name="T27" fmla="*/ 2147483646 h 26"/>
                <a:gd name="T28" fmla="*/ 2147483646 w 38"/>
                <a:gd name="T29" fmla="*/ 2147483646 h 26"/>
                <a:gd name="T30" fmla="*/ 2147483646 w 38"/>
                <a:gd name="T31" fmla="*/ 2147483646 h 26"/>
                <a:gd name="T32" fmla="*/ 2147483646 w 38"/>
                <a:gd name="T33" fmla="*/ 2147483646 h 26"/>
                <a:gd name="T34" fmla="*/ 2147483646 w 38"/>
                <a:gd name="T35" fmla="*/ 2147483646 h 26"/>
                <a:gd name="T36" fmla="*/ 2147483646 w 38"/>
                <a:gd name="T37" fmla="*/ 2147483646 h 26"/>
                <a:gd name="T38" fmla="*/ 2147483646 w 38"/>
                <a:gd name="T39" fmla="*/ 2147483646 h 26"/>
                <a:gd name="T40" fmla="*/ 2147483646 w 38"/>
                <a:gd name="T41" fmla="*/ 2147483646 h 26"/>
                <a:gd name="T42" fmla="*/ 2147483646 w 38"/>
                <a:gd name="T43" fmla="*/ 2147483646 h 26"/>
                <a:gd name="T44" fmla="*/ 2147483646 w 38"/>
                <a:gd name="T45" fmla="*/ 2147483646 h 26"/>
                <a:gd name="T46" fmla="*/ 2147483646 w 38"/>
                <a:gd name="T47" fmla="*/ 2147483646 h 26"/>
                <a:gd name="T48" fmla="*/ 2147483646 w 38"/>
                <a:gd name="T49" fmla="*/ 2147483646 h 26"/>
                <a:gd name="T50" fmla="*/ 2147483646 w 38"/>
                <a:gd name="T51" fmla="*/ 2147483646 h 26"/>
                <a:gd name="T52" fmla="*/ 2147483646 w 38"/>
                <a:gd name="T53" fmla="*/ 2147483646 h 26"/>
                <a:gd name="T54" fmla="*/ 2147483646 w 38"/>
                <a:gd name="T55" fmla="*/ 2147483646 h 26"/>
                <a:gd name="T56" fmla="*/ 2147483646 w 38"/>
                <a:gd name="T57" fmla="*/ 2147483646 h 26"/>
                <a:gd name="T58" fmla="*/ 2147483646 w 38"/>
                <a:gd name="T59" fmla="*/ 2147483646 h 26"/>
                <a:gd name="T60" fmla="*/ 2147483646 w 38"/>
                <a:gd name="T61" fmla="*/ 2147483646 h 26"/>
                <a:gd name="T62" fmla="*/ 2147483646 w 38"/>
                <a:gd name="T63" fmla="*/ 2147483646 h 26"/>
                <a:gd name="T64" fmla="*/ 2147483646 w 38"/>
                <a:gd name="T65" fmla="*/ 2147483646 h 26"/>
                <a:gd name="T66" fmla="*/ 2147483646 w 38"/>
                <a:gd name="T67" fmla="*/ 2147483646 h 26"/>
                <a:gd name="T68" fmla="*/ 2147483646 w 38"/>
                <a:gd name="T69" fmla="*/ 2147483646 h 26"/>
                <a:gd name="T70" fmla="*/ 2147483646 w 38"/>
                <a:gd name="T71" fmla="*/ 2147483646 h 26"/>
                <a:gd name="T72" fmla="*/ 2147483646 w 38"/>
                <a:gd name="T73" fmla="*/ 2147483646 h 26"/>
                <a:gd name="T74" fmla="*/ 2147483646 w 38"/>
                <a:gd name="T75" fmla="*/ 2147483646 h 26"/>
                <a:gd name="T76" fmla="*/ 2147483646 w 38"/>
                <a:gd name="T77" fmla="*/ 2147483646 h 26"/>
                <a:gd name="T78" fmla="*/ 2147483646 w 38"/>
                <a:gd name="T79" fmla="*/ 2147483646 h 26"/>
                <a:gd name="T80" fmla="*/ 2147483646 w 38"/>
                <a:gd name="T81" fmla="*/ 2147483646 h 26"/>
                <a:gd name="T82" fmla="*/ 2147483646 w 38"/>
                <a:gd name="T83" fmla="*/ 2147483646 h 26"/>
                <a:gd name="T84" fmla="*/ 2147483646 w 38"/>
                <a:gd name="T85" fmla="*/ 2147483646 h 26"/>
                <a:gd name="T86" fmla="*/ 2147483646 w 38"/>
                <a:gd name="T87" fmla="*/ 2147483646 h 26"/>
                <a:gd name="T88" fmla="*/ 2147483646 w 38"/>
                <a:gd name="T89" fmla="*/ 2147483646 h 26"/>
                <a:gd name="T90" fmla="*/ 2147483646 w 38"/>
                <a:gd name="T91" fmla="*/ 2147483646 h 26"/>
                <a:gd name="T92" fmla="*/ 2147483646 w 38"/>
                <a:gd name="T93" fmla="*/ 2147483646 h 26"/>
                <a:gd name="T94" fmla="*/ 2147483646 w 38"/>
                <a:gd name="T95" fmla="*/ 2147483646 h 26"/>
                <a:gd name="T96" fmla="*/ 2147483646 w 38"/>
                <a:gd name="T97" fmla="*/ 2147483646 h 2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8" h="26">
                  <a:moveTo>
                    <a:pt x="18" y="9"/>
                  </a:moveTo>
                  <a:cubicBezTo>
                    <a:pt x="16" y="9"/>
                    <a:pt x="15" y="8"/>
                    <a:pt x="13" y="9"/>
                  </a:cubicBezTo>
                  <a:cubicBezTo>
                    <a:pt x="11" y="11"/>
                    <a:pt x="10" y="7"/>
                    <a:pt x="8" y="8"/>
                  </a:cubicBezTo>
                  <a:cubicBezTo>
                    <a:pt x="9" y="7"/>
                    <a:pt x="9" y="7"/>
                    <a:pt x="10" y="6"/>
                  </a:cubicBezTo>
                  <a:cubicBezTo>
                    <a:pt x="9" y="6"/>
                    <a:pt x="2" y="11"/>
                    <a:pt x="3" y="8"/>
                  </a:cubicBezTo>
                  <a:cubicBezTo>
                    <a:pt x="2" y="8"/>
                    <a:pt x="1" y="8"/>
                    <a:pt x="0" y="9"/>
                  </a:cubicBezTo>
                  <a:cubicBezTo>
                    <a:pt x="2" y="6"/>
                    <a:pt x="6" y="5"/>
                    <a:pt x="8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0"/>
                    <a:pt x="11" y="1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15" y="1"/>
                    <a:pt x="13" y="5"/>
                    <a:pt x="17" y="4"/>
                  </a:cubicBezTo>
                  <a:cubicBezTo>
                    <a:pt x="16" y="6"/>
                    <a:pt x="18" y="7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9" y="11"/>
                    <a:pt x="24" y="11"/>
                    <a:pt x="25" y="11"/>
                  </a:cubicBezTo>
                  <a:cubicBezTo>
                    <a:pt x="28" y="11"/>
                    <a:pt x="28" y="13"/>
                    <a:pt x="29" y="15"/>
                  </a:cubicBezTo>
                  <a:cubicBezTo>
                    <a:pt x="29" y="15"/>
                    <a:pt x="28" y="15"/>
                    <a:pt x="28" y="14"/>
                  </a:cubicBezTo>
                  <a:cubicBezTo>
                    <a:pt x="28" y="15"/>
                    <a:pt x="28" y="15"/>
                    <a:pt x="28" y="16"/>
                  </a:cubicBezTo>
                  <a:cubicBezTo>
                    <a:pt x="27" y="15"/>
                    <a:pt x="27" y="15"/>
                    <a:pt x="26" y="15"/>
                  </a:cubicBezTo>
                  <a:cubicBezTo>
                    <a:pt x="26" y="14"/>
                    <a:pt x="25" y="14"/>
                    <a:pt x="24" y="13"/>
                  </a:cubicBezTo>
                  <a:cubicBezTo>
                    <a:pt x="25" y="15"/>
                    <a:pt x="24" y="16"/>
                    <a:pt x="24" y="18"/>
                  </a:cubicBezTo>
                  <a:cubicBezTo>
                    <a:pt x="24" y="20"/>
                    <a:pt x="21" y="21"/>
                    <a:pt x="22" y="23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3" y="24"/>
                    <a:pt x="24" y="22"/>
                    <a:pt x="25" y="22"/>
                  </a:cubicBezTo>
                  <a:cubicBezTo>
                    <a:pt x="26" y="21"/>
                    <a:pt x="27" y="22"/>
                    <a:pt x="28" y="21"/>
                  </a:cubicBezTo>
                  <a:cubicBezTo>
                    <a:pt x="28" y="21"/>
                    <a:pt x="30" y="21"/>
                    <a:pt x="31" y="21"/>
                  </a:cubicBezTo>
                  <a:cubicBezTo>
                    <a:pt x="31" y="20"/>
                    <a:pt x="30" y="19"/>
                    <a:pt x="29" y="20"/>
                  </a:cubicBezTo>
                  <a:cubicBezTo>
                    <a:pt x="30" y="18"/>
                    <a:pt x="33" y="18"/>
                    <a:pt x="35" y="18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7"/>
                    <a:pt x="37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20"/>
                    <a:pt x="33" y="19"/>
                    <a:pt x="30" y="20"/>
                  </a:cubicBezTo>
                  <a:cubicBezTo>
                    <a:pt x="32" y="23"/>
                    <a:pt x="23" y="26"/>
                    <a:pt x="20" y="25"/>
                  </a:cubicBezTo>
                  <a:cubicBezTo>
                    <a:pt x="22" y="22"/>
                    <a:pt x="22" y="20"/>
                    <a:pt x="21" y="17"/>
                  </a:cubicBezTo>
                  <a:cubicBezTo>
                    <a:pt x="20" y="18"/>
                    <a:pt x="20" y="18"/>
                    <a:pt x="19" y="18"/>
                  </a:cubicBezTo>
                  <a:cubicBezTo>
                    <a:pt x="20" y="16"/>
                    <a:pt x="21" y="14"/>
                    <a:pt x="19" y="12"/>
                  </a:cubicBezTo>
                  <a:cubicBezTo>
                    <a:pt x="17" y="11"/>
                    <a:pt x="16" y="13"/>
                    <a:pt x="15" y="15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3" y="15"/>
                    <a:pt x="13" y="18"/>
                    <a:pt x="13" y="19"/>
                  </a:cubicBezTo>
                  <a:cubicBezTo>
                    <a:pt x="14" y="21"/>
                    <a:pt x="14" y="25"/>
                    <a:pt x="12" y="25"/>
                  </a:cubicBezTo>
                  <a:cubicBezTo>
                    <a:pt x="7" y="25"/>
                    <a:pt x="12" y="14"/>
                    <a:pt x="12" y="13"/>
                  </a:cubicBezTo>
                  <a:cubicBezTo>
                    <a:pt x="11" y="14"/>
                    <a:pt x="11" y="15"/>
                    <a:pt x="10" y="16"/>
                  </a:cubicBezTo>
                  <a:cubicBezTo>
                    <a:pt x="10" y="14"/>
                    <a:pt x="11" y="12"/>
                    <a:pt x="13" y="11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5" y="10"/>
                    <a:pt x="16" y="11"/>
                  </a:cubicBezTo>
                  <a:cubicBezTo>
                    <a:pt x="17" y="12"/>
                    <a:pt x="17" y="10"/>
                    <a:pt x="19" y="11"/>
                  </a:cubicBezTo>
                  <a:cubicBezTo>
                    <a:pt x="19" y="10"/>
                    <a:pt x="18" y="10"/>
                    <a:pt x="18" y="9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92" name="Freeform 743"/>
            <p:cNvSpPr/>
            <p:nvPr/>
          </p:nvSpPr>
          <p:spPr bwMode="auto">
            <a:xfrm>
              <a:off x="7258100" y="915566"/>
              <a:ext cx="1123950" cy="1004889"/>
            </a:xfrm>
            <a:custGeom>
              <a:avLst/>
              <a:gdLst>
                <a:gd name="T0" fmla="*/ 2147483646 w 151"/>
                <a:gd name="T1" fmla="*/ 2147483646 h 135"/>
                <a:gd name="T2" fmla="*/ 2147483646 w 151"/>
                <a:gd name="T3" fmla="*/ 2147483646 h 135"/>
                <a:gd name="T4" fmla="*/ 2147483646 w 151"/>
                <a:gd name="T5" fmla="*/ 2147483646 h 135"/>
                <a:gd name="T6" fmla="*/ 2147483646 w 151"/>
                <a:gd name="T7" fmla="*/ 2147483646 h 135"/>
                <a:gd name="T8" fmla="*/ 2147483646 w 151"/>
                <a:gd name="T9" fmla="*/ 2147483646 h 135"/>
                <a:gd name="T10" fmla="*/ 2147483646 w 151"/>
                <a:gd name="T11" fmla="*/ 2147483646 h 135"/>
                <a:gd name="T12" fmla="*/ 2147483646 w 151"/>
                <a:gd name="T13" fmla="*/ 2147483646 h 135"/>
                <a:gd name="T14" fmla="*/ 2147483646 w 151"/>
                <a:gd name="T15" fmla="*/ 2147483646 h 135"/>
                <a:gd name="T16" fmla="*/ 2147483646 w 151"/>
                <a:gd name="T17" fmla="*/ 2147483646 h 135"/>
                <a:gd name="T18" fmla="*/ 2147483646 w 151"/>
                <a:gd name="T19" fmla="*/ 2147483646 h 135"/>
                <a:gd name="T20" fmla="*/ 2147483646 w 151"/>
                <a:gd name="T21" fmla="*/ 2147483646 h 135"/>
                <a:gd name="T22" fmla="*/ 2147483646 w 151"/>
                <a:gd name="T23" fmla="*/ 2147483646 h 135"/>
                <a:gd name="T24" fmla="*/ 2147483646 w 151"/>
                <a:gd name="T25" fmla="*/ 2147483646 h 135"/>
                <a:gd name="T26" fmla="*/ 2147483646 w 151"/>
                <a:gd name="T27" fmla="*/ 2147483646 h 135"/>
                <a:gd name="T28" fmla="*/ 2147483646 w 151"/>
                <a:gd name="T29" fmla="*/ 2147483646 h 135"/>
                <a:gd name="T30" fmla="*/ 2147483646 w 151"/>
                <a:gd name="T31" fmla="*/ 2147483646 h 135"/>
                <a:gd name="T32" fmla="*/ 2147483646 w 151"/>
                <a:gd name="T33" fmla="*/ 2147483646 h 135"/>
                <a:gd name="T34" fmla="*/ 2147483646 w 151"/>
                <a:gd name="T35" fmla="*/ 2147483646 h 135"/>
                <a:gd name="T36" fmla="*/ 2147483646 w 151"/>
                <a:gd name="T37" fmla="*/ 2147483646 h 135"/>
                <a:gd name="T38" fmla="*/ 2147483646 w 151"/>
                <a:gd name="T39" fmla="*/ 2147483646 h 135"/>
                <a:gd name="T40" fmla="*/ 2147483646 w 151"/>
                <a:gd name="T41" fmla="*/ 2147483646 h 135"/>
                <a:gd name="T42" fmla="*/ 2147483646 w 151"/>
                <a:gd name="T43" fmla="*/ 2147483646 h 135"/>
                <a:gd name="T44" fmla="*/ 2147483646 w 151"/>
                <a:gd name="T45" fmla="*/ 2147483646 h 135"/>
                <a:gd name="T46" fmla="*/ 2147483646 w 151"/>
                <a:gd name="T47" fmla="*/ 2147483646 h 135"/>
                <a:gd name="T48" fmla="*/ 2147483646 w 151"/>
                <a:gd name="T49" fmla="*/ 2147483646 h 135"/>
                <a:gd name="T50" fmla="*/ 2147483646 w 151"/>
                <a:gd name="T51" fmla="*/ 2147483646 h 135"/>
                <a:gd name="T52" fmla="*/ 2147483646 w 151"/>
                <a:gd name="T53" fmla="*/ 2147483646 h 135"/>
                <a:gd name="T54" fmla="*/ 2147483646 w 151"/>
                <a:gd name="T55" fmla="*/ 2147483646 h 135"/>
                <a:gd name="T56" fmla="*/ 2147483646 w 151"/>
                <a:gd name="T57" fmla="*/ 2147483646 h 135"/>
                <a:gd name="T58" fmla="*/ 2147483646 w 151"/>
                <a:gd name="T59" fmla="*/ 2147483646 h 135"/>
                <a:gd name="T60" fmla="*/ 2147483646 w 151"/>
                <a:gd name="T61" fmla="*/ 2147483646 h 135"/>
                <a:gd name="T62" fmla="*/ 2147483646 w 151"/>
                <a:gd name="T63" fmla="*/ 2147483646 h 135"/>
                <a:gd name="T64" fmla="*/ 2147483646 w 151"/>
                <a:gd name="T65" fmla="*/ 2147483646 h 135"/>
                <a:gd name="T66" fmla="*/ 2147483646 w 151"/>
                <a:gd name="T67" fmla="*/ 2147483646 h 135"/>
                <a:gd name="T68" fmla="*/ 2147483646 w 151"/>
                <a:gd name="T69" fmla="*/ 2147483646 h 135"/>
                <a:gd name="T70" fmla="*/ 2147483646 w 151"/>
                <a:gd name="T71" fmla="*/ 2147483646 h 135"/>
                <a:gd name="T72" fmla="*/ 2147483646 w 151"/>
                <a:gd name="T73" fmla="*/ 2147483646 h 135"/>
                <a:gd name="T74" fmla="*/ 2147483646 w 151"/>
                <a:gd name="T75" fmla="*/ 2147483646 h 135"/>
                <a:gd name="T76" fmla="*/ 2147483646 w 151"/>
                <a:gd name="T77" fmla="*/ 2147483646 h 135"/>
                <a:gd name="T78" fmla="*/ 2147483646 w 151"/>
                <a:gd name="T79" fmla="*/ 2147483646 h 135"/>
                <a:gd name="T80" fmla="*/ 2147483646 w 151"/>
                <a:gd name="T81" fmla="*/ 2147483646 h 135"/>
                <a:gd name="T82" fmla="*/ 2147483646 w 151"/>
                <a:gd name="T83" fmla="*/ 2147483646 h 135"/>
                <a:gd name="T84" fmla="*/ 2147483646 w 151"/>
                <a:gd name="T85" fmla="*/ 2147483646 h 135"/>
                <a:gd name="T86" fmla="*/ 2147483646 w 151"/>
                <a:gd name="T87" fmla="*/ 2147483646 h 135"/>
                <a:gd name="T88" fmla="*/ 2147483646 w 151"/>
                <a:gd name="T89" fmla="*/ 2147483646 h 135"/>
                <a:gd name="T90" fmla="*/ 2147483646 w 151"/>
                <a:gd name="T91" fmla="*/ 2147483646 h 135"/>
                <a:gd name="T92" fmla="*/ 2147483646 w 151"/>
                <a:gd name="T93" fmla="*/ 2147483646 h 135"/>
                <a:gd name="T94" fmla="*/ 2147483646 w 151"/>
                <a:gd name="T95" fmla="*/ 2147483646 h 135"/>
                <a:gd name="T96" fmla="*/ 2147483646 w 151"/>
                <a:gd name="T97" fmla="*/ 2147483646 h 135"/>
                <a:gd name="T98" fmla="*/ 2147483646 w 151"/>
                <a:gd name="T99" fmla="*/ 2147483646 h 135"/>
                <a:gd name="T100" fmla="*/ 2147483646 w 151"/>
                <a:gd name="T101" fmla="*/ 2147483646 h 135"/>
                <a:gd name="T102" fmla="*/ 2147483646 w 151"/>
                <a:gd name="T103" fmla="*/ 2147483646 h 135"/>
                <a:gd name="T104" fmla="*/ 2147483646 w 151"/>
                <a:gd name="T105" fmla="*/ 2147483646 h 135"/>
                <a:gd name="T106" fmla="*/ 2147483646 w 151"/>
                <a:gd name="T107" fmla="*/ 2147483646 h 135"/>
                <a:gd name="T108" fmla="*/ 2147483646 w 151"/>
                <a:gd name="T109" fmla="*/ 2147483646 h 135"/>
                <a:gd name="T110" fmla="*/ 2147483646 w 151"/>
                <a:gd name="T111" fmla="*/ 2147483646 h 135"/>
                <a:gd name="T112" fmla="*/ 2147483646 w 151"/>
                <a:gd name="T113" fmla="*/ 2147483646 h 135"/>
                <a:gd name="T114" fmla="*/ 2147483646 w 151"/>
                <a:gd name="T115" fmla="*/ 2147483646 h 135"/>
                <a:gd name="T116" fmla="*/ 2147483646 w 151"/>
                <a:gd name="T117" fmla="*/ 2147483646 h 135"/>
                <a:gd name="T118" fmla="*/ 2147483646 w 151"/>
                <a:gd name="T119" fmla="*/ 2147483646 h 135"/>
                <a:gd name="T120" fmla="*/ 2147483646 w 151"/>
                <a:gd name="T121" fmla="*/ 2147483646 h 135"/>
                <a:gd name="T122" fmla="*/ 2147483646 w 151"/>
                <a:gd name="T123" fmla="*/ 2147483646 h 135"/>
                <a:gd name="T124" fmla="*/ 2147483646 w 151"/>
                <a:gd name="T125" fmla="*/ 2147483646 h 13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51" h="135">
                  <a:moveTo>
                    <a:pt x="102" y="14"/>
                  </a:moveTo>
                  <a:cubicBezTo>
                    <a:pt x="102" y="15"/>
                    <a:pt x="103" y="16"/>
                    <a:pt x="104" y="16"/>
                  </a:cubicBezTo>
                  <a:cubicBezTo>
                    <a:pt x="104" y="16"/>
                    <a:pt x="105" y="16"/>
                    <a:pt x="105" y="15"/>
                  </a:cubicBezTo>
                  <a:cubicBezTo>
                    <a:pt x="106" y="15"/>
                    <a:pt x="106" y="16"/>
                    <a:pt x="107" y="16"/>
                  </a:cubicBezTo>
                  <a:cubicBezTo>
                    <a:pt x="109" y="16"/>
                    <a:pt x="114" y="13"/>
                    <a:pt x="116" y="14"/>
                  </a:cubicBezTo>
                  <a:cubicBezTo>
                    <a:pt x="116" y="16"/>
                    <a:pt x="113" y="15"/>
                    <a:pt x="113" y="17"/>
                  </a:cubicBezTo>
                  <a:cubicBezTo>
                    <a:pt x="113" y="17"/>
                    <a:pt x="114" y="17"/>
                    <a:pt x="115" y="17"/>
                  </a:cubicBezTo>
                  <a:cubicBezTo>
                    <a:pt x="117" y="17"/>
                    <a:pt x="121" y="13"/>
                    <a:pt x="122" y="15"/>
                  </a:cubicBezTo>
                  <a:cubicBezTo>
                    <a:pt x="121" y="14"/>
                    <a:pt x="124" y="13"/>
                    <a:pt x="125" y="13"/>
                  </a:cubicBezTo>
                  <a:cubicBezTo>
                    <a:pt x="129" y="13"/>
                    <a:pt x="124" y="19"/>
                    <a:pt x="122" y="19"/>
                  </a:cubicBezTo>
                  <a:cubicBezTo>
                    <a:pt x="123" y="20"/>
                    <a:pt x="125" y="19"/>
                    <a:pt x="125" y="19"/>
                  </a:cubicBezTo>
                  <a:cubicBezTo>
                    <a:pt x="126" y="17"/>
                    <a:pt x="128" y="17"/>
                    <a:pt x="128" y="16"/>
                  </a:cubicBezTo>
                  <a:cubicBezTo>
                    <a:pt x="130" y="18"/>
                    <a:pt x="133" y="15"/>
                    <a:pt x="134" y="17"/>
                  </a:cubicBezTo>
                  <a:cubicBezTo>
                    <a:pt x="135" y="16"/>
                    <a:pt x="136" y="15"/>
                    <a:pt x="136" y="14"/>
                  </a:cubicBezTo>
                  <a:cubicBezTo>
                    <a:pt x="137" y="15"/>
                    <a:pt x="138" y="15"/>
                    <a:pt x="139" y="14"/>
                  </a:cubicBezTo>
                  <a:cubicBezTo>
                    <a:pt x="141" y="14"/>
                    <a:pt x="140" y="14"/>
                    <a:pt x="142" y="14"/>
                  </a:cubicBezTo>
                  <a:cubicBezTo>
                    <a:pt x="144" y="15"/>
                    <a:pt x="145" y="14"/>
                    <a:pt x="148" y="15"/>
                  </a:cubicBezTo>
                  <a:cubicBezTo>
                    <a:pt x="148" y="16"/>
                    <a:pt x="151" y="16"/>
                    <a:pt x="149" y="17"/>
                  </a:cubicBezTo>
                  <a:cubicBezTo>
                    <a:pt x="148" y="17"/>
                    <a:pt x="148" y="19"/>
                    <a:pt x="146" y="19"/>
                  </a:cubicBezTo>
                  <a:cubicBezTo>
                    <a:pt x="145" y="20"/>
                    <a:pt x="144" y="20"/>
                    <a:pt x="143" y="21"/>
                  </a:cubicBezTo>
                  <a:cubicBezTo>
                    <a:pt x="142" y="23"/>
                    <a:pt x="140" y="21"/>
                    <a:pt x="139" y="22"/>
                  </a:cubicBezTo>
                  <a:cubicBezTo>
                    <a:pt x="139" y="23"/>
                    <a:pt x="140" y="23"/>
                    <a:pt x="140" y="24"/>
                  </a:cubicBezTo>
                  <a:cubicBezTo>
                    <a:pt x="139" y="24"/>
                    <a:pt x="139" y="24"/>
                    <a:pt x="138" y="24"/>
                  </a:cubicBezTo>
                  <a:cubicBezTo>
                    <a:pt x="138" y="25"/>
                    <a:pt x="139" y="25"/>
                    <a:pt x="140" y="25"/>
                  </a:cubicBezTo>
                  <a:cubicBezTo>
                    <a:pt x="139" y="26"/>
                    <a:pt x="138" y="26"/>
                    <a:pt x="137" y="27"/>
                  </a:cubicBezTo>
                  <a:cubicBezTo>
                    <a:pt x="137" y="27"/>
                    <a:pt x="135" y="29"/>
                    <a:pt x="135" y="29"/>
                  </a:cubicBezTo>
                  <a:cubicBezTo>
                    <a:pt x="135" y="29"/>
                    <a:pt x="136" y="28"/>
                    <a:pt x="136" y="28"/>
                  </a:cubicBezTo>
                  <a:cubicBezTo>
                    <a:pt x="135" y="27"/>
                    <a:pt x="133" y="29"/>
                    <a:pt x="133" y="29"/>
                  </a:cubicBezTo>
                  <a:cubicBezTo>
                    <a:pt x="133" y="30"/>
                    <a:pt x="133" y="30"/>
                    <a:pt x="134" y="30"/>
                  </a:cubicBezTo>
                  <a:cubicBezTo>
                    <a:pt x="132" y="31"/>
                    <a:pt x="134" y="33"/>
                    <a:pt x="132" y="34"/>
                  </a:cubicBezTo>
                  <a:cubicBezTo>
                    <a:pt x="130" y="35"/>
                    <a:pt x="130" y="35"/>
                    <a:pt x="130" y="36"/>
                  </a:cubicBezTo>
                  <a:cubicBezTo>
                    <a:pt x="130" y="38"/>
                    <a:pt x="129" y="37"/>
                    <a:pt x="128" y="38"/>
                  </a:cubicBezTo>
                  <a:cubicBezTo>
                    <a:pt x="128" y="38"/>
                    <a:pt x="129" y="40"/>
                    <a:pt x="129" y="41"/>
                  </a:cubicBezTo>
                  <a:cubicBezTo>
                    <a:pt x="130" y="41"/>
                    <a:pt x="130" y="41"/>
                    <a:pt x="131" y="41"/>
                  </a:cubicBezTo>
                  <a:cubicBezTo>
                    <a:pt x="132" y="41"/>
                    <a:pt x="131" y="42"/>
                    <a:pt x="131" y="43"/>
                  </a:cubicBezTo>
                  <a:cubicBezTo>
                    <a:pt x="133" y="44"/>
                    <a:pt x="134" y="44"/>
                    <a:pt x="134" y="47"/>
                  </a:cubicBezTo>
                  <a:cubicBezTo>
                    <a:pt x="132" y="47"/>
                    <a:pt x="130" y="47"/>
                    <a:pt x="128" y="48"/>
                  </a:cubicBezTo>
                  <a:cubicBezTo>
                    <a:pt x="129" y="49"/>
                    <a:pt x="130" y="51"/>
                    <a:pt x="132" y="51"/>
                  </a:cubicBezTo>
                  <a:cubicBezTo>
                    <a:pt x="132" y="52"/>
                    <a:pt x="133" y="52"/>
                    <a:pt x="134" y="52"/>
                  </a:cubicBezTo>
                  <a:cubicBezTo>
                    <a:pt x="134" y="53"/>
                    <a:pt x="134" y="53"/>
                    <a:pt x="135" y="53"/>
                  </a:cubicBezTo>
                  <a:cubicBezTo>
                    <a:pt x="136" y="55"/>
                    <a:pt x="130" y="57"/>
                    <a:pt x="133" y="59"/>
                  </a:cubicBezTo>
                  <a:cubicBezTo>
                    <a:pt x="135" y="60"/>
                    <a:pt x="133" y="62"/>
                    <a:pt x="132" y="62"/>
                  </a:cubicBezTo>
                  <a:cubicBezTo>
                    <a:pt x="130" y="60"/>
                    <a:pt x="127" y="65"/>
                    <a:pt x="130" y="65"/>
                  </a:cubicBezTo>
                  <a:cubicBezTo>
                    <a:pt x="130" y="66"/>
                    <a:pt x="123" y="68"/>
                    <a:pt x="122" y="68"/>
                  </a:cubicBezTo>
                  <a:cubicBezTo>
                    <a:pt x="122" y="69"/>
                    <a:pt x="124" y="69"/>
                    <a:pt x="125" y="70"/>
                  </a:cubicBezTo>
                  <a:cubicBezTo>
                    <a:pt x="125" y="70"/>
                    <a:pt x="126" y="72"/>
                    <a:pt x="127" y="71"/>
                  </a:cubicBezTo>
                  <a:cubicBezTo>
                    <a:pt x="127" y="73"/>
                    <a:pt x="126" y="73"/>
                    <a:pt x="125" y="74"/>
                  </a:cubicBezTo>
                  <a:cubicBezTo>
                    <a:pt x="125" y="75"/>
                    <a:pt x="126" y="77"/>
                    <a:pt x="125" y="77"/>
                  </a:cubicBezTo>
                  <a:cubicBezTo>
                    <a:pt x="126" y="80"/>
                    <a:pt x="130" y="79"/>
                    <a:pt x="130" y="82"/>
                  </a:cubicBezTo>
                  <a:cubicBezTo>
                    <a:pt x="130" y="82"/>
                    <a:pt x="128" y="83"/>
                    <a:pt x="128" y="82"/>
                  </a:cubicBezTo>
                  <a:cubicBezTo>
                    <a:pt x="128" y="82"/>
                    <a:pt x="127" y="83"/>
                    <a:pt x="126" y="84"/>
                  </a:cubicBezTo>
                  <a:cubicBezTo>
                    <a:pt x="125" y="84"/>
                    <a:pt x="124" y="84"/>
                    <a:pt x="122" y="84"/>
                  </a:cubicBezTo>
                  <a:cubicBezTo>
                    <a:pt x="123" y="81"/>
                    <a:pt x="120" y="83"/>
                    <a:pt x="121" y="81"/>
                  </a:cubicBezTo>
                  <a:cubicBezTo>
                    <a:pt x="119" y="80"/>
                    <a:pt x="119" y="82"/>
                    <a:pt x="117" y="82"/>
                  </a:cubicBezTo>
                  <a:cubicBezTo>
                    <a:pt x="118" y="82"/>
                    <a:pt x="118" y="83"/>
                    <a:pt x="116" y="83"/>
                  </a:cubicBezTo>
                  <a:cubicBezTo>
                    <a:pt x="116" y="84"/>
                    <a:pt x="118" y="84"/>
                    <a:pt x="118" y="84"/>
                  </a:cubicBezTo>
                  <a:cubicBezTo>
                    <a:pt x="118" y="84"/>
                    <a:pt x="117" y="84"/>
                    <a:pt x="117" y="84"/>
                  </a:cubicBezTo>
                  <a:cubicBezTo>
                    <a:pt x="117" y="86"/>
                    <a:pt x="124" y="86"/>
                    <a:pt x="125" y="86"/>
                  </a:cubicBezTo>
                  <a:cubicBezTo>
                    <a:pt x="123" y="89"/>
                    <a:pt x="121" y="93"/>
                    <a:pt x="116" y="92"/>
                  </a:cubicBezTo>
                  <a:cubicBezTo>
                    <a:pt x="116" y="92"/>
                    <a:pt x="109" y="94"/>
                    <a:pt x="109" y="94"/>
                  </a:cubicBezTo>
                  <a:cubicBezTo>
                    <a:pt x="109" y="96"/>
                    <a:pt x="108" y="95"/>
                    <a:pt x="106" y="95"/>
                  </a:cubicBezTo>
                  <a:cubicBezTo>
                    <a:pt x="106" y="96"/>
                    <a:pt x="107" y="96"/>
                    <a:pt x="107" y="96"/>
                  </a:cubicBezTo>
                  <a:cubicBezTo>
                    <a:pt x="107" y="97"/>
                    <a:pt x="103" y="98"/>
                    <a:pt x="104" y="95"/>
                  </a:cubicBezTo>
                  <a:cubicBezTo>
                    <a:pt x="103" y="96"/>
                    <a:pt x="102" y="95"/>
                    <a:pt x="101" y="96"/>
                  </a:cubicBezTo>
                  <a:cubicBezTo>
                    <a:pt x="101" y="97"/>
                    <a:pt x="102" y="98"/>
                    <a:pt x="101" y="99"/>
                  </a:cubicBezTo>
                  <a:cubicBezTo>
                    <a:pt x="101" y="99"/>
                    <a:pt x="99" y="98"/>
                    <a:pt x="100" y="100"/>
                  </a:cubicBezTo>
                  <a:cubicBezTo>
                    <a:pt x="101" y="101"/>
                    <a:pt x="100" y="102"/>
                    <a:pt x="98" y="101"/>
                  </a:cubicBezTo>
                  <a:cubicBezTo>
                    <a:pt x="98" y="102"/>
                    <a:pt x="98" y="103"/>
                    <a:pt x="98" y="104"/>
                  </a:cubicBezTo>
                  <a:cubicBezTo>
                    <a:pt x="97" y="104"/>
                    <a:pt x="97" y="105"/>
                    <a:pt x="96" y="105"/>
                  </a:cubicBezTo>
                  <a:cubicBezTo>
                    <a:pt x="94" y="106"/>
                    <a:pt x="94" y="107"/>
                    <a:pt x="92" y="107"/>
                  </a:cubicBezTo>
                  <a:cubicBezTo>
                    <a:pt x="91" y="108"/>
                    <a:pt x="85" y="107"/>
                    <a:pt x="85" y="108"/>
                  </a:cubicBezTo>
                  <a:cubicBezTo>
                    <a:pt x="84" y="109"/>
                    <a:pt x="83" y="112"/>
                    <a:pt x="81" y="111"/>
                  </a:cubicBezTo>
                  <a:cubicBezTo>
                    <a:pt x="82" y="111"/>
                    <a:pt x="82" y="112"/>
                    <a:pt x="82" y="113"/>
                  </a:cubicBezTo>
                  <a:cubicBezTo>
                    <a:pt x="82" y="113"/>
                    <a:pt x="81" y="113"/>
                    <a:pt x="81" y="113"/>
                  </a:cubicBezTo>
                  <a:cubicBezTo>
                    <a:pt x="81" y="113"/>
                    <a:pt x="81" y="114"/>
                    <a:pt x="81" y="114"/>
                  </a:cubicBezTo>
                  <a:cubicBezTo>
                    <a:pt x="81" y="114"/>
                    <a:pt x="81" y="116"/>
                    <a:pt x="81" y="116"/>
                  </a:cubicBezTo>
                  <a:cubicBezTo>
                    <a:pt x="80" y="117"/>
                    <a:pt x="80" y="119"/>
                    <a:pt x="80" y="119"/>
                  </a:cubicBezTo>
                  <a:cubicBezTo>
                    <a:pt x="78" y="119"/>
                    <a:pt x="78" y="121"/>
                    <a:pt x="78" y="122"/>
                  </a:cubicBezTo>
                  <a:cubicBezTo>
                    <a:pt x="77" y="122"/>
                    <a:pt x="77" y="123"/>
                    <a:pt x="77" y="124"/>
                  </a:cubicBezTo>
                  <a:cubicBezTo>
                    <a:pt x="77" y="126"/>
                    <a:pt x="76" y="124"/>
                    <a:pt x="76" y="125"/>
                  </a:cubicBezTo>
                  <a:cubicBezTo>
                    <a:pt x="76" y="126"/>
                    <a:pt x="77" y="126"/>
                    <a:pt x="77" y="127"/>
                  </a:cubicBezTo>
                  <a:cubicBezTo>
                    <a:pt x="76" y="128"/>
                    <a:pt x="76" y="128"/>
                    <a:pt x="76" y="129"/>
                  </a:cubicBezTo>
                  <a:cubicBezTo>
                    <a:pt x="77" y="131"/>
                    <a:pt x="75" y="133"/>
                    <a:pt x="74" y="134"/>
                  </a:cubicBezTo>
                  <a:cubicBezTo>
                    <a:pt x="73" y="135"/>
                    <a:pt x="72" y="135"/>
                    <a:pt x="71" y="134"/>
                  </a:cubicBezTo>
                  <a:cubicBezTo>
                    <a:pt x="70" y="133"/>
                    <a:pt x="69" y="133"/>
                    <a:pt x="69" y="132"/>
                  </a:cubicBezTo>
                  <a:cubicBezTo>
                    <a:pt x="68" y="133"/>
                    <a:pt x="68" y="133"/>
                    <a:pt x="67" y="133"/>
                  </a:cubicBezTo>
                  <a:cubicBezTo>
                    <a:pt x="66" y="133"/>
                    <a:pt x="65" y="131"/>
                    <a:pt x="64" y="131"/>
                  </a:cubicBezTo>
                  <a:cubicBezTo>
                    <a:pt x="64" y="130"/>
                    <a:pt x="63" y="132"/>
                    <a:pt x="63" y="132"/>
                  </a:cubicBezTo>
                  <a:cubicBezTo>
                    <a:pt x="63" y="132"/>
                    <a:pt x="61" y="129"/>
                    <a:pt x="60" y="128"/>
                  </a:cubicBezTo>
                  <a:cubicBezTo>
                    <a:pt x="60" y="126"/>
                    <a:pt x="57" y="125"/>
                    <a:pt x="59" y="124"/>
                  </a:cubicBezTo>
                  <a:cubicBezTo>
                    <a:pt x="59" y="122"/>
                    <a:pt x="57" y="123"/>
                    <a:pt x="57" y="122"/>
                  </a:cubicBezTo>
                  <a:cubicBezTo>
                    <a:pt x="56" y="121"/>
                    <a:pt x="56" y="119"/>
                    <a:pt x="55" y="120"/>
                  </a:cubicBezTo>
                  <a:cubicBezTo>
                    <a:pt x="56" y="119"/>
                    <a:pt x="54" y="118"/>
                    <a:pt x="54" y="117"/>
                  </a:cubicBezTo>
                  <a:cubicBezTo>
                    <a:pt x="54" y="117"/>
                    <a:pt x="53" y="114"/>
                    <a:pt x="52" y="115"/>
                  </a:cubicBezTo>
                  <a:cubicBezTo>
                    <a:pt x="52" y="114"/>
                    <a:pt x="52" y="113"/>
                    <a:pt x="51" y="113"/>
                  </a:cubicBezTo>
                  <a:cubicBezTo>
                    <a:pt x="51" y="112"/>
                    <a:pt x="53" y="111"/>
                    <a:pt x="51" y="110"/>
                  </a:cubicBezTo>
                  <a:cubicBezTo>
                    <a:pt x="49" y="110"/>
                    <a:pt x="49" y="110"/>
                    <a:pt x="49" y="107"/>
                  </a:cubicBezTo>
                  <a:cubicBezTo>
                    <a:pt x="49" y="106"/>
                    <a:pt x="51" y="101"/>
                    <a:pt x="49" y="101"/>
                  </a:cubicBezTo>
                  <a:cubicBezTo>
                    <a:pt x="49" y="102"/>
                    <a:pt x="51" y="99"/>
                    <a:pt x="50" y="99"/>
                  </a:cubicBezTo>
                  <a:cubicBezTo>
                    <a:pt x="51" y="99"/>
                    <a:pt x="51" y="100"/>
                    <a:pt x="51" y="100"/>
                  </a:cubicBezTo>
                  <a:cubicBezTo>
                    <a:pt x="51" y="98"/>
                    <a:pt x="51" y="97"/>
                    <a:pt x="51" y="96"/>
                  </a:cubicBezTo>
                  <a:cubicBezTo>
                    <a:pt x="52" y="96"/>
                    <a:pt x="53" y="95"/>
                    <a:pt x="53" y="94"/>
                  </a:cubicBezTo>
                  <a:cubicBezTo>
                    <a:pt x="54" y="94"/>
                    <a:pt x="54" y="95"/>
                    <a:pt x="54" y="96"/>
                  </a:cubicBezTo>
                  <a:cubicBezTo>
                    <a:pt x="54" y="95"/>
                    <a:pt x="54" y="94"/>
                    <a:pt x="55" y="94"/>
                  </a:cubicBezTo>
                  <a:cubicBezTo>
                    <a:pt x="56" y="93"/>
                    <a:pt x="54" y="93"/>
                    <a:pt x="55" y="92"/>
                  </a:cubicBezTo>
                  <a:cubicBezTo>
                    <a:pt x="56" y="92"/>
                    <a:pt x="57" y="92"/>
                    <a:pt x="57" y="90"/>
                  </a:cubicBezTo>
                  <a:cubicBezTo>
                    <a:pt x="56" y="89"/>
                    <a:pt x="55" y="89"/>
                    <a:pt x="56" y="88"/>
                  </a:cubicBezTo>
                  <a:cubicBezTo>
                    <a:pt x="56" y="88"/>
                    <a:pt x="55" y="88"/>
                    <a:pt x="55" y="88"/>
                  </a:cubicBezTo>
                  <a:cubicBezTo>
                    <a:pt x="54" y="88"/>
                    <a:pt x="56" y="86"/>
                    <a:pt x="53" y="87"/>
                  </a:cubicBezTo>
                  <a:cubicBezTo>
                    <a:pt x="53" y="84"/>
                    <a:pt x="55" y="85"/>
                    <a:pt x="57" y="85"/>
                  </a:cubicBezTo>
                  <a:cubicBezTo>
                    <a:pt x="56" y="83"/>
                    <a:pt x="54" y="83"/>
                    <a:pt x="54" y="82"/>
                  </a:cubicBezTo>
                  <a:cubicBezTo>
                    <a:pt x="54" y="81"/>
                    <a:pt x="51" y="78"/>
                    <a:pt x="51" y="77"/>
                  </a:cubicBezTo>
                  <a:cubicBezTo>
                    <a:pt x="50" y="78"/>
                    <a:pt x="49" y="79"/>
                    <a:pt x="49" y="77"/>
                  </a:cubicBezTo>
                  <a:cubicBezTo>
                    <a:pt x="48" y="77"/>
                    <a:pt x="48" y="78"/>
                    <a:pt x="48" y="79"/>
                  </a:cubicBezTo>
                  <a:cubicBezTo>
                    <a:pt x="46" y="79"/>
                    <a:pt x="45" y="79"/>
                    <a:pt x="44" y="76"/>
                  </a:cubicBezTo>
                  <a:cubicBezTo>
                    <a:pt x="44" y="75"/>
                    <a:pt x="44" y="74"/>
                    <a:pt x="45" y="73"/>
                  </a:cubicBezTo>
                  <a:cubicBezTo>
                    <a:pt x="45" y="71"/>
                    <a:pt x="44" y="70"/>
                    <a:pt x="45" y="68"/>
                  </a:cubicBezTo>
                  <a:cubicBezTo>
                    <a:pt x="44" y="68"/>
                    <a:pt x="44" y="69"/>
                    <a:pt x="44" y="69"/>
                  </a:cubicBezTo>
                  <a:cubicBezTo>
                    <a:pt x="42" y="70"/>
                    <a:pt x="44" y="65"/>
                    <a:pt x="42" y="66"/>
                  </a:cubicBezTo>
                  <a:cubicBezTo>
                    <a:pt x="43" y="64"/>
                    <a:pt x="42" y="63"/>
                    <a:pt x="40" y="63"/>
                  </a:cubicBezTo>
                  <a:cubicBezTo>
                    <a:pt x="40" y="62"/>
                    <a:pt x="40" y="60"/>
                    <a:pt x="40" y="59"/>
                  </a:cubicBezTo>
                  <a:cubicBezTo>
                    <a:pt x="39" y="58"/>
                    <a:pt x="38" y="58"/>
                    <a:pt x="38" y="56"/>
                  </a:cubicBezTo>
                  <a:cubicBezTo>
                    <a:pt x="38" y="57"/>
                    <a:pt x="34" y="55"/>
                    <a:pt x="33" y="55"/>
                  </a:cubicBezTo>
                  <a:cubicBezTo>
                    <a:pt x="31" y="54"/>
                    <a:pt x="30" y="54"/>
                    <a:pt x="29" y="53"/>
                  </a:cubicBezTo>
                  <a:cubicBezTo>
                    <a:pt x="27" y="53"/>
                    <a:pt x="26" y="53"/>
                    <a:pt x="24" y="52"/>
                  </a:cubicBezTo>
                  <a:cubicBezTo>
                    <a:pt x="23" y="52"/>
                    <a:pt x="22" y="52"/>
                    <a:pt x="21" y="52"/>
                  </a:cubicBezTo>
                  <a:cubicBezTo>
                    <a:pt x="19" y="53"/>
                    <a:pt x="20" y="52"/>
                    <a:pt x="19" y="53"/>
                  </a:cubicBezTo>
                  <a:cubicBezTo>
                    <a:pt x="17" y="53"/>
                    <a:pt x="15" y="55"/>
                    <a:pt x="14" y="54"/>
                  </a:cubicBezTo>
                  <a:cubicBezTo>
                    <a:pt x="14" y="53"/>
                    <a:pt x="13" y="53"/>
                    <a:pt x="12" y="53"/>
                  </a:cubicBezTo>
                  <a:cubicBezTo>
                    <a:pt x="12" y="52"/>
                    <a:pt x="12" y="52"/>
                    <a:pt x="11" y="51"/>
                  </a:cubicBezTo>
                  <a:cubicBezTo>
                    <a:pt x="11" y="50"/>
                    <a:pt x="12" y="51"/>
                    <a:pt x="12" y="50"/>
                  </a:cubicBezTo>
                  <a:cubicBezTo>
                    <a:pt x="13" y="50"/>
                    <a:pt x="11" y="48"/>
                    <a:pt x="14" y="49"/>
                  </a:cubicBezTo>
                  <a:cubicBezTo>
                    <a:pt x="12" y="47"/>
                    <a:pt x="8" y="50"/>
                    <a:pt x="7" y="48"/>
                  </a:cubicBezTo>
                  <a:cubicBezTo>
                    <a:pt x="8" y="44"/>
                    <a:pt x="12" y="47"/>
                    <a:pt x="14" y="45"/>
                  </a:cubicBezTo>
                  <a:cubicBezTo>
                    <a:pt x="12" y="42"/>
                    <a:pt x="7" y="47"/>
                    <a:pt x="8" y="42"/>
                  </a:cubicBezTo>
                  <a:cubicBezTo>
                    <a:pt x="7" y="42"/>
                    <a:pt x="7" y="43"/>
                    <a:pt x="7" y="43"/>
                  </a:cubicBezTo>
                  <a:cubicBezTo>
                    <a:pt x="6" y="43"/>
                    <a:pt x="7" y="42"/>
                    <a:pt x="5" y="42"/>
                  </a:cubicBezTo>
                  <a:cubicBezTo>
                    <a:pt x="4" y="42"/>
                    <a:pt x="3" y="41"/>
                    <a:pt x="2" y="41"/>
                  </a:cubicBezTo>
                  <a:cubicBezTo>
                    <a:pt x="0" y="39"/>
                    <a:pt x="4" y="37"/>
                    <a:pt x="6" y="36"/>
                  </a:cubicBezTo>
                  <a:cubicBezTo>
                    <a:pt x="7" y="36"/>
                    <a:pt x="11" y="37"/>
                    <a:pt x="12" y="35"/>
                  </a:cubicBezTo>
                  <a:cubicBezTo>
                    <a:pt x="13" y="34"/>
                    <a:pt x="14" y="34"/>
                    <a:pt x="16" y="34"/>
                  </a:cubicBezTo>
                  <a:cubicBezTo>
                    <a:pt x="17" y="34"/>
                    <a:pt x="23" y="28"/>
                    <a:pt x="21" y="28"/>
                  </a:cubicBezTo>
                  <a:cubicBezTo>
                    <a:pt x="20" y="27"/>
                    <a:pt x="20" y="25"/>
                    <a:pt x="19" y="28"/>
                  </a:cubicBezTo>
                  <a:cubicBezTo>
                    <a:pt x="19" y="28"/>
                    <a:pt x="15" y="27"/>
                    <a:pt x="14" y="27"/>
                  </a:cubicBezTo>
                  <a:cubicBezTo>
                    <a:pt x="14" y="26"/>
                    <a:pt x="14" y="26"/>
                    <a:pt x="15" y="26"/>
                  </a:cubicBezTo>
                  <a:cubicBezTo>
                    <a:pt x="16" y="26"/>
                    <a:pt x="15" y="25"/>
                    <a:pt x="16" y="25"/>
                  </a:cubicBezTo>
                  <a:cubicBezTo>
                    <a:pt x="16" y="25"/>
                    <a:pt x="19" y="24"/>
                    <a:pt x="18" y="23"/>
                  </a:cubicBezTo>
                  <a:cubicBezTo>
                    <a:pt x="19" y="25"/>
                    <a:pt x="21" y="24"/>
                    <a:pt x="20" y="22"/>
                  </a:cubicBezTo>
                  <a:cubicBezTo>
                    <a:pt x="21" y="22"/>
                    <a:pt x="23" y="23"/>
                    <a:pt x="23" y="22"/>
                  </a:cubicBezTo>
                  <a:cubicBezTo>
                    <a:pt x="23" y="21"/>
                    <a:pt x="24" y="20"/>
                    <a:pt x="25" y="20"/>
                  </a:cubicBezTo>
                  <a:cubicBezTo>
                    <a:pt x="30" y="20"/>
                    <a:pt x="28" y="19"/>
                    <a:pt x="29" y="15"/>
                  </a:cubicBezTo>
                  <a:cubicBezTo>
                    <a:pt x="31" y="16"/>
                    <a:pt x="33" y="17"/>
                    <a:pt x="35" y="15"/>
                  </a:cubicBezTo>
                  <a:cubicBezTo>
                    <a:pt x="35" y="15"/>
                    <a:pt x="34" y="15"/>
                    <a:pt x="34" y="15"/>
                  </a:cubicBezTo>
                  <a:cubicBezTo>
                    <a:pt x="34" y="13"/>
                    <a:pt x="41" y="13"/>
                    <a:pt x="43" y="13"/>
                  </a:cubicBezTo>
                  <a:cubicBezTo>
                    <a:pt x="44" y="13"/>
                    <a:pt x="47" y="13"/>
                    <a:pt x="48" y="12"/>
                  </a:cubicBezTo>
                  <a:cubicBezTo>
                    <a:pt x="49" y="11"/>
                    <a:pt x="51" y="13"/>
                    <a:pt x="53" y="12"/>
                  </a:cubicBezTo>
                  <a:cubicBezTo>
                    <a:pt x="52" y="13"/>
                    <a:pt x="53" y="14"/>
                    <a:pt x="54" y="13"/>
                  </a:cubicBezTo>
                  <a:cubicBezTo>
                    <a:pt x="54" y="13"/>
                    <a:pt x="56" y="16"/>
                    <a:pt x="55" y="15"/>
                  </a:cubicBezTo>
                  <a:cubicBezTo>
                    <a:pt x="57" y="15"/>
                    <a:pt x="54" y="13"/>
                    <a:pt x="57" y="14"/>
                  </a:cubicBezTo>
                  <a:cubicBezTo>
                    <a:pt x="56" y="13"/>
                    <a:pt x="58" y="11"/>
                    <a:pt x="55" y="11"/>
                  </a:cubicBezTo>
                  <a:cubicBezTo>
                    <a:pt x="56" y="9"/>
                    <a:pt x="60" y="7"/>
                    <a:pt x="60" y="10"/>
                  </a:cubicBezTo>
                  <a:cubicBezTo>
                    <a:pt x="62" y="11"/>
                    <a:pt x="62" y="9"/>
                    <a:pt x="64" y="11"/>
                  </a:cubicBezTo>
                  <a:cubicBezTo>
                    <a:pt x="66" y="12"/>
                    <a:pt x="68" y="12"/>
                    <a:pt x="70" y="13"/>
                  </a:cubicBezTo>
                  <a:cubicBezTo>
                    <a:pt x="70" y="13"/>
                    <a:pt x="69" y="12"/>
                    <a:pt x="69" y="12"/>
                  </a:cubicBezTo>
                  <a:cubicBezTo>
                    <a:pt x="69" y="11"/>
                    <a:pt x="69" y="11"/>
                    <a:pt x="70" y="11"/>
                  </a:cubicBezTo>
                  <a:cubicBezTo>
                    <a:pt x="69" y="9"/>
                    <a:pt x="67" y="9"/>
                    <a:pt x="65" y="9"/>
                  </a:cubicBezTo>
                  <a:cubicBezTo>
                    <a:pt x="65" y="7"/>
                    <a:pt x="68" y="7"/>
                    <a:pt x="69" y="7"/>
                  </a:cubicBezTo>
                  <a:cubicBezTo>
                    <a:pt x="69" y="6"/>
                    <a:pt x="68" y="6"/>
                    <a:pt x="67" y="6"/>
                  </a:cubicBezTo>
                  <a:cubicBezTo>
                    <a:pt x="69" y="3"/>
                    <a:pt x="71" y="6"/>
                    <a:pt x="73" y="6"/>
                  </a:cubicBezTo>
                  <a:cubicBezTo>
                    <a:pt x="74" y="6"/>
                    <a:pt x="75" y="5"/>
                    <a:pt x="77" y="5"/>
                  </a:cubicBezTo>
                  <a:cubicBezTo>
                    <a:pt x="78" y="5"/>
                    <a:pt x="80" y="6"/>
                    <a:pt x="81" y="6"/>
                  </a:cubicBezTo>
                  <a:cubicBezTo>
                    <a:pt x="83" y="5"/>
                    <a:pt x="85" y="5"/>
                    <a:pt x="86" y="4"/>
                  </a:cubicBezTo>
                  <a:cubicBezTo>
                    <a:pt x="88" y="4"/>
                    <a:pt x="85" y="2"/>
                    <a:pt x="88" y="2"/>
                  </a:cubicBezTo>
                  <a:cubicBezTo>
                    <a:pt x="90" y="2"/>
                    <a:pt x="91" y="1"/>
                    <a:pt x="92" y="1"/>
                  </a:cubicBezTo>
                  <a:cubicBezTo>
                    <a:pt x="94" y="2"/>
                    <a:pt x="95" y="2"/>
                    <a:pt x="97" y="2"/>
                  </a:cubicBezTo>
                  <a:cubicBezTo>
                    <a:pt x="100" y="2"/>
                    <a:pt x="105" y="0"/>
                    <a:pt x="107" y="2"/>
                  </a:cubicBezTo>
                  <a:cubicBezTo>
                    <a:pt x="109" y="3"/>
                    <a:pt x="113" y="1"/>
                    <a:pt x="114" y="3"/>
                  </a:cubicBezTo>
                  <a:cubicBezTo>
                    <a:pt x="115" y="4"/>
                    <a:pt x="114" y="6"/>
                    <a:pt x="116" y="5"/>
                  </a:cubicBezTo>
                  <a:cubicBezTo>
                    <a:pt x="118" y="3"/>
                    <a:pt x="117" y="5"/>
                    <a:pt x="118" y="6"/>
                  </a:cubicBezTo>
                  <a:cubicBezTo>
                    <a:pt x="119" y="6"/>
                    <a:pt x="120" y="6"/>
                    <a:pt x="121" y="7"/>
                  </a:cubicBezTo>
                  <a:cubicBezTo>
                    <a:pt x="122" y="8"/>
                    <a:pt x="122" y="6"/>
                    <a:pt x="124" y="6"/>
                  </a:cubicBezTo>
                  <a:cubicBezTo>
                    <a:pt x="123" y="9"/>
                    <a:pt x="126" y="7"/>
                    <a:pt x="127" y="8"/>
                  </a:cubicBezTo>
                  <a:cubicBezTo>
                    <a:pt x="126" y="9"/>
                    <a:pt x="126" y="9"/>
                    <a:pt x="127" y="11"/>
                  </a:cubicBezTo>
                  <a:cubicBezTo>
                    <a:pt x="126" y="10"/>
                    <a:pt x="125" y="12"/>
                    <a:pt x="124" y="12"/>
                  </a:cubicBezTo>
                  <a:cubicBezTo>
                    <a:pt x="121" y="12"/>
                    <a:pt x="119" y="12"/>
                    <a:pt x="116" y="12"/>
                  </a:cubicBezTo>
                  <a:cubicBezTo>
                    <a:pt x="115" y="12"/>
                    <a:pt x="106" y="12"/>
                    <a:pt x="106" y="14"/>
                  </a:cubicBezTo>
                  <a:cubicBezTo>
                    <a:pt x="106" y="14"/>
                    <a:pt x="105" y="11"/>
                    <a:pt x="105" y="12"/>
                  </a:cubicBezTo>
                  <a:cubicBezTo>
                    <a:pt x="105" y="13"/>
                    <a:pt x="105" y="14"/>
                    <a:pt x="105" y="14"/>
                  </a:cubicBezTo>
                  <a:cubicBezTo>
                    <a:pt x="104" y="14"/>
                    <a:pt x="102" y="13"/>
                    <a:pt x="102" y="14"/>
                  </a:cubicBezTo>
                  <a:cubicBezTo>
                    <a:pt x="102" y="15"/>
                    <a:pt x="102" y="13"/>
                    <a:pt x="102" y="1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93" name="Freeform 744"/>
            <p:cNvSpPr>
              <a:spLocks noEditPoints="1"/>
            </p:cNvSpPr>
            <p:nvPr/>
          </p:nvSpPr>
          <p:spPr bwMode="auto">
            <a:xfrm>
              <a:off x="7264450" y="915566"/>
              <a:ext cx="1108075" cy="1004889"/>
            </a:xfrm>
            <a:custGeom>
              <a:avLst/>
              <a:gdLst>
                <a:gd name="T0" fmla="*/ 2147483646 w 149"/>
                <a:gd name="T1" fmla="*/ 2147483646 h 135"/>
                <a:gd name="T2" fmla="*/ 2147483646 w 149"/>
                <a:gd name="T3" fmla="*/ 2147483646 h 135"/>
                <a:gd name="T4" fmla="*/ 2147483646 w 149"/>
                <a:gd name="T5" fmla="*/ 2147483646 h 135"/>
                <a:gd name="T6" fmla="*/ 2147483646 w 149"/>
                <a:gd name="T7" fmla="*/ 2147483646 h 135"/>
                <a:gd name="T8" fmla="*/ 2147483646 w 149"/>
                <a:gd name="T9" fmla="*/ 2147483646 h 135"/>
                <a:gd name="T10" fmla="*/ 2147483646 w 149"/>
                <a:gd name="T11" fmla="*/ 2147483646 h 135"/>
                <a:gd name="T12" fmla="*/ 2147483646 w 149"/>
                <a:gd name="T13" fmla="*/ 2147483646 h 135"/>
                <a:gd name="T14" fmla="*/ 2147483646 w 149"/>
                <a:gd name="T15" fmla="*/ 2147483646 h 135"/>
                <a:gd name="T16" fmla="*/ 2147483646 w 149"/>
                <a:gd name="T17" fmla="*/ 2147483646 h 135"/>
                <a:gd name="T18" fmla="*/ 0 w 149"/>
                <a:gd name="T19" fmla="*/ 2147483646 h 135"/>
                <a:gd name="T20" fmla="*/ 2147483646 w 149"/>
                <a:gd name="T21" fmla="*/ 2147483646 h 135"/>
                <a:gd name="T22" fmla="*/ 2147483646 w 149"/>
                <a:gd name="T23" fmla="*/ 2147483646 h 135"/>
                <a:gd name="T24" fmla="*/ 2147483646 w 149"/>
                <a:gd name="T25" fmla="*/ 2147483646 h 135"/>
                <a:gd name="T26" fmla="*/ 2147483646 w 149"/>
                <a:gd name="T27" fmla="*/ 2147483646 h 135"/>
                <a:gd name="T28" fmla="*/ 2147483646 w 149"/>
                <a:gd name="T29" fmla="*/ 2147483646 h 135"/>
                <a:gd name="T30" fmla="*/ 2147483646 w 149"/>
                <a:gd name="T31" fmla="*/ 2147483646 h 135"/>
                <a:gd name="T32" fmla="*/ 2147483646 w 149"/>
                <a:gd name="T33" fmla="*/ 2147483646 h 135"/>
                <a:gd name="T34" fmla="*/ 2147483646 w 149"/>
                <a:gd name="T35" fmla="*/ 2147483646 h 135"/>
                <a:gd name="T36" fmla="*/ 2147483646 w 149"/>
                <a:gd name="T37" fmla="*/ 2147483646 h 135"/>
                <a:gd name="T38" fmla="*/ 2147483646 w 149"/>
                <a:gd name="T39" fmla="*/ 2147483646 h 135"/>
                <a:gd name="T40" fmla="*/ 2147483646 w 149"/>
                <a:gd name="T41" fmla="*/ 2147483646 h 135"/>
                <a:gd name="T42" fmla="*/ 2147483646 w 149"/>
                <a:gd name="T43" fmla="*/ 2147483646 h 135"/>
                <a:gd name="T44" fmla="*/ 2147483646 w 149"/>
                <a:gd name="T45" fmla="*/ 2147483646 h 135"/>
                <a:gd name="T46" fmla="*/ 2147483646 w 149"/>
                <a:gd name="T47" fmla="*/ 2147483646 h 135"/>
                <a:gd name="T48" fmla="*/ 2147483646 w 149"/>
                <a:gd name="T49" fmla="*/ 2147483646 h 135"/>
                <a:gd name="T50" fmla="*/ 2147483646 w 149"/>
                <a:gd name="T51" fmla="*/ 2147483646 h 135"/>
                <a:gd name="T52" fmla="*/ 2147483646 w 149"/>
                <a:gd name="T53" fmla="*/ 2147483646 h 135"/>
                <a:gd name="T54" fmla="*/ 2147483646 w 149"/>
                <a:gd name="T55" fmla="*/ 2147483646 h 135"/>
                <a:gd name="T56" fmla="*/ 2147483646 w 149"/>
                <a:gd name="T57" fmla="*/ 2147483646 h 135"/>
                <a:gd name="T58" fmla="*/ 2147483646 w 149"/>
                <a:gd name="T59" fmla="*/ 2147483646 h 135"/>
                <a:gd name="T60" fmla="*/ 2147483646 w 149"/>
                <a:gd name="T61" fmla="*/ 2147483646 h 135"/>
                <a:gd name="T62" fmla="*/ 2147483646 w 149"/>
                <a:gd name="T63" fmla="*/ 2147483646 h 135"/>
                <a:gd name="T64" fmla="*/ 2147483646 w 149"/>
                <a:gd name="T65" fmla="*/ 2147483646 h 135"/>
                <a:gd name="T66" fmla="*/ 2147483646 w 149"/>
                <a:gd name="T67" fmla="*/ 2147483646 h 135"/>
                <a:gd name="T68" fmla="*/ 2147483646 w 149"/>
                <a:gd name="T69" fmla="*/ 2147483646 h 135"/>
                <a:gd name="T70" fmla="*/ 2147483646 w 149"/>
                <a:gd name="T71" fmla="*/ 2147483646 h 135"/>
                <a:gd name="T72" fmla="*/ 2147483646 w 149"/>
                <a:gd name="T73" fmla="*/ 2147483646 h 135"/>
                <a:gd name="T74" fmla="*/ 2147483646 w 149"/>
                <a:gd name="T75" fmla="*/ 2147483646 h 135"/>
                <a:gd name="T76" fmla="*/ 2147483646 w 149"/>
                <a:gd name="T77" fmla="*/ 2147483646 h 135"/>
                <a:gd name="T78" fmla="*/ 2147483646 w 149"/>
                <a:gd name="T79" fmla="*/ 2147483646 h 135"/>
                <a:gd name="T80" fmla="*/ 2147483646 w 149"/>
                <a:gd name="T81" fmla="*/ 2147483646 h 135"/>
                <a:gd name="T82" fmla="*/ 2147483646 w 149"/>
                <a:gd name="T83" fmla="*/ 2147483646 h 135"/>
                <a:gd name="T84" fmla="*/ 2147483646 w 149"/>
                <a:gd name="T85" fmla="*/ 2147483646 h 135"/>
                <a:gd name="T86" fmla="*/ 2147483646 w 149"/>
                <a:gd name="T87" fmla="*/ 2147483646 h 135"/>
                <a:gd name="T88" fmla="*/ 2147483646 w 149"/>
                <a:gd name="T89" fmla="*/ 2147483646 h 135"/>
                <a:gd name="T90" fmla="*/ 2147483646 w 149"/>
                <a:gd name="T91" fmla="*/ 2147483646 h 135"/>
                <a:gd name="T92" fmla="*/ 2147483646 w 149"/>
                <a:gd name="T93" fmla="*/ 2147483646 h 135"/>
                <a:gd name="T94" fmla="*/ 2147483646 w 149"/>
                <a:gd name="T95" fmla="*/ 2147483646 h 135"/>
                <a:gd name="T96" fmla="*/ 2147483646 w 149"/>
                <a:gd name="T97" fmla="*/ 2147483646 h 135"/>
                <a:gd name="T98" fmla="*/ 2147483646 w 149"/>
                <a:gd name="T99" fmla="*/ 2147483646 h 135"/>
                <a:gd name="T100" fmla="*/ 2147483646 w 149"/>
                <a:gd name="T101" fmla="*/ 2147483646 h 135"/>
                <a:gd name="T102" fmla="*/ 2147483646 w 149"/>
                <a:gd name="T103" fmla="*/ 2147483646 h 135"/>
                <a:gd name="T104" fmla="*/ 2147483646 w 149"/>
                <a:gd name="T105" fmla="*/ 2147483646 h 135"/>
                <a:gd name="T106" fmla="*/ 2147483646 w 149"/>
                <a:gd name="T107" fmla="*/ 2147483646 h 135"/>
                <a:gd name="T108" fmla="*/ 2147483646 w 149"/>
                <a:gd name="T109" fmla="*/ 2147483646 h 135"/>
                <a:gd name="T110" fmla="*/ 2147483646 w 149"/>
                <a:gd name="T111" fmla="*/ 2147483646 h 135"/>
                <a:gd name="T112" fmla="*/ 2147483646 w 149"/>
                <a:gd name="T113" fmla="*/ 2147483646 h 135"/>
                <a:gd name="T114" fmla="*/ 2147483646 w 149"/>
                <a:gd name="T115" fmla="*/ 2147483646 h 135"/>
                <a:gd name="T116" fmla="*/ 2147483646 w 149"/>
                <a:gd name="T117" fmla="*/ 2147483646 h 135"/>
                <a:gd name="T118" fmla="*/ 2147483646 w 149"/>
                <a:gd name="T119" fmla="*/ 2147483646 h 135"/>
                <a:gd name="T120" fmla="*/ 2147483646 w 149"/>
                <a:gd name="T121" fmla="*/ 2147483646 h 135"/>
                <a:gd name="T122" fmla="*/ 2147483646 w 149"/>
                <a:gd name="T123" fmla="*/ 2147483646 h 135"/>
                <a:gd name="T124" fmla="*/ 2147483646 w 149"/>
                <a:gd name="T125" fmla="*/ 2147483646 h 13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49" h="135">
                  <a:moveTo>
                    <a:pt x="72" y="135"/>
                  </a:moveTo>
                  <a:cubicBezTo>
                    <a:pt x="71" y="135"/>
                    <a:pt x="70" y="135"/>
                    <a:pt x="69" y="134"/>
                  </a:cubicBezTo>
                  <a:cubicBezTo>
                    <a:pt x="69" y="134"/>
                    <a:pt x="68" y="133"/>
                    <a:pt x="68" y="133"/>
                  </a:cubicBezTo>
                  <a:cubicBezTo>
                    <a:pt x="67" y="133"/>
                    <a:pt x="67" y="133"/>
                    <a:pt x="66" y="133"/>
                  </a:cubicBezTo>
                  <a:cubicBezTo>
                    <a:pt x="66" y="133"/>
                    <a:pt x="66" y="133"/>
                    <a:pt x="66" y="133"/>
                  </a:cubicBezTo>
                  <a:cubicBezTo>
                    <a:pt x="65" y="133"/>
                    <a:pt x="64" y="133"/>
                    <a:pt x="64" y="132"/>
                  </a:cubicBezTo>
                  <a:cubicBezTo>
                    <a:pt x="63" y="132"/>
                    <a:pt x="63" y="131"/>
                    <a:pt x="63" y="131"/>
                  </a:cubicBezTo>
                  <a:cubicBezTo>
                    <a:pt x="63" y="131"/>
                    <a:pt x="63" y="132"/>
                    <a:pt x="63" y="132"/>
                  </a:cubicBezTo>
                  <a:cubicBezTo>
                    <a:pt x="63" y="132"/>
                    <a:pt x="63" y="132"/>
                    <a:pt x="63" y="132"/>
                  </a:cubicBezTo>
                  <a:cubicBezTo>
                    <a:pt x="63" y="132"/>
                    <a:pt x="63" y="132"/>
                    <a:pt x="63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1" y="132"/>
                    <a:pt x="59" y="129"/>
                    <a:pt x="59" y="128"/>
                  </a:cubicBezTo>
                  <a:cubicBezTo>
                    <a:pt x="59" y="128"/>
                    <a:pt x="58" y="127"/>
                    <a:pt x="58" y="126"/>
                  </a:cubicBezTo>
                  <a:cubicBezTo>
                    <a:pt x="57" y="126"/>
                    <a:pt x="57" y="125"/>
                    <a:pt x="57" y="124"/>
                  </a:cubicBezTo>
                  <a:cubicBezTo>
                    <a:pt x="57" y="124"/>
                    <a:pt x="57" y="124"/>
                    <a:pt x="57" y="124"/>
                  </a:cubicBezTo>
                  <a:cubicBezTo>
                    <a:pt x="57" y="123"/>
                    <a:pt x="57" y="123"/>
                    <a:pt x="57" y="123"/>
                  </a:cubicBezTo>
                  <a:cubicBezTo>
                    <a:pt x="56" y="123"/>
                    <a:pt x="56" y="123"/>
                    <a:pt x="55" y="122"/>
                  </a:cubicBezTo>
                  <a:cubicBezTo>
                    <a:pt x="55" y="122"/>
                    <a:pt x="55" y="121"/>
                    <a:pt x="55" y="121"/>
                  </a:cubicBezTo>
                  <a:cubicBezTo>
                    <a:pt x="55" y="121"/>
                    <a:pt x="55" y="121"/>
                    <a:pt x="55" y="121"/>
                  </a:cubicBezTo>
                  <a:cubicBezTo>
                    <a:pt x="55" y="121"/>
                    <a:pt x="54" y="121"/>
                    <a:pt x="54" y="121"/>
                  </a:cubicBezTo>
                  <a:cubicBezTo>
                    <a:pt x="54" y="120"/>
                    <a:pt x="54" y="120"/>
                    <a:pt x="54" y="120"/>
                  </a:cubicBezTo>
                  <a:cubicBezTo>
                    <a:pt x="54" y="119"/>
                    <a:pt x="53" y="119"/>
                    <a:pt x="53" y="119"/>
                  </a:cubicBezTo>
                  <a:cubicBezTo>
                    <a:pt x="53" y="118"/>
                    <a:pt x="53" y="118"/>
                    <a:pt x="53" y="117"/>
                  </a:cubicBezTo>
                  <a:cubicBezTo>
                    <a:pt x="53" y="117"/>
                    <a:pt x="52" y="116"/>
                    <a:pt x="52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1" y="115"/>
                    <a:pt x="51" y="114"/>
                    <a:pt x="50" y="114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49" y="114"/>
                    <a:pt x="49" y="114"/>
                    <a:pt x="49" y="114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9" y="113"/>
                    <a:pt x="49" y="112"/>
                    <a:pt x="50" y="112"/>
                  </a:cubicBezTo>
                  <a:cubicBezTo>
                    <a:pt x="50" y="112"/>
                    <a:pt x="50" y="111"/>
                    <a:pt x="50" y="111"/>
                  </a:cubicBezTo>
                  <a:cubicBezTo>
                    <a:pt x="50" y="111"/>
                    <a:pt x="50" y="111"/>
                    <a:pt x="50" y="111"/>
                  </a:cubicBezTo>
                  <a:cubicBezTo>
                    <a:pt x="50" y="111"/>
                    <a:pt x="50" y="111"/>
                    <a:pt x="50" y="111"/>
                  </a:cubicBezTo>
                  <a:cubicBezTo>
                    <a:pt x="50" y="111"/>
                    <a:pt x="49" y="111"/>
                    <a:pt x="49" y="111"/>
                  </a:cubicBezTo>
                  <a:cubicBezTo>
                    <a:pt x="48" y="110"/>
                    <a:pt x="48" y="110"/>
                    <a:pt x="48" y="107"/>
                  </a:cubicBezTo>
                  <a:cubicBezTo>
                    <a:pt x="48" y="107"/>
                    <a:pt x="48" y="106"/>
                    <a:pt x="48" y="106"/>
                  </a:cubicBezTo>
                  <a:cubicBezTo>
                    <a:pt x="48" y="104"/>
                    <a:pt x="49" y="103"/>
                    <a:pt x="48" y="102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8" y="101"/>
                    <a:pt x="48" y="101"/>
                    <a:pt x="48" y="101"/>
                  </a:cubicBezTo>
                  <a:cubicBezTo>
                    <a:pt x="48" y="100"/>
                    <a:pt x="49" y="100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8"/>
                    <a:pt x="50" y="97"/>
                    <a:pt x="50" y="96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1" y="95"/>
                    <a:pt x="51" y="95"/>
                    <a:pt x="51" y="94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4"/>
                    <a:pt x="52" y="94"/>
                    <a:pt x="52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4" y="94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3" y="93"/>
                    <a:pt x="53" y="92"/>
                  </a:cubicBezTo>
                  <a:cubicBezTo>
                    <a:pt x="53" y="92"/>
                    <a:pt x="53" y="92"/>
                    <a:pt x="54" y="92"/>
                  </a:cubicBezTo>
                  <a:cubicBezTo>
                    <a:pt x="54" y="92"/>
                    <a:pt x="54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0"/>
                    <a:pt x="55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3" y="89"/>
                    <a:pt x="53" y="88"/>
                    <a:pt x="53" y="88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2" y="87"/>
                    <a:pt x="52" y="87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6"/>
                    <a:pt x="51" y="85"/>
                    <a:pt x="52" y="85"/>
                  </a:cubicBezTo>
                  <a:cubicBezTo>
                    <a:pt x="53" y="84"/>
                    <a:pt x="54" y="84"/>
                    <a:pt x="55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3" y="83"/>
                    <a:pt x="53" y="83"/>
                    <a:pt x="53" y="82"/>
                  </a:cubicBezTo>
                  <a:cubicBezTo>
                    <a:pt x="53" y="81"/>
                    <a:pt x="51" y="79"/>
                    <a:pt x="50" y="79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49" y="78"/>
                    <a:pt x="49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4" y="79"/>
                    <a:pt x="43" y="79"/>
                    <a:pt x="43" y="76"/>
                  </a:cubicBezTo>
                  <a:cubicBezTo>
                    <a:pt x="42" y="75"/>
                    <a:pt x="43" y="74"/>
                    <a:pt x="43" y="73"/>
                  </a:cubicBezTo>
                  <a:cubicBezTo>
                    <a:pt x="43" y="71"/>
                    <a:pt x="43" y="71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69"/>
                    <a:pt x="42" y="68"/>
                    <a:pt x="42" y="68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2" y="67"/>
                    <a:pt x="42" y="67"/>
                    <a:pt x="41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41" y="66"/>
                    <a:pt x="41" y="65"/>
                    <a:pt x="41" y="64"/>
                  </a:cubicBezTo>
                  <a:cubicBezTo>
                    <a:pt x="41" y="64"/>
                    <a:pt x="40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8" y="62"/>
                    <a:pt x="38" y="62"/>
                    <a:pt x="38" y="61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7" y="58"/>
                    <a:pt x="37" y="58"/>
                    <a:pt x="37" y="57"/>
                  </a:cubicBezTo>
                  <a:cubicBezTo>
                    <a:pt x="36" y="57"/>
                    <a:pt x="35" y="56"/>
                    <a:pt x="34" y="56"/>
                  </a:cubicBezTo>
                  <a:cubicBezTo>
                    <a:pt x="33" y="56"/>
                    <a:pt x="32" y="55"/>
                    <a:pt x="32" y="55"/>
                  </a:cubicBezTo>
                  <a:cubicBezTo>
                    <a:pt x="30" y="55"/>
                    <a:pt x="29" y="55"/>
                    <a:pt x="28" y="53"/>
                  </a:cubicBezTo>
                  <a:cubicBezTo>
                    <a:pt x="26" y="54"/>
                    <a:pt x="25" y="53"/>
                    <a:pt x="24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2" y="53"/>
                    <a:pt x="21" y="52"/>
                    <a:pt x="20" y="53"/>
                  </a:cubicBezTo>
                  <a:cubicBezTo>
                    <a:pt x="19" y="53"/>
                    <a:pt x="19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7" y="53"/>
                    <a:pt x="17" y="53"/>
                    <a:pt x="16" y="54"/>
                  </a:cubicBezTo>
                  <a:cubicBezTo>
                    <a:pt x="15" y="54"/>
                    <a:pt x="15" y="55"/>
                    <a:pt x="14" y="55"/>
                  </a:cubicBezTo>
                  <a:cubicBezTo>
                    <a:pt x="13" y="55"/>
                    <a:pt x="13" y="54"/>
                    <a:pt x="13" y="54"/>
                  </a:cubicBezTo>
                  <a:cubicBezTo>
                    <a:pt x="12" y="54"/>
                    <a:pt x="12" y="54"/>
                    <a:pt x="11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52"/>
                    <a:pt x="10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1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0" y="49"/>
                    <a:pt x="10" y="49"/>
                    <a:pt x="9" y="49"/>
                  </a:cubicBezTo>
                  <a:cubicBezTo>
                    <a:pt x="9" y="49"/>
                    <a:pt x="8" y="49"/>
                    <a:pt x="8" y="49"/>
                  </a:cubicBezTo>
                  <a:cubicBezTo>
                    <a:pt x="7" y="49"/>
                    <a:pt x="6" y="49"/>
                    <a:pt x="6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5"/>
                    <a:pt x="8" y="45"/>
                    <a:pt x="9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1" y="45"/>
                    <a:pt x="12" y="45"/>
                    <a:pt x="13" y="45"/>
                  </a:cubicBezTo>
                  <a:cubicBezTo>
                    <a:pt x="12" y="44"/>
                    <a:pt x="10" y="44"/>
                    <a:pt x="9" y="45"/>
                  </a:cubicBezTo>
                  <a:cubicBezTo>
                    <a:pt x="8" y="45"/>
                    <a:pt x="7" y="45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4"/>
                    <a:pt x="5" y="43"/>
                    <a:pt x="5" y="43"/>
                  </a:cubicBezTo>
                  <a:cubicBezTo>
                    <a:pt x="5" y="43"/>
                    <a:pt x="5" y="42"/>
                    <a:pt x="4" y="42"/>
                  </a:cubicBezTo>
                  <a:cubicBezTo>
                    <a:pt x="3" y="42"/>
                    <a:pt x="2" y="42"/>
                    <a:pt x="1" y="41"/>
                  </a:cubicBezTo>
                  <a:cubicBezTo>
                    <a:pt x="0" y="41"/>
                    <a:pt x="0" y="40"/>
                    <a:pt x="0" y="39"/>
                  </a:cubicBezTo>
                  <a:cubicBezTo>
                    <a:pt x="0" y="38"/>
                    <a:pt x="4" y="36"/>
                    <a:pt x="5" y="36"/>
                  </a:cubicBezTo>
                  <a:cubicBezTo>
                    <a:pt x="5" y="36"/>
                    <a:pt x="6" y="36"/>
                    <a:pt x="7" y="36"/>
                  </a:cubicBezTo>
                  <a:cubicBezTo>
                    <a:pt x="8" y="36"/>
                    <a:pt x="10" y="36"/>
                    <a:pt x="10" y="35"/>
                  </a:cubicBezTo>
                  <a:cubicBezTo>
                    <a:pt x="11" y="34"/>
                    <a:pt x="13" y="33"/>
                    <a:pt x="15" y="33"/>
                  </a:cubicBezTo>
                  <a:cubicBezTo>
                    <a:pt x="15" y="33"/>
                    <a:pt x="18" y="31"/>
                    <a:pt x="19" y="29"/>
                  </a:cubicBezTo>
                  <a:cubicBezTo>
                    <a:pt x="20" y="29"/>
                    <a:pt x="20" y="28"/>
                    <a:pt x="20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8" y="28"/>
                  </a:cubicBezTo>
                  <a:cubicBezTo>
                    <a:pt x="18" y="28"/>
                    <a:pt x="17" y="28"/>
                    <a:pt x="16" y="28"/>
                  </a:cubicBezTo>
                  <a:cubicBezTo>
                    <a:pt x="16" y="28"/>
                    <a:pt x="14" y="28"/>
                    <a:pt x="14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2" y="26"/>
                    <a:pt x="13" y="26"/>
                  </a:cubicBezTo>
                  <a:cubicBezTo>
                    <a:pt x="13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4"/>
                    <a:pt x="17" y="23"/>
                    <a:pt x="17" y="23"/>
                  </a:cubicBezTo>
                  <a:cubicBezTo>
                    <a:pt x="17" y="23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9" y="23"/>
                  </a:cubicBezTo>
                  <a:cubicBezTo>
                    <a:pt x="19" y="23"/>
                    <a:pt x="19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1"/>
                    <a:pt x="20" y="21"/>
                    <a:pt x="20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0"/>
                    <a:pt x="23" y="19"/>
                    <a:pt x="24" y="19"/>
                  </a:cubicBezTo>
                  <a:cubicBezTo>
                    <a:pt x="25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7"/>
                    <a:pt x="27" y="16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9" y="15"/>
                    <a:pt x="29" y="15"/>
                  </a:cubicBezTo>
                  <a:cubicBezTo>
                    <a:pt x="30" y="15"/>
                    <a:pt x="32" y="16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3" y="12"/>
                    <a:pt x="38" y="12"/>
                    <a:pt x="41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2"/>
                    <a:pt x="42" y="12"/>
                    <a:pt x="43" y="12"/>
                  </a:cubicBezTo>
                  <a:cubicBezTo>
                    <a:pt x="43" y="12"/>
                    <a:pt x="44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cubicBezTo>
                    <a:pt x="47" y="11"/>
                    <a:pt x="48" y="11"/>
                    <a:pt x="50" y="11"/>
                  </a:cubicBezTo>
                  <a:cubicBezTo>
                    <a:pt x="50" y="11"/>
                    <a:pt x="51" y="12"/>
                    <a:pt x="52" y="11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4" y="13"/>
                    <a:pt x="54" y="14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3"/>
                    <a:pt x="55" y="13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2"/>
                    <a:pt x="55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9"/>
                    <a:pt x="56" y="8"/>
                    <a:pt x="58" y="8"/>
                  </a:cubicBezTo>
                  <a:cubicBezTo>
                    <a:pt x="59" y="8"/>
                    <a:pt x="59" y="9"/>
                    <a:pt x="60" y="10"/>
                  </a:cubicBezTo>
                  <a:cubicBezTo>
                    <a:pt x="60" y="10"/>
                    <a:pt x="60" y="10"/>
                    <a:pt x="61" y="10"/>
                  </a:cubicBezTo>
                  <a:cubicBezTo>
                    <a:pt x="62" y="9"/>
                    <a:pt x="62" y="10"/>
                    <a:pt x="63" y="10"/>
                  </a:cubicBezTo>
                  <a:cubicBezTo>
                    <a:pt x="65" y="11"/>
                    <a:pt x="66" y="12"/>
                    <a:pt x="67" y="12"/>
                  </a:cubicBezTo>
                  <a:cubicBezTo>
                    <a:pt x="67" y="11"/>
                    <a:pt x="68" y="11"/>
                    <a:pt x="68" y="11"/>
                  </a:cubicBezTo>
                  <a:cubicBezTo>
                    <a:pt x="67" y="10"/>
                    <a:pt x="66" y="10"/>
                    <a:pt x="65" y="10"/>
                  </a:cubicBezTo>
                  <a:cubicBezTo>
                    <a:pt x="65" y="9"/>
                    <a:pt x="64" y="9"/>
                    <a:pt x="64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7"/>
                    <a:pt x="64" y="7"/>
                    <a:pt x="66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7"/>
                    <a:pt x="67" y="7"/>
                    <a:pt x="68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4"/>
                    <a:pt x="67" y="4"/>
                    <a:pt x="68" y="4"/>
                  </a:cubicBezTo>
                  <a:cubicBezTo>
                    <a:pt x="69" y="4"/>
                    <a:pt x="70" y="4"/>
                    <a:pt x="70" y="5"/>
                  </a:cubicBezTo>
                  <a:cubicBezTo>
                    <a:pt x="71" y="5"/>
                    <a:pt x="71" y="5"/>
                    <a:pt x="72" y="5"/>
                  </a:cubicBezTo>
                  <a:cubicBezTo>
                    <a:pt x="72" y="5"/>
                    <a:pt x="73" y="5"/>
                    <a:pt x="73" y="5"/>
                  </a:cubicBezTo>
                  <a:cubicBezTo>
                    <a:pt x="74" y="5"/>
                    <a:pt x="75" y="4"/>
                    <a:pt x="76" y="5"/>
                  </a:cubicBezTo>
                  <a:cubicBezTo>
                    <a:pt x="76" y="5"/>
                    <a:pt x="77" y="5"/>
                    <a:pt x="77" y="5"/>
                  </a:cubicBezTo>
                  <a:cubicBezTo>
                    <a:pt x="78" y="5"/>
                    <a:pt x="79" y="5"/>
                    <a:pt x="80" y="5"/>
                  </a:cubicBezTo>
                  <a:cubicBezTo>
                    <a:pt x="81" y="5"/>
                    <a:pt x="82" y="5"/>
                    <a:pt x="83" y="4"/>
                  </a:cubicBezTo>
                  <a:cubicBezTo>
                    <a:pt x="84" y="4"/>
                    <a:pt x="84" y="4"/>
                    <a:pt x="85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4"/>
                    <a:pt x="85" y="3"/>
                    <a:pt x="85" y="3"/>
                  </a:cubicBezTo>
                  <a:cubicBezTo>
                    <a:pt x="85" y="3"/>
                    <a:pt x="85" y="2"/>
                    <a:pt x="85" y="2"/>
                  </a:cubicBezTo>
                  <a:cubicBezTo>
                    <a:pt x="86" y="2"/>
                    <a:pt x="86" y="2"/>
                    <a:pt x="87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8" y="2"/>
                    <a:pt x="88" y="1"/>
                    <a:pt x="89" y="1"/>
                  </a:cubicBezTo>
                  <a:cubicBezTo>
                    <a:pt x="90" y="1"/>
                    <a:pt x="91" y="1"/>
                    <a:pt x="92" y="1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3" y="1"/>
                    <a:pt x="95" y="2"/>
                    <a:pt x="96" y="2"/>
                  </a:cubicBezTo>
                  <a:cubicBezTo>
                    <a:pt x="96" y="1"/>
                    <a:pt x="97" y="1"/>
                    <a:pt x="97" y="1"/>
                  </a:cubicBezTo>
                  <a:cubicBezTo>
                    <a:pt x="99" y="1"/>
                    <a:pt x="101" y="0"/>
                    <a:pt x="103" y="0"/>
                  </a:cubicBezTo>
                  <a:cubicBezTo>
                    <a:pt x="104" y="0"/>
                    <a:pt x="106" y="1"/>
                    <a:pt x="106" y="1"/>
                  </a:cubicBezTo>
                  <a:cubicBezTo>
                    <a:pt x="107" y="2"/>
                    <a:pt x="108" y="2"/>
                    <a:pt x="109" y="2"/>
                  </a:cubicBezTo>
                  <a:cubicBezTo>
                    <a:pt x="111" y="2"/>
                    <a:pt x="113" y="2"/>
                    <a:pt x="113" y="3"/>
                  </a:cubicBezTo>
                  <a:cubicBezTo>
                    <a:pt x="114" y="3"/>
                    <a:pt x="114" y="4"/>
                    <a:pt x="114" y="4"/>
                  </a:cubicBezTo>
                  <a:cubicBezTo>
                    <a:pt x="114" y="4"/>
                    <a:pt x="114" y="5"/>
                    <a:pt x="114" y="5"/>
                  </a:cubicBezTo>
                  <a:cubicBezTo>
                    <a:pt x="114" y="5"/>
                    <a:pt x="114" y="5"/>
                    <a:pt x="115" y="4"/>
                  </a:cubicBezTo>
                  <a:cubicBezTo>
                    <a:pt x="116" y="3"/>
                    <a:pt x="117" y="4"/>
                    <a:pt x="1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9" y="6"/>
                    <a:pt x="119" y="6"/>
                    <a:pt x="120" y="7"/>
                  </a:cubicBezTo>
                  <a:cubicBezTo>
                    <a:pt x="120" y="7"/>
                    <a:pt x="120" y="7"/>
                    <a:pt x="121" y="6"/>
                  </a:cubicBezTo>
                  <a:cubicBezTo>
                    <a:pt x="121" y="6"/>
                    <a:pt x="122" y="6"/>
                    <a:pt x="123" y="6"/>
                  </a:cubicBezTo>
                  <a:cubicBezTo>
                    <a:pt x="123" y="6"/>
                    <a:pt x="123" y="6"/>
                    <a:pt x="123" y="6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23" y="7"/>
                    <a:pt x="123" y="7"/>
                    <a:pt x="124" y="7"/>
                  </a:cubicBezTo>
                  <a:cubicBezTo>
                    <a:pt x="124" y="7"/>
                    <a:pt x="124" y="7"/>
                    <a:pt x="125" y="7"/>
                  </a:cubicBezTo>
                  <a:cubicBezTo>
                    <a:pt x="125" y="7"/>
                    <a:pt x="126" y="7"/>
                    <a:pt x="126" y="7"/>
                  </a:cubicBezTo>
                  <a:cubicBezTo>
                    <a:pt x="127" y="8"/>
                    <a:pt x="127" y="8"/>
                    <a:pt x="127" y="8"/>
                  </a:cubicBezTo>
                  <a:cubicBezTo>
                    <a:pt x="127" y="8"/>
                    <a:pt x="127" y="8"/>
                    <a:pt x="127" y="8"/>
                  </a:cubicBezTo>
                  <a:cubicBezTo>
                    <a:pt x="126" y="9"/>
                    <a:pt x="126" y="9"/>
                    <a:pt x="126" y="11"/>
                  </a:cubicBezTo>
                  <a:cubicBezTo>
                    <a:pt x="127" y="13"/>
                    <a:pt x="127" y="13"/>
                    <a:pt x="127" y="13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4" y="12"/>
                    <a:pt x="124" y="12"/>
                    <a:pt x="123" y="12"/>
                  </a:cubicBezTo>
                  <a:cubicBezTo>
                    <a:pt x="121" y="12"/>
                    <a:pt x="118" y="13"/>
                    <a:pt x="116" y="13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15" y="13"/>
                    <a:pt x="114" y="13"/>
                    <a:pt x="114" y="13"/>
                  </a:cubicBezTo>
                  <a:cubicBezTo>
                    <a:pt x="108" y="13"/>
                    <a:pt x="106" y="13"/>
                    <a:pt x="106" y="14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15"/>
                    <a:pt x="105" y="15"/>
                    <a:pt x="106" y="15"/>
                  </a:cubicBezTo>
                  <a:cubicBezTo>
                    <a:pt x="106" y="15"/>
                    <a:pt x="107" y="15"/>
                    <a:pt x="108" y="15"/>
                  </a:cubicBezTo>
                  <a:cubicBezTo>
                    <a:pt x="110" y="14"/>
                    <a:pt x="112" y="13"/>
                    <a:pt x="113" y="13"/>
                  </a:cubicBezTo>
                  <a:cubicBezTo>
                    <a:pt x="114" y="13"/>
                    <a:pt x="115" y="14"/>
                    <a:pt x="116" y="14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6"/>
                    <a:pt x="114" y="16"/>
                    <a:pt x="114" y="16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6"/>
                    <a:pt x="114" y="16"/>
                    <a:pt x="114" y="16"/>
                  </a:cubicBezTo>
                  <a:cubicBezTo>
                    <a:pt x="115" y="17"/>
                    <a:pt x="116" y="16"/>
                    <a:pt x="117" y="15"/>
                  </a:cubicBezTo>
                  <a:cubicBezTo>
                    <a:pt x="118" y="15"/>
                    <a:pt x="119" y="14"/>
                    <a:pt x="120" y="1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1" y="13"/>
                    <a:pt x="124" y="12"/>
                    <a:pt x="124" y="12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125" y="12"/>
                    <a:pt x="126" y="13"/>
                    <a:pt x="126" y="14"/>
                  </a:cubicBezTo>
                  <a:cubicBezTo>
                    <a:pt x="126" y="15"/>
                    <a:pt x="125" y="16"/>
                    <a:pt x="124" y="17"/>
                  </a:cubicBezTo>
                  <a:cubicBezTo>
                    <a:pt x="125" y="17"/>
                    <a:pt x="125" y="17"/>
                    <a:pt x="126" y="17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6"/>
                    <a:pt x="128" y="16"/>
                    <a:pt x="129" y="16"/>
                  </a:cubicBezTo>
                  <a:cubicBezTo>
                    <a:pt x="129" y="16"/>
                    <a:pt x="130" y="16"/>
                    <a:pt x="131" y="16"/>
                  </a:cubicBezTo>
                  <a:cubicBezTo>
                    <a:pt x="131" y="16"/>
                    <a:pt x="132" y="15"/>
                    <a:pt x="132" y="15"/>
                  </a:cubicBezTo>
                  <a:cubicBezTo>
                    <a:pt x="133" y="15"/>
                    <a:pt x="133" y="16"/>
                    <a:pt x="133" y="16"/>
                  </a:cubicBezTo>
                  <a:cubicBezTo>
                    <a:pt x="134" y="15"/>
                    <a:pt x="134" y="15"/>
                    <a:pt x="135" y="14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6" y="14"/>
                    <a:pt x="137" y="14"/>
                    <a:pt x="138" y="14"/>
                  </a:cubicBezTo>
                  <a:cubicBezTo>
                    <a:pt x="139" y="13"/>
                    <a:pt x="140" y="13"/>
                    <a:pt x="140" y="14"/>
                  </a:cubicBezTo>
                  <a:cubicBezTo>
                    <a:pt x="140" y="14"/>
                    <a:pt x="141" y="14"/>
                    <a:pt x="141" y="14"/>
                  </a:cubicBezTo>
                  <a:cubicBezTo>
                    <a:pt x="142" y="14"/>
                    <a:pt x="142" y="14"/>
                    <a:pt x="143" y="14"/>
                  </a:cubicBezTo>
                  <a:cubicBezTo>
                    <a:pt x="144" y="14"/>
                    <a:pt x="146" y="14"/>
                    <a:pt x="147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8" y="15"/>
                    <a:pt x="149" y="16"/>
                    <a:pt x="149" y="16"/>
                  </a:cubicBezTo>
                  <a:cubicBezTo>
                    <a:pt x="149" y="17"/>
                    <a:pt x="149" y="17"/>
                    <a:pt x="149" y="18"/>
                  </a:cubicBezTo>
                  <a:cubicBezTo>
                    <a:pt x="148" y="18"/>
                    <a:pt x="148" y="18"/>
                    <a:pt x="147" y="18"/>
                  </a:cubicBezTo>
                  <a:cubicBezTo>
                    <a:pt x="147" y="19"/>
                    <a:pt x="146" y="19"/>
                    <a:pt x="146" y="20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4" y="20"/>
                    <a:pt x="143" y="20"/>
                    <a:pt x="143" y="21"/>
                  </a:cubicBezTo>
                  <a:cubicBezTo>
                    <a:pt x="142" y="22"/>
                    <a:pt x="141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39" y="23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39" y="26"/>
                    <a:pt x="138" y="26"/>
                    <a:pt x="137" y="27"/>
                  </a:cubicBezTo>
                  <a:cubicBezTo>
                    <a:pt x="137" y="27"/>
                    <a:pt x="137" y="27"/>
                    <a:pt x="137" y="27"/>
                  </a:cubicBezTo>
                  <a:cubicBezTo>
                    <a:pt x="136" y="27"/>
                    <a:pt x="136" y="28"/>
                    <a:pt x="135" y="28"/>
                  </a:cubicBezTo>
                  <a:cubicBezTo>
                    <a:pt x="135" y="29"/>
                    <a:pt x="135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3" y="31"/>
                    <a:pt x="133" y="31"/>
                    <a:pt x="133" y="32"/>
                  </a:cubicBezTo>
                  <a:cubicBezTo>
                    <a:pt x="132" y="33"/>
                    <a:pt x="132" y="34"/>
                    <a:pt x="131" y="35"/>
                  </a:cubicBezTo>
                  <a:cubicBezTo>
                    <a:pt x="130" y="35"/>
                    <a:pt x="130" y="35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8"/>
                    <a:pt x="129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9"/>
                    <a:pt x="129" y="40"/>
                    <a:pt x="129" y="40"/>
                  </a:cubicBezTo>
                  <a:cubicBezTo>
                    <a:pt x="129" y="40"/>
                    <a:pt x="129" y="41"/>
                    <a:pt x="130" y="41"/>
                  </a:cubicBezTo>
                  <a:cubicBezTo>
                    <a:pt x="130" y="41"/>
                    <a:pt x="131" y="41"/>
                    <a:pt x="131" y="41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3"/>
                    <a:pt x="132" y="43"/>
                    <a:pt x="132" y="43"/>
                  </a:cubicBezTo>
                  <a:cubicBezTo>
                    <a:pt x="133" y="44"/>
                    <a:pt x="134" y="44"/>
                    <a:pt x="133" y="47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2" y="47"/>
                    <a:pt x="131" y="48"/>
                    <a:pt x="130" y="48"/>
                  </a:cubicBezTo>
                  <a:cubicBezTo>
                    <a:pt x="129" y="48"/>
                    <a:pt x="129" y="48"/>
                    <a:pt x="128" y="48"/>
                  </a:cubicBezTo>
                  <a:cubicBezTo>
                    <a:pt x="129" y="49"/>
                    <a:pt x="130" y="50"/>
                    <a:pt x="131" y="51"/>
                  </a:cubicBezTo>
                  <a:cubicBezTo>
                    <a:pt x="131" y="51"/>
                    <a:pt x="132" y="51"/>
                    <a:pt x="133" y="51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2"/>
                    <a:pt x="133" y="52"/>
                    <a:pt x="134" y="52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5" y="54"/>
                    <a:pt x="134" y="55"/>
                    <a:pt x="133" y="56"/>
                  </a:cubicBezTo>
                  <a:cubicBezTo>
                    <a:pt x="132" y="57"/>
                    <a:pt x="132" y="57"/>
                    <a:pt x="132" y="58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33" y="59"/>
                    <a:pt x="133" y="60"/>
                    <a:pt x="133" y="61"/>
                  </a:cubicBezTo>
                  <a:cubicBezTo>
                    <a:pt x="133" y="62"/>
                    <a:pt x="131" y="63"/>
                    <a:pt x="130" y="62"/>
                  </a:cubicBezTo>
                  <a:cubicBezTo>
                    <a:pt x="129" y="61"/>
                    <a:pt x="128" y="63"/>
                    <a:pt x="128" y="64"/>
                  </a:cubicBezTo>
                  <a:cubicBezTo>
                    <a:pt x="128" y="64"/>
                    <a:pt x="128" y="65"/>
                    <a:pt x="129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29" y="66"/>
                    <a:pt x="125" y="68"/>
                    <a:pt x="123" y="69"/>
                  </a:cubicBezTo>
                  <a:cubicBezTo>
                    <a:pt x="123" y="69"/>
                    <a:pt x="124" y="69"/>
                    <a:pt x="124" y="69"/>
                  </a:cubicBezTo>
                  <a:cubicBezTo>
                    <a:pt x="124" y="69"/>
                    <a:pt x="124" y="70"/>
                    <a:pt x="124" y="70"/>
                  </a:cubicBezTo>
                  <a:cubicBezTo>
                    <a:pt x="125" y="70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6" y="71"/>
                    <a:pt x="126" y="71"/>
                    <a:pt x="126" y="71"/>
                  </a:cubicBezTo>
                  <a:cubicBezTo>
                    <a:pt x="126" y="71"/>
                    <a:pt x="126" y="71"/>
                    <a:pt x="126" y="71"/>
                  </a:cubicBezTo>
                  <a:cubicBezTo>
                    <a:pt x="127" y="72"/>
                    <a:pt x="126" y="73"/>
                    <a:pt x="126" y="73"/>
                  </a:cubicBezTo>
                  <a:cubicBezTo>
                    <a:pt x="125" y="73"/>
                    <a:pt x="125" y="74"/>
                    <a:pt x="125" y="74"/>
                  </a:cubicBezTo>
                  <a:cubicBezTo>
                    <a:pt x="125" y="74"/>
                    <a:pt x="125" y="74"/>
                    <a:pt x="125" y="75"/>
                  </a:cubicBezTo>
                  <a:cubicBezTo>
                    <a:pt x="125" y="76"/>
                    <a:pt x="125" y="77"/>
                    <a:pt x="125" y="77"/>
                  </a:cubicBezTo>
                  <a:cubicBezTo>
                    <a:pt x="125" y="78"/>
                    <a:pt x="126" y="79"/>
                    <a:pt x="127" y="79"/>
                  </a:cubicBezTo>
                  <a:cubicBezTo>
                    <a:pt x="128" y="80"/>
                    <a:pt x="130" y="80"/>
                    <a:pt x="130" y="82"/>
                  </a:cubicBezTo>
                  <a:cubicBezTo>
                    <a:pt x="130" y="83"/>
                    <a:pt x="130" y="83"/>
                    <a:pt x="130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8" y="83"/>
                    <a:pt x="128" y="83"/>
                  </a:cubicBezTo>
                  <a:cubicBezTo>
                    <a:pt x="128" y="83"/>
                    <a:pt x="127" y="83"/>
                    <a:pt x="127" y="83"/>
                  </a:cubicBezTo>
                  <a:cubicBezTo>
                    <a:pt x="127" y="83"/>
                    <a:pt x="126" y="84"/>
                    <a:pt x="126" y="84"/>
                  </a:cubicBezTo>
                  <a:cubicBezTo>
                    <a:pt x="125" y="84"/>
                    <a:pt x="125" y="85"/>
                    <a:pt x="124" y="85"/>
                  </a:cubicBezTo>
                  <a:cubicBezTo>
                    <a:pt x="123" y="85"/>
                    <a:pt x="123" y="85"/>
                    <a:pt x="122" y="84"/>
                  </a:cubicBezTo>
                  <a:cubicBezTo>
                    <a:pt x="122" y="84"/>
                    <a:pt x="122" y="84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1" y="83"/>
                    <a:pt x="121" y="83"/>
                    <a:pt x="120" y="83"/>
                  </a:cubicBezTo>
                  <a:cubicBezTo>
                    <a:pt x="120" y="83"/>
                    <a:pt x="119" y="83"/>
                    <a:pt x="119" y="82"/>
                  </a:cubicBezTo>
                  <a:cubicBezTo>
                    <a:pt x="119" y="82"/>
                    <a:pt x="119" y="82"/>
                    <a:pt x="119" y="81"/>
                  </a:cubicBezTo>
                  <a:cubicBezTo>
                    <a:pt x="119" y="81"/>
                    <a:pt x="118" y="82"/>
                    <a:pt x="118" y="82"/>
                  </a:cubicBezTo>
                  <a:cubicBezTo>
                    <a:pt x="118" y="82"/>
                    <a:pt x="117" y="82"/>
                    <a:pt x="117" y="82"/>
                  </a:cubicBezTo>
                  <a:cubicBezTo>
                    <a:pt x="117" y="82"/>
                    <a:pt x="117" y="83"/>
                    <a:pt x="117" y="83"/>
                  </a:cubicBezTo>
                  <a:cubicBezTo>
                    <a:pt x="117" y="83"/>
                    <a:pt x="117" y="83"/>
                    <a:pt x="117" y="83"/>
                  </a:cubicBezTo>
                  <a:cubicBezTo>
                    <a:pt x="117" y="83"/>
                    <a:pt x="117" y="83"/>
                    <a:pt x="117" y="83"/>
                  </a:cubicBezTo>
                  <a:cubicBezTo>
                    <a:pt x="117" y="84"/>
                    <a:pt x="118" y="84"/>
                    <a:pt x="118" y="84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9" y="85"/>
                    <a:pt x="121" y="85"/>
                    <a:pt x="123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3" y="90"/>
                    <a:pt x="120" y="94"/>
                    <a:pt x="115" y="93"/>
                  </a:cubicBezTo>
                  <a:cubicBezTo>
                    <a:pt x="115" y="93"/>
                    <a:pt x="115" y="93"/>
                    <a:pt x="115" y="93"/>
                  </a:cubicBezTo>
                  <a:cubicBezTo>
                    <a:pt x="114" y="93"/>
                    <a:pt x="109" y="94"/>
                    <a:pt x="108" y="94"/>
                  </a:cubicBezTo>
                  <a:cubicBezTo>
                    <a:pt x="108" y="95"/>
                    <a:pt x="108" y="96"/>
                    <a:pt x="107" y="96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7" y="97"/>
                    <a:pt x="106" y="98"/>
                    <a:pt x="104" y="98"/>
                  </a:cubicBezTo>
                  <a:cubicBezTo>
                    <a:pt x="104" y="98"/>
                    <a:pt x="103" y="97"/>
                    <a:pt x="102" y="97"/>
                  </a:cubicBezTo>
                  <a:cubicBezTo>
                    <a:pt x="102" y="97"/>
                    <a:pt x="102" y="97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1" y="98"/>
                    <a:pt x="101" y="99"/>
                    <a:pt x="101" y="99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99"/>
                    <a:pt x="99" y="99"/>
                    <a:pt x="99" y="99"/>
                  </a:cubicBezTo>
                  <a:cubicBezTo>
                    <a:pt x="99" y="99"/>
                    <a:pt x="99" y="99"/>
                    <a:pt x="99" y="99"/>
                  </a:cubicBezTo>
                  <a:cubicBezTo>
                    <a:pt x="100" y="100"/>
                    <a:pt x="100" y="101"/>
                    <a:pt x="100" y="102"/>
                  </a:cubicBezTo>
                  <a:cubicBezTo>
                    <a:pt x="99" y="102"/>
                    <a:pt x="99" y="102"/>
                    <a:pt x="98" y="102"/>
                  </a:cubicBezTo>
                  <a:cubicBezTo>
                    <a:pt x="98" y="104"/>
                    <a:pt x="98" y="104"/>
                    <a:pt x="98" y="104"/>
                  </a:cubicBezTo>
                  <a:cubicBezTo>
                    <a:pt x="97" y="104"/>
                    <a:pt x="97" y="104"/>
                    <a:pt x="97" y="104"/>
                  </a:cubicBezTo>
                  <a:cubicBezTo>
                    <a:pt x="97" y="104"/>
                    <a:pt x="97" y="104"/>
                    <a:pt x="96" y="105"/>
                  </a:cubicBezTo>
                  <a:cubicBezTo>
                    <a:pt x="96" y="105"/>
                    <a:pt x="96" y="106"/>
                    <a:pt x="95" y="106"/>
                  </a:cubicBezTo>
                  <a:cubicBezTo>
                    <a:pt x="94" y="106"/>
                    <a:pt x="94" y="106"/>
                    <a:pt x="93" y="107"/>
                  </a:cubicBezTo>
                  <a:cubicBezTo>
                    <a:pt x="93" y="107"/>
                    <a:pt x="92" y="108"/>
                    <a:pt x="91" y="108"/>
                  </a:cubicBezTo>
                  <a:cubicBezTo>
                    <a:pt x="91" y="108"/>
                    <a:pt x="90" y="108"/>
                    <a:pt x="89" y="108"/>
                  </a:cubicBezTo>
                  <a:cubicBezTo>
                    <a:pt x="87" y="108"/>
                    <a:pt x="84" y="108"/>
                    <a:pt x="84" y="109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3" y="110"/>
                    <a:pt x="82" y="112"/>
                    <a:pt x="82" y="112"/>
                  </a:cubicBezTo>
                  <a:cubicBezTo>
                    <a:pt x="82" y="112"/>
                    <a:pt x="82" y="113"/>
                    <a:pt x="82" y="113"/>
                  </a:cubicBezTo>
                  <a:cubicBezTo>
                    <a:pt x="82" y="114"/>
                    <a:pt x="82" y="114"/>
                    <a:pt x="82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5"/>
                    <a:pt x="81" y="115"/>
                    <a:pt x="81" y="115"/>
                  </a:cubicBezTo>
                  <a:cubicBezTo>
                    <a:pt x="81" y="115"/>
                    <a:pt x="81" y="115"/>
                    <a:pt x="81" y="115"/>
                  </a:cubicBezTo>
                  <a:cubicBezTo>
                    <a:pt x="81" y="115"/>
                    <a:pt x="80" y="116"/>
                    <a:pt x="80" y="116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8"/>
                    <a:pt x="80" y="119"/>
                    <a:pt x="79" y="119"/>
                  </a:cubicBezTo>
                  <a:cubicBezTo>
                    <a:pt x="78" y="119"/>
                    <a:pt x="78" y="120"/>
                    <a:pt x="78" y="121"/>
                  </a:cubicBezTo>
                  <a:cubicBezTo>
                    <a:pt x="78" y="121"/>
                    <a:pt x="78" y="122"/>
                    <a:pt x="77" y="122"/>
                  </a:cubicBezTo>
                  <a:cubicBezTo>
                    <a:pt x="77" y="123"/>
                    <a:pt x="77" y="123"/>
                    <a:pt x="77" y="123"/>
                  </a:cubicBezTo>
                  <a:cubicBezTo>
                    <a:pt x="77" y="124"/>
                    <a:pt x="77" y="125"/>
                    <a:pt x="77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6"/>
                    <a:pt x="76" y="126"/>
                    <a:pt x="76" y="127"/>
                  </a:cubicBezTo>
                  <a:cubicBezTo>
                    <a:pt x="76" y="127"/>
                    <a:pt x="76" y="128"/>
                    <a:pt x="76" y="128"/>
                  </a:cubicBezTo>
                  <a:cubicBezTo>
                    <a:pt x="76" y="128"/>
                    <a:pt x="76" y="128"/>
                    <a:pt x="76" y="129"/>
                  </a:cubicBezTo>
                  <a:cubicBezTo>
                    <a:pt x="76" y="131"/>
                    <a:pt x="75" y="133"/>
                    <a:pt x="73" y="135"/>
                  </a:cubicBezTo>
                  <a:cubicBezTo>
                    <a:pt x="73" y="135"/>
                    <a:pt x="72" y="135"/>
                    <a:pt x="72" y="135"/>
                  </a:cubicBezTo>
                  <a:close/>
                  <a:moveTo>
                    <a:pt x="68" y="131"/>
                  </a:moveTo>
                  <a:cubicBezTo>
                    <a:pt x="68" y="132"/>
                    <a:pt x="68" y="132"/>
                    <a:pt x="68" y="132"/>
                  </a:cubicBezTo>
                  <a:cubicBezTo>
                    <a:pt x="69" y="132"/>
                    <a:pt x="69" y="133"/>
                    <a:pt x="70" y="133"/>
                  </a:cubicBezTo>
                  <a:cubicBezTo>
                    <a:pt x="71" y="134"/>
                    <a:pt x="72" y="135"/>
                    <a:pt x="72" y="134"/>
                  </a:cubicBezTo>
                  <a:cubicBezTo>
                    <a:pt x="74" y="132"/>
                    <a:pt x="75" y="131"/>
                    <a:pt x="75" y="129"/>
                  </a:cubicBezTo>
                  <a:cubicBezTo>
                    <a:pt x="74" y="128"/>
                    <a:pt x="75" y="128"/>
                    <a:pt x="75" y="127"/>
                  </a:cubicBezTo>
                  <a:cubicBezTo>
                    <a:pt x="75" y="127"/>
                    <a:pt x="75" y="127"/>
                    <a:pt x="75" y="127"/>
                  </a:cubicBezTo>
                  <a:cubicBezTo>
                    <a:pt x="75" y="127"/>
                    <a:pt x="75" y="126"/>
                    <a:pt x="75" y="126"/>
                  </a:cubicBezTo>
                  <a:cubicBezTo>
                    <a:pt x="75" y="126"/>
                    <a:pt x="74" y="125"/>
                    <a:pt x="74" y="12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6" y="124"/>
                    <a:pt x="76" y="124"/>
                    <a:pt x="76" y="124"/>
                  </a:cubicBezTo>
                  <a:cubicBezTo>
                    <a:pt x="76" y="123"/>
                    <a:pt x="76" y="122"/>
                    <a:pt x="76" y="121"/>
                  </a:cubicBezTo>
                  <a:cubicBezTo>
                    <a:pt x="77" y="121"/>
                    <a:pt x="77" y="121"/>
                    <a:pt x="77" y="121"/>
                  </a:cubicBezTo>
                  <a:cubicBezTo>
                    <a:pt x="77" y="120"/>
                    <a:pt x="77" y="118"/>
                    <a:pt x="78" y="118"/>
                  </a:cubicBezTo>
                  <a:cubicBezTo>
                    <a:pt x="79" y="118"/>
                    <a:pt x="79" y="118"/>
                    <a:pt x="79" y="117"/>
                  </a:cubicBezTo>
                  <a:cubicBezTo>
                    <a:pt x="79" y="117"/>
                    <a:pt x="79" y="116"/>
                    <a:pt x="79" y="116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116"/>
                    <a:pt x="79" y="115"/>
                    <a:pt x="80" y="114"/>
                  </a:cubicBezTo>
                  <a:cubicBezTo>
                    <a:pt x="80" y="114"/>
                    <a:pt x="79" y="114"/>
                    <a:pt x="79" y="113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80" y="112"/>
                    <a:pt x="80" y="112"/>
                    <a:pt x="80" y="112"/>
                  </a:cubicBezTo>
                  <a:cubicBezTo>
                    <a:pt x="80" y="112"/>
                    <a:pt x="80" y="112"/>
                    <a:pt x="80" y="112"/>
                  </a:cubicBezTo>
                  <a:cubicBezTo>
                    <a:pt x="80" y="112"/>
                    <a:pt x="80" y="112"/>
                    <a:pt x="80" y="111"/>
                  </a:cubicBezTo>
                  <a:cubicBezTo>
                    <a:pt x="81" y="110"/>
                    <a:pt x="81" y="110"/>
                    <a:pt x="81" y="110"/>
                  </a:cubicBezTo>
                  <a:cubicBezTo>
                    <a:pt x="81" y="111"/>
                    <a:pt x="81" y="111"/>
                    <a:pt x="81" y="111"/>
                  </a:cubicBezTo>
                  <a:cubicBezTo>
                    <a:pt x="82" y="111"/>
                    <a:pt x="82" y="109"/>
                    <a:pt x="83" y="109"/>
                  </a:cubicBezTo>
                  <a:cubicBezTo>
                    <a:pt x="83" y="109"/>
                    <a:pt x="83" y="108"/>
                    <a:pt x="83" y="108"/>
                  </a:cubicBezTo>
                  <a:cubicBezTo>
                    <a:pt x="84" y="107"/>
                    <a:pt x="86" y="107"/>
                    <a:pt x="89" y="107"/>
                  </a:cubicBezTo>
                  <a:cubicBezTo>
                    <a:pt x="90" y="107"/>
                    <a:pt x="91" y="107"/>
                    <a:pt x="91" y="107"/>
                  </a:cubicBezTo>
                  <a:cubicBezTo>
                    <a:pt x="92" y="107"/>
                    <a:pt x="92" y="106"/>
                    <a:pt x="92" y="106"/>
                  </a:cubicBezTo>
                  <a:cubicBezTo>
                    <a:pt x="93" y="106"/>
                    <a:pt x="93" y="105"/>
                    <a:pt x="95" y="105"/>
                  </a:cubicBezTo>
                  <a:cubicBezTo>
                    <a:pt x="95" y="105"/>
                    <a:pt x="95" y="104"/>
                    <a:pt x="96" y="104"/>
                  </a:cubicBezTo>
                  <a:cubicBezTo>
                    <a:pt x="96" y="104"/>
                    <a:pt x="96" y="103"/>
                    <a:pt x="97" y="103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98" y="101"/>
                    <a:pt x="98" y="101"/>
                    <a:pt x="98" y="101"/>
                  </a:cubicBezTo>
                  <a:cubicBezTo>
                    <a:pt x="98" y="101"/>
                    <a:pt x="99" y="101"/>
                    <a:pt x="99" y="101"/>
                  </a:cubicBezTo>
                  <a:cubicBezTo>
                    <a:pt x="99" y="101"/>
                    <a:pt x="99" y="101"/>
                    <a:pt x="98" y="100"/>
                  </a:cubicBezTo>
                  <a:cubicBezTo>
                    <a:pt x="98" y="100"/>
                    <a:pt x="98" y="99"/>
                    <a:pt x="98" y="99"/>
                  </a:cubicBezTo>
                  <a:cubicBezTo>
                    <a:pt x="98" y="98"/>
                    <a:pt x="98" y="98"/>
                    <a:pt x="99" y="98"/>
                  </a:cubicBezTo>
                  <a:cubicBezTo>
                    <a:pt x="99" y="98"/>
                    <a:pt x="100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100" y="97"/>
                    <a:pt x="100" y="97"/>
                    <a:pt x="100" y="96"/>
                  </a:cubicBezTo>
                  <a:cubicBezTo>
                    <a:pt x="100" y="95"/>
                    <a:pt x="101" y="95"/>
                    <a:pt x="102" y="95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4" y="97"/>
                    <a:pt x="105" y="97"/>
                    <a:pt x="105" y="96"/>
                  </a:cubicBezTo>
                  <a:cubicBezTo>
                    <a:pt x="105" y="96"/>
                    <a:pt x="105" y="96"/>
                    <a:pt x="105" y="96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6" y="95"/>
                    <a:pt x="106" y="95"/>
                    <a:pt x="107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95"/>
                    <a:pt x="107" y="95"/>
                    <a:pt x="107" y="94"/>
                  </a:cubicBezTo>
                  <a:cubicBezTo>
                    <a:pt x="107" y="93"/>
                    <a:pt x="115" y="92"/>
                    <a:pt x="115" y="92"/>
                  </a:cubicBezTo>
                  <a:cubicBezTo>
                    <a:pt x="116" y="92"/>
                    <a:pt x="116" y="92"/>
                    <a:pt x="116" y="92"/>
                  </a:cubicBezTo>
                  <a:cubicBezTo>
                    <a:pt x="119" y="92"/>
                    <a:pt x="121" y="89"/>
                    <a:pt x="123" y="87"/>
                  </a:cubicBezTo>
                  <a:cubicBezTo>
                    <a:pt x="122" y="87"/>
                    <a:pt x="116" y="86"/>
                    <a:pt x="116" y="85"/>
                  </a:cubicBezTo>
                  <a:cubicBezTo>
                    <a:pt x="115" y="84"/>
                    <a:pt x="115" y="84"/>
                    <a:pt x="115" y="84"/>
                  </a:cubicBezTo>
                  <a:cubicBezTo>
                    <a:pt x="115" y="84"/>
                    <a:pt x="115" y="84"/>
                    <a:pt x="115" y="84"/>
                  </a:cubicBezTo>
                  <a:cubicBezTo>
                    <a:pt x="115" y="84"/>
                    <a:pt x="115" y="83"/>
                    <a:pt x="115" y="83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6" y="82"/>
                    <a:pt x="116" y="82"/>
                    <a:pt x="116" y="82"/>
                  </a:cubicBezTo>
                  <a:cubicBezTo>
                    <a:pt x="116" y="82"/>
                    <a:pt x="116" y="82"/>
                    <a:pt x="116" y="82"/>
                  </a:cubicBezTo>
                  <a:cubicBezTo>
                    <a:pt x="116" y="82"/>
                    <a:pt x="116" y="82"/>
                    <a:pt x="116" y="82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6" y="81"/>
                    <a:pt x="116" y="81"/>
                    <a:pt x="116" y="81"/>
                  </a:cubicBezTo>
                  <a:cubicBezTo>
                    <a:pt x="117" y="81"/>
                    <a:pt x="117" y="81"/>
                    <a:pt x="118" y="81"/>
                  </a:cubicBezTo>
                  <a:cubicBezTo>
                    <a:pt x="118" y="80"/>
                    <a:pt x="119" y="80"/>
                    <a:pt x="12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0" y="81"/>
                    <a:pt x="120" y="82"/>
                    <a:pt x="120" y="82"/>
                  </a:cubicBezTo>
                  <a:cubicBezTo>
                    <a:pt x="120" y="82"/>
                    <a:pt x="121" y="82"/>
                    <a:pt x="121" y="82"/>
                  </a:cubicBezTo>
                  <a:cubicBezTo>
                    <a:pt x="121" y="82"/>
                    <a:pt x="122" y="82"/>
                    <a:pt x="122" y="82"/>
                  </a:cubicBezTo>
                  <a:cubicBezTo>
                    <a:pt x="122" y="83"/>
                    <a:pt x="122" y="83"/>
                    <a:pt x="122" y="83"/>
                  </a:cubicBezTo>
                  <a:cubicBezTo>
                    <a:pt x="122" y="83"/>
                    <a:pt x="122" y="83"/>
                    <a:pt x="122" y="83"/>
                  </a:cubicBezTo>
                  <a:cubicBezTo>
                    <a:pt x="123" y="83"/>
                    <a:pt x="124" y="84"/>
                    <a:pt x="125" y="83"/>
                  </a:cubicBezTo>
                  <a:cubicBezTo>
                    <a:pt x="126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7" y="8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9" y="82"/>
                  </a:cubicBezTo>
                  <a:cubicBezTo>
                    <a:pt x="128" y="81"/>
                    <a:pt x="127" y="81"/>
                    <a:pt x="126" y="80"/>
                  </a:cubicBezTo>
                  <a:cubicBezTo>
                    <a:pt x="125" y="80"/>
                    <a:pt x="124" y="79"/>
                    <a:pt x="123" y="77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4" y="77"/>
                    <a:pt x="124" y="77"/>
                    <a:pt x="124" y="77"/>
                  </a:cubicBezTo>
                  <a:cubicBezTo>
                    <a:pt x="124" y="76"/>
                    <a:pt x="124" y="76"/>
                    <a:pt x="124" y="75"/>
                  </a:cubicBezTo>
                  <a:cubicBezTo>
                    <a:pt x="124" y="74"/>
                    <a:pt x="124" y="74"/>
                    <a:pt x="124" y="73"/>
                  </a:cubicBezTo>
                  <a:cubicBezTo>
                    <a:pt x="124" y="73"/>
                    <a:pt x="125" y="72"/>
                    <a:pt x="125" y="72"/>
                  </a:cubicBezTo>
                  <a:cubicBezTo>
                    <a:pt x="125" y="72"/>
                    <a:pt x="125" y="72"/>
                    <a:pt x="125" y="72"/>
                  </a:cubicBezTo>
                  <a:cubicBezTo>
                    <a:pt x="124" y="72"/>
                    <a:pt x="124" y="71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2" y="70"/>
                  </a:cubicBezTo>
                  <a:cubicBezTo>
                    <a:pt x="122" y="70"/>
                    <a:pt x="121" y="70"/>
                    <a:pt x="121" y="68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2" y="68"/>
                    <a:pt x="126" y="66"/>
                    <a:pt x="128" y="65"/>
                  </a:cubicBezTo>
                  <a:cubicBezTo>
                    <a:pt x="127" y="65"/>
                    <a:pt x="127" y="64"/>
                    <a:pt x="127" y="63"/>
                  </a:cubicBezTo>
                  <a:cubicBezTo>
                    <a:pt x="127" y="62"/>
                    <a:pt x="128" y="61"/>
                    <a:pt x="130" y="61"/>
                  </a:cubicBezTo>
                  <a:cubicBezTo>
                    <a:pt x="130" y="61"/>
                    <a:pt x="131" y="61"/>
                    <a:pt x="131" y="61"/>
                  </a:cubicBezTo>
                  <a:cubicBezTo>
                    <a:pt x="131" y="61"/>
                    <a:pt x="132" y="61"/>
                    <a:pt x="132" y="60"/>
                  </a:cubicBezTo>
                  <a:cubicBezTo>
                    <a:pt x="132" y="60"/>
                    <a:pt x="132" y="59"/>
                    <a:pt x="131" y="59"/>
                  </a:cubicBezTo>
                  <a:cubicBezTo>
                    <a:pt x="131" y="59"/>
                    <a:pt x="131" y="58"/>
                    <a:pt x="131" y="58"/>
                  </a:cubicBezTo>
                  <a:cubicBezTo>
                    <a:pt x="130" y="57"/>
                    <a:pt x="131" y="56"/>
                    <a:pt x="132" y="55"/>
                  </a:cubicBezTo>
                  <a:cubicBezTo>
                    <a:pt x="133" y="55"/>
                    <a:pt x="133" y="54"/>
                    <a:pt x="134" y="54"/>
                  </a:cubicBezTo>
                  <a:cubicBezTo>
                    <a:pt x="133" y="53"/>
                    <a:pt x="133" y="53"/>
                    <a:pt x="133" y="53"/>
                  </a:cubicBezTo>
                  <a:cubicBezTo>
                    <a:pt x="132" y="53"/>
                    <a:pt x="132" y="53"/>
                    <a:pt x="132" y="52"/>
                  </a:cubicBezTo>
                  <a:cubicBezTo>
                    <a:pt x="132" y="52"/>
                    <a:pt x="131" y="52"/>
                    <a:pt x="130" y="52"/>
                  </a:cubicBezTo>
                  <a:cubicBezTo>
                    <a:pt x="129" y="51"/>
                    <a:pt x="128" y="50"/>
                    <a:pt x="127" y="49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8" y="47"/>
                    <a:pt x="129" y="47"/>
                    <a:pt x="130" y="47"/>
                  </a:cubicBezTo>
                  <a:cubicBezTo>
                    <a:pt x="131" y="46"/>
                    <a:pt x="132" y="46"/>
                    <a:pt x="132" y="46"/>
                  </a:cubicBezTo>
                  <a:cubicBezTo>
                    <a:pt x="132" y="45"/>
                    <a:pt x="132" y="45"/>
                    <a:pt x="131" y="44"/>
                  </a:cubicBezTo>
                  <a:cubicBezTo>
                    <a:pt x="131" y="44"/>
                    <a:pt x="130" y="44"/>
                    <a:pt x="130" y="43"/>
                  </a:cubicBezTo>
                  <a:cubicBezTo>
                    <a:pt x="130" y="43"/>
                    <a:pt x="130" y="42"/>
                    <a:pt x="130" y="42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29" y="42"/>
                    <a:pt x="129" y="42"/>
                    <a:pt x="128" y="41"/>
                  </a:cubicBezTo>
                  <a:cubicBezTo>
                    <a:pt x="128" y="41"/>
                    <a:pt x="126" y="39"/>
                    <a:pt x="126" y="38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8" y="37"/>
                  </a:cubicBezTo>
                  <a:cubicBezTo>
                    <a:pt x="129" y="37"/>
                    <a:pt x="129" y="37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5"/>
                    <a:pt x="129" y="34"/>
                    <a:pt x="130" y="34"/>
                  </a:cubicBezTo>
                  <a:cubicBezTo>
                    <a:pt x="131" y="33"/>
                    <a:pt x="131" y="33"/>
                    <a:pt x="131" y="32"/>
                  </a:cubicBezTo>
                  <a:cubicBezTo>
                    <a:pt x="132" y="31"/>
                    <a:pt x="132" y="31"/>
                    <a:pt x="132" y="30"/>
                  </a:cubicBezTo>
                  <a:cubicBezTo>
                    <a:pt x="132" y="30"/>
                    <a:pt x="131" y="30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3" y="27"/>
                    <a:pt x="134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6" y="26"/>
                    <a:pt x="136" y="26"/>
                  </a:cubicBezTo>
                  <a:cubicBezTo>
                    <a:pt x="136" y="26"/>
                    <a:pt x="136" y="26"/>
                    <a:pt x="137" y="26"/>
                  </a:cubicBezTo>
                  <a:cubicBezTo>
                    <a:pt x="137" y="26"/>
                    <a:pt x="137" y="25"/>
                    <a:pt x="138" y="25"/>
                  </a:cubicBezTo>
                  <a:cubicBezTo>
                    <a:pt x="137" y="25"/>
                    <a:pt x="137" y="25"/>
                    <a:pt x="137" y="24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37" y="23"/>
                    <a:pt x="138" y="23"/>
                    <a:pt x="138" y="23"/>
                  </a:cubicBezTo>
                  <a:cubicBezTo>
                    <a:pt x="138" y="23"/>
                    <a:pt x="138" y="23"/>
                    <a:pt x="137" y="23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37" y="22"/>
                    <a:pt x="137" y="22"/>
                    <a:pt x="137" y="22"/>
                  </a:cubicBezTo>
                  <a:cubicBezTo>
                    <a:pt x="137" y="22"/>
                    <a:pt x="137" y="22"/>
                    <a:pt x="137" y="22"/>
                  </a:cubicBezTo>
                  <a:cubicBezTo>
                    <a:pt x="138" y="21"/>
                    <a:pt x="139" y="21"/>
                    <a:pt x="140" y="21"/>
                  </a:cubicBezTo>
                  <a:cubicBezTo>
                    <a:pt x="141" y="21"/>
                    <a:pt x="141" y="21"/>
                    <a:pt x="142" y="20"/>
                  </a:cubicBezTo>
                  <a:cubicBezTo>
                    <a:pt x="142" y="19"/>
                    <a:pt x="143" y="19"/>
                    <a:pt x="144" y="19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7" y="17"/>
                    <a:pt x="147" y="17"/>
                    <a:pt x="148" y="16"/>
                  </a:cubicBezTo>
                  <a:cubicBezTo>
                    <a:pt x="148" y="16"/>
                    <a:pt x="147" y="16"/>
                    <a:pt x="147" y="16"/>
                  </a:cubicBezTo>
                  <a:cubicBezTo>
                    <a:pt x="147" y="16"/>
                    <a:pt x="146" y="16"/>
                    <a:pt x="146" y="16"/>
                  </a:cubicBezTo>
                  <a:cubicBezTo>
                    <a:pt x="145" y="15"/>
                    <a:pt x="144" y="15"/>
                    <a:pt x="143" y="15"/>
                  </a:cubicBezTo>
                  <a:cubicBezTo>
                    <a:pt x="142" y="15"/>
                    <a:pt x="141" y="15"/>
                    <a:pt x="141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39" y="15"/>
                    <a:pt x="139" y="15"/>
                    <a:pt x="139" y="15"/>
                  </a:cubicBezTo>
                  <a:cubicBezTo>
                    <a:pt x="139" y="15"/>
                    <a:pt x="139" y="15"/>
                    <a:pt x="138" y="15"/>
                  </a:cubicBezTo>
                  <a:cubicBezTo>
                    <a:pt x="137" y="15"/>
                    <a:pt x="136" y="15"/>
                    <a:pt x="135" y="15"/>
                  </a:cubicBezTo>
                  <a:cubicBezTo>
                    <a:pt x="135" y="16"/>
                    <a:pt x="134" y="16"/>
                    <a:pt x="134" y="17"/>
                  </a:cubicBezTo>
                  <a:cubicBezTo>
                    <a:pt x="133" y="18"/>
                    <a:pt x="133" y="18"/>
                    <a:pt x="133" y="18"/>
                  </a:cubicBezTo>
                  <a:cubicBezTo>
                    <a:pt x="133" y="17"/>
                    <a:pt x="133" y="17"/>
                    <a:pt x="133" y="17"/>
                  </a:cubicBezTo>
                  <a:cubicBezTo>
                    <a:pt x="133" y="17"/>
                    <a:pt x="133" y="17"/>
                    <a:pt x="132" y="17"/>
                  </a:cubicBezTo>
                  <a:cubicBezTo>
                    <a:pt x="132" y="17"/>
                    <a:pt x="131" y="17"/>
                    <a:pt x="131" y="17"/>
                  </a:cubicBezTo>
                  <a:cubicBezTo>
                    <a:pt x="130" y="17"/>
                    <a:pt x="128" y="17"/>
                    <a:pt x="128" y="17"/>
                  </a:cubicBezTo>
                  <a:cubicBezTo>
                    <a:pt x="127" y="17"/>
                    <a:pt x="127" y="18"/>
                    <a:pt x="126" y="18"/>
                  </a:cubicBezTo>
                  <a:cubicBezTo>
                    <a:pt x="125" y="18"/>
                    <a:pt x="125" y="18"/>
                    <a:pt x="125" y="19"/>
                  </a:cubicBezTo>
                  <a:cubicBezTo>
                    <a:pt x="125" y="19"/>
                    <a:pt x="123" y="20"/>
                    <a:pt x="122" y="20"/>
                  </a:cubicBezTo>
                  <a:cubicBezTo>
                    <a:pt x="121" y="20"/>
                    <a:pt x="121" y="20"/>
                    <a:pt x="121" y="19"/>
                  </a:cubicBezTo>
                  <a:cubicBezTo>
                    <a:pt x="121" y="18"/>
                    <a:pt x="121" y="18"/>
                    <a:pt x="121" y="18"/>
                  </a:cubicBezTo>
                  <a:cubicBezTo>
                    <a:pt x="121" y="18"/>
                    <a:pt x="121" y="18"/>
                    <a:pt x="121" y="18"/>
                  </a:cubicBezTo>
                  <a:cubicBezTo>
                    <a:pt x="121" y="18"/>
                    <a:pt x="121" y="18"/>
                    <a:pt x="121" y="18"/>
                  </a:cubicBezTo>
                  <a:cubicBezTo>
                    <a:pt x="122" y="18"/>
                    <a:pt x="125" y="15"/>
                    <a:pt x="125" y="14"/>
                  </a:cubicBezTo>
                  <a:cubicBezTo>
                    <a:pt x="125" y="14"/>
                    <a:pt x="125" y="13"/>
                    <a:pt x="125" y="13"/>
                  </a:cubicBezTo>
                  <a:cubicBezTo>
                    <a:pt x="123" y="13"/>
                    <a:pt x="121" y="14"/>
                    <a:pt x="121" y="15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15"/>
                    <a:pt x="119" y="16"/>
                    <a:pt x="117" y="16"/>
                  </a:cubicBezTo>
                  <a:cubicBezTo>
                    <a:pt x="116" y="17"/>
                    <a:pt x="115" y="18"/>
                    <a:pt x="114" y="18"/>
                  </a:cubicBezTo>
                  <a:cubicBezTo>
                    <a:pt x="114" y="18"/>
                    <a:pt x="113" y="18"/>
                    <a:pt x="113" y="18"/>
                  </a:cubicBezTo>
                  <a:cubicBezTo>
                    <a:pt x="113" y="18"/>
                    <a:pt x="113" y="18"/>
                    <a:pt x="112" y="18"/>
                  </a:cubicBezTo>
                  <a:cubicBezTo>
                    <a:pt x="111" y="18"/>
                    <a:pt x="111" y="17"/>
                    <a:pt x="111" y="17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12" y="15"/>
                    <a:pt x="113" y="15"/>
                    <a:pt x="113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3" y="14"/>
                    <a:pt x="111" y="15"/>
                    <a:pt x="109" y="16"/>
                  </a:cubicBezTo>
                  <a:cubicBezTo>
                    <a:pt x="108" y="16"/>
                    <a:pt x="107" y="16"/>
                    <a:pt x="106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5" y="17"/>
                    <a:pt x="105" y="16"/>
                    <a:pt x="104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16"/>
                    <a:pt x="104" y="16"/>
                    <a:pt x="103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2" y="17"/>
                    <a:pt x="101" y="16"/>
                    <a:pt x="101" y="15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1" y="14"/>
                    <a:pt x="101" y="14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2" y="13"/>
                    <a:pt x="102" y="13"/>
                    <a:pt x="103" y="13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103" y="13"/>
                    <a:pt x="103" y="12"/>
                    <a:pt x="103" y="12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105" y="12"/>
                    <a:pt x="105" y="12"/>
                    <a:pt x="105" y="12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7" y="12"/>
                    <a:pt x="110" y="12"/>
                    <a:pt x="114" y="12"/>
                  </a:cubicBezTo>
                  <a:cubicBezTo>
                    <a:pt x="114" y="12"/>
                    <a:pt x="115" y="12"/>
                    <a:pt x="115" y="12"/>
                  </a:cubicBezTo>
                  <a:cubicBezTo>
                    <a:pt x="116" y="12"/>
                    <a:pt x="116" y="12"/>
                    <a:pt x="116" y="12"/>
                  </a:cubicBezTo>
                  <a:cubicBezTo>
                    <a:pt x="118" y="11"/>
                    <a:pt x="120" y="11"/>
                    <a:pt x="123" y="11"/>
                  </a:cubicBezTo>
                  <a:cubicBezTo>
                    <a:pt x="123" y="11"/>
                    <a:pt x="124" y="11"/>
                    <a:pt x="124" y="10"/>
                  </a:cubicBezTo>
                  <a:cubicBezTo>
                    <a:pt x="124" y="10"/>
                    <a:pt x="124" y="10"/>
                    <a:pt x="125" y="10"/>
                  </a:cubicBezTo>
                  <a:cubicBezTo>
                    <a:pt x="125" y="9"/>
                    <a:pt x="125" y="9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9"/>
                    <a:pt x="124" y="9"/>
                  </a:cubicBezTo>
                  <a:cubicBezTo>
                    <a:pt x="123" y="9"/>
                    <a:pt x="123" y="8"/>
                    <a:pt x="122" y="8"/>
                  </a:cubicBezTo>
                  <a:cubicBezTo>
                    <a:pt x="122" y="8"/>
                    <a:pt x="122" y="7"/>
                    <a:pt x="122" y="7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21" y="8"/>
                    <a:pt x="120" y="8"/>
                    <a:pt x="119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7"/>
                    <a:pt x="117" y="6"/>
                  </a:cubicBezTo>
                  <a:cubicBezTo>
                    <a:pt x="116" y="6"/>
                    <a:pt x="116" y="5"/>
                    <a:pt x="116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6" y="5"/>
                    <a:pt x="116" y="5"/>
                    <a:pt x="115" y="5"/>
                  </a:cubicBezTo>
                  <a:cubicBezTo>
                    <a:pt x="115" y="6"/>
                    <a:pt x="115" y="6"/>
                    <a:pt x="114" y="6"/>
                  </a:cubicBezTo>
                  <a:cubicBezTo>
                    <a:pt x="113" y="6"/>
                    <a:pt x="113" y="5"/>
                    <a:pt x="113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2" y="3"/>
                    <a:pt x="111" y="3"/>
                    <a:pt x="109" y="3"/>
                  </a:cubicBezTo>
                  <a:cubicBezTo>
                    <a:pt x="108" y="3"/>
                    <a:pt x="107" y="3"/>
                    <a:pt x="106" y="2"/>
                  </a:cubicBezTo>
                  <a:cubicBezTo>
                    <a:pt x="105" y="2"/>
                    <a:pt x="104" y="2"/>
                    <a:pt x="103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2"/>
                    <a:pt x="97" y="3"/>
                    <a:pt x="96" y="3"/>
                  </a:cubicBezTo>
                  <a:cubicBezTo>
                    <a:pt x="95" y="3"/>
                    <a:pt x="93" y="3"/>
                    <a:pt x="92" y="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2"/>
                    <a:pt x="90" y="2"/>
                    <a:pt x="89" y="2"/>
                  </a:cubicBezTo>
                  <a:cubicBezTo>
                    <a:pt x="89" y="3"/>
                    <a:pt x="88" y="3"/>
                    <a:pt x="87" y="3"/>
                  </a:cubicBezTo>
                  <a:cubicBezTo>
                    <a:pt x="87" y="3"/>
                    <a:pt x="86" y="3"/>
                    <a:pt x="86" y="3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3"/>
                    <a:pt x="87" y="4"/>
                    <a:pt x="86" y="4"/>
                  </a:cubicBezTo>
                  <a:cubicBezTo>
                    <a:pt x="86" y="5"/>
                    <a:pt x="86" y="5"/>
                    <a:pt x="85" y="5"/>
                  </a:cubicBezTo>
                  <a:cubicBezTo>
                    <a:pt x="85" y="5"/>
                    <a:pt x="84" y="5"/>
                    <a:pt x="83" y="5"/>
                  </a:cubicBezTo>
                  <a:cubicBezTo>
                    <a:pt x="82" y="6"/>
                    <a:pt x="81" y="6"/>
                    <a:pt x="81" y="6"/>
                  </a:cubicBezTo>
                  <a:cubicBezTo>
                    <a:pt x="79" y="7"/>
                    <a:pt x="78" y="6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5" y="6"/>
                    <a:pt x="74" y="6"/>
                    <a:pt x="74" y="6"/>
                  </a:cubicBezTo>
                  <a:cubicBezTo>
                    <a:pt x="73" y="6"/>
                    <a:pt x="73" y="6"/>
                    <a:pt x="72" y="6"/>
                  </a:cubicBezTo>
                  <a:cubicBezTo>
                    <a:pt x="71" y="6"/>
                    <a:pt x="70" y="6"/>
                    <a:pt x="70" y="6"/>
                  </a:cubicBezTo>
                  <a:cubicBezTo>
                    <a:pt x="69" y="5"/>
                    <a:pt x="69" y="5"/>
                    <a:pt x="68" y="5"/>
                  </a:cubicBezTo>
                  <a:cubicBezTo>
                    <a:pt x="68" y="5"/>
                    <a:pt x="68" y="5"/>
                    <a:pt x="67" y="5"/>
                  </a:cubicBezTo>
                  <a:cubicBezTo>
                    <a:pt x="68" y="5"/>
                    <a:pt x="68" y="6"/>
                    <a:pt x="69" y="6"/>
                  </a:cubicBezTo>
                  <a:cubicBezTo>
                    <a:pt x="69" y="6"/>
                    <a:pt x="69" y="7"/>
                    <a:pt x="69" y="7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8"/>
                    <a:pt x="68" y="8"/>
                    <a:pt x="67" y="8"/>
                  </a:cubicBezTo>
                  <a:cubicBezTo>
                    <a:pt x="67" y="8"/>
                    <a:pt x="67" y="8"/>
                    <a:pt x="66" y="8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7" y="9"/>
                    <a:pt x="69" y="9"/>
                    <a:pt x="70" y="11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1"/>
                    <a:pt x="69" y="11"/>
                    <a:pt x="68" y="12"/>
                  </a:cubicBezTo>
                  <a:cubicBezTo>
                    <a:pt x="69" y="12"/>
                    <a:pt x="69" y="12"/>
                    <a:pt x="69" y="1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8" y="13"/>
                    <a:pt x="68" y="13"/>
                    <a:pt x="67" y="13"/>
                  </a:cubicBezTo>
                  <a:cubicBezTo>
                    <a:pt x="66" y="13"/>
                    <a:pt x="64" y="12"/>
                    <a:pt x="63" y="11"/>
                  </a:cubicBezTo>
                  <a:cubicBezTo>
                    <a:pt x="61" y="10"/>
                    <a:pt x="61" y="11"/>
                    <a:pt x="61" y="11"/>
                  </a:cubicBezTo>
                  <a:cubicBezTo>
                    <a:pt x="60" y="11"/>
                    <a:pt x="60" y="11"/>
                    <a:pt x="59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8" y="9"/>
                    <a:pt x="58" y="9"/>
                  </a:cubicBezTo>
                  <a:cubicBezTo>
                    <a:pt x="57" y="9"/>
                    <a:pt x="56" y="10"/>
                    <a:pt x="55" y="10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6" y="11"/>
                    <a:pt x="56" y="12"/>
                    <a:pt x="56" y="12"/>
                  </a:cubicBezTo>
                  <a:cubicBezTo>
                    <a:pt x="56" y="13"/>
                    <a:pt x="56" y="13"/>
                    <a:pt x="57" y="13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6" y="14"/>
                    <a:pt x="55" y="14"/>
                  </a:cubicBezTo>
                  <a:cubicBezTo>
                    <a:pt x="55" y="15"/>
                    <a:pt x="56" y="15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5"/>
                    <a:pt x="53" y="14"/>
                    <a:pt x="53" y="14"/>
                  </a:cubicBezTo>
                  <a:cubicBezTo>
                    <a:pt x="52" y="14"/>
                    <a:pt x="52" y="14"/>
                    <a:pt x="51" y="13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51" y="13"/>
                    <a:pt x="50" y="13"/>
                    <a:pt x="49" y="12"/>
                  </a:cubicBezTo>
                  <a:cubicBezTo>
                    <a:pt x="48" y="12"/>
                    <a:pt x="48" y="12"/>
                    <a:pt x="47" y="13"/>
                  </a:cubicBezTo>
                  <a:cubicBezTo>
                    <a:pt x="46" y="13"/>
                    <a:pt x="45" y="13"/>
                    <a:pt x="44" y="13"/>
                  </a:cubicBezTo>
                  <a:cubicBezTo>
                    <a:pt x="44" y="13"/>
                    <a:pt x="43" y="13"/>
                    <a:pt x="43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8" y="13"/>
                    <a:pt x="35" y="14"/>
                    <a:pt x="34" y="14"/>
                  </a:cubicBezTo>
                  <a:cubicBezTo>
                    <a:pt x="34" y="14"/>
                    <a:pt x="34" y="15"/>
                    <a:pt x="34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3" y="16"/>
                    <a:pt x="32" y="17"/>
                    <a:pt x="31" y="17"/>
                  </a:cubicBezTo>
                  <a:cubicBezTo>
                    <a:pt x="30" y="17"/>
                    <a:pt x="30" y="16"/>
                    <a:pt x="29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7"/>
                    <a:pt x="28" y="17"/>
                    <a:pt x="28" y="18"/>
                  </a:cubicBezTo>
                  <a:cubicBezTo>
                    <a:pt x="28" y="19"/>
                    <a:pt x="28" y="19"/>
                    <a:pt x="28" y="20"/>
                  </a:cubicBezTo>
                  <a:cubicBezTo>
                    <a:pt x="27" y="20"/>
                    <a:pt x="26" y="20"/>
                    <a:pt x="24" y="20"/>
                  </a:cubicBezTo>
                  <a:cubicBezTo>
                    <a:pt x="24" y="20"/>
                    <a:pt x="23" y="21"/>
                    <a:pt x="23" y="22"/>
                  </a:cubicBezTo>
                  <a:cubicBezTo>
                    <a:pt x="23" y="23"/>
                    <a:pt x="22" y="23"/>
                    <a:pt x="22" y="23"/>
                  </a:cubicBezTo>
                  <a:cubicBezTo>
                    <a:pt x="21" y="23"/>
                    <a:pt x="21" y="23"/>
                    <a:pt x="20" y="23"/>
                  </a:cubicBezTo>
                  <a:cubicBezTo>
                    <a:pt x="20" y="23"/>
                    <a:pt x="20" y="23"/>
                    <a:pt x="19" y="24"/>
                  </a:cubicBezTo>
                  <a:cubicBezTo>
                    <a:pt x="19" y="24"/>
                    <a:pt x="18" y="25"/>
                    <a:pt x="17" y="24"/>
                  </a:cubicBezTo>
                  <a:cubicBezTo>
                    <a:pt x="17" y="25"/>
                    <a:pt x="16" y="25"/>
                    <a:pt x="16" y="25"/>
                  </a:cubicBezTo>
                  <a:cubicBezTo>
                    <a:pt x="16" y="25"/>
                    <a:pt x="16" y="25"/>
                    <a:pt x="15" y="25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4" y="26"/>
                  </a:cubicBezTo>
                  <a:cubicBezTo>
                    <a:pt x="15" y="26"/>
                    <a:pt x="16" y="27"/>
                    <a:pt x="17" y="27"/>
                  </a:cubicBezTo>
                  <a:cubicBezTo>
                    <a:pt x="17" y="27"/>
                    <a:pt x="17" y="27"/>
                    <a:pt x="18" y="27"/>
                  </a:cubicBezTo>
                  <a:cubicBezTo>
                    <a:pt x="18" y="26"/>
                    <a:pt x="18" y="26"/>
                    <a:pt x="19" y="26"/>
                  </a:cubicBezTo>
                  <a:cubicBezTo>
                    <a:pt x="19" y="26"/>
                    <a:pt x="19" y="26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1" y="28"/>
                    <a:pt x="21" y="29"/>
                  </a:cubicBezTo>
                  <a:cubicBezTo>
                    <a:pt x="21" y="30"/>
                    <a:pt x="16" y="34"/>
                    <a:pt x="15" y="34"/>
                  </a:cubicBezTo>
                  <a:cubicBezTo>
                    <a:pt x="13" y="34"/>
                    <a:pt x="12" y="35"/>
                    <a:pt x="11" y="36"/>
                  </a:cubicBezTo>
                  <a:cubicBezTo>
                    <a:pt x="10" y="37"/>
                    <a:pt x="8" y="37"/>
                    <a:pt x="7" y="37"/>
                  </a:cubicBezTo>
                  <a:cubicBezTo>
                    <a:pt x="6" y="37"/>
                    <a:pt x="5" y="37"/>
                    <a:pt x="5" y="37"/>
                  </a:cubicBezTo>
                  <a:cubicBezTo>
                    <a:pt x="4" y="37"/>
                    <a:pt x="1" y="39"/>
                    <a:pt x="1" y="40"/>
                  </a:cubicBezTo>
                  <a:cubicBezTo>
                    <a:pt x="1" y="40"/>
                    <a:pt x="1" y="40"/>
                    <a:pt x="2" y="40"/>
                  </a:cubicBezTo>
                  <a:cubicBezTo>
                    <a:pt x="3" y="41"/>
                    <a:pt x="3" y="41"/>
                    <a:pt x="4" y="41"/>
                  </a:cubicBezTo>
                  <a:cubicBezTo>
                    <a:pt x="5" y="41"/>
                    <a:pt x="6" y="42"/>
                    <a:pt x="6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4"/>
                    <a:pt x="7" y="44"/>
                  </a:cubicBezTo>
                  <a:cubicBezTo>
                    <a:pt x="7" y="44"/>
                    <a:pt x="8" y="44"/>
                    <a:pt x="9" y="43"/>
                  </a:cubicBezTo>
                  <a:cubicBezTo>
                    <a:pt x="10" y="43"/>
                    <a:pt x="10" y="43"/>
                    <a:pt x="11" y="43"/>
                  </a:cubicBezTo>
                  <a:cubicBezTo>
                    <a:pt x="12" y="43"/>
                    <a:pt x="13" y="43"/>
                    <a:pt x="14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3" y="46"/>
                    <a:pt x="12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6"/>
                    <a:pt x="7" y="47"/>
                    <a:pt x="7" y="47"/>
                  </a:cubicBezTo>
                  <a:cubicBezTo>
                    <a:pt x="7" y="48"/>
                    <a:pt x="8" y="48"/>
                    <a:pt x="9" y="48"/>
                  </a:cubicBezTo>
                  <a:cubicBezTo>
                    <a:pt x="10" y="48"/>
                    <a:pt x="10" y="47"/>
                    <a:pt x="11" y="47"/>
                  </a:cubicBezTo>
                  <a:cubicBezTo>
                    <a:pt x="12" y="47"/>
                    <a:pt x="13" y="48"/>
                    <a:pt x="13" y="49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50"/>
                    <a:pt x="12" y="50"/>
                    <a:pt x="12" y="51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2"/>
                    <a:pt x="11" y="52"/>
                    <a:pt x="11" y="53"/>
                  </a:cubicBezTo>
                  <a:cubicBezTo>
                    <a:pt x="12" y="52"/>
                    <a:pt x="13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5" y="53"/>
                    <a:pt x="16" y="53"/>
                  </a:cubicBezTo>
                  <a:cubicBezTo>
                    <a:pt x="16" y="52"/>
                    <a:pt x="17" y="52"/>
                    <a:pt x="17" y="52"/>
                  </a:cubicBezTo>
                  <a:cubicBezTo>
                    <a:pt x="18" y="52"/>
                    <a:pt x="18" y="52"/>
                    <a:pt x="19" y="52"/>
                  </a:cubicBezTo>
                  <a:cubicBezTo>
                    <a:pt x="19" y="52"/>
                    <a:pt x="19" y="52"/>
                    <a:pt x="20" y="52"/>
                  </a:cubicBezTo>
                  <a:cubicBezTo>
                    <a:pt x="20" y="51"/>
                    <a:pt x="22" y="51"/>
                    <a:pt x="23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7" y="53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9" y="53"/>
                    <a:pt x="31" y="54"/>
                    <a:pt x="32" y="54"/>
                  </a:cubicBezTo>
                  <a:cubicBezTo>
                    <a:pt x="32" y="54"/>
                    <a:pt x="33" y="54"/>
                    <a:pt x="34" y="55"/>
                  </a:cubicBezTo>
                  <a:cubicBezTo>
                    <a:pt x="35" y="55"/>
                    <a:pt x="37" y="56"/>
                    <a:pt x="37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7"/>
                    <a:pt x="38" y="58"/>
                  </a:cubicBezTo>
                  <a:cubicBezTo>
                    <a:pt x="39" y="58"/>
                    <a:pt x="39" y="58"/>
                    <a:pt x="39" y="59"/>
                  </a:cubicBezTo>
                  <a:cubicBezTo>
                    <a:pt x="39" y="60"/>
                    <a:pt x="40" y="60"/>
                    <a:pt x="40" y="61"/>
                  </a:cubicBezTo>
                  <a:cubicBezTo>
                    <a:pt x="40" y="61"/>
                    <a:pt x="40" y="62"/>
                    <a:pt x="40" y="62"/>
                  </a:cubicBezTo>
                  <a:cubicBezTo>
                    <a:pt x="41" y="63"/>
                    <a:pt x="42" y="63"/>
                    <a:pt x="42" y="64"/>
                  </a:cubicBezTo>
                  <a:cubicBezTo>
                    <a:pt x="42" y="64"/>
                    <a:pt x="42" y="65"/>
                    <a:pt x="42" y="66"/>
                  </a:cubicBezTo>
                  <a:cubicBezTo>
                    <a:pt x="42" y="66"/>
                    <a:pt x="42" y="66"/>
                    <a:pt x="43" y="66"/>
                  </a:cubicBezTo>
                  <a:cubicBezTo>
                    <a:pt x="43" y="66"/>
                    <a:pt x="43" y="67"/>
                    <a:pt x="43" y="68"/>
                  </a:cubicBezTo>
                  <a:cubicBezTo>
                    <a:pt x="43" y="68"/>
                    <a:pt x="43" y="67"/>
                    <a:pt x="43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9"/>
                    <a:pt x="44" y="69"/>
                    <a:pt x="44" y="70"/>
                  </a:cubicBezTo>
                  <a:cubicBezTo>
                    <a:pt x="44" y="71"/>
                    <a:pt x="44" y="72"/>
                    <a:pt x="44" y="73"/>
                  </a:cubicBezTo>
                  <a:cubicBezTo>
                    <a:pt x="44" y="74"/>
                    <a:pt x="44" y="75"/>
                    <a:pt x="44" y="76"/>
                  </a:cubicBezTo>
                  <a:cubicBezTo>
                    <a:pt x="44" y="78"/>
                    <a:pt x="45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7"/>
                    <a:pt x="47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7"/>
                    <a:pt x="48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6"/>
                    <a:pt x="49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7"/>
                    <a:pt x="51" y="77"/>
                    <a:pt x="51" y="78"/>
                  </a:cubicBezTo>
                  <a:cubicBezTo>
                    <a:pt x="53" y="80"/>
                    <a:pt x="54" y="81"/>
                    <a:pt x="54" y="82"/>
                  </a:cubicBezTo>
                  <a:cubicBezTo>
                    <a:pt x="54" y="82"/>
                    <a:pt x="54" y="82"/>
                    <a:pt x="55" y="83"/>
                  </a:cubicBezTo>
                  <a:cubicBezTo>
                    <a:pt x="55" y="83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4" y="85"/>
                    <a:pt x="53" y="85"/>
                    <a:pt x="53" y="86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4" y="86"/>
                    <a:pt x="54" y="87"/>
                    <a:pt x="54" y="87"/>
                  </a:cubicBezTo>
                  <a:cubicBezTo>
                    <a:pt x="54" y="87"/>
                    <a:pt x="55" y="87"/>
                    <a:pt x="55" y="8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5" y="89"/>
                    <a:pt x="55" y="89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2"/>
                    <a:pt x="55" y="92"/>
                    <a:pt x="55" y="92"/>
                  </a:cubicBezTo>
                  <a:cubicBezTo>
                    <a:pt x="55" y="92"/>
                    <a:pt x="55" y="92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4"/>
                    <a:pt x="55" y="94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5"/>
                    <a:pt x="53" y="96"/>
                    <a:pt x="53" y="96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7"/>
                    <a:pt x="51" y="99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1"/>
                    <a:pt x="50" y="101"/>
                    <a:pt x="49" y="100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2"/>
                    <a:pt x="49" y="104"/>
                    <a:pt x="49" y="106"/>
                  </a:cubicBezTo>
                  <a:cubicBezTo>
                    <a:pt x="49" y="106"/>
                    <a:pt x="49" y="107"/>
                    <a:pt x="49" y="107"/>
                  </a:cubicBezTo>
                  <a:cubicBezTo>
                    <a:pt x="49" y="109"/>
                    <a:pt x="49" y="109"/>
                    <a:pt x="50" y="109"/>
                  </a:cubicBezTo>
                  <a:cubicBezTo>
                    <a:pt x="50" y="109"/>
                    <a:pt x="50" y="110"/>
                    <a:pt x="51" y="110"/>
                  </a:cubicBezTo>
                  <a:cubicBezTo>
                    <a:pt x="51" y="110"/>
                    <a:pt x="51" y="110"/>
                    <a:pt x="51" y="111"/>
                  </a:cubicBezTo>
                  <a:cubicBezTo>
                    <a:pt x="52" y="111"/>
                    <a:pt x="51" y="112"/>
                    <a:pt x="51" y="113"/>
                  </a:cubicBezTo>
                  <a:cubicBezTo>
                    <a:pt x="51" y="113"/>
                    <a:pt x="51" y="113"/>
                    <a:pt x="51" y="113"/>
                  </a:cubicBezTo>
                  <a:cubicBezTo>
                    <a:pt x="51" y="113"/>
                    <a:pt x="51" y="113"/>
                    <a:pt x="51" y="114"/>
                  </a:cubicBezTo>
                  <a:cubicBezTo>
                    <a:pt x="51" y="114"/>
                    <a:pt x="52" y="114"/>
                    <a:pt x="52" y="114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53" y="115"/>
                    <a:pt x="54" y="117"/>
                    <a:pt x="54" y="117"/>
                  </a:cubicBezTo>
                  <a:cubicBezTo>
                    <a:pt x="54" y="117"/>
                    <a:pt x="54" y="118"/>
                    <a:pt x="54" y="118"/>
                  </a:cubicBezTo>
                  <a:cubicBezTo>
                    <a:pt x="55" y="118"/>
                    <a:pt x="55" y="119"/>
                    <a:pt x="55" y="119"/>
                  </a:cubicBezTo>
                  <a:cubicBezTo>
                    <a:pt x="56" y="120"/>
                    <a:pt x="56" y="120"/>
                    <a:pt x="56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22"/>
                    <a:pt x="57" y="122"/>
                    <a:pt x="57" y="122"/>
                  </a:cubicBezTo>
                  <a:cubicBezTo>
                    <a:pt x="58" y="122"/>
                    <a:pt x="59" y="123"/>
                    <a:pt x="59" y="124"/>
                  </a:cubicBezTo>
                  <a:cubicBezTo>
                    <a:pt x="59" y="124"/>
                    <a:pt x="59" y="124"/>
                    <a:pt x="59" y="124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58" y="125"/>
                    <a:pt x="58" y="125"/>
                    <a:pt x="59" y="126"/>
                  </a:cubicBezTo>
                  <a:cubicBezTo>
                    <a:pt x="59" y="126"/>
                    <a:pt x="60" y="127"/>
                    <a:pt x="60" y="128"/>
                  </a:cubicBezTo>
                  <a:cubicBezTo>
                    <a:pt x="60" y="128"/>
                    <a:pt x="61" y="130"/>
                    <a:pt x="62" y="131"/>
                  </a:cubicBezTo>
                  <a:cubicBezTo>
                    <a:pt x="62" y="130"/>
                    <a:pt x="63" y="130"/>
                    <a:pt x="63" y="130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64" y="130"/>
                    <a:pt x="64" y="131"/>
                    <a:pt x="64" y="131"/>
                  </a:cubicBezTo>
                  <a:cubicBezTo>
                    <a:pt x="65" y="132"/>
                    <a:pt x="65" y="132"/>
                    <a:pt x="66" y="132"/>
                  </a:cubicBezTo>
                  <a:cubicBezTo>
                    <a:pt x="67" y="132"/>
                    <a:pt x="67" y="132"/>
                    <a:pt x="67" y="132"/>
                  </a:cubicBezTo>
                  <a:lnTo>
                    <a:pt x="68" y="131"/>
                  </a:lnTo>
                  <a:close/>
                  <a:moveTo>
                    <a:pt x="133" y="29"/>
                  </a:moveTo>
                  <a:cubicBezTo>
                    <a:pt x="133" y="29"/>
                    <a:pt x="133" y="29"/>
                    <a:pt x="133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8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29"/>
                    <a:pt x="133" y="29"/>
                    <a:pt x="133" y="29"/>
                  </a:cubicBezTo>
                  <a:close/>
                  <a:moveTo>
                    <a:pt x="102" y="15"/>
                  </a:moveTo>
                  <a:cubicBezTo>
                    <a:pt x="102" y="15"/>
                    <a:pt x="102" y="15"/>
                    <a:pt x="103" y="15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4" y="15"/>
                    <a:pt x="104" y="15"/>
                    <a:pt x="104" y="15"/>
                  </a:cubicBezTo>
                  <a:cubicBezTo>
                    <a:pt x="104" y="15"/>
                    <a:pt x="104" y="15"/>
                    <a:pt x="104" y="15"/>
                  </a:cubicBezTo>
                  <a:cubicBezTo>
                    <a:pt x="104" y="15"/>
                    <a:pt x="104" y="15"/>
                    <a:pt x="105" y="15"/>
                  </a:cubicBezTo>
                  <a:cubicBezTo>
                    <a:pt x="105" y="14"/>
                    <a:pt x="105" y="14"/>
                    <a:pt x="105" y="14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4" y="15"/>
                    <a:pt x="103" y="14"/>
                    <a:pt x="103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5"/>
                    <a:pt x="102" y="15"/>
                    <a:pt x="102" y="15"/>
                  </a:cubicBezTo>
                  <a:close/>
                  <a:moveTo>
                    <a:pt x="77" y="92"/>
                  </a:moveTo>
                  <a:cubicBezTo>
                    <a:pt x="77" y="92"/>
                    <a:pt x="77" y="91"/>
                    <a:pt x="77" y="91"/>
                  </a:cubicBezTo>
                  <a:cubicBezTo>
                    <a:pt x="77" y="91"/>
                    <a:pt x="77" y="91"/>
                    <a:pt x="77" y="91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1"/>
                    <a:pt x="78" y="92"/>
                    <a:pt x="77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526" name="TextBox 1525"/>
          <p:cNvSpPr txBox="1"/>
          <p:nvPr/>
        </p:nvSpPr>
        <p:spPr bwMode="auto">
          <a:xfrm>
            <a:off x="3497263" y="2065338"/>
            <a:ext cx="850900" cy="22383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536" name="组合 1535"/>
          <p:cNvGrpSpPr/>
          <p:nvPr/>
        </p:nvGrpSpPr>
        <p:grpSpPr bwMode="auto">
          <a:xfrm rot="-5400000">
            <a:off x="3383757" y="2120106"/>
            <a:ext cx="157162" cy="98425"/>
            <a:chOff x="4282986" y="2496905"/>
            <a:chExt cx="265049" cy="183189"/>
          </a:xfrm>
        </p:grpSpPr>
        <p:sp>
          <p:nvSpPr>
            <p:cNvPr id="1534" name="流程图: 决策 166"/>
            <p:cNvSpPr/>
            <p:nvPr/>
          </p:nvSpPr>
          <p:spPr>
            <a:xfrm>
              <a:off x="4282986" y="2496905"/>
              <a:ext cx="136540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61" name="组合 1531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30" name="流程图: 决策 166"/>
              <p:cNvSpPr/>
              <p:nvPr/>
            </p:nvSpPr>
            <p:spPr>
              <a:xfrm>
                <a:off x="3700515" y="2414041"/>
                <a:ext cx="136542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31" name="流程图: 决策 166"/>
              <p:cNvSpPr/>
              <p:nvPr/>
            </p:nvSpPr>
            <p:spPr>
              <a:xfrm>
                <a:off x="3829024" y="2416996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38" name="TextBox 1537"/>
          <p:cNvSpPr txBox="1"/>
          <p:nvPr/>
        </p:nvSpPr>
        <p:spPr bwMode="auto">
          <a:xfrm>
            <a:off x="5254625" y="2025650"/>
            <a:ext cx="850900" cy="22383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539" name="组合 1538"/>
          <p:cNvGrpSpPr/>
          <p:nvPr/>
        </p:nvGrpSpPr>
        <p:grpSpPr bwMode="auto">
          <a:xfrm rot="-5400000">
            <a:off x="6090445" y="2110581"/>
            <a:ext cx="157162" cy="98425"/>
            <a:chOff x="4282986" y="2496905"/>
            <a:chExt cx="265049" cy="183189"/>
          </a:xfrm>
        </p:grpSpPr>
        <p:sp>
          <p:nvSpPr>
            <p:cNvPr id="1540" name="流程图: 决策 166"/>
            <p:cNvSpPr/>
            <p:nvPr/>
          </p:nvSpPr>
          <p:spPr>
            <a:xfrm>
              <a:off x="4282986" y="2496905"/>
              <a:ext cx="136540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57" name="组合 1540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42" name="流程图: 决策 166"/>
              <p:cNvSpPr/>
              <p:nvPr/>
            </p:nvSpPr>
            <p:spPr>
              <a:xfrm>
                <a:off x="3700515" y="2414041"/>
                <a:ext cx="136542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43" name="流程图: 决策 166"/>
              <p:cNvSpPr/>
              <p:nvPr/>
            </p:nvSpPr>
            <p:spPr>
              <a:xfrm>
                <a:off x="3829024" y="2416994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44" name="TextBox 1543"/>
          <p:cNvSpPr txBox="1"/>
          <p:nvPr/>
        </p:nvSpPr>
        <p:spPr bwMode="auto">
          <a:xfrm>
            <a:off x="7431088" y="2889250"/>
            <a:ext cx="850900" cy="22383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545" name="组合 1544"/>
          <p:cNvGrpSpPr/>
          <p:nvPr/>
        </p:nvGrpSpPr>
        <p:grpSpPr bwMode="auto">
          <a:xfrm rot="-5400000">
            <a:off x="7317581" y="2944019"/>
            <a:ext cx="157163" cy="98425"/>
            <a:chOff x="4282986" y="2496905"/>
            <a:chExt cx="265049" cy="183189"/>
          </a:xfrm>
        </p:grpSpPr>
        <p:sp>
          <p:nvSpPr>
            <p:cNvPr id="1546" name="流程图: 决策 166"/>
            <p:cNvSpPr/>
            <p:nvPr/>
          </p:nvSpPr>
          <p:spPr>
            <a:xfrm>
              <a:off x="4282986" y="2496905"/>
              <a:ext cx="136541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53" name="组合 1546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48" name="流程图: 决策 166"/>
              <p:cNvSpPr/>
              <p:nvPr/>
            </p:nvSpPr>
            <p:spPr>
              <a:xfrm>
                <a:off x="3700519" y="2414043"/>
                <a:ext cx="136539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49" name="流程图: 决策 166"/>
              <p:cNvSpPr/>
              <p:nvPr/>
            </p:nvSpPr>
            <p:spPr>
              <a:xfrm>
                <a:off x="3829025" y="2416997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50" name="TextBox 1549"/>
          <p:cNvSpPr txBox="1"/>
          <p:nvPr/>
        </p:nvSpPr>
        <p:spPr bwMode="auto">
          <a:xfrm>
            <a:off x="1573213" y="2239963"/>
            <a:ext cx="850900" cy="22383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551" name="组合 1550"/>
          <p:cNvGrpSpPr/>
          <p:nvPr/>
        </p:nvGrpSpPr>
        <p:grpSpPr bwMode="auto">
          <a:xfrm rot="-5400000">
            <a:off x="1459706" y="2296319"/>
            <a:ext cx="157163" cy="98425"/>
            <a:chOff x="4282986" y="2496905"/>
            <a:chExt cx="265049" cy="183189"/>
          </a:xfrm>
        </p:grpSpPr>
        <p:sp>
          <p:nvSpPr>
            <p:cNvPr id="1552" name="流程图: 决策 166"/>
            <p:cNvSpPr/>
            <p:nvPr/>
          </p:nvSpPr>
          <p:spPr>
            <a:xfrm>
              <a:off x="4282986" y="2496905"/>
              <a:ext cx="136541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49" name="组合 1552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54" name="流程图: 决策 166"/>
              <p:cNvSpPr/>
              <p:nvPr/>
            </p:nvSpPr>
            <p:spPr>
              <a:xfrm>
                <a:off x="3700519" y="2414043"/>
                <a:ext cx="136539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55" name="流程图: 决策 166"/>
              <p:cNvSpPr/>
              <p:nvPr/>
            </p:nvSpPr>
            <p:spPr>
              <a:xfrm>
                <a:off x="3829025" y="2416997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56" name="TextBox 1555"/>
          <p:cNvSpPr txBox="1"/>
          <p:nvPr/>
        </p:nvSpPr>
        <p:spPr bwMode="auto">
          <a:xfrm>
            <a:off x="3889375" y="3178175"/>
            <a:ext cx="852488" cy="22383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557" name="组合 1556"/>
          <p:cNvGrpSpPr/>
          <p:nvPr/>
        </p:nvGrpSpPr>
        <p:grpSpPr bwMode="auto">
          <a:xfrm rot="-5400000">
            <a:off x="3775870" y="3234531"/>
            <a:ext cx="157162" cy="98425"/>
            <a:chOff x="4282986" y="2496905"/>
            <a:chExt cx="265049" cy="183189"/>
          </a:xfrm>
        </p:grpSpPr>
        <p:sp>
          <p:nvSpPr>
            <p:cNvPr id="1558" name="流程图: 决策 166"/>
            <p:cNvSpPr/>
            <p:nvPr/>
          </p:nvSpPr>
          <p:spPr>
            <a:xfrm>
              <a:off x="4282986" y="2496905"/>
              <a:ext cx="136540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45" name="组合 1558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60" name="流程图: 决策 166"/>
              <p:cNvSpPr/>
              <p:nvPr/>
            </p:nvSpPr>
            <p:spPr>
              <a:xfrm>
                <a:off x="3700515" y="2414041"/>
                <a:ext cx="136542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61" name="流程图: 决策 166"/>
              <p:cNvSpPr/>
              <p:nvPr/>
            </p:nvSpPr>
            <p:spPr>
              <a:xfrm>
                <a:off x="3829024" y="2416994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62" name="矩形 1"/>
          <p:cNvSpPr>
            <a:spLocks noChangeArrowheads="1"/>
          </p:cNvSpPr>
          <p:nvPr/>
        </p:nvSpPr>
        <p:spPr bwMode="auto">
          <a:xfrm>
            <a:off x="787400" y="4083050"/>
            <a:ext cx="77041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 bwMode="auto">
          <a:xfrm>
            <a:off x="893763" y="3768725"/>
            <a:ext cx="7529512" cy="323850"/>
            <a:chOff x="894487" y="3769505"/>
            <a:chExt cx="7529215" cy="323627"/>
          </a:xfrm>
        </p:grpSpPr>
        <p:cxnSp>
          <p:nvCxnSpPr>
            <p:cNvPr id="1563" name="直接连接符 1562"/>
            <p:cNvCxnSpPr/>
            <p:nvPr/>
          </p:nvCxnSpPr>
          <p:spPr>
            <a:xfrm>
              <a:off x="894487" y="4093132"/>
              <a:ext cx="752921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337" name="组合 1563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1565" name="TextBox 265"/>
              <p:cNvSpPr txBox="1"/>
              <p:nvPr/>
            </p:nvSpPr>
            <p:spPr bwMode="auto">
              <a:xfrm>
                <a:off x="1155742" y="1031498"/>
                <a:ext cx="1101681" cy="322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3339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3340" name="组合 1566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1569" name="流程图: 决策 166"/>
                <p:cNvSpPr/>
                <p:nvPr/>
              </p:nvSpPr>
              <p:spPr>
                <a:xfrm>
                  <a:off x="957312" y="1125096"/>
                  <a:ext cx="125408" cy="1713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1570" name="流程图: 决策 166"/>
                <p:cNvSpPr/>
                <p:nvPr/>
              </p:nvSpPr>
              <p:spPr>
                <a:xfrm>
                  <a:off x="1095420" y="1126682"/>
                  <a:ext cx="90484" cy="168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1568" name="直接连接符 1567"/>
              <p:cNvCxnSpPr/>
              <p:nvPr/>
            </p:nvCxnSpPr>
            <p:spPr>
              <a:xfrm>
                <a:off x="2262185" y="1137788"/>
                <a:ext cx="0" cy="14436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76" name="矩形 1575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577" name="矩形 1576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578" name="矩形 1577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579" name="矩形 1578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300" fill="hold"/>
                                        <p:tgtEl>
                                          <p:spTgt spid="15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00" fill="hold"/>
                                        <p:tgtEl>
                                          <p:spTgt spid="15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300"/>
                                        <p:tgtEl>
                                          <p:spTgt spid="1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400"/>
                                        <p:tgtEl>
                                          <p:spTgt spid="15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400"/>
                                        <p:tgtEl>
                                          <p:spTgt spid="1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300" fill="hold"/>
                                        <p:tgtEl>
                                          <p:spTgt spid="15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300" fill="hold"/>
                                        <p:tgtEl>
                                          <p:spTgt spid="15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300"/>
                                        <p:tgtEl>
                                          <p:spTgt spid="15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400"/>
                                        <p:tgtEl>
                                          <p:spTgt spid="15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7" dur="400"/>
                                        <p:tgtEl>
                                          <p:spTgt spid="15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300" fill="hold"/>
                                        <p:tgtEl>
                                          <p:spTgt spid="15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300" fill="hold"/>
                                        <p:tgtEl>
                                          <p:spTgt spid="15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300"/>
                                        <p:tgtEl>
                                          <p:spTgt spid="1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400"/>
                                        <p:tgtEl>
                                          <p:spTgt spid="15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6" dur="400"/>
                                        <p:tgtEl>
                                          <p:spTgt spid="15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300" fill="hold"/>
                                        <p:tgtEl>
                                          <p:spTgt spid="15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300" fill="hold"/>
                                        <p:tgtEl>
                                          <p:spTgt spid="15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300"/>
                                        <p:tgtEl>
                                          <p:spTgt spid="15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400"/>
                                        <p:tgtEl>
                                          <p:spTgt spid="15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5" dur="400"/>
                                        <p:tgtEl>
                                          <p:spTgt spid="15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300" fill="hold"/>
                                        <p:tgtEl>
                                          <p:spTgt spid="15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300" fill="hold"/>
                                        <p:tgtEl>
                                          <p:spTgt spid="15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300"/>
                                        <p:tgtEl>
                                          <p:spTgt spid="1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400"/>
                                        <p:tgtEl>
                                          <p:spTgt spid="15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4" dur="400"/>
                                        <p:tgtEl>
                                          <p:spTgt spid="15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1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6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300" tmFilter="0, 0; .2, .5; .8, .5; 1, 0"/>
                                        <p:tgtEl>
                                          <p:spTgt spid="157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3" dur="150" autoRev="1" fill="hold"/>
                                        <p:tgtEl>
                                          <p:spTgt spid="157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26" presetClass="emph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300" tmFilter="0, 0; .2, .5; .8, .5; 1, 0"/>
                                        <p:tgtEl>
                                          <p:spTgt spid="157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6" dur="150" autoRev="1" fill="hold"/>
                                        <p:tgtEl>
                                          <p:spTgt spid="157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26" presetClass="emph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300" tmFilter="0, 0; .2, .5; .8, .5; 1, 0"/>
                                        <p:tgtEl>
                                          <p:spTgt spid="157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9" dur="150" autoRev="1" fill="hold"/>
                                        <p:tgtEl>
                                          <p:spTgt spid="157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0" presetID="26" presetClass="emph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300" tmFilter="0, 0; .2, .5; .8, .5; 1, 0"/>
                                        <p:tgtEl>
                                          <p:spTgt spid="157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2" dur="150" autoRev="1" fill="hold"/>
                                        <p:tgtEl>
                                          <p:spTgt spid="157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26" grpId="0"/>
      <p:bldP spid="1538" grpId="0"/>
      <p:bldP spid="1544" grpId="0"/>
      <p:bldP spid="1550" grpId="0"/>
      <p:bldP spid="1556" grpId="0"/>
      <p:bldP spid="1562" grpId="0"/>
      <p:bldP spid="1576" grpId="0" animBg="1"/>
      <p:bldP spid="1577" grpId="0" animBg="1"/>
      <p:bldP spid="1578" grpId="0" animBg="1"/>
      <p:bldP spid="157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组合 32"/>
          <p:cNvGrpSpPr/>
          <p:nvPr/>
        </p:nvGrpSpPr>
        <p:grpSpPr bwMode="auto">
          <a:xfrm>
            <a:off x="3227388" y="1109663"/>
            <a:ext cx="1103312" cy="581025"/>
            <a:chOff x="3063875" y="1369160"/>
            <a:chExt cx="1212946" cy="639324"/>
          </a:xfrm>
        </p:grpSpPr>
        <p:pic>
          <p:nvPicPr>
            <p:cNvPr id="14383" name="Picture 5"/>
            <p:cNvPicPr>
              <a:picLocks noChangeAspect="1" noChangeArrowheads="1"/>
            </p:cNvPicPr>
            <p:nvPr/>
          </p:nvPicPr>
          <p:blipFill>
            <a:blip r:embed="rId1">
              <a:biLevel thresh="5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3875" y="1374523"/>
              <a:ext cx="748777" cy="63396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84" name="Picture 12"/>
            <p:cNvPicPr>
              <a:picLocks noChangeAspect="1" noChangeArrowheads="1"/>
            </p:cNvPicPr>
            <p:nvPr/>
          </p:nvPicPr>
          <p:blipFill>
            <a:blip r:embed="rId2">
              <a:biLevel thresh="5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4526" y="1369160"/>
              <a:ext cx="562295" cy="59776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339" name="组合 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4" name="任意多边形 1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5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340" name="组合 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4379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任意多边形 17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4341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0" name="任意多边形 19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1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342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23" name="任意多边形 22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4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343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6" name="任意多边形 2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7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253150" y="951877"/>
            <a:ext cx="1193512" cy="731694"/>
            <a:chOff x="1147762" y="1203325"/>
            <a:chExt cx="1312863" cy="804863"/>
          </a:xfrm>
          <a:solidFill>
            <a:srgbClr val="C00000"/>
          </a:solidFill>
        </p:grpSpPr>
        <p:sp>
          <p:nvSpPr>
            <p:cNvPr id="30" name="Freeform 5"/>
            <p:cNvSpPr>
              <a:spLocks noEditPoints="1"/>
            </p:cNvSpPr>
            <p:nvPr/>
          </p:nvSpPr>
          <p:spPr bwMode="auto">
            <a:xfrm>
              <a:off x="1452563" y="1203325"/>
              <a:ext cx="739775" cy="700088"/>
            </a:xfrm>
            <a:custGeom>
              <a:avLst/>
              <a:gdLst>
                <a:gd name="T0" fmla="*/ 405 w 466"/>
                <a:gd name="T1" fmla="*/ 118 h 441"/>
                <a:gd name="T2" fmla="*/ 326 w 466"/>
                <a:gd name="T3" fmla="*/ 77 h 441"/>
                <a:gd name="T4" fmla="*/ 221 w 466"/>
                <a:gd name="T5" fmla="*/ 31 h 441"/>
                <a:gd name="T6" fmla="*/ 0 w 466"/>
                <a:gd name="T7" fmla="*/ 413 h 441"/>
                <a:gd name="T8" fmla="*/ 218 w 466"/>
                <a:gd name="T9" fmla="*/ 365 h 441"/>
                <a:gd name="T10" fmla="*/ 324 w 466"/>
                <a:gd name="T11" fmla="*/ 320 h 441"/>
                <a:gd name="T12" fmla="*/ 404 w 466"/>
                <a:gd name="T13" fmla="*/ 289 h 441"/>
                <a:gd name="T14" fmla="*/ 466 w 466"/>
                <a:gd name="T15" fmla="*/ 148 h 441"/>
                <a:gd name="T16" fmla="*/ 9 w 466"/>
                <a:gd name="T17" fmla="*/ 405 h 441"/>
                <a:gd name="T18" fmla="*/ 132 w 466"/>
                <a:gd name="T19" fmla="*/ 427 h 441"/>
                <a:gd name="T20" fmla="*/ 9 w 466"/>
                <a:gd name="T21" fmla="*/ 226 h 441"/>
                <a:gd name="T22" fmla="*/ 133 w 466"/>
                <a:gd name="T23" fmla="*/ 217 h 441"/>
                <a:gd name="T24" fmla="*/ 134 w 466"/>
                <a:gd name="T25" fmla="*/ 186 h 441"/>
                <a:gd name="T26" fmla="*/ 9 w 466"/>
                <a:gd name="T27" fmla="*/ 177 h 441"/>
                <a:gd name="T28" fmla="*/ 134 w 466"/>
                <a:gd name="T29" fmla="*/ 175 h 441"/>
                <a:gd name="T30" fmla="*/ 10 w 466"/>
                <a:gd name="T31" fmla="*/ 110 h 441"/>
                <a:gd name="T32" fmla="*/ 134 w 466"/>
                <a:gd name="T33" fmla="*/ 88 h 441"/>
                <a:gd name="T34" fmla="*/ 135 w 466"/>
                <a:gd name="T35" fmla="*/ 56 h 441"/>
                <a:gd name="T36" fmla="*/ 10 w 466"/>
                <a:gd name="T37" fmla="*/ 61 h 441"/>
                <a:gd name="T38" fmla="*/ 135 w 466"/>
                <a:gd name="T39" fmla="*/ 45 h 441"/>
                <a:gd name="T40" fmla="*/ 219 w 466"/>
                <a:gd name="T41" fmla="*/ 249 h 441"/>
                <a:gd name="T42" fmla="*/ 263 w 466"/>
                <a:gd name="T43" fmla="*/ 244 h 441"/>
                <a:gd name="T44" fmla="*/ 263 w 466"/>
                <a:gd name="T45" fmla="*/ 220 h 441"/>
                <a:gd name="T46" fmla="*/ 219 w 466"/>
                <a:gd name="T47" fmla="*/ 212 h 441"/>
                <a:gd name="T48" fmla="*/ 263 w 466"/>
                <a:gd name="T49" fmla="*/ 212 h 441"/>
                <a:gd name="T50" fmla="*/ 220 w 466"/>
                <a:gd name="T51" fmla="*/ 160 h 441"/>
                <a:gd name="T52" fmla="*/ 263 w 466"/>
                <a:gd name="T53" fmla="*/ 150 h 441"/>
                <a:gd name="T54" fmla="*/ 263 w 466"/>
                <a:gd name="T55" fmla="*/ 126 h 441"/>
                <a:gd name="T56" fmla="*/ 220 w 466"/>
                <a:gd name="T57" fmla="*/ 122 h 441"/>
                <a:gd name="T58" fmla="*/ 263 w 466"/>
                <a:gd name="T59" fmla="*/ 118 h 441"/>
                <a:gd name="T60" fmla="*/ 220 w 466"/>
                <a:gd name="T61" fmla="*/ 70 h 441"/>
                <a:gd name="T62" fmla="*/ 360 w 466"/>
                <a:gd name="T63" fmla="*/ 321 h 441"/>
                <a:gd name="T64" fmla="*/ 361 w 466"/>
                <a:gd name="T65" fmla="*/ 241 h 441"/>
                <a:gd name="T66" fmla="*/ 325 w 466"/>
                <a:gd name="T67" fmla="*/ 233 h 441"/>
                <a:gd name="T68" fmla="*/ 361 w 466"/>
                <a:gd name="T69" fmla="*/ 235 h 441"/>
                <a:gd name="T70" fmla="*/ 326 w 466"/>
                <a:gd name="T71" fmla="*/ 197 h 441"/>
                <a:gd name="T72" fmla="*/ 361 w 466"/>
                <a:gd name="T73" fmla="*/ 191 h 441"/>
                <a:gd name="T74" fmla="*/ 361 w 466"/>
                <a:gd name="T75" fmla="*/ 175 h 441"/>
                <a:gd name="T76" fmla="*/ 326 w 466"/>
                <a:gd name="T77" fmla="*/ 171 h 441"/>
                <a:gd name="T78" fmla="*/ 361 w 466"/>
                <a:gd name="T79" fmla="*/ 169 h 441"/>
                <a:gd name="T80" fmla="*/ 326 w 466"/>
                <a:gd name="T81" fmla="*/ 134 h 441"/>
                <a:gd name="T82" fmla="*/ 361 w 466"/>
                <a:gd name="T83" fmla="*/ 125 h 441"/>
                <a:gd name="T84" fmla="*/ 361 w 466"/>
                <a:gd name="T85" fmla="*/ 108 h 441"/>
                <a:gd name="T86" fmla="*/ 404 w 466"/>
                <a:gd name="T87" fmla="*/ 285 h 441"/>
                <a:gd name="T88" fmla="*/ 434 w 466"/>
                <a:gd name="T89" fmla="*/ 291 h 441"/>
                <a:gd name="T90" fmla="*/ 405 w 466"/>
                <a:gd name="T91" fmla="*/ 218 h 441"/>
                <a:gd name="T92" fmla="*/ 435 w 466"/>
                <a:gd name="T93" fmla="*/ 215 h 441"/>
                <a:gd name="T94" fmla="*/ 435 w 466"/>
                <a:gd name="T95" fmla="*/ 204 h 441"/>
                <a:gd name="T96" fmla="*/ 405 w 466"/>
                <a:gd name="T97" fmla="*/ 200 h 441"/>
                <a:gd name="T98" fmla="*/ 435 w 466"/>
                <a:gd name="T99" fmla="*/ 200 h 441"/>
                <a:gd name="T100" fmla="*/ 405 w 466"/>
                <a:gd name="T101" fmla="*/ 175 h 441"/>
                <a:gd name="T102" fmla="*/ 435 w 466"/>
                <a:gd name="T103" fmla="*/ 168 h 441"/>
                <a:gd name="T104" fmla="*/ 435 w 466"/>
                <a:gd name="T105" fmla="*/ 157 h 441"/>
                <a:gd name="T106" fmla="*/ 405 w 466"/>
                <a:gd name="T107" fmla="*/ 157 h 441"/>
                <a:gd name="T108" fmla="*/ 435 w 466"/>
                <a:gd name="T109" fmla="*/ 153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66" h="441">
                  <a:moveTo>
                    <a:pt x="440" y="137"/>
                  </a:moveTo>
                  <a:lnTo>
                    <a:pt x="405" y="142"/>
                  </a:lnTo>
                  <a:lnTo>
                    <a:pt x="405" y="118"/>
                  </a:lnTo>
                  <a:lnTo>
                    <a:pt x="368" y="101"/>
                  </a:lnTo>
                  <a:lnTo>
                    <a:pt x="326" y="108"/>
                  </a:lnTo>
                  <a:lnTo>
                    <a:pt x="326" y="77"/>
                  </a:lnTo>
                  <a:lnTo>
                    <a:pt x="273" y="54"/>
                  </a:lnTo>
                  <a:lnTo>
                    <a:pt x="220" y="62"/>
                  </a:lnTo>
                  <a:lnTo>
                    <a:pt x="221" y="31"/>
                  </a:lnTo>
                  <a:lnTo>
                    <a:pt x="147" y="0"/>
                  </a:lnTo>
                  <a:lnTo>
                    <a:pt x="1" y="24"/>
                  </a:lnTo>
                  <a:lnTo>
                    <a:pt x="0" y="413"/>
                  </a:lnTo>
                  <a:lnTo>
                    <a:pt x="144" y="441"/>
                  </a:lnTo>
                  <a:lnTo>
                    <a:pt x="218" y="404"/>
                  </a:lnTo>
                  <a:lnTo>
                    <a:pt x="218" y="365"/>
                  </a:lnTo>
                  <a:lnTo>
                    <a:pt x="271" y="375"/>
                  </a:lnTo>
                  <a:lnTo>
                    <a:pt x="324" y="349"/>
                  </a:lnTo>
                  <a:lnTo>
                    <a:pt x="324" y="320"/>
                  </a:lnTo>
                  <a:lnTo>
                    <a:pt x="366" y="328"/>
                  </a:lnTo>
                  <a:lnTo>
                    <a:pt x="404" y="309"/>
                  </a:lnTo>
                  <a:lnTo>
                    <a:pt x="404" y="289"/>
                  </a:lnTo>
                  <a:lnTo>
                    <a:pt x="439" y="295"/>
                  </a:lnTo>
                  <a:lnTo>
                    <a:pt x="465" y="282"/>
                  </a:lnTo>
                  <a:lnTo>
                    <a:pt x="466" y="148"/>
                  </a:lnTo>
                  <a:lnTo>
                    <a:pt x="440" y="137"/>
                  </a:lnTo>
                  <a:close/>
                  <a:moveTo>
                    <a:pt x="132" y="427"/>
                  </a:moveTo>
                  <a:lnTo>
                    <a:pt x="9" y="405"/>
                  </a:lnTo>
                  <a:lnTo>
                    <a:pt x="9" y="265"/>
                  </a:lnTo>
                  <a:lnTo>
                    <a:pt x="133" y="271"/>
                  </a:lnTo>
                  <a:lnTo>
                    <a:pt x="132" y="427"/>
                  </a:lnTo>
                  <a:close/>
                  <a:moveTo>
                    <a:pt x="133" y="260"/>
                  </a:moveTo>
                  <a:lnTo>
                    <a:pt x="9" y="254"/>
                  </a:lnTo>
                  <a:lnTo>
                    <a:pt x="9" y="226"/>
                  </a:lnTo>
                  <a:lnTo>
                    <a:pt x="133" y="228"/>
                  </a:lnTo>
                  <a:lnTo>
                    <a:pt x="133" y="260"/>
                  </a:lnTo>
                  <a:close/>
                  <a:moveTo>
                    <a:pt x="133" y="217"/>
                  </a:moveTo>
                  <a:lnTo>
                    <a:pt x="9" y="216"/>
                  </a:lnTo>
                  <a:lnTo>
                    <a:pt x="9" y="187"/>
                  </a:lnTo>
                  <a:lnTo>
                    <a:pt x="134" y="186"/>
                  </a:lnTo>
                  <a:lnTo>
                    <a:pt x="133" y="217"/>
                  </a:lnTo>
                  <a:close/>
                  <a:moveTo>
                    <a:pt x="134" y="175"/>
                  </a:moveTo>
                  <a:lnTo>
                    <a:pt x="9" y="177"/>
                  </a:lnTo>
                  <a:lnTo>
                    <a:pt x="9" y="149"/>
                  </a:lnTo>
                  <a:lnTo>
                    <a:pt x="134" y="142"/>
                  </a:lnTo>
                  <a:lnTo>
                    <a:pt x="134" y="175"/>
                  </a:lnTo>
                  <a:close/>
                  <a:moveTo>
                    <a:pt x="134" y="131"/>
                  </a:moveTo>
                  <a:lnTo>
                    <a:pt x="9" y="139"/>
                  </a:lnTo>
                  <a:lnTo>
                    <a:pt x="10" y="110"/>
                  </a:lnTo>
                  <a:lnTo>
                    <a:pt x="134" y="99"/>
                  </a:lnTo>
                  <a:lnTo>
                    <a:pt x="134" y="131"/>
                  </a:lnTo>
                  <a:close/>
                  <a:moveTo>
                    <a:pt x="134" y="88"/>
                  </a:moveTo>
                  <a:lnTo>
                    <a:pt x="10" y="100"/>
                  </a:lnTo>
                  <a:lnTo>
                    <a:pt x="10" y="71"/>
                  </a:lnTo>
                  <a:lnTo>
                    <a:pt x="135" y="56"/>
                  </a:lnTo>
                  <a:lnTo>
                    <a:pt x="134" y="88"/>
                  </a:lnTo>
                  <a:close/>
                  <a:moveTo>
                    <a:pt x="135" y="45"/>
                  </a:moveTo>
                  <a:lnTo>
                    <a:pt x="10" y="61"/>
                  </a:lnTo>
                  <a:lnTo>
                    <a:pt x="10" y="32"/>
                  </a:lnTo>
                  <a:lnTo>
                    <a:pt x="135" y="13"/>
                  </a:lnTo>
                  <a:lnTo>
                    <a:pt x="135" y="45"/>
                  </a:lnTo>
                  <a:close/>
                  <a:moveTo>
                    <a:pt x="262" y="366"/>
                  </a:moveTo>
                  <a:lnTo>
                    <a:pt x="218" y="357"/>
                  </a:lnTo>
                  <a:lnTo>
                    <a:pt x="219" y="249"/>
                  </a:lnTo>
                  <a:lnTo>
                    <a:pt x="263" y="252"/>
                  </a:lnTo>
                  <a:lnTo>
                    <a:pt x="262" y="366"/>
                  </a:lnTo>
                  <a:close/>
                  <a:moveTo>
                    <a:pt x="263" y="244"/>
                  </a:moveTo>
                  <a:lnTo>
                    <a:pt x="219" y="242"/>
                  </a:lnTo>
                  <a:lnTo>
                    <a:pt x="219" y="220"/>
                  </a:lnTo>
                  <a:lnTo>
                    <a:pt x="263" y="220"/>
                  </a:lnTo>
                  <a:lnTo>
                    <a:pt x="263" y="244"/>
                  </a:lnTo>
                  <a:close/>
                  <a:moveTo>
                    <a:pt x="263" y="212"/>
                  </a:moveTo>
                  <a:lnTo>
                    <a:pt x="219" y="212"/>
                  </a:lnTo>
                  <a:lnTo>
                    <a:pt x="220" y="190"/>
                  </a:lnTo>
                  <a:lnTo>
                    <a:pt x="263" y="189"/>
                  </a:lnTo>
                  <a:lnTo>
                    <a:pt x="263" y="212"/>
                  </a:lnTo>
                  <a:close/>
                  <a:moveTo>
                    <a:pt x="263" y="181"/>
                  </a:moveTo>
                  <a:lnTo>
                    <a:pt x="220" y="182"/>
                  </a:lnTo>
                  <a:lnTo>
                    <a:pt x="220" y="160"/>
                  </a:lnTo>
                  <a:lnTo>
                    <a:pt x="263" y="158"/>
                  </a:lnTo>
                  <a:lnTo>
                    <a:pt x="263" y="181"/>
                  </a:lnTo>
                  <a:close/>
                  <a:moveTo>
                    <a:pt x="263" y="150"/>
                  </a:moveTo>
                  <a:lnTo>
                    <a:pt x="220" y="152"/>
                  </a:lnTo>
                  <a:lnTo>
                    <a:pt x="220" y="130"/>
                  </a:lnTo>
                  <a:lnTo>
                    <a:pt x="263" y="126"/>
                  </a:lnTo>
                  <a:lnTo>
                    <a:pt x="263" y="150"/>
                  </a:lnTo>
                  <a:close/>
                  <a:moveTo>
                    <a:pt x="263" y="118"/>
                  </a:moveTo>
                  <a:lnTo>
                    <a:pt x="220" y="122"/>
                  </a:lnTo>
                  <a:lnTo>
                    <a:pt x="220" y="100"/>
                  </a:lnTo>
                  <a:lnTo>
                    <a:pt x="263" y="95"/>
                  </a:lnTo>
                  <a:lnTo>
                    <a:pt x="263" y="118"/>
                  </a:lnTo>
                  <a:close/>
                  <a:moveTo>
                    <a:pt x="263" y="86"/>
                  </a:moveTo>
                  <a:lnTo>
                    <a:pt x="220" y="93"/>
                  </a:lnTo>
                  <a:lnTo>
                    <a:pt x="220" y="70"/>
                  </a:lnTo>
                  <a:lnTo>
                    <a:pt x="263" y="64"/>
                  </a:lnTo>
                  <a:lnTo>
                    <a:pt x="263" y="86"/>
                  </a:lnTo>
                  <a:close/>
                  <a:moveTo>
                    <a:pt x="360" y="321"/>
                  </a:moveTo>
                  <a:lnTo>
                    <a:pt x="324" y="314"/>
                  </a:lnTo>
                  <a:lnTo>
                    <a:pt x="325" y="239"/>
                  </a:lnTo>
                  <a:lnTo>
                    <a:pt x="361" y="241"/>
                  </a:lnTo>
                  <a:lnTo>
                    <a:pt x="360" y="321"/>
                  </a:lnTo>
                  <a:close/>
                  <a:moveTo>
                    <a:pt x="361" y="235"/>
                  </a:moveTo>
                  <a:lnTo>
                    <a:pt x="325" y="233"/>
                  </a:lnTo>
                  <a:lnTo>
                    <a:pt x="325" y="218"/>
                  </a:lnTo>
                  <a:lnTo>
                    <a:pt x="361" y="219"/>
                  </a:lnTo>
                  <a:lnTo>
                    <a:pt x="361" y="235"/>
                  </a:lnTo>
                  <a:close/>
                  <a:moveTo>
                    <a:pt x="361" y="213"/>
                  </a:moveTo>
                  <a:lnTo>
                    <a:pt x="325" y="213"/>
                  </a:lnTo>
                  <a:lnTo>
                    <a:pt x="326" y="197"/>
                  </a:lnTo>
                  <a:lnTo>
                    <a:pt x="361" y="197"/>
                  </a:lnTo>
                  <a:lnTo>
                    <a:pt x="361" y="213"/>
                  </a:lnTo>
                  <a:close/>
                  <a:moveTo>
                    <a:pt x="361" y="191"/>
                  </a:moveTo>
                  <a:lnTo>
                    <a:pt x="326" y="192"/>
                  </a:lnTo>
                  <a:lnTo>
                    <a:pt x="326" y="176"/>
                  </a:lnTo>
                  <a:lnTo>
                    <a:pt x="361" y="175"/>
                  </a:lnTo>
                  <a:lnTo>
                    <a:pt x="361" y="191"/>
                  </a:lnTo>
                  <a:close/>
                  <a:moveTo>
                    <a:pt x="361" y="169"/>
                  </a:moveTo>
                  <a:lnTo>
                    <a:pt x="326" y="171"/>
                  </a:lnTo>
                  <a:lnTo>
                    <a:pt x="326" y="155"/>
                  </a:lnTo>
                  <a:lnTo>
                    <a:pt x="361" y="152"/>
                  </a:lnTo>
                  <a:lnTo>
                    <a:pt x="361" y="169"/>
                  </a:lnTo>
                  <a:close/>
                  <a:moveTo>
                    <a:pt x="361" y="147"/>
                  </a:moveTo>
                  <a:lnTo>
                    <a:pt x="326" y="150"/>
                  </a:lnTo>
                  <a:lnTo>
                    <a:pt x="326" y="134"/>
                  </a:lnTo>
                  <a:lnTo>
                    <a:pt x="361" y="130"/>
                  </a:lnTo>
                  <a:lnTo>
                    <a:pt x="361" y="147"/>
                  </a:lnTo>
                  <a:close/>
                  <a:moveTo>
                    <a:pt x="361" y="125"/>
                  </a:moveTo>
                  <a:lnTo>
                    <a:pt x="326" y="129"/>
                  </a:lnTo>
                  <a:lnTo>
                    <a:pt x="326" y="113"/>
                  </a:lnTo>
                  <a:lnTo>
                    <a:pt x="361" y="108"/>
                  </a:lnTo>
                  <a:lnTo>
                    <a:pt x="361" y="125"/>
                  </a:lnTo>
                  <a:close/>
                  <a:moveTo>
                    <a:pt x="434" y="291"/>
                  </a:moveTo>
                  <a:lnTo>
                    <a:pt x="404" y="285"/>
                  </a:lnTo>
                  <a:lnTo>
                    <a:pt x="405" y="233"/>
                  </a:lnTo>
                  <a:lnTo>
                    <a:pt x="435" y="234"/>
                  </a:lnTo>
                  <a:lnTo>
                    <a:pt x="434" y="291"/>
                  </a:lnTo>
                  <a:close/>
                  <a:moveTo>
                    <a:pt x="435" y="231"/>
                  </a:moveTo>
                  <a:lnTo>
                    <a:pt x="405" y="229"/>
                  </a:lnTo>
                  <a:lnTo>
                    <a:pt x="405" y="218"/>
                  </a:lnTo>
                  <a:lnTo>
                    <a:pt x="435" y="219"/>
                  </a:lnTo>
                  <a:lnTo>
                    <a:pt x="435" y="231"/>
                  </a:lnTo>
                  <a:close/>
                  <a:moveTo>
                    <a:pt x="435" y="215"/>
                  </a:moveTo>
                  <a:lnTo>
                    <a:pt x="405" y="215"/>
                  </a:lnTo>
                  <a:lnTo>
                    <a:pt x="405" y="204"/>
                  </a:lnTo>
                  <a:lnTo>
                    <a:pt x="435" y="204"/>
                  </a:lnTo>
                  <a:lnTo>
                    <a:pt x="435" y="215"/>
                  </a:lnTo>
                  <a:close/>
                  <a:moveTo>
                    <a:pt x="435" y="200"/>
                  </a:moveTo>
                  <a:lnTo>
                    <a:pt x="405" y="200"/>
                  </a:lnTo>
                  <a:lnTo>
                    <a:pt x="405" y="189"/>
                  </a:lnTo>
                  <a:lnTo>
                    <a:pt x="435" y="188"/>
                  </a:lnTo>
                  <a:lnTo>
                    <a:pt x="435" y="200"/>
                  </a:lnTo>
                  <a:close/>
                  <a:moveTo>
                    <a:pt x="435" y="184"/>
                  </a:moveTo>
                  <a:lnTo>
                    <a:pt x="405" y="186"/>
                  </a:lnTo>
                  <a:lnTo>
                    <a:pt x="405" y="175"/>
                  </a:lnTo>
                  <a:lnTo>
                    <a:pt x="435" y="173"/>
                  </a:lnTo>
                  <a:lnTo>
                    <a:pt x="435" y="184"/>
                  </a:lnTo>
                  <a:close/>
                  <a:moveTo>
                    <a:pt x="435" y="168"/>
                  </a:moveTo>
                  <a:lnTo>
                    <a:pt x="405" y="171"/>
                  </a:lnTo>
                  <a:lnTo>
                    <a:pt x="405" y="160"/>
                  </a:lnTo>
                  <a:lnTo>
                    <a:pt x="435" y="157"/>
                  </a:lnTo>
                  <a:lnTo>
                    <a:pt x="435" y="168"/>
                  </a:lnTo>
                  <a:close/>
                  <a:moveTo>
                    <a:pt x="435" y="153"/>
                  </a:moveTo>
                  <a:lnTo>
                    <a:pt x="405" y="157"/>
                  </a:lnTo>
                  <a:lnTo>
                    <a:pt x="405" y="146"/>
                  </a:lnTo>
                  <a:lnTo>
                    <a:pt x="435" y="141"/>
                  </a:lnTo>
                  <a:lnTo>
                    <a:pt x="435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zh-CN" altLang="en-US">
                <a:ea typeface="宋体" panose="02010600030101010101" pitchFamily="2" charset="-122"/>
              </a:endParaRPr>
            </a:p>
          </p:txBody>
        </p:sp>
        <p:sp>
          <p:nvSpPr>
            <p:cNvPr id="31" name="Freeform 6"/>
            <p:cNvSpPr/>
            <p:nvPr/>
          </p:nvSpPr>
          <p:spPr bwMode="auto">
            <a:xfrm>
              <a:off x="1147762" y="1485900"/>
              <a:ext cx="1312863" cy="522288"/>
            </a:xfrm>
            <a:custGeom>
              <a:avLst/>
              <a:gdLst>
                <a:gd name="T0" fmla="*/ 1069 w 1340"/>
                <a:gd name="T1" fmla="*/ 12 h 534"/>
                <a:gd name="T2" fmla="*/ 1069 w 1340"/>
                <a:gd name="T3" fmla="*/ 46 h 534"/>
                <a:gd name="T4" fmla="*/ 1287 w 1340"/>
                <a:gd name="T5" fmla="*/ 231 h 534"/>
                <a:gd name="T6" fmla="*/ 675 w 1340"/>
                <a:gd name="T7" fmla="*/ 474 h 534"/>
                <a:gd name="T8" fmla="*/ 63 w 1340"/>
                <a:gd name="T9" fmla="*/ 231 h 534"/>
                <a:gd name="T10" fmla="*/ 312 w 1340"/>
                <a:gd name="T11" fmla="*/ 36 h 534"/>
                <a:gd name="T12" fmla="*/ 312 w 1340"/>
                <a:gd name="T13" fmla="*/ 0 h 534"/>
                <a:gd name="T14" fmla="*/ 0 w 1340"/>
                <a:gd name="T15" fmla="*/ 245 h 534"/>
                <a:gd name="T16" fmla="*/ 670 w 1340"/>
                <a:gd name="T17" fmla="*/ 534 h 534"/>
                <a:gd name="T18" fmla="*/ 1340 w 1340"/>
                <a:gd name="T19" fmla="*/ 245 h 534"/>
                <a:gd name="T20" fmla="*/ 1069 w 1340"/>
                <a:gd name="T21" fmla="*/ 12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0" h="534">
                  <a:moveTo>
                    <a:pt x="1069" y="12"/>
                  </a:moveTo>
                  <a:cubicBezTo>
                    <a:pt x="1069" y="46"/>
                    <a:pt x="1069" y="46"/>
                    <a:pt x="1069" y="46"/>
                  </a:cubicBezTo>
                  <a:cubicBezTo>
                    <a:pt x="1202" y="90"/>
                    <a:pt x="1287" y="157"/>
                    <a:pt x="1287" y="231"/>
                  </a:cubicBezTo>
                  <a:cubicBezTo>
                    <a:pt x="1287" y="365"/>
                    <a:pt x="1013" y="474"/>
                    <a:pt x="675" y="474"/>
                  </a:cubicBezTo>
                  <a:cubicBezTo>
                    <a:pt x="337" y="474"/>
                    <a:pt x="63" y="365"/>
                    <a:pt x="63" y="231"/>
                  </a:cubicBezTo>
                  <a:cubicBezTo>
                    <a:pt x="63" y="151"/>
                    <a:pt x="161" y="80"/>
                    <a:pt x="312" y="36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124" y="51"/>
                    <a:pt x="0" y="142"/>
                    <a:pt x="0" y="245"/>
                  </a:cubicBezTo>
                  <a:cubicBezTo>
                    <a:pt x="0" y="405"/>
                    <a:pt x="300" y="534"/>
                    <a:pt x="670" y="534"/>
                  </a:cubicBezTo>
                  <a:cubicBezTo>
                    <a:pt x="1040" y="534"/>
                    <a:pt x="1340" y="405"/>
                    <a:pt x="1340" y="245"/>
                  </a:cubicBezTo>
                  <a:cubicBezTo>
                    <a:pt x="1340" y="149"/>
                    <a:pt x="1234" y="65"/>
                    <a:pt x="106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zh-CN" altLang="en-US">
                <a:ea typeface="宋体" panose="02010600030101010101" pitchFamily="2" charset="-122"/>
              </a:endParaRPr>
            </a:p>
          </p:txBody>
        </p:sp>
      </p:grpSp>
      <p:sp>
        <p:nvSpPr>
          <p:cNvPr id="36" name="Freeform 10"/>
          <p:cNvSpPr>
            <a:spLocks noEditPoints="1"/>
          </p:cNvSpPr>
          <p:nvPr/>
        </p:nvSpPr>
        <p:spPr bwMode="auto">
          <a:xfrm>
            <a:off x="4930775" y="1266825"/>
            <a:ext cx="1555750" cy="447675"/>
          </a:xfrm>
          <a:custGeom>
            <a:avLst/>
            <a:gdLst>
              <a:gd name="T0" fmla="*/ 2147483646 w 1606"/>
              <a:gd name="T1" fmla="*/ 2147483646 h 444"/>
              <a:gd name="T2" fmla="*/ 2147483646 w 1606"/>
              <a:gd name="T3" fmla="*/ 2147483646 h 444"/>
              <a:gd name="T4" fmla="*/ 2147483646 w 1606"/>
              <a:gd name="T5" fmla="*/ 2147483646 h 444"/>
              <a:gd name="T6" fmla="*/ 2147483646 w 1606"/>
              <a:gd name="T7" fmla="*/ 2147483646 h 444"/>
              <a:gd name="T8" fmla="*/ 2147483646 w 1606"/>
              <a:gd name="T9" fmla="*/ 2147483646 h 444"/>
              <a:gd name="T10" fmla="*/ 2147483646 w 1606"/>
              <a:gd name="T11" fmla="*/ 2147483646 h 444"/>
              <a:gd name="T12" fmla="*/ 2147483646 w 1606"/>
              <a:gd name="T13" fmla="*/ 2147483646 h 444"/>
              <a:gd name="T14" fmla="*/ 2147483646 w 1606"/>
              <a:gd name="T15" fmla="*/ 2147483646 h 444"/>
              <a:gd name="T16" fmla="*/ 2147483646 w 1606"/>
              <a:gd name="T17" fmla="*/ 2147483646 h 444"/>
              <a:gd name="T18" fmla="*/ 2147483646 w 1606"/>
              <a:gd name="T19" fmla="*/ 2147483646 h 444"/>
              <a:gd name="T20" fmla="*/ 2147483646 w 1606"/>
              <a:gd name="T21" fmla="*/ 2147483646 h 444"/>
              <a:gd name="T22" fmla="*/ 2147483646 w 1606"/>
              <a:gd name="T23" fmla="*/ 2147483646 h 444"/>
              <a:gd name="T24" fmla="*/ 2147483646 w 1606"/>
              <a:gd name="T25" fmla="*/ 2147483646 h 444"/>
              <a:gd name="T26" fmla="*/ 2147483646 w 1606"/>
              <a:gd name="T27" fmla="*/ 2147483646 h 444"/>
              <a:gd name="T28" fmla="*/ 2147483646 w 1606"/>
              <a:gd name="T29" fmla="*/ 2147483646 h 444"/>
              <a:gd name="T30" fmla="*/ 2147483646 w 1606"/>
              <a:gd name="T31" fmla="*/ 2147483646 h 444"/>
              <a:gd name="T32" fmla="*/ 2147483646 w 1606"/>
              <a:gd name="T33" fmla="*/ 2147483646 h 444"/>
              <a:gd name="T34" fmla="*/ 2147483646 w 1606"/>
              <a:gd name="T35" fmla="*/ 2147483646 h 444"/>
              <a:gd name="T36" fmla="*/ 2147483646 w 1606"/>
              <a:gd name="T37" fmla="*/ 2147483646 h 444"/>
              <a:gd name="T38" fmla="*/ 2147483646 w 1606"/>
              <a:gd name="T39" fmla="*/ 2147483646 h 444"/>
              <a:gd name="T40" fmla="*/ 2147483646 w 1606"/>
              <a:gd name="T41" fmla="*/ 2147483646 h 444"/>
              <a:gd name="T42" fmla="*/ 2147483646 w 1606"/>
              <a:gd name="T43" fmla="*/ 2147483646 h 444"/>
              <a:gd name="T44" fmla="*/ 2147483646 w 1606"/>
              <a:gd name="T45" fmla="*/ 2147483646 h 444"/>
              <a:gd name="T46" fmla="*/ 2147483646 w 1606"/>
              <a:gd name="T47" fmla="*/ 2147483646 h 444"/>
              <a:gd name="T48" fmla="*/ 2147483646 w 1606"/>
              <a:gd name="T49" fmla="*/ 2147483646 h 444"/>
              <a:gd name="T50" fmla="*/ 2147483646 w 1606"/>
              <a:gd name="T51" fmla="*/ 2147483646 h 444"/>
              <a:gd name="T52" fmla="*/ 2147483646 w 1606"/>
              <a:gd name="T53" fmla="*/ 2147483646 h 444"/>
              <a:gd name="T54" fmla="*/ 2147483646 w 1606"/>
              <a:gd name="T55" fmla="*/ 2147483646 h 444"/>
              <a:gd name="T56" fmla="*/ 2147483646 w 1606"/>
              <a:gd name="T57" fmla="*/ 2147483646 h 444"/>
              <a:gd name="T58" fmla="*/ 2147483646 w 1606"/>
              <a:gd name="T59" fmla="*/ 2147483646 h 444"/>
              <a:gd name="T60" fmla="*/ 2147483646 w 1606"/>
              <a:gd name="T61" fmla="*/ 2147483646 h 444"/>
              <a:gd name="T62" fmla="*/ 2147483646 w 1606"/>
              <a:gd name="T63" fmla="*/ 2147483646 h 444"/>
              <a:gd name="T64" fmla="*/ 2147483646 w 1606"/>
              <a:gd name="T65" fmla="*/ 2147483646 h 444"/>
              <a:gd name="T66" fmla="*/ 2147483646 w 1606"/>
              <a:gd name="T67" fmla="*/ 2147483646 h 444"/>
              <a:gd name="T68" fmla="*/ 2147483646 w 1606"/>
              <a:gd name="T69" fmla="*/ 2147483646 h 444"/>
              <a:gd name="T70" fmla="*/ 2147483646 w 1606"/>
              <a:gd name="T71" fmla="*/ 2147483646 h 444"/>
              <a:gd name="T72" fmla="*/ 2147483646 w 1606"/>
              <a:gd name="T73" fmla="*/ 2147483646 h 444"/>
              <a:gd name="T74" fmla="*/ 2147483646 w 1606"/>
              <a:gd name="T75" fmla="*/ 2147483646 h 444"/>
              <a:gd name="T76" fmla="*/ 2147483646 w 1606"/>
              <a:gd name="T77" fmla="*/ 2147483646 h 444"/>
              <a:gd name="T78" fmla="*/ 2147483646 w 1606"/>
              <a:gd name="T79" fmla="*/ 2147483646 h 444"/>
              <a:gd name="T80" fmla="*/ 2147483646 w 1606"/>
              <a:gd name="T81" fmla="*/ 2147483646 h 444"/>
              <a:gd name="T82" fmla="*/ 2147483646 w 1606"/>
              <a:gd name="T83" fmla="*/ 2147483646 h 444"/>
              <a:gd name="T84" fmla="*/ 2147483646 w 1606"/>
              <a:gd name="T85" fmla="*/ 2147483646 h 444"/>
              <a:gd name="T86" fmla="*/ 2147483646 w 1606"/>
              <a:gd name="T87" fmla="*/ 2147483646 h 444"/>
              <a:gd name="T88" fmla="*/ 2147483646 w 1606"/>
              <a:gd name="T89" fmla="*/ 2147483646 h 444"/>
              <a:gd name="T90" fmla="*/ 2147483646 w 1606"/>
              <a:gd name="T91" fmla="*/ 2147483646 h 444"/>
              <a:gd name="T92" fmla="*/ 2147483646 w 1606"/>
              <a:gd name="T93" fmla="*/ 2147483646 h 4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06" h="444">
                <a:moveTo>
                  <a:pt x="340" y="323"/>
                </a:moveTo>
                <a:cubicBezTo>
                  <a:pt x="341" y="307"/>
                  <a:pt x="341" y="307"/>
                  <a:pt x="341" y="307"/>
                </a:cubicBezTo>
                <a:cubicBezTo>
                  <a:pt x="341" y="302"/>
                  <a:pt x="341" y="302"/>
                  <a:pt x="341" y="302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342" y="280"/>
                  <a:pt x="342" y="280"/>
                  <a:pt x="342" y="280"/>
                </a:cubicBezTo>
                <a:cubicBezTo>
                  <a:pt x="360" y="276"/>
                  <a:pt x="360" y="276"/>
                  <a:pt x="360" y="276"/>
                </a:cubicBezTo>
                <a:cubicBezTo>
                  <a:pt x="368" y="275"/>
                  <a:pt x="377" y="273"/>
                  <a:pt x="385" y="271"/>
                </a:cubicBezTo>
                <a:cubicBezTo>
                  <a:pt x="385" y="254"/>
                  <a:pt x="386" y="226"/>
                  <a:pt x="386" y="201"/>
                </a:cubicBezTo>
                <a:cubicBezTo>
                  <a:pt x="388" y="137"/>
                  <a:pt x="388" y="117"/>
                  <a:pt x="388" y="116"/>
                </a:cubicBezTo>
                <a:cubicBezTo>
                  <a:pt x="389" y="102"/>
                  <a:pt x="389" y="102"/>
                  <a:pt x="389" y="102"/>
                </a:cubicBezTo>
                <a:cubicBezTo>
                  <a:pt x="401" y="96"/>
                  <a:pt x="401" y="96"/>
                  <a:pt x="401" y="96"/>
                </a:cubicBezTo>
                <a:cubicBezTo>
                  <a:pt x="499" y="50"/>
                  <a:pt x="499" y="50"/>
                  <a:pt x="499" y="50"/>
                </a:cubicBezTo>
                <a:cubicBezTo>
                  <a:pt x="466" y="20"/>
                  <a:pt x="420" y="4"/>
                  <a:pt x="373" y="12"/>
                </a:cubicBezTo>
                <a:cubicBezTo>
                  <a:pt x="324" y="20"/>
                  <a:pt x="284" y="50"/>
                  <a:pt x="263" y="91"/>
                </a:cubicBezTo>
                <a:cubicBezTo>
                  <a:pt x="263" y="91"/>
                  <a:pt x="263" y="91"/>
                  <a:pt x="263" y="91"/>
                </a:cubicBezTo>
                <a:cubicBezTo>
                  <a:pt x="247" y="72"/>
                  <a:pt x="224" y="59"/>
                  <a:pt x="197" y="57"/>
                </a:cubicBezTo>
                <a:cubicBezTo>
                  <a:pt x="144" y="53"/>
                  <a:pt x="97" y="92"/>
                  <a:pt x="92" y="146"/>
                </a:cubicBezTo>
                <a:cubicBezTo>
                  <a:pt x="91" y="160"/>
                  <a:pt x="93" y="174"/>
                  <a:pt x="98" y="187"/>
                </a:cubicBezTo>
                <a:cubicBezTo>
                  <a:pt x="98" y="187"/>
                  <a:pt x="98" y="187"/>
                  <a:pt x="98" y="187"/>
                </a:cubicBezTo>
                <a:cubicBezTo>
                  <a:pt x="63" y="183"/>
                  <a:pt x="28" y="203"/>
                  <a:pt x="15" y="237"/>
                </a:cubicBezTo>
                <a:cubicBezTo>
                  <a:pt x="0" y="278"/>
                  <a:pt x="20" y="324"/>
                  <a:pt x="61" y="339"/>
                </a:cubicBezTo>
                <a:cubicBezTo>
                  <a:pt x="82" y="348"/>
                  <a:pt x="105" y="346"/>
                  <a:pt x="124" y="337"/>
                </a:cubicBezTo>
                <a:cubicBezTo>
                  <a:pt x="124" y="336"/>
                  <a:pt x="124" y="336"/>
                  <a:pt x="124" y="336"/>
                </a:cubicBezTo>
                <a:cubicBezTo>
                  <a:pt x="126" y="346"/>
                  <a:pt x="129" y="356"/>
                  <a:pt x="134" y="365"/>
                </a:cubicBezTo>
                <a:cubicBezTo>
                  <a:pt x="161" y="420"/>
                  <a:pt x="229" y="443"/>
                  <a:pt x="284" y="415"/>
                </a:cubicBezTo>
                <a:cubicBezTo>
                  <a:pt x="300" y="407"/>
                  <a:pt x="313" y="396"/>
                  <a:pt x="323" y="383"/>
                </a:cubicBezTo>
                <a:cubicBezTo>
                  <a:pt x="341" y="409"/>
                  <a:pt x="374" y="421"/>
                  <a:pt x="405" y="411"/>
                </a:cubicBezTo>
                <a:cubicBezTo>
                  <a:pt x="428" y="404"/>
                  <a:pt x="445" y="386"/>
                  <a:pt x="452" y="365"/>
                </a:cubicBezTo>
                <a:cubicBezTo>
                  <a:pt x="420" y="353"/>
                  <a:pt x="388" y="341"/>
                  <a:pt x="356" y="329"/>
                </a:cubicBezTo>
                <a:lnTo>
                  <a:pt x="340" y="323"/>
                </a:lnTo>
                <a:close/>
                <a:moveTo>
                  <a:pt x="519" y="99"/>
                </a:moveTo>
                <a:cubicBezTo>
                  <a:pt x="464" y="121"/>
                  <a:pt x="464" y="121"/>
                  <a:pt x="464" y="121"/>
                </a:cubicBezTo>
                <a:cubicBezTo>
                  <a:pt x="463" y="158"/>
                  <a:pt x="463" y="158"/>
                  <a:pt x="463" y="158"/>
                </a:cubicBezTo>
                <a:cubicBezTo>
                  <a:pt x="519" y="144"/>
                  <a:pt x="519" y="144"/>
                  <a:pt x="519" y="144"/>
                </a:cubicBezTo>
                <a:lnTo>
                  <a:pt x="519" y="99"/>
                </a:lnTo>
                <a:close/>
                <a:moveTo>
                  <a:pt x="519" y="168"/>
                </a:moveTo>
                <a:cubicBezTo>
                  <a:pt x="463" y="180"/>
                  <a:pt x="463" y="180"/>
                  <a:pt x="463" y="180"/>
                </a:cubicBezTo>
                <a:cubicBezTo>
                  <a:pt x="463" y="218"/>
                  <a:pt x="463" y="218"/>
                  <a:pt x="463" y="218"/>
                </a:cubicBezTo>
                <a:cubicBezTo>
                  <a:pt x="519" y="214"/>
                  <a:pt x="519" y="214"/>
                  <a:pt x="519" y="214"/>
                </a:cubicBezTo>
                <a:lnTo>
                  <a:pt x="519" y="168"/>
                </a:lnTo>
                <a:close/>
                <a:moveTo>
                  <a:pt x="1528" y="169"/>
                </a:moveTo>
                <a:cubicBezTo>
                  <a:pt x="1518" y="169"/>
                  <a:pt x="1509" y="170"/>
                  <a:pt x="1500" y="174"/>
                </a:cubicBezTo>
                <a:cubicBezTo>
                  <a:pt x="1501" y="162"/>
                  <a:pt x="1501" y="150"/>
                  <a:pt x="1499" y="138"/>
                </a:cubicBezTo>
                <a:cubicBezTo>
                  <a:pt x="1486" y="56"/>
                  <a:pt x="1409" y="0"/>
                  <a:pt x="1326" y="13"/>
                </a:cubicBezTo>
                <a:cubicBezTo>
                  <a:pt x="1277" y="21"/>
                  <a:pt x="1238" y="51"/>
                  <a:pt x="1216" y="92"/>
                </a:cubicBezTo>
                <a:cubicBezTo>
                  <a:pt x="1216" y="92"/>
                  <a:pt x="1216" y="92"/>
                  <a:pt x="1216" y="92"/>
                </a:cubicBezTo>
                <a:cubicBezTo>
                  <a:pt x="1200" y="73"/>
                  <a:pt x="1177" y="60"/>
                  <a:pt x="1151" y="58"/>
                </a:cubicBezTo>
                <a:cubicBezTo>
                  <a:pt x="1097" y="54"/>
                  <a:pt x="1050" y="93"/>
                  <a:pt x="1046" y="147"/>
                </a:cubicBezTo>
                <a:cubicBezTo>
                  <a:pt x="1046" y="149"/>
                  <a:pt x="1046" y="152"/>
                  <a:pt x="1046" y="155"/>
                </a:cubicBezTo>
                <a:cubicBezTo>
                  <a:pt x="821" y="155"/>
                  <a:pt x="821" y="155"/>
                  <a:pt x="821" y="155"/>
                </a:cubicBezTo>
                <a:cubicBezTo>
                  <a:pt x="821" y="135"/>
                  <a:pt x="821" y="118"/>
                  <a:pt x="821" y="110"/>
                </a:cubicBezTo>
                <a:cubicBezTo>
                  <a:pt x="625" y="15"/>
                  <a:pt x="625" y="15"/>
                  <a:pt x="625" y="15"/>
                </a:cubicBezTo>
                <a:cubicBezTo>
                  <a:pt x="411" y="117"/>
                  <a:pt x="411" y="117"/>
                  <a:pt x="411" y="117"/>
                </a:cubicBezTo>
                <a:cubicBezTo>
                  <a:pt x="411" y="120"/>
                  <a:pt x="408" y="287"/>
                  <a:pt x="408" y="290"/>
                </a:cubicBezTo>
                <a:cubicBezTo>
                  <a:pt x="393" y="293"/>
                  <a:pt x="379" y="296"/>
                  <a:pt x="364" y="299"/>
                </a:cubicBezTo>
                <a:cubicBezTo>
                  <a:pt x="364" y="302"/>
                  <a:pt x="364" y="305"/>
                  <a:pt x="364" y="308"/>
                </a:cubicBezTo>
                <a:cubicBezTo>
                  <a:pt x="442" y="337"/>
                  <a:pt x="518" y="365"/>
                  <a:pt x="600" y="394"/>
                </a:cubicBezTo>
                <a:cubicBezTo>
                  <a:pt x="682" y="367"/>
                  <a:pt x="743" y="345"/>
                  <a:pt x="841" y="312"/>
                </a:cubicBezTo>
                <a:cubicBezTo>
                  <a:pt x="840" y="305"/>
                  <a:pt x="839" y="298"/>
                  <a:pt x="838" y="291"/>
                </a:cubicBezTo>
                <a:cubicBezTo>
                  <a:pt x="833" y="290"/>
                  <a:pt x="828" y="289"/>
                  <a:pt x="823" y="287"/>
                </a:cubicBezTo>
                <a:cubicBezTo>
                  <a:pt x="823" y="285"/>
                  <a:pt x="823" y="279"/>
                  <a:pt x="823" y="269"/>
                </a:cubicBezTo>
                <a:cubicBezTo>
                  <a:pt x="964" y="269"/>
                  <a:pt x="964" y="269"/>
                  <a:pt x="964" y="269"/>
                </a:cubicBezTo>
                <a:cubicBezTo>
                  <a:pt x="965" y="300"/>
                  <a:pt x="984" y="328"/>
                  <a:pt x="1014" y="340"/>
                </a:cubicBezTo>
                <a:cubicBezTo>
                  <a:pt x="1036" y="348"/>
                  <a:pt x="1059" y="347"/>
                  <a:pt x="1078" y="337"/>
                </a:cubicBezTo>
                <a:cubicBezTo>
                  <a:pt x="1078" y="337"/>
                  <a:pt x="1078" y="337"/>
                  <a:pt x="1078" y="337"/>
                </a:cubicBezTo>
                <a:cubicBezTo>
                  <a:pt x="1080" y="347"/>
                  <a:pt x="1083" y="357"/>
                  <a:pt x="1087" y="366"/>
                </a:cubicBezTo>
                <a:cubicBezTo>
                  <a:pt x="1115" y="421"/>
                  <a:pt x="1182" y="444"/>
                  <a:pt x="1238" y="416"/>
                </a:cubicBezTo>
                <a:cubicBezTo>
                  <a:pt x="1253" y="408"/>
                  <a:pt x="1266" y="397"/>
                  <a:pt x="1276" y="384"/>
                </a:cubicBezTo>
                <a:cubicBezTo>
                  <a:pt x="1294" y="410"/>
                  <a:pt x="1327" y="422"/>
                  <a:pt x="1358" y="412"/>
                </a:cubicBezTo>
                <a:cubicBezTo>
                  <a:pt x="1385" y="404"/>
                  <a:pt x="1403" y="382"/>
                  <a:pt x="1408" y="357"/>
                </a:cubicBezTo>
                <a:cubicBezTo>
                  <a:pt x="1427" y="373"/>
                  <a:pt x="1454" y="375"/>
                  <a:pt x="1476" y="362"/>
                </a:cubicBezTo>
                <a:cubicBezTo>
                  <a:pt x="1491" y="352"/>
                  <a:pt x="1500" y="337"/>
                  <a:pt x="1502" y="320"/>
                </a:cubicBezTo>
                <a:cubicBezTo>
                  <a:pt x="1510" y="323"/>
                  <a:pt x="1519" y="325"/>
                  <a:pt x="1528" y="325"/>
                </a:cubicBezTo>
                <a:cubicBezTo>
                  <a:pt x="1571" y="325"/>
                  <a:pt x="1606" y="290"/>
                  <a:pt x="1606" y="247"/>
                </a:cubicBezTo>
                <a:cubicBezTo>
                  <a:pt x="1606" y="204"/>
                  <a:pt x="1571" y="169"/>
                  <a:pt x="1528" y="169"/>
                </a:cubicBezTo>
                <a:close/>
                <a:moveTo>
                  <a:pt x="414" y="273"/>
                </a:moveTo>
                <a:cubicBezTo>
                  <a:pt x="447" y="278"/>
                  <a:pt x="447" y="278"/>
                  <a:pt x="447" y="278"/>
                </a:cubicBezTo>
                <a:cubicBezTo>
                  <a:pt x="448" y="239"/>
                  <a:pt x="448" y="239"/>
                  <a:pt x="448" y="239"/>
                </a:cubicBezTo>
                <a:cubicBezTo>
                  <a:pt x="414" y="239"/>
                  <a:pt x="414" y="239"/>
                  <a:pt x="414" y="239"/>
                </a:cubicBezTo>
                <a:cubicBezTo>
                  <a:pt x="415" y="232"/>
                  <a:pt x="415" y="229"/>
                  <a:pt x="415" y="222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9" y="183"/>
                  <a:pt x="449" y="183"/>
                  <a:pt x="449" y="183"/>
                </a:cubicBezTo>
                <a:cubicBezTo>
                  <a:pt x="416" y="190"/>
                  <a:pt x="416" y="190"/>
                  <a:pt x="416" y="190"/>
                </a:cubicBezTo>
                <a:cubicBezTo>
                  <a:pt x="416" y="184"/>
                  <a:pt x="416" y="176"/>
                  <a:pt x="416" y="171"/>
                </a:cubicBezTo>
                <a:cubicBezTo>
                  <a:pt x="449" y="162"/>
                  <a:pt x="449" y="162"/>
                  <a:pt x="449" y="162"/>
                </a:cubicBezTo>
                <a:cubicBezTo>
                  <a:pt x="449" y="126"/>
                  <a:pt x="449" y="126"/>
                  <a:pt x="449" y="126"/>
                </a:cubicBezTo>
                <a:cubicBezTo>
                  <a:pt x="417" y="139"/>
                  <a:pt x="417" y="139"/>
                  <a:pt x="417" y="139"/>
                </a:cubicBezTo>
                <a:cubicBezTo>
                  <a:pt x="417" y="129"/>
                  <a:pt x="417" y="122"/>
                  <a:pt x="417" y="121"/>
                </a:cubicBezTo>
                <a:cubicBezTo>
                  <a:pt x="625" y="25"/>
                  <a:pt x="625" y="25"/>
                  <a:pt x="625" y="25"/>
                </a:cubicBezTo>
                <a:cubicBezTo>
                  <a:pt x="625" y="58"/>
                  <a:pt x="625" y="58"/>
                  <a:pt x="625" y="58"/>
                </a:cubicBezTo>
                <a:cubicBezTo>
                  <a:pt x="539" y="91"/>
                  <a:pt x="539" y="91"/>
                  <a:pt x="539" y="91"/>
                </a:cubicBezTo>
                <a:cubicBezTo>
                  <a:pt x="539" y="138"/>
                  <a:pt x="539" y="138"/>
                  <a:pt x="539" y="138"/>
                </a:cubicBezTo>
                <a:cubicBezTo>
                  <a:pt x="625" y="117"/>
                  <a:pt x="625" y="117"/>
                  <a:pt x="625" y="117"/>
                </a:cubicBezTo>
                <a:cubicBezTo>
                  <a:pt x="625" y="147"/>
                  <a:pt x="625" y="147"/>
                  <a:pt x="625" y="147"/>
                </a:cubicBezTo>
                <a:cubicBezTo>
                  <a:pt x="625" y="147"/>
                  <a:pt x="539" y="164"/>
                  <a:pt x="539" y="164"/>
                </a:cubicBezTo>
                <a:cubicBezTo>
                  <a:pt x="539" y="212"/>
                  <a:pt x="539" y="212"/>
                  <a:pt x="539" y="212"/>
                </a:cubicBezTo>
                <a:cubicBezTo>
                  <a:pt x="539" y="212"/>
                  <a:pt x="624" y="206"/>
                  <a:pt x="625" y="206"/>
                </a:cubicBezTo>
                <a:cubicBezTo>
                  <a:pt x="625" y="240"/>
                  <a:pt x="625" y="240"/>
                  <a:pt x="625" y="240"/>
                </a:cubicBezTo>
                <a:cubicBezTo>
                  <a:pt x="539" y="239"/>
                  <a:pt x="539" y="239"/>
                  <a:pt x="539" y="239"/>
                </a:cubicBezTo>
                <a:cubicBezTo>
                  <a:pt x="539" y="292"/>
                  <a:pt x="539" y="292"/>
                  <a:pt x="539" y="292"/>
                </a:cubicBezTo>
                <a:cubicBezTo>
                  <a:pt x="625" y="306"/>
                  <a:pt x="625" y="306"/>
                  <a:pt x="625" y="306"/>
                </a:cubicBezTo>
                <a:cubicBezTo>
                  <a:pt x="625" y="339"/>
                  <a:pt x="625" y="339"/>
                  <a:pt x="625" y="339"/>
                </a:cubicBezTo>
                <a:cubicBezTo>
                  <a:pt x="625" y="339"/>
                  <a:pt x="568" y="326"/>
                  <a:pt x="519" y="315"/>
                </a:cubicBezTo>
                <a:cubicBezTo>
                  <a:pt x="519" y="239"/>
                  <a:pt x="519" y="239"/>
                  <a:pt x="519" y="239"/>
                </a:cubicBezTo>
                <a:cubicBezTo>
                  <a:pt x="462" y="239"/>
                  <a:pt x="462" y="239"/>
                  <a:pt x="462" y="239"/>
                </a:cubicBezTo>
                <a:cubicBezTo>
                  <a:pt x="462" y="301"/>
                  <a:pt x="462" y="301"/>
                  <a:pt x="462" y="301"/>
                </a:cubicBezTo>
                <a:cubicBezTo>
                  <a:pt x="437" y="295"/>
                  <a:pt x="419" y="291"/>
                  <a:pt x="413" y="289"/>
                </a:cubicBezTo>
                <a:cubicBezTo>
                  <a:pt x="413" y="288"/>
                  <a:pt x="414" y="282"/>
                  <a:pt x="414" y="273"/>
                </a:cubicBezTo>
                <a:close/>
                <a:moveTo>
                  <a:pt x="476" y="249"/>
                </a:moveTo>
                <a:cubicBezTo>
                  <a:pt x="475" y="300"/>
                  <a:pt x="475" y="300"/>
                  <a:pt x="475" y="300"/>
                </a:cubicBezTo>
                <a:cubicBezTo>
                  <a:pt x="471" y="301"/>
                  <a:pt x="471" y="301"/>
                  <a:pt x="471" y="301"/>
                </a:cubicBezTo>
                <a:cubicBezTo>
                  <a:pt x="472" y="246"/>
                  <a:pt x="472" y="246"/>
                  <a:pt x="472" y="246"/>
                </a:cubicBezTo>
                <a:cubicBezTo>
                  <a:pt x="515" y="246"/>
                  <a:pt x="515" y="246"/>
                  <a:pt x="515" y="246"/>
                </a:cubicBezTo>
                <a:cubicBezTo>
                  <a:pt x="515" y="249"/>
                  <a:pt x="515" y="249"/>
                  <a:pt x="515" y="249"/>
                </a:cubicBezTo>
                <a:cubicBezTo>
                  <a:pt x="501" y="249"/>
                  <a:pt x="501" y="249"/>
                  <a:pt x="501" y="249"/>
                </a:cubicBezTo>
                <a:cubicBezTo>
                  <a:pt x="501" y="305"/>
                  <a:pt x="501" y="305"/>
                  <a:pt x="501" y="305"/>
                </a:cubicBezTo>
                <a:cubicBezTo>
                  <a:pt x="498" y="305"/>
                  <a:pt x="498" y="305"/>
                  <a:pt x="498" y="305"/>
                </a:cubicBezTo>
                <a:cubicBezTo>
                  <a:pt x="498" y="249"/>
                  <a:pt x="498" y="249"/>
                  <a:pt x="498" y="249"/>
                </a:cubicBezTo>
                <a:lnTo>
                  <a:pt x="476" y="249"/>
                </a:lnTo>
                <a:close/>
                <a:moveTo>
                  <a:pt x="599" y="379"/>
                </a:moveTo>
                <a:cubicBezTo>
                  <a:pt x="565" y="368"/>
                  <a:pt x="389" y="308"/>
                  <a:pt x="371" y="301"/>
                </a:cubicBezTo>
                <a:cubicBezTo>
                  <a:pt x="384" y="299"/>
                  <a:pt x="397" y="296"/>
                  <a:pt x="410" y="293"/>
                </a:cubicBezTo>
                <a:cubicBezTo>
                  <a:pt x="412" y="294"/>
                  <a:pt x="413" y="294"/>
                  <a:pt x="415" y="294"/>
                </a:cubicBezTo>
                <a:cubicBezTo>
                  <a:pt x="437" y="300"/>
                  <a:pt x="630" y="346"/>
                  <a:pt x="630" y="346"/>
                </a:cubicBezTo>
                <a:cubicBezTo>
                  <a:pt x="630" y="346"/>
                  <a:pt x="630" y="346"/>
                  <a:pt x="630" y="346"/>
                </a:cubicBezTo>
                <a:cubicBezTo>
                  <a:pt x="726" y="342"/>
                  <a:pt x="726" y="342"/>
                  <a:pt x="726" y="342"/>
                </a:cubicBezTo>
                <a:cubicBezTo>
                  <a:pt x="681" y="355"/>
                  <a:pt x="624" y="372"/>
                  <a:pt x="599" y="379"/>
                </a:cubicBezTo>
                <a:close/>
                <a:moveTo>
                  <a:pt x="1137" y="297"/>
                </a:moveTo>
                <a:cubicBezTo>
                  <a:pt x="1137" y="256"/>
                  <a:pt x="1137" y="256"/>
                  <a:pt x="1137" y="256"/>
                </a:cubicBezTo>
                <a:cubicBezTo>
                  <a:pt x="794" y="256"/>
                  <a:pt x="794" y="256"/>
                  <a:pt x="794" y="256"/>
                </a:cubicBezTo>
                <a:cubicBezTo>
                  <a:pt x="794" y="256"/>
                  <a:pt x="794" y="256"/>
                  <a:pt x="794" y="256"/>
                </a:cubicBezTo>
                <a:cubicBezTo>
                  <a:pt x="771" y="256"/>
                  <a:pt x="771" y="256"/>
                  <a:pt x="771" y="256"/>
                </a:cubicBezTo>
                <a:cubicBezTo>
                  <a:pt x="771" y="297"/>
                  <a:pt x="771" y="297"/>
                  <a:pt x="771" y="297"/>
                </a:cubicBezTo>
                <a:cubicBezTo>
                  <a:pt x="686" y="212"/>
                  <a:pt x="686" y="212"/>
                  <a:pt x="686" y="212"/>
                </a:cubicBezTo>
                <a:cubicBezTo>
                  <a:pt x="771" y="127"/>
                  <a:pt x="771" y="127"/>
                  <a:pt x="771" y="127"/>
                </a:cubicBezTo>
                <a:cubicBezTo>
                  <a:pt x="771" y="168"/>
                  <a:pt x="771" y="168"/>
                  <a:pt x="771" y="168"/>
                </a:cubicBezTo>
                <a:cubicBezTo>
                  <a:pt x="1114" y="168"/>
                  <a:pt x="1114" y="168"/>
                  <a:pt x="1114" y="168"/>
                </a:cubicBezTo>
                <a:cubicBezTo>
                  <a:pt x="1114" y="168"/>
                  <a:pt x="1114" y="168"/>
                  <a:pt x="1114" y="168"/>
                </a:cubicBezTo>
                <a:cubicBezTo>
                  <a:pt x="1137" y="168"/>
                  <a:pt x="1137" y="168"/>
                  <a:pt x="1137" y="168"/>
                </a:cubicBezTo>
                <a:cubicBezTo>
                  <a:pt x="1137" y="127"/>
                  <a:pt x="1137" y="127"/>
                  <a:pt x="1137" y="127"/>
                </a:cubicBezTo>
                <a:cubicBezTo>
                  <a:pt x="1222" y="212"/>
                  <a:pt x="1222" y="212"/>
                  <a:pt x="1222" y="212"/>
                </a:cubicBezTo>
                <a:lnTo>
                  <a:pt x="1137" y="297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9" name="Freeform 14"/>
          <p:cNvSpPr>
            <a:spLocks noEditPoints="1"/>
          </p:cNvSpPr>
          <p:nvPr/>
        </p:nvSpPr>
        <p:spPr bwMode="auto">
          <a:xfrm>
            <a:off x="7132638" y="1111250"/>
            <a:ext cx="1008062" cy="581025"/>
          </a:xfrm>
          <a:custGeom>
            <a:avLst/>
            <a:gdLst>
              <a:gd name="T0" fmla="*/ 2147483646 w 1093"/>
              <a:gd name="T1" fmla="*/ 2147483646 h 630"/>
              <a:gd name="T2" fmla="*/ 2147483646 w 1093"/>
              <a:gd name="T3" fmla="*/ 0 h 630"/>
              <a:gd name="T4" fmla="*/ 2147483646 w 1093"/>
              <a:gd name="T5" fmla="*/ 2147483646 h 630"/>
              <a:gd name="T6" fmla="*/ 2147483646 w 1093"/>
              <a:gd name="T7" fmla="*/ 2147483646 h 630"/>
              <a:gd name="T8" fmla="*/ 2147483646 w 1093"/>
              <a:gd name="T9" fmla="*/ 2147483646 h 630"/>
              <a:gd name="T10" fmla="*/ 2147483646 w 1093"/>
              <a:gd name="T11" fmla="*/ 2147483646 h 630"/>
              <a:gd name="T12" fmla="*/ 2147483646 w 1093"/>
              <a:gd name="T13" fmla="*/ 2147483646 h 630"/>
              <a:gd name="T14" fmla="*/ 2147483646 w 1093"/>
              <a:gd name="T15" fmla="*/ 2147483646 h 630"/>
              <a:gd name="T16" fmla="*/ 2147483646 w 1093"/>
              <a:gd name="T17" fmla="*/ 2147483646 h 630"/>
              <a:gd name="T18" fmla="*/ 2147483646 w 1093"/>
              <a:gd name="T19" fmla="*/ 2147483646 h 630"/>
              <a:gd name="T20" fmla="*/ 0 w 1093"/>
              <a:gd name="T21" fmla="*/ 2147483646 h 630"/>
              <a:gd name="T22" fmla="*/ 2147483646 w 1093"/>
              <a:gd name="T23" fmla="*/ 2147483646 h 630"/>
              <a:gd name="T24" fmla="*/ 2147483646 w 1093"/>
              <a:gd name="T25" fmla="*/ 2147483646 h 630"/>
              <a:gd name="T26" fmla="*/ 2147483646 w 1093"/>
              <a:gd name="T27" fmla="*/ 2147483646 h 630"/>
              <a:gd name="T28" fmla="*/ 2147483646 w 1093"/>
              <a:gd name="T29" fmla="*/ 2147483646 h 630"/>
              <a:gd name="T30" fmla="*/ 2147483646 w 1093"/>
              <a:gd name="T31" fmla="*/ 2147483646 h 630"/>
              <a:gd name="T32" fmla="*/ 2147483646 w 1093"/>
              <a:gd name="T33" fmla="*/ 2147483646 h 630"/>
              <a:gd name="T34" fmla="*/ 2147483646 w 1093"/>
              <a:gd name="T35" fmla="*/ 2147483646 h 630"/>
              <a:gd name="T36" fmla="*/ 2147483646 w 1093"/>
              <a:gd name="T37" fmla="*/ 2147483646 h 630"/>
              <a:gd name="T38" fmla="*/ 2147483646 w 1093"/>
              <a:gd name="T39" fmla="*/ 2147483646 h 630"/>
              <a:gd name="T40" fmla="*/ 0 w 1093"/>
              <a:gd name="T41" fmla="*/ 2147483646 h 630"/>
              <a:gd name="T42" fmla="*/ 2147483646 w 1093"/>
              <a:gd name="T43" fmla="*/ 0 h 630"/>
              <a:gd name="T44" fmla="*/ 2147483646 w 1093"/>
              <a:gd name="T45" fmla="*/ 2147483646 h 630"/>
              <a:gd name="T46" fmla="*/ 2147483646 w 1093"/>
              <a:gd name="T47" fmla="*/ 2147483646 h 630"/>
              <a:gd name="T48" fmla="*/ 2147483646 w 1093"/>
              <a:gd name="T49" fmla="*/ 2147483646 h 630"/>
              <a:gd name="T50" fmla="*/ 2147483646 w 1093"/>
              <a:gd name="T51" fmla="*/ 2147483646 h 630"/>
              <a:gd name="T52" fmla="*/ 2147483646 w 1093"/>
              <a:gd name="T53" fmla="*/ 2147483646 h 63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93" h="630">
                <a:moveTo>
                  <a:pt x="947" y="73"/>
                </a:moveTo>
                <a:cubicBezTo>
                  <a:pt x="947" y="0"/>
                  <a:pt x="947" y="0"/>
                  <a:pt x="947" y="0"/>
                </a:cubicBezTo>
                <a:cubicBezTo>
                  <a:pt x="1093" y="147"/>
                  <a:pt x="1093" y="147"/>
                  <a:pt x="1093" y="147"/>
                </a:cubicBezTo>
                <a:cubicBezTo>
                  <a:pt x="947" y="293"/>
                  <a:pt x="947" y="293"/>
                  <a:pt x="947" y="293"/>
                </a:cubicBezTo>
                <a:cubicBezTo>
                  <a:pt x="947" y="217"/>
                  <a:pt x="947" y="217"/>
                  <a:pt x="947" y="217"/>
                </a:cubicBezTo>
                <a:cubicBezTo>
                  <a:pt x="859" y="211"/>
                  <a:pt x="772" y="247"/>
                  <a:pt x="685" y="299"/>
                </a:cubicBezTo>
                <a:cubicBezTo>
                  <a:pt x="648" y="275"/>
                  <a:pt x="612" y="250"/>
                  <a:pt x="575" y="225"/>
                </a:cubicBezTo>
                <a:cubicBezTo>
                  <a:pt x="699" y="141"/>
                  <a:pt x="823" y="64"/>
                  <a:pt x="947" y="73"/>
                </a:cubicBezTo>
                <a:close/>
                <a:moveTo>
                  <a:pt x="146" y="560"/>
                </a:moveTo>
                <a:cubicBezTo>
                  <a:pt x="146" y="630"/>
                  <a:pt x="146" y="630"/>
                  <a:pt x="146" y="630"/>
                </a:cubicBezTo>
                <a:cubicBezTo>
                  <a:pt x="0" y="483"/>
                  <a:pt x="0" y="483"/>
                  <a:pt x="0" y="483"/>
                </a:cubicBezTo>
                <a:cubicBezTo>
                  <a:pt x="146" y="337"/>
                  <a:pt x="146" y="337"/>
                  <a:pt x="146" y="337"/>
                </a:cubicBezTo>
                <a:cubicBezTo>
                  <a:pt x="146" y="416"/>
                  <a:pt x="146" y="416"/>
                  <a:pt x="146" y="416"/>
                </a:cubicBezTo>
                <a:cubicBezTo>
                  <a:pt x="233" y="422"/>
                  <a:pt x="321" y="386"/>
                  <a:pt x="408" y="334"/>
                </a:cubicBezTo>
                <a:cubicBezTo>
                  <a:pt x="444" y="358"/>
                  <a:pt x="481" y="383"/>
                  <a:pt x="518" y="408"/>
                </a:cubicBezTo>
                <a:cubicBezTo>
                  <a:pt x="394" y="491"/>
                  <a:pt x="270" y="569"/>
                  <a:pt x="146" y="560"/>
                </a:cubicBezTo>
                <a:close/>
                <a:moveTo>
                  <a:pt x="947" y="630"/>
                </a:moveTo>
                <a:cubicBezTo>
                  <a:pt x="947" y="560"/>
                  <a:pt x="947" y="560"/>
                  <a:pt x="947" y="560"/>
                </a:cubicBezTo>
                <a:cubicBezTo>
                  <a:pt x="680" y="579"/>
                  <a:pt x="413" y="198"/>
                  <a:pt x="146" y="217"/>
                </a:cubicBezTo>
                <a:cubicBezTo>
                  <a:pt x="146" y="293"/>
                  <a:pt x="146" y="293"/>
                  <a:pt x="146" y="293"/>
                </a:cubicBezTo>
                <a:cubicBezTo>
                  <a:pt x="0" y="147"/>
                  <a:pt x="0" y="147"/>
                  <a:pt x="0" y="147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73"/>
                  <a:pt x="146" y="73"/>
                  <a:pt x="146" y="73"/>
                </a:cubicBezTo>
                <a:cubicBezTo>
                  <a:pt x="413" y="54"/>
                  <a:pt x="680" y="435"/>
                  <a:pt x="947" y="416"/>
                </a:cubicBezTo>
                <a:cubicBezTo>
                  <a:pt x="947" y="337"/>
                  <a:pt x="947" y="337"/>
                  <a:pt x="947" y="337"/>
                </a:cubicBezTo>
                <a:cubicBezTo>
                  <a:pt x="1093" y="483"/>
                  <a:pt x="1093" y="483"/>
                  <a:pt x="1093" y="483"/>
                </a:cubicBezTo>
                <a:lnTo>
                  <a:pt x="947" y="63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51" name="组合 50"/>
          <p:cNvGrpSpPr/>
          <p:nvPr/>
        </p:nvGrpSpPr>
        <p:grpSpPr bwMode="auto">
          <a:xfrm>
            <a:off x="944563" y="1989138"/>
            <a:ext cx="1809750" cy="1158875"/>
            <a:chOff x="945182" y="2277474"/>
            <a:chExt cx="1809448" cy="1158372"/>
          </a:xfrm>
        </p:grpSpPr>
        <p:sp>
          <p:nvSpPr>
            <p:cNvPr id="40" name="矩形 39"/>
            <p:cNvSpPr/>
            <p:nvPr/>
          </p:nvSpPr>
          <p:spPr>
            <a:xfrm>
              <a:off x="945182" y="2277474"/>
              <a:ext cx="1809448" cy="115837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14372" name="矩形 1"/>
            <p:cNvSpPr>
              <a:spLocks noChangeArrowheads="1"/>
            </p:cNvSpPr>
            <p:nvPr/>
          </p:nvSpPr>
          <p:spPr bwMode="auto">
            <a:xfrm>
              <a:off x="997419" y="2311382"/>
              <a:ext cx="1704975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0" name="组合 49"/>
          <p:cNvGrpSpPr/>
          <p:nvPr/>
        </p:nvGrpSpPr>
        <p:grpSpPr bwMode="auto">
          <a:xfrm>
            <a:off x="2874963" y="1989138"/>
            <a:ext cx="1808162" cy="1158875"/>
            <a:chOff x="2874201" y="2277474"/>
            <a:chExt cx="1809448" cy="1158372"/>
          </a:xfrm>
        </p:grpSpPr>
        <p:sp>
          <p:nvSpPr>
            <p:cNvPr id="41" name="矩形 40"/>
            <p:cNvSpPr/>
            <p:nvPr/>
          </p:nvSpPr>
          <p:spPr>
            <a:xfrm>
              <a:off x="2874201" y="2277474"/>
              <a:ext cx="1809448" cy="115837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14370" name="矩形 1"/>
            <p:cNvSpPr>
              <a:spLocks noChangeArrowheads="1"/>
            </p:cNvSpPr>
            <p:nvPr/>
          </p:nvSpPr>
          <p:spPr bwMode="auto">
            <a:xfrm>
              <a:off x="2926437" y="2311382"/>
              <a:ext cx="1704975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组合 48"/>
          <p:cNvGrpSpPr/>
          <p:nvPr/>
        </p:nvGrpSpPr>
        <p:grpSpPr bwMode="auto">
          <a:xfrm>
            <a:off x="4803775" y="1989138"/>
            <a:ext cx="1808163" cy="1158875"/>
            <a:chOff x="4803220" y="2277474"/>
            <a:chExt cx="1809448" cy="1158372"/>
          </a:xfrm>
        </p:grpSpPr>
        <p:sp>
          <p:nvSpPr>
            <p:cNvPr id="42" name="矩形 41"/>
            <p:cNvSpPr/>
            <p:nvPr/>
          </p:nvSpPr>
          <p:spPr>
            <a:xfrm>
              <a:off x="4803220" y="2277474"/>
              <a:ext cx="1809448" cy="1158372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14368" name="矩形 1"/>
            <p:cNvSpPr>
              <a:spLocks noChangeArrowheads="1"/>
            </p:cNvSpPr>
            <p:nvPr/>
          </p:nvSpPr>
          <p:spPr bwMode="auto">
            <a:xfrm>
              <a:off x="4855456" y="2311382"/>
              <a:ext cx="1704975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8" name="组合 47"/>
          <p:cNvGrpSpPr/>
          <p:nvPr/>
        </p:nvGrpSpPr>
        <p:grpSpPr bwMode="auto">
          <a:xfrm>
            <a:off x="6732588" y="1989138"/>
            <a:ext cx="1809750" cy="1158875"/>
            <a:chOff x="6732240" y="2277474"/>
            <a:chExt cx="1809448" cy="1158372"/>
          </a:xfrm>
        </p:grpSpPr>
        <p:sp>
          <p:nvSpPr>
            <p:cNvPr id="43" name="矩形 42"/>
            <p:cNvSpPr/>
            <p:nvPr/>
          </p:nvSpPr>
          <p:spPr>
            <a:xfrm>
              <a:off x="6732240" y="2277474"/>
              <a:ext cx="1809448" cy="115837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14366" name="矩形 1"/>
            <p:cNvSpPr>
              <a:spLocks noChangeArrowheads="1"/>
            </p:cNvSpPr>
            <p:nvPr/>
          </p:nvSpPr>
          <p:spPr bwMode="auto">
            <a:xfrm>
              <a:off x="6784476" y="2311382"/>
              <a:ext cx="1704975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2" name="矩形 1"/>
          <p:cNvSpPr>
            <a:spLocks noChangeArrowheads="1"/>
          </p:cNvSpPr>
          <p:nvPr/>
        </p:nvSpPr>
        <p:spPr bwMode="auto">
          <a:xfrm>
            <a:off x="787400" y="3822700"/>
            <a:ext cx="77041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3" name="组合 52"/>
          <p:cNvGrpSpPr/>
          <p:nvPr/>
        </p:nvGrpSpPr>
        <p:grpSpPr bwMode="auto">
          <a:xfrm>
            <a:off x="893763" y="3508375"/>
            <a:ext cx="7529512" cy="323850"/>
            <a:chOff x="894487" y="3769505"/>
            <a:chExt cx="7529215" cy="323627"/>
          </a:xfrm>
        </p:grpSpPr>
        <p:cxnSp>
          <p:nvCxnSpPr>
            <p:cNvPr id="54" name="直接连接符 53"/>
            <p:cNvCxnSpPr/>
            <p:nvPr/>
          </p:nvCxnSpPr>
          <p:spPr>
            <a:xfrm>
              <a:off x="894487" y="4093132"/>
              <a:ext cx="752921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358" name="组合 1563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56" name="TextBox 265"/>
              <p:cNvSpPr txBox="1"/>
              <p:nvPr/>
            </p:nvSpPr>
            <p:spPr bwMode="auto">
              <a:xfrm>
                <a:off x="1155742" y="1031498"/>
                <a:ext cx="1101681" cy="322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4360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4361" name="组合 1566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60" name="流程图: 决策 166"/>
                <p:cNvSpPr/>
                <p:nvPr/>
              </p:nvSpPr>
              <p:spPr>
                <a:xfrm>
                  <a:off x="957312" y="1125096"/>
                  <a:ext cx="125408" cy="1713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61" name="流程图: 决策 166"/>
                <p:cNvSpPr/>
                <p:nvPr/>
              </p:nvSpPr>
              <p:spPr>
                <a:xfrm>
                  <a:off x="1095420" y="1126682"/>
                  <a:ext cx="90484" cy="168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59" name="直接连接符 58"/>
              <p:cNvCxnSpPr/>
              <p:nvPr/>
            </p:nvCxnSpPr>
            <p:spPr>
              <a:xfrm>
                <a:off x="2262185" y="1137788"/>
                <a:ext cx="0" cy="14436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2" name="矩形 61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3" name="矩形 62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4" name="矩形 63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5" name="矩形 64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3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3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3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3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3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3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6" presetClass="emph" presetSubtype="0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3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" dur="15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26" presetClass="emph" presetSubtype="0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3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1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26" presetClass="emph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3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1" dur="1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26" presetClass="emph" presetSubtype="0" fill="hold" grpId="0" nodeType="withEffect">
                                  <p:stCondLst>
                                    <p:cond delay="3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300" tmFilter="0, 0; .2, .5; .8, .5; 1, 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4" dur="150" autoRev="1" fill="hold"/>
                                        <p:tgtEl>
                                          <p:spTgt spid="6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62" grpId="0" animBg="1"/>
      <p:bldP spid="63" grpId="0" animBg="1"/>
      <p:bldP spid="64" grpId="0" animBg="1"/>
      <p:bldP spid="6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\\MAGNUM\Projects\Microsoft\Cloud Power FY12\Design\ICONS_PNG\Application.png"/>
          <p:cNvPicPr>
            <a:picLocks noChangeAspect="1" noChangeArrowheads="1"/>
          </p:cNvPicPr>
          <p:nvPr/>
        </p:nvPicPr>
        <p:blipFill>
          <a:blip r:embed="rId1">
            <a:biLevel thresh="50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74" t="36465" r="28609" b="29915"/>
          <a:stretch>
            <a:fillRect/>
          </a:stretch>
        </p:blipFill>
        <p:spPr bwMode="auto">
          <a:xfrm>
            <a:off x="3524250" y="1192213"/>
            <a:ext cx="1166813" cy="9525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\\MAGNUM\Projects\Microsoft\Cloud Power FY12\Design\ICONS_PNG\Cloud.png"/>
          <p:cNvPicPr>
            <a:picLocks noChangeAspect="1" noChangeArrowheads="1"/>
          </p:cNvPicPr>
          <p:nvPr/>
        </p:nvPicPr>
        <p:blipFill>
          <a:blip r:embed="rId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0" y="1065213"/>
            <a:ext cx="1204913" cy="120491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 descr="\\MAGNUM\Projects\Microsoft\Cloud Power FY12\Design\ICONS_PNG\Document.png"/>
          <p:cNvPicPr>
            <a:picLocks noChangeAspect="1" noChangeArrowheads="1"/>
          </p:cNvPicPr>
          <p:nvPr/>
        </p:nvPicPr>
        <p:blipFill>
          <a:blip r:embed="rId3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013" y="1058863"/>
            <a:ext cx="1204912" cy="1206500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6"/>
          <p:cNvCxnSpPr/>
          <p:nvPr/>
        </p:nvCxnSpPr>
        <p:spPr>
          <a:xfrm>
            <a:off x="4840288" y="1573213"/>
            <a:ext cx="104933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7"/>
          <p:cNvCxnSpPr/>
          <p:nvPr/>
        </p:nvCxnSpPr>
        <p:spPr>
          <a:xfrm>
            <a:off x="2325688" y="1566863"/>
            <a:ext cx="104933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367" name="组合 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6" name="任意多边形 1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7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368" name="组合 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5396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任意多边形 19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5369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2" name="任意多边形 21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3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370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25" name="任意多边形 24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6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371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8" name="任意多边形 27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" name="组合 45"/>
          <p:cNvGrpSpPr/>
          <p:nvPr/>
        </p:nvGrpSpPr>
        <p:grpSpPr bwMode="auto">
          <a:xfrm>
            <a:off x="873125" y="2449513"/>
            <a:ext cx="7659688" cy="1085850"/>
            <a:chOff x="873407" y="2449821"/>
            <a:chExt cx="7659033" cy="1086076"/>
          </a:xfrm>
        </p:grpSpPr>
        <p:sp>
          <p:nvSpPr>
            <p:cNvPr id="5" name="Pentagon 5"/>
            <p:cNvSpPr/>
            <p:nvPr/>
          </p:nvSpPr>
          <p:spPr bwMode="auto">
            <a:xfrm>
              <a:off x="873407" y="2449821"/>
              <a:ext cx="7659033" cy="1086076"/>
            </a:xfrm>
            <a:prstGeom prst="homePlate">
              <a:avLst/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2812" tIns="146249" rIns="182812" bIns="146249"/>
            <a:lstStyle/>
            <a:p>
              <a:pPr algn="ctr" defTabSz="931545" eaLnBrk="1" hangingPunct="1">
                <a:lnSpc>
                  <a:spcPct val="90000"/>
                </a:lnSpc>
                <a:defRPr/>
              </a:pPr>
              <a:endParaRPr lang="sv-SE" altLang="zh-CN" sz="2400">
                <a:solidFill>
                  <a:schemeClr val="tx1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15387" name="TextBox 10"/>
            <p:cNvSpPr txBox="1">
              <a:spLocks noChangeArrowheads="1"/>
            </p:cNvSpPr>
            <p:nvPr/>
          </p:nvSpPr>
          <p:spPr bwMode="auto">
            <a:xfrm>
              <a:off x="1303065" y="2783334"/>
              <a:ext cx="1007329" cy="419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88" name="TextBox 10"/>
            <p:cNvSpPr txBox="1">
              <a:spLocks noChangeArrowheads="1"/>
            </p:cNvSpPr>
            <p:nvPr/>
          </p:nvSpPr>
          <p:spPr bwMode="auto">
            <a:xfrm>
              <a:off x="3609121" y="2783334"/>
              <a:ext cx="1007329" cy="419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89" name="TextBox 10"/>
            <p:cNvSpPr txBox="1">
              <a:spLocks noChangeArrowheads="1"/>
            </p:cNvSpPr>
            <p:nvPr/>
          </p:nvSpPr>
          <p:spPr bwMode="auto">
            <a:xfrm>
              <a:off x="6031848" y="2783334"/>
              <a:ext cx="1007329" cy="419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6" name="矩形 1"/>
          <p:cNvSpPr>
            <a:spLocks noChangeArrowheads="1"/>
          </p:cNvSpPr>
          <p:nvPr/>
        </p:nvSpPr>
        <p:spPr bwMode="auto">
          <a:xfrm>
            <a:off x="787400" y="4086225"/>
            <a:ext cx="77041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</a:t>
            </a:r>
            <a:r>
              <a:rPr lang="zh-CN" alt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，帮助您实现美观、精致、严谨、动感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7" name="组合 36"/>
          <p:cNvGrpSpPr/>
          <p:nvPr/>
        </p:nvGrpSpPr>
        <p:grpSpPr bwMode="auto">
          <a:xfrm>
            <a:off x="893763" y="3771900"/>
            <a:ext cx="7529512" cy="323850"/>
            <a:chOff x="894487" y="3769505"/>
            <a:chExt cx="7529215" cy="323627"/>
          </a:xfrm>
        </p:grpSpPr>
        <p:cxnSp>
          <p:nvCxnSpPr>
            <p:cNvPr id="38" name="直接连接符 37"/>
            <p:cNvCxnSpPr/>
            <p:nvPr/>
          </p:nvCxnSpPr>
          <p:spPr>
            <a:xfrm>
              <a:off x="894487" y="4093132"/>
              <a:ext cx="752921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379" name="组合 1563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40" name="TextBox 265"/>
              <p:cNvSpPr txBox="1"/>
              <p:nvPr/>
            </p:nvSpPr>
            <p:spPr bwMode="auto">
              <a:xfrm>
                <a:off x="1155742" y="1031498"/>
                <a:ext cx="1101681" cy="322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5381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5382" name="组合 1566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44" name="流程图: 决策 166"/>
                <p:cNvSpPr/>
                <p:nvPr/>
              </p:nvSpPr>
              <p:spPr>
                <a:xfrm>
                  <a:off x="957312" y="1125096"/>
                  <a:ext cx="125408" cy="1713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45" name="流程图: 决策 166"/>
                <p:cNvSpPr/>
                <p:nvPr/>
              </p:nvSpPr>
              <p:spPr>
                <a:xfrm>
                  <a:off x="1095420" y="1126682"/>
                  <a:ext cx="90484" cy="168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43" name="直接连接符 42"/>
              <p:cNvCxnSpPr/>
              <p:nvPr/>
            </p:nvCxnSpPr>
            <p:spPr>
              <a:xfrm>
                <a:off x="2262185" y="1137788"/>
                <a:ext cx="0" cy="14436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8" name="Straight Arrow Connector 10"/>
          <p:cNvCxnSpPr/>
          <p:nvPr/>
        </p:nvCxnSpPr>
        <p:spPr>
          <a:xfrm flipH="1">
            <a:off x="1790700" y="2151063"/>
            <a:ext cx="9525" cy="55403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12"/>
          <p:cNvCxnSpPr/>
          <p:nvPr/>
        </p:nvCxnSpPr>
        <p:spPr>
          <a:xfrm flipH="1">
            <a:off x="4191000" y="2151063"/>
            <a:ext cx="9525" cy="55403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13"/>
          <p:cNvCxnSpPr/>
          <p:nvPr/>
        </p:nvCxnSpPr>
        <p:spPr>
          <a:xfrm flipH="1">
            <a:off x="6535738" y="2144713"/>
            <a:ext cx="9525" cy="55403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4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4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4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8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组合 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387" name="组合 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6434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任意多边形 6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6388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389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390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" name="组合 16"/>
          <p:cNvGrpSpPr/>
          <p:nvPr/>
        </p:nvGrpSpPr>
        <p:grpSpPr bwMode="auto">
          <a:xfrm>
            <a:off x="3494088" y="1390650"/>
            <a:ext cx="5181600" cy="485775"/>
            <a:chOff x="3494755" y="1390658"/>
            <a:chExt cx="5181701" cy="486378"/>
          </a:xfrm>
        </p:grpSpPr>
        <p:sp>
          <p:nvSpPr>
            <p:cNvPr id="16423" name="Rectangle 552"/>
            <p:cNvSpPr>
              <a:spLocks noChangeArrowheads="1"/>
            </p:cNvSpPr>
            <p:nvPr/>
          </p:nvSpPr>
          <p:spPr bwMode="auto">
            <a:xfrm>
              <a:off x="3494755" y="1522112"/>
              <a:ext cx="1384715" cy="354924"/>
            </a:xfrm>
            <a:prstGeom prst="rect">
              <a:avLst/>
            </a:prstGeom>
            <a:solidFill>
              <a:srgbClr val="A2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24" name="Rectangle 553"/>
            <p:cNvSpPr>
              <a:spLocks noChangeArrowheads="1"/>
            </p:cNvSpPr>
            <p:nvPr/>
          </p:nvSpPr>
          <p:spPr bwMode="auto">
            <a:xfrm>
              <a:off x="4661833" y="1390658"/>
              <a:ext cx="3223750" cy="35492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25" name="Freeform 554"/>
            <p:cNvSpPr/>
            <p:nvPr/>
          </p:nvSpPr>
          <p:spPr bwMode="auto">
            <a:xfrm>
              <a:off x="4661833" y="1745582"/>
              <a:ext cx="217637" cy="131454"/>
            </a:xfrm>
            <a:custGeom>
              <a:avLst/>
              <a:gdLst>
                <a:gd name="T0" fmla="*/ 2147483646 w 80"/>
                <a:gd name="T1" fmla="*/ 2147483646 h 40"/>
                <a:gd name="T2" fmla="*/ 2147483646 w 80"/>
                <a:gd name="T3" fmla="*/ 0 h 40"/>
                <a:gd name="T4" fmla="*/ 0 w 80"/>
                <a:gd name="T5" fmla="*/ 0 h 40"/>
                <a:gd name="T6" fmla="*/ 2147483646 w 80"/>
                <a:gd name="T7" fmla="*/ 2147483646 h 4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40">
                  <a:moveTo>
                    <a:pt x="80" y="40"/>
                  </a:moveTo>
                  <a:lnTo>
                    <a:pt x="80" y="0"/>
                  </a:lnTo>
                  <a:lnTo>
                    <a:pt x="0" y="0"/>
                  </a:lnTo>
                  <a:lnTo>
                    <a:pt x="80" y="40"/>
                  </a:lnTo>
                  <a:close/>
                </a:path>
              </a:pathLst>
            </a:custGeom>
            <a:solidFill>
              <a:srgbClr val="7D15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" name="TextBox 29"/>
            <p:cNvSpPr txBox="1"/>
            <p:nvPr/>
          </p:nvSpPr>
          <p:spPr bwMode="auto">
            <a:xfrm>
              <a:off x="3501105" y="1530531"/>
              <a:ext cx="1057296" cy="308357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952542" y="1393837"/>
              <a:ext cx="723914" cy="33855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1600" dirty="0">
                  <a:solidFill>
                    <a:srgbClr val="C00000"/>
                  </a:solidFill>
                </a:rPr>
                <a:t>75%</a:t>
              </a:r>
              <a:endParaRPr lang="zh-CN" altLang="en-US" sz="160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47" name="组合 46"/>
          <p:cNvGrpSpPr/>
          <p:nvPr/>
        </p:nvGrpSpPr>
        <p:grpSpPr bwMode="auto">
          <a:xfrm>
            <a:off x="3494088" y="1965325"/>
            <a:ext cx="4695825" cy="476250"/>
            <a:chOff x="3494755" y="1965767"/>
            <a:chExt cx="4695318" cy="476521"/>
          </a:xfrm>
        </p:grpSpPr>
        <p:sp>
          <p:nvSpPr>
            <p:cNvPr id="16418" name="Rectangle 555"/>
            <p:cNvSpPr>
              <a:spLocks noChangeArrowheads="1"/>
            </p:cNvSpPr>
            <p:nvPr/>
          </p:nvSpPr>
          <p:spPr bwMode="auto">
            <a:xfrm>
              <a:off x="3494755" y="2097221"/>
              <a:ext cx="1384715" cy="345066"/>
            </a:xfrm>
            <a:prstGeom prst="rect">
              <a:avLst/>
            </a:prstGeom>
            <a:solidFill>
              <a:srgbClr val="E6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19" name="Rectangle 556"/>
            <p:cNvSpPr>
              <a:spLocks noChangeArrowheads="1"/>
            </p:cNvSpPr>
            <p:nvPr/>
          </p:nvSpPr>
          <p:spPr bwMode="auto">
            <a:xfrm>
              <a:off x="4661833" y="1965767"/>
              <a:ext cx="2663334" cy="354924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20" name="Freeform 557"/>
            <p:cNvSpPr/>
            <p:nvPr/>
          </p:nvSpPr>
          <p:spPr bwMode="auto">
            <a:xfrm>
              <a:off x="4661833" y="2320693"/>
              <a:ext cx="217637" cy="121595"/>
            </a:xfrm>
            <a:custGeom>
              <a:avLst/>
              <a:gdLst>
                <a:gd name="T0" fmla="*/ 2147483646 w 80"/>
                <a:gd name="T1" fmla="*/ 2147483646 h 37"/>
                <a:gd name="T2" fmla="*/ 2147483646 w 80"/>
                <a:gd name="T3" fmla="*/ 0 h 37"/>
                <a:gd name="T4" fmla="*/ 0 w 80"/>
                <a:gd name="T5" fmla="*/ 0 h 37"/>
                <a:gd name="T6" fmla="*/ 2147483646 w 80"/>
                <a:gd name="T7" fmla="*/ 2147483646 h 3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37">
                  <a:moveTo>
                    <a:pt x="80" y="37"/>
                  </a:moveTo>
                  <a:lnTo>
                    <a:pt x="80" y="0"/>
                  </a:lnTo>
                  <a:lnTo>
                    <a:pt x="0" y="0"/>
                  </a:lnTo>
                  <a:lnTo>
                    <a:pt x="80" y="37"/>
                  </a:lnTo>
                  <a:close/>
                </a:path>
              </a:pathLst>
            </a:custGeom>
            <a:solidFill>
              <a:srgbClr val="784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" name="TextBox 30"/>
            <p:cNvSpPr txBox="1"/>
            <p:nvPr/>
          </p:nvSpPr>
          <p:spPr bwMode="auto">
            <a:xfrm>
              <a:off x="3501104" y="2100782"/>
              <a:ext cx="1057161" cy="308150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466251" y="1978474"/>
              <a:ext cx="723822" cy="338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EB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1600" dirty="0">
                  <a:solidFill>
                    <a:srgbClr val="E6BA00"/>
                  </a:solidFill>
                </a:rPr>
                <a:t>65%</a:t>
              </a:r>
              <a:endParaRPr lang="zh-CN" altLang="en-US" sz="1600" dirty="0">
                <a:solidFill>
                  <a:srgbClr val="E6BA00"/>
                </a:solidFill>
              </a:endParaRPr>
            </a:p>
          </p:txBody>
        </p:sp>
      </p:grpSp>
      <p:grpSp>
        <p:nvGrpSpPr>
          <p:cNvPr id="48" name="组合 47"/>
          <p:cNvGrpSpPr/>
          <p:nvPr/>
        </p:nvGrpSpPr>
        <p:grpSpPr bwMode="auto">
          <a:xfrm>
            <a:off x="3494088" y="2544763"/>
            <a:ext cx="4087812" cy="476250"/>
            <a:chOff x="3494755" y="2544163"/>
            <a:chExt cx="4087276" cy="476520"/>
          </a:xfrm>
        </p:grpSpPr>
        <p:sp>
          <p:nvSpPr>
            <p:cNvPr id="16413" name="Rectangle 558"/>
            <p:cNvSpPr>
              <a:spLocks noChangeArrowheads="1"/>
            </p:cNvSpPr>
            <p:nvPr/>
          </p:nvSpPr>
          <p:spPr bwMode="auto">
            <a:xfrm>
              <a:off x="3494755" y="2675617"/>
              <a:ext cx="1384715" cy="345066"/>
            </a:xfrm>
            <a:prstGeom prst="rect">
              <a:avLst/>
            </a:pr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14" name="Rectangle 559"/>
            <p:cNvSpPr>
              <a:spLocks noChangeArrowheads="1"/>
            </p:cNvSpPr>
            <p:nvPr/>
          </p:nvSpPr>
          <p:spPr bwMode="auto">
            <a:xfrm>
              <a:off x="4661833" y="2544163"/>
              <a:ext cx="2067553" cy="354924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15" name="Freeform 560"/>
            <p:cNvSpPr/>
            <p:nvPr/>
          </p:nvSpPr>
          <p:spPr bwMode="auto">
            <a:xfrm>
              <a:off x="4661833" y="2899087"/>
              <a:ext cx="217637" cy="121595"/>
            </a:xfrm>
            <a:custGeom>
              <a:avLst/>
              <a:gdLst>
                <a:gd name="T0" fmla="*/ 2147483646 w 80"/>
                <a:gd name="T1" fmla="*/ 2147483646 h 37"/>
                <a:gd name="T2" fmla="*/ 2147483646 w 80"/>
                <a:gd name="T3" fmla="*/ 0 h 37"/>
                <a:gd name="T4" fmla="*/ 0 w 80"/>
                <a:gd name="T5" fmla="*/ 0 h 37"/>
                <a:gd name="T6" fmla="*/ 2147483646 w 80"/>
                <a:gd name="T7" fmla="*/ 2147483646 h 3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37">
                  <a:moveTo>
                    <a:pt x="80" y="37"/>
                  </a:moveTo>
                  <a:lnTo>
                    <a:pt x="80" y="0"/>
                  </a:lnTo>
                  <a:lnTo>
                    <a:pt x="0" y="0"/>
                  </a:lnTo>
                  <a:lnTo>
                    <a:pt x="80" y="37"/>
                  </a:lnTo>
                  <a:close/>
                </a:path>
              </a:pathLst>
            </a:custGeom>
            <a:solidFill>
              <a:srgbClr val="444D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3501104" y="2666469"/>
              <a:ext cx="1057136" cy="308150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858226" y="2558458"/>
              <a:ext cx="723805" cy="3399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8BC92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1600" dirty="0">
                  <a:solidFill>
                    <a:srgbClr val="7EC234"/>
                  </a:solidFill>
                </a:rPr>
                <a:t>55%</a:t>
              </a:r>
              <a:endParaRPr lang="zh-CN" altLang="en-US" sz="1600" dirty="0">
                <a:solidFill>
                  <a:srgbClr val="7EC234"/>
                </a:solidFill>
              </a:endParaRPr>
            </a:p>
          </p:txBody>
        </p:sp>
      </p:grpSp>
      <p:grpSp>
        <p:nvGrpSpPr>
          <p:cNvPr id="49" name="组合 48"/>
          <p:cNvGrpSpPr/>
          <p:nvPr/>
        </p:nvGrpSpPr>
        <p:grpSpPr bwMode="auto">
          <a:xfrm>
            <a:off x="3494088" y="3119438"/>
            <a:ext cx="3519487" cy="476250"/>
            <a:chOff x="3494755" y="3119271"/>
            <a:chExt cx="3518228" cy="476520"/>
          </a:xfrm>
        </p:grpSpPr>
        <p:sp>
          <p:nvSpPr>
            <p:cNvPr id="16408" name="Rectangle 561"/>
            <p:cNvSpPr>
              <a:spLocks noChangeArrowheads="1"/>
            </p:cNvSpPr>
            <p:nvPr/>
          </p:nvSpPr>
          <p:spPr bwMode="auto">
            <a:xfrm>
              <a:off x="3494755" y="3240867"/>
              <a:ext cx="1384715" cy="354924"/>
            </a:xfrm>
            <a:prstGeom prst="rect">
              <a:avLst/>
            </a:prstGeom>
            <a:solidFill>
              <a:srgbClr val="009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09" name="Rectangle 562"/>
            <p:cNvSpPr>
              <a:spLocks noChangeArrowheads="1"/>
            </p:cNvSpPr>
            <p:nvPr/>
          </p:nvSpPr>
          <p:spPr bwMode="auto">
            <a:xfrm>
              <a:off x="4661833" y="3119271"/>
              <a:ext cx="1507138" cy="34506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10" name="Freeform 563"/>
            <p:cNvSpPr/>
            <p:nvPr/>
          </p:nvSpPr>
          <p:spPr bwMode="auto">
            <a:xfrm>
              <a:off x="4661833" y="3464337"/>
              <a:ext cx="217637" cy="131454"/>
            </a:xfrm>
            <a:custGeom>
              <a:avLst/>
              <a:gdLst>
                <a:gd name="T0" fmla="*/ 2147483646 w 80"/>
                <a:gd name="T1" fmla="*/ 2147483646 h 40"/>
                <a:gd name="T2" fmla="*/ 2147483646 w 80"/>
                <a:gd name="T3" fmla="*/ 0 h 40"/>
                <a:gd name="T4" fmla="*/ 0 w 80"/>
                <a:gd name="T5" fmla="*/ 0 h 40"/>
                <a:gd name="T6" fmla="*/ 2147483646 w 80"/>
                <a:gd name="T7" fmla="*/ 2147483646 h 4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40">
                  <a:moveTo>
                    <a:pt x="80" y="40"/>
                  </a:moveTo>
                  <a:lnTo>
                    <a:pt x="80" y="0"/>
                  </a:lnTo>
                  <a:lnTo>
                    <a:pt x="0" y="0"/>
                  </a:lnTo>
                  <a:lnTo>
                    <a:pt x="80" y="40"/>
                  </a:lnTo>
                  <a:close/>
                </a:path>
              </a:pathLst>
            </a:custGeom>
            <a:solidFill>
              <a:srgbClr val="374C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" name="TextBox 32"/>
            <p:cNvSpPr txBox="1"/>
            <p:nvPr/>
          </p:nvSpPr>
          <p:spPr bwMode="auto">
            <a:xfrm>
              <a:off x="3501103" y="3257461"/>
              <a:ext cx="1056897" cy="306562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289342" y="3133566"/>
              <a:ext cx="723641" cy="338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2848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1600" dirty="0">
                  <a:solidFill>
                    <a:srgbClr val="0091C4"/>
                  </a:solidFill>
                </a:rPr>
                <a:t>45%</a:t>
              </a:r>
              <a:endParaRPr lang="zh-CN" altLang="en-US" sz="1600" dirty="0">
                <a:solidFill>
                  <a:srgbClr val="0091C4"/>
                </a:solidFill>
              </a:endParaRPr>
            </a:p>
          </p:txBody>
        </p:sp>
      </p:grpSp>
      <p:sp>
        <p:nvSpPr>
          <p:cNvPr id="38" name="矩形 1"/>
          <p:cNvSpPr>
            <a:spLocks noChangeArrowheads="1"/>
          </p:cNvSpPr>
          <p:nvPr/>
        </p:nvSpPr>
        <p:spPr bwMode="auto">
          <a:xfrm>
            <a:off x="592138" y="1684338"/>
            <a:ext cx="2811462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有中国最强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中国最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材商城，中国最火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论坛，中国最好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能培训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9" name="直接连接符 38"/>
          <p:cNvCxnSpPr/>
          <p:nvPr/>
        </p:nvCxnSpPr>
        <p:spPr>
          <a:xfrm>
            <a:off x="666750" y="1674813"/>
            <a:ext cx="26717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组合 39"/>
          <p:cNvGrpSpPr/>
          <p:nvPr/>
        </p:nvGrpSpPr>
        <p:grpSpPr bwMode="auto">
          <a:xfrm>
            <a:off x="647700" y="1314450"/>
            <a:ext cx="2076450" cy="322263"/>
            <a:chOff x="957895" y="1031498"/>
            <a:chExt cx="2076537" cy="322262"/>
          </a:xfrm>
        </p:grpSpPr>
        <p:sp>
          <p:nvSpPr>
            <p:cNvPr id="41" name="TextBox 265"/>
            <p:cNvSpPr txBox="1"/>
            <p:nvPr/>
          </p:nvSpPr>
          <p:spPr bwMode="auto">
            <a:xfrm>
              <a:off x="1156341" y="1031498"/>
              <a:ext cx="1101771" cy="32226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C00000"/>
                  </a:solidFill>
                </a:rPr>
                <a:t>添加标题</a:t>
              </a:r>
              <a:endParaRPr lang="zh-CN" altLang="en-US" dirty="0">
                <a:solidFill>
                  <a:srgbClr val="C00000"/>
                </a:solidFill>
              </a:endParaRPr>
            </a:p>
          </p:txBody>
        </p:sp>
        <p:sp>
          <p:nvSpPr>
            <p:cNvPr id="16403" name="矩形 86"/>
            <p:cNvSpPr>
              <a:spLocks noChangeArrowheads="1"/>
            </p:cNvSpPr>
            <p:nvPr/>
          </p:nvSpPr>
          <p:spPr bwMode="auto">
            <a:xfrm>
              <a:off x="2247313" y="1068971"/>
              <a:ext cx="787119" cy="263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/>
                <a:t>Add a title</a:t>
              </a:r>
              <a:endParaRPr lang="zh-CN" altLang="en-US" sz="1200"/>
            </a:p>
          </p:txBody>
        </p:sp>
        <p:grpSp>
          <p:nvGrpSpPr>
            <p:cNvPr id="16404" name="组合 42"/>
            <p:cNvGrpSpPr/>
            <p:nvPr/>
          </p:nvGrpSpPr>
          <p:grpSpPr bwMode="auto">
            <a:xfrm>
              <a:off x="957895" y="1125313"/>
              <a:ext cx="240245" cy="183189"/>
              <a:chOff x="957895" y="1125313"/>
              <a:chExt cx="240245" cy="183189"/>
            </a:xfrm>
          </p:grpSpPr>
          <p:sp>
            <p:nvSpPr>
              <p:cNvPr id="45" name="流程图: 决策 166"/>
              <p:cNvSpPr/>
              <p:nvPr/>
            </p:nvSpPr>
            <p:spPr>
              <a:xfrm>
                <a:off x="957895" y="1125161"/>
                <a:ext cx="136531" cy="182561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46" name="流程图: 决策 166"/>
              <p:cNvSpPr/>
              <p:nvPr/>
            </p:nvSpPr>
            <p:spPr>
              <a:xfrm>
                <a:off x="1107126" y="1126748"/>
                <a:ext cx="90492" cy="179387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cxnSp>
          <p:nvCxnSpPr>
            <p:cNvPr id="44" name="直接连接符 43"/>
            <p:cNvCxnSpPr/>
            <p:nvPr/>
          </p:nvCxnSpPr>
          <p:spPr>
            <a:xfrm>
              <a:off x="2262875" y="1137861"/>
              <a:ext cx="0" cy="14446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矩形 49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1" name="矩形 50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2" name="矩形 51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3" name="矩形 52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10" name="组合 2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3" name="任意多边形 2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4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411" name="组合 2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7450" name="矩形 2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任意多边形 26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7412" name="组合 2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9" name="任意多边形 2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413" name="组合 3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32" name="任意多边形 3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3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414" name="组合 3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5" name="任意多边形 3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7" name="组合 46"/>
          <p:cNvGrpSpPr/>
          <p:nvPr/>
        </p:nvGrpSpPr>
        <p:grpSpPr bwMode="auto">
          <a:xfrm>
            <a:off x="992188" y="987425"/>
            <a:ext cx="3930650" cy="3059113"/>
            <a:chOff x="785293" y="987574"/>
            <a:chExt cx="3930723" cy="3059315"/>
          </a:xfrm>
        </p:grpSpPr>
        <p:sp>
          <p:nvSpPr>
            <p:cNvPr id="17430" name="Freeform 55"/>
            <p:cNvSpPr/>
            <p:nvPr/>
          </p:nvSpPr>
          <p:spPr bwMode="auto">
            <a:xfrm>
              <a:off x="1646312" y="1799393"/>
              <a:ext cx="660044" cy="1346559"/>
            </a:xfrm>
            <a:custGeom>
              <a:avLst/>
              <a:gdLst>
                <a:gd name="T0" fmla="*/ 2147483646 w 100"/>
                <a:gd name="T1" fmla="*/ 2147483646 h 204"/>
                <a:gd name="T2" fmla="*/ 0 w 100"/>
                <a:gd name="T3" fmla="*/ 2147483646 h 204"/>
                <a:gd name="T4" fmla="*/ 2147483646 w 100"/>
                <a:gd name="T5" fmla="*/ 2147483646 h 204"/>
                <a:gd name="T6" fmla="*/ 2147483646 w 100"/>
                <a:gd name="T7" fmla="*/ 2147483646 h 204"/>
                <a:gd name="T8" fmla="*/ 2147483646 w 100"/>
                <a:gd name="T9" fmla="*/ 2147483646 h 204"/>
                <a:gd name="T10" fmla="*/ 2147483646 w 100"/>
                <a:gd name="T11" fmla="*/ 2147483646 h 204"/>
                <a:gd name="T12" fmla="*/ 2147483646 w 100"/>
                <a:gd name="T13" fmla="*/ 2147483646 h 204"/>
                <a:gd name="T14" fmla="*/ 2147483646 w 100"/>
                <a:gd name="T15" fmla="*/ 0 h 204"/>
                <a:gd name="T16" fmla="*/ 2147483646 w 100"/>
                <a:gd name="T17" fmla="*/ 2147483646 h 2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204">
                  <a:moveTo>
                    <a:pt x="24" y="85"/>
                  </a:moveTo>
                  <a:cubicBezTo>
                    <a:pt x="0" y="103"/>
                    <a:pt x="0" y="103"/>
                    <a:pt x="0" y="103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8" y="153"/>
                    <a:pt x="41" y="181"/>
                    <a:pt x="61" y="204"/>
                  </a:cubicBezTo>
                  <a:cubicBezTo>
                    <a:pt x="97" y="167"/>
                    <a:pt x="97" y="167"/>
                    <a:pt x="97" y="167"/>
                  </a:cubicBezTo>
                  <a:cubicBezTo>
                    <a:pt x="83" y="150"/>
                    <a:pt x="74" y="128"/>
                    <a:pt x="74" y="103"/>
                  </a:cubicBezTo>
                  <a:cubicBezTo>
                    <a:pt x="74" y="78"/>
                    <a:pt x="84" y="54"/>
                    <a:pt x="100" y="3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2" y="23"/>
                    <a:pt x="28" y="53"/>
                    <a:pt x="24" y="85"/>
                  </a:cubicBezTo>
                  <a:close/>
                </a:path>
              </a:pathLst>
            </a:custGeom>
            <a:solidFill>
              <a:srgbClr val="E6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1" name="Freeform 56"/>
            <p:cNvSpPr/>
            <p:nvPr/>
          </p:nvSpPr>
          <p:spPr bwMode="auto">
            <a:xfrm>
              <a:off x="2089283" y="2941232"/>
              <a:ext cx="1378328" cy="660044"/>
            </a:xfrm>
            <a:custGeom>
              <a:avLst/>
              <a:gdLst>
                <a:gd name="T0" fmla="*/ 2147483646 w 209"/>
                <a:gd name="T1" fmla="*/ 0 h 100"/>
                <a:gd name="T2" fmla="*/ 0 w 209"/>
                <a:gd name="T3" fmla="*/ 2147483646 h 100"/>
                <a:gd name="T4" fmla="*/ 2147483646 w 209"/>
                <a:gd name="T5" fmla="*/ 2147483646 h 100"/>
                <a:gd name="T6" fmla="*/ 2147483646 w 209"/>
                <a:gd name="T7" fmla="*/ 2147483646 h 100"/>
                <a:gd name="T8" fmla="*/ 2147483646 w 209"/>
                <a:gd name="T9" fmla="*/ 2147483646 h 100"/>
                <a:gd name="T10" fmla="*/ 2147483646 w 209"/>
                <a:gd name="T11" fmla="*/ 2147483646 h 100"/>
                <a:gd name="T12" fmla="*/ 2147483646 w 209"/>
                <a:gd name="T13" fmla="*/ 2147483646 h 100"/>
                <a:gd name="T14" fmla="*/ 2147483646 w 209"/>
                <a:gd name="T15" fmla="*/ 2147483646 h 100"/>
                <a:gd name="T16" fmla="*/ 2147483646 w 209"/>
                <a:gd name="T17" fmla="*/ 0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9" h="100">
                  <a:moveTo>
                    <a:pt x="36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23" y="60"/>
                    <a:pt x="54" y="76"/>
                    <a:pt x="89" y="80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54" y="77"/>
                    <a:pt x="185" y="62"/>
                    <a:pt x="209" y="40"/>
                  </a:cubicBezTo>
                  <a:cubicBezTo>
                    <a:pt x="173" y="4"/>
                    <a:pt x="173" y="4"/>
                    <a:pt x="173" y="4"/>
                  </a:cubicBezTo>
                  <a:cubicBezTo>
                    <a:pt x="155" y="20"/>
                    <a:pt x="132" y="30"/>
                    <a:pt x="106" y="30"/>
                  </a:cubicBezTo>
                  <a:cubicBezTo>
                    <a:pt x="79" y="30"/>
                    <a:pt x="54" y="18"/>
                    <a:pt x="36" y="0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2" name="Freeform 57"/>
            <p:cNvSpPr/>
            <p:nvPr/>
          </p:nvSpPr>
          <p:spPr bwMode="auto">
            <a:xfrm>
              <a:off x="2101636" y="1337009"/>
              <a:ext cx="1346561" cy="667103"/>
            </a:xfrm>
            <a:custGeom>
              <a:avLst/>
              <a:gdLst>
                <a:gd name="T0" fmla="*/ 2147483646 w 204"/>
                <a:gd name="T1" fmla="*/ 0 h 101"/>
                <a:gd name="T2" fmla="*/ 2147483646 w 204"/>
                <a:gd name="T3" fmla="*/ 2147483646 h 101"/>
                <a:gd name="T4" fmla="*/ 0 w 204"/>
                <a:gd name="T5" fmla="*/ 2147483646 h 101"/>
                <a:gd name="T6" fmla="*/ 2147483646 w 204"/>
                <a:gd name="T7" fmla="*/ 2147483646 h 101"/>
                <a:gd name="T8" fmla="*/ 2147483646 w 204"/>
                <a:gd name="T9" fmla="*/ 2147483646 h 101"/>
                <a:gd name="T10" fmla="*/ 2147483646 w 204"/>
                <a:gd name="T11" fmla="*/ 2147483646 h 101"/>
                <a:gd name="T12" fmla="*/ 2147483646 w 204"/>
                <a:gd name="T13" fmla="*/ 2147483646 h 101"/>
                <a:gd name="T14" fmla="*/ 2147483646 w 204"/>
                <a:gd name="T15" fmla="*/ 2147483646 h 101"/>
                <a:gd name="T16" fmla="*/ 2147483646 w 204"/>
                <a:gd name="T17" fmla="*/ 0 h 1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4" h="101">
                  <a:moveTo>
                    <a:pt x="102" y="0"/>
                  </a:moveTo>
                  <a:cubicBezTo>
                    <a:pt x="84" y="24"/>
                    <a:pt x="84" y="24"/>
                    <a:pt x="84" y="24"/>
                  </a:cubicBezTo>
                  <a:cubicBezTo>
                    <a:pt x="52" y="29"/>
                    <a:pt x="23" y="43"/>
                    <a:pt x="0" y="65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54" y="84"/>
                    <a:pt x="78" y="74"/>
                    <a:pt x="104" y="74"/>
                  </a:cubicBezTo>
                  <a:cubicBezTo>
                    <a:pt x="129" y="74"/>
                    <a:pt x="151" y="83"/>
                    <a:pt x="168" y="97"/>
                  </a:cubicBezTo>
                  <a:cubicBezTo>
                    <a:pt x="204" y="61"/>
                    <a:pt x="204" y="61"/>
                    <a:pt x="204" y="61"/>
                  </a:cubicBezTo>
                  <a:cubicBezTo>
                    <a:pt x="182" y="41"/>
                    <a:pt x="152" y="27"/>
                    <a:pt x="120" y="24"/>
                  </a:cubicBezTo>
                  <a:lnTo>
                    <a:pt x="102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3" name="Freeform 58"/>
            <p:cNvSpPr/>
            <p:nvPr/>
          </p:nvSpPr>
          <p:spPr bwMode="auto">
            <a:xfrm>
              <a:off x="3250537" y="1779979"/>
              <a:ext cx="660044" cy="1385385"/>
            </a:xfrm>
            <a:custGeom>
              <a:avLst/>
              <a:gdLst>
                <a:gd name="T0" fmla="*/ 2147483646 w 100"/>
                <a:gd name="T1" fmla="*/ 2147483646 h 210"/>
                <a:gd name="T2" fmla="*/ 2147483646 w 100"/>
                <a:gd name="T3" fmla="*/ 0 h 210"/>
                <a:gd name="T4" fmla="*/ 0 w 100"/>
                <a:gd name="T5" fmla="*/ 2147483646 h 210"/>
                <a:gd name="T6" fmla="*/ 2147483646 w 100"/>
                <a:gd name="T7" fmla="*/ 2147483646 h 210"/>
                <a:gd name="T8" fmla="*/ 2147483646 w 100"/>
                <a:gd name="T9" fmla="*/ 2147483646 h 210"/>
                <a:gd name="T10" fmla="*/ 2147483646 w 100"/>
                <a:gd name="T11" fmla="*/ 2147483646 h 210"/>
                <a:gd name="T12" fmla="*/ 2147483646 w 100"/>
                <a:gd name="T13" fmla="*/ 2147483646 h 210"/>
                <a:gd name="T14" fmla="*/ 2147483646 w 100"/>
                <a:gd name="T15" fmla="*/ 2147483646 h 210"/>
                <a:gd name="T16" fmla="*/ 2147483646 w 100"/>
                <a:gd name="T17" fmla="*/ 2147483646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210">
                  <a:moveTo>
                    <a:pt x="80" y="91"/>
                  </a:moveTo>
                  <a:cubicBezTo>
                    <a:pt x="76" y="55"/>
                    <a:pt x="60" y="24"/>
                    <a:pt x="36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8" y="54"/>
                    <a:pt x="30" y="79"/>
                    <a:pt x="30" y="106"/>
                  </a:cubicBezTo>
                  <a:cubicBezTo>
                    <a:pt x="30" y="133"/>
                    <a:pt x="19" y="156"/>
                    <a:pt x="3" y="174"/>
                  </a:cubicBezTo>
                  <a:cubicBezTo>
                    <a:pt x="39" y="210"/>
                    <a:pt x="39" y="210"/>
                    <a:pt x="39" y="210"/>
                  </a:cubicBezTo>
                  <a:cubicBezTo>
                    <a:pt x="61" y="187"/>
                    <a:pt x="76" y="156"/>
                    <a:pt x="80" y="122"/>
                  </a:cubicBezTo>
                  <a:cubicBezTo>
                    <a:pt x="100" y="106"/>
                    <a:pt x="100" y="106"/>
                    <a:pt x="100" y="106"/>
                  </a:cubicBezTo>
                  <a:lnTo>
                    <a:pt x="80" y="91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1145102" y="2334133"/>
              <a:ext cx="337082" cy="284136"/>
              <a:chOff x="1081602" y="2471024"/>
              <a:chExt cx="337082" cy="284136"/>
            </a:xfrm>
            <a:solidFill>
              <a:srgbClr val="E6BA00"/>
            </a:solidFill>
          </p:grpSpPr>
          <p:sp>
            <p:nvSpPr>
              <p:cNvPr id="7" name="Freeform 59"/>
              <p:cNvSpPr/>
              <p:nvPr/>
            </p:nvSpPr>
            <p:spPr bwMode="auto">
              <a:xfrm>
                <a:off x="1122193" y="2523969"/>
                <a:ext cx="250605" cy="231191"/>
              </a:xfrm>
              <a:custGeom>
                <a:avLst/>
                <a:gdLst>
                  <a:gd name="T0" fmla="*/ 71 w 142"/>
                  <a:gd name="T1" fmla="*/ 0 h 131"/>
                  <a:gd name="T2" fmla="*/ 37 w 142"/>
                  <a:gd name="T3" fmla="*/ 26 h 131"/>
                  <a:gd name="T4" fmla="*/ 0 w 142"/>
                  <a:gd name="T5" fmla="*/ 56 h 131"/>
                  <a:gd name="T6" fmla="*/ 0 w 142"/>
                  <a:gd name="T7" fmla="*/ 131 h 131"/>
                  <a:gd name="T8" fmla="*/ 52 w 142"/>
                  <a:gd name="T9" fmla="*/ 131 h 131"/>
                  <a:gd name="T10" fmla="*/ 52 w 142"/>
                  <a:gd name="T11" fmla="*/ 67 h 131"/>
                  <a:gd name="T12" fmla="*/ 90 w 142"/>
                  <a:gd name="T13" fmla="*/ 67 h 131"/>
                  <a:gd name="T14" fmla="*/ 90 w 142"/>
                  <a:gd name="T15" fmla="*/ 131 h 131"/>
                  <a:gd name="T16" fmla="*/ 142 w 142"/>
                  <a:gd name="T17" fmla="*/ 131 h 131"/>
                  <a:gd name="T18" fmla="*/ 142 w 142"/>
                  <a:gd name="T19" fmla="*/ 56 h 131"/>
                  <a:gd name="T20" fmla="*/ 108 w 142"/>
                  <a:gd name="T21" fmla="*/ 26 h 131"/>
                  <a:gd name="T22" fmla="*/ 71 w 142"/>
                  <a:gd name="T23" fmla="*/ 0 h 1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42" h="131">
                    <a:moveTo>
                      <a:pt x="71" y="0"/>
                    </a:moveTo>
                    <a:lnTo>
                      <a:pt x="37" y="26"/>
                    </a:lnTo>
                    <a:lnTo>
                      <a:pt x="0" y="56"/>
                    </a:lnTo>
                    <a:lnTo>
                      <a:pt x="0" y="131"/>
                    </a:lnTo>
                    <a:lnTo>
                      <a:pt x="52" y="131"/>
                    </a:lnTo>
                    <a:lnTo>
                      <a:pt x="52" y="67"/>
                    </a:lnTo>
                    <a:lnTo>
                      <a:pt x="90" y="67"/>
                    </a:lnTo>
                    <a:lnTo>
                      <a:pt x="90" y="131"/>
                    </a:lnTo>
                    <a:lnTo>
                      <a:pt x="142" y="131"/>
                    </a:lnTo>
                    <a:lnTo>
                      <a:pt x="142" y="56"/>
                    </a:lnTo>
                    <a:lnTo>
                      <a:pt x="108" y="26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" name="Freeform 60"/>
              <p:cNvSpPr/>
              <p:nvPr/>
            </p:nvSpPr>
            <p:spPr bwMode="auto">
              <a:xfrm>
                <a:off x="1081602" y="2471024"/>
                <a:ext cx="337082" cy="151775"/>
              </a:xfrm>
              <a:custGeom>
                <a:avLst/>
                <a:gdLst>
                  <a:gd name="T0" fmla="*/ 154 w 191"/>
                  <a:gd name="T1" fmla="*/ 45 h 86"/>
                  <a:gd name="T2" fmla="*/ 154 w 191"/>
                  <a:gd name="T3" fmla="*/ 7 h 86"/>
                  <a:gd name="T4" fmla="*/ 127 w 191"/>
                  <a:gd name="T5" fmla="*/ 7 h 86"/>
                  <a:gd name="T6" fmla="*/ 127 w 191"/>
                  <a:gd name="T7" fmla="*/ 22 h 86"/>
                  <a:gd name="T8" fmla="*/ 109 w 191"/>
                  <a:gd name="T9" fmla="*/ 11 h 86"/>
                  <a:gd name="T10" fmla="*/ 98 w 191"/>
                  <a:gd name="T11" fmla="*/ 0 h 86"/>
                  <a:gd name="T12" fmla="*/ 83 w 191"/>
                  <a:gd name="T13" fmla="*/ 11 h 86"/>
                  <a:gd name="T14" fmla="*/ 0 w 191"/>
                  <a:gd name="T15" fmla="*/ 75 h 86"/>
                  <a:gd name="T16" fmla="*/ 12 w 191"/>
                  <a:gd name="T17" fmla="*/ 86 h 86"/>
                  <a:gd name="T18" fmla="*/ 98 w 191"/>
                  <a:gd name="T19" fmla="*/ 19 h 86"/>
                  <a:gd name="T20" fmla="*/ 184 w 191"/>
                  <a:gd name="T21" fmla="*/ 86 h 86"/>
                  <a:gd name="T22" fmla="*/ 191 w 191"/>
                  <a:gd name="T23" fmla="*/ 75 h 86"/>
                  <a:gd name="T24" fmla="*/ 154 w 191"/>
                  <a:gd name="T25" fmla="*/ 45 h 8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1" h="86">
                    <a:moveTo>
                      <a:pt x="154" y="45"/>
                    </a:moveTo>
                    <a:lnTo>
                      <a:pt x="154" y="7"/>
                    </a:lnTo>
                    <a:lnTo>
                      <a:pt x="127" y="7"/>
                    </a:lnTo>
                    <a:lnTo>
                      <a:pt x="127" y="22"/>
                    </a:lnTo>
                    <a:lnTo>
                      <a:pt x="109" y="11"/>
                    </a:lnTo>
                    <a:lnTo>
                      <a:pt x="98" y="0"/>
                    </a:lnTo>
                    <a:lnTo>
                      <a:pt x="83" y="11"/>
                    </a:lnTo>
                    <a:lnTo>
                      <a:pt x="0" y="75"/>
                    </a:lnTo>
                    <a:lnTo>
                      <a:pt x="12" y="86"/>
                    </a:lnTo>
                    <a:lnTo>
                      <a:pt x="98" y="19"/>
                    </a:lnTo>
                    <a:lnTo>
                      <a:pt x="184" y="86"/>
                    </a:lnTo>
                    <a:lnTo>
                      <a:pt x="191" y="75"/>
                    </a:lnTo>
                    <a:lnTo>
                      <a:pt x="154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077800" y="2247658"/>
              <a:ext cx="197660" cy="495914"/>
              <a:chOff x="3938852" y="2384549"/>
              <a:chExt cx="197660" cy="495914"/>
            </a:xfrm>
            <a:solidFill>
              <a:srgbClr val="00B0F0"/>
            </a:solidFill>
          </p:grpSpPr>
          <p:sp>
            <p:nvSpPr>
              <p:cNvPr id="10" name="Freeform 61"/>
              <p:cNvSpPr/>
              <p:nvPr/>
            </p:nvSpPr>
            <p:spPr bwMode="auto">
              <a:xfrm>
                <a:off x="3938852" y="2471024"/>
                <a:ext cx="197660" cy="409439"/>
              </a:xfrm>
              <a:custGeom>
                <a:avLst/>
                <a:gdLst>
                  <a:gd name="T0" fmla="*/ 4473 w 30"/>
                  <a:gd name="T1" fmla="*/ 0 h 62"/>
                  <a:gd name="T2" fmla="*/ 1561 w 30"/>
                  <a:gd name="T3" fmla="*/ 0 h 62"/>
                  <a:gd name="T4" fmla="*/ 0 w 30"/>
                  <a:gd name="T5" fmla="*/ 1149 h 62"/>
                  <a:gd name="T6" fmla="*/ 0 w 30"/>
                  <a:gd name="T7" fmla="*/ 1149 h 62"/>
                  <a:gd name="T8" fmla="*/ 0 w 30"/>
                  <a:gd name="T9" fmla="*/ 1358 h 62"/>
                  <a:gd name="T10" fmla="*/ 0 w 30"/>
                  <a:gd name="T11" fmla="*/ 5504 h 62"/>
                  <a:gd name="T12" fmla="*/ 362 w 30"/>
                  <a:gd name="T13" fmla="*/ 5867 h 62"/>
                  <a:gd name="T14" fmla="*/ 989 w 30"/>
                  <a:gd name="T15" fmla="*/ 5504 h 62"/>
                  <a:gd name="T16" fmla="*/ 989 w 30"/>
                  <a:gd name="T17" fmla="*/ 1931 h 62"/>
                  <a:gd name="T18" fmla="*/ 1351 w 30"/>
                  <a:gd name="T19" fmla="*/ 1931 h 62"/>
                  <a:gd name="T20" fmla="*/ 1351 w 30"/>
                  <a:gd name="T21" fmla="*/ 5291 h 62"/>
                  <a:gd name="T22" fmla="*/ 1351 w 30"/>
                  <a:gd name="T23" fmla="*/ 5504 h 62"/>
                  <a:gd name="T24" fmla="*/ 1351 w 30"/>
                  <a:gd name="T25" fmla="*/ 11581 h 62"/>
                  <a:gd name="T26" fmla="*/ 2132 w 30"/>
                  <a:gd name="T27" fmla="*/ 12154 h 62"/>
                  <a:gd name="T28" fmla="*/ 2703 w 30"/>
                  <a:gd name="T29" fmla="*/ 11581 h 62"/>
                  <a:gd name="T30" fmla="*/ 2703 w 30"/>
                  <a:gd name="T31" fmla="*/ 6077 h 62"/>
                  <a:gd name="T32" fmla="*/ 3121 w 30"/>
                  <a:gd name="T33" fmla="*/ 6077 h 62"/>
                  <a:gd name="T34" fmla="*/ 3121 w 30"/>
                  <a:gd name="T35" fmla="*/ 11581 h 62"/>
                  <a:gd name="T36" fmla="*/ 3692 w 30"/>
                  <a:gd name="T37" fmla="*/ 12154 h 62"/>
                  <a:gd name="T38" fmla="*/ 4473 w 30"/>
                  <a:gd name="T39" fmla="*/ 11581 h 62"/>
                  <a:gd name="T40" fmla="*/ 4473 w 30"/>
                  <a:gd name="T41" fmla="*/ 5291 h 62"/>
                  <a:gd name="T42" fmla="*/ 4473 w 30"/>
                  <a:gd name="T43" fmla="*/ 5291 h 62"/>
                  <a:gd name="T44" fmla="*/ 4473 w 30"/>
                  <a:gd name="T45" fmla="*/ 1931 h 62"/>
                  <a:gd name="T46" fmla="*/ 4835 w 30"/>
                  <a:gd name="T47" fmla="*/ 1931 h 62"/>
                  <a:gd name="T48" fmla="*/ 4835 w 30"/>
                  <a:gd name="T49" fmla="*/ 5504 h 62"/>
                  <a:gd name="T50" fmla="*/ 5253 w 30"/>
                  <a:gd name="T51" fmla="*/ 5867 h 62"/>
                  <a:gd name="T52" fmla="*/ 5828 w 30"/>
                  <a:gd name="T53" fmla="*/ 5504 h 62"/>
                  <a:gd name="T54" fmla="*/ 5828 w 30"/>
                  <a:gd name="T55" fmla="*/ 1358 h 62"/>
                  <a:gd name="T56" fmla="*/ 5828 w 30"/>
                  <a:gd name="T57" fmla="*/ 1149 h 62"/>
                  <a:gd name="T58" fmla="*/ 5828 w 30"/>
                  <a:gd name="T59" fmla="*/ 995 h 62"/>
                  <a:gd name="T60" fmla="*/ 4473 w 30"/>
                  <a:gd name="T61" fmla="*/ 0 h 6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30" h="62">
                    <a:moveTo>
                      <a:pt x="23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2" y="0"/>
                      <a:pt x="0" y="4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9"/>
                      <a:pt x="1" y="30"/>
                      <a:pt x="2" y="30"/>
                    </a:cubicBezTo>
                    <a:cubicBezTo>
                      <a:pt x="4" y="30"/>
                      <a:pt x="5" y="29"/>
                      <a:pt x="5" y="28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27"/>
                      <a:pt x="7" y="28"/>
                      <a:pt x="7" y="28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7" y="61"/>
                      <a:pt x="9" y="62"/>
                      <a:pt x="11" y="62"/>
                    </a:cubicBezTo>
                    <a:cubicBezTo>
                      <a:pt x="13" y="62"/>
                      <a:pt x="14" y="61"/>
                      <a:pt x="14" y="59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6" y="61"/>
                      <a:pt x="17" y="62"/>
                      <a:pt x="19" y="62"/>
                    </a:cubicBezTo>
                    <a:cubicBezTo>
                      <a:pt x="21" y="62"/>
                      <a:pt x="23" y="61"/>
                      <a:pt x="23" y="59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5" y="29"/>
                      <a:pt x="26" y="30"/>
                      <a:pt x="27" y="30"/>
                    </a:cubicBezTo>
                    <a:cubicBezTo>
                      <a:pt x="29" y="30"/>
                      <a:pt x="30" y="29"/>
                      <a:pt x="30" y="28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4"/>
                      <a:pt x="28" y="0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1" name="Oval 62"/>
              <p:cNvSpPr>
                <a:spLocks noChangeArrowheads="1"/>
              </p:cNvSpPr>
              <p:nvPr/>
            </p:nvSpPr>
            <p:spPr bwMode="auto">
              <a:xfrm>
                <a:off x="3998856" y="2384549"/>
                <a:ext cx="79418" cy="7941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  <p:sp>
          <p:nvSpPr>
            <p:cNvPr id="17436" name="Freeform 63"/>
            <p:cNvSpPr/>
            <p:nvPr/>
          </p:nvSpPr>
          <p:spPr bwMode="auto">
            <a:xfrm>
              <a:off x="2571079" y="3666575"/>
              <a:ext cx="414734" cy="375907"/>
            </a:xfrm>
            <a:custGeom>
              <a:avLst/>
              <a:gdLst>
                <a:gd name="T0" fmla="*/ 0 w 63"/>
                <a:gd name="T1" fmla="*/ 2147483646 h 57"/>
                <a:gd name="T2" fmla="*/ 2147483646 w 63"/>
                <a:gd name="T3" fmla="*/ 2147483646 h 57"/>
                <a:gd name="T4" fmla="*/ 2147483646 w 63"/>
                <a:gd name="T5" fmla="*/ 2147483646 h 57"/>
                <a:gd name="T6" fmla="*/ 2147483646 w 63"/>
                <a:gd name="T7" fmla="*/ 2147483646 h 57"/>
                <a:gd name="T8" fmla="*/ 2147483646 w 63"/>
                <a:gd name="T9" fmla="*/ 0 h 57"/>
                <a:gd name="T10" fmla="*/ 2147483646 w 63"/>
                <a:gd name="T11" fmla="*/ 2147483646 h 57"/>
                <a:gd name="T12" fmla="*/ 2147483646 w 63"/>
                <a:gd name="T13" fmla="*/ 2147483646 h 57"/>
                <a:gd name="T14" fmla="*/ 0 w 63"/>
                <a:gd name="T15" fmla="*/ 2147483646 h 5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3" h="57">
                  <a:moveTo>
                    <a:pt x="0" y="55"/>
                  </a:moveTo>
                  <a:cubicBezTo>
                    <a:pt x="0" y="55"/>
                    <a:pt x="0" y="57"/>
                    <a:pt x="4" y="57"/>
                  </a:cubicBezTo>
                  <a:cubicBezTo>
                    <a:pt x="3" y="54"/>
                    <a:pt x="11" y="45"/>
                    <a:pt x="11" y="45"/>
                  </a:cubicBezTo>
                  <a:cubicBezTo>
                    <a:pt x="11" y="45"/>
                    <a:pt x="25" y="54"/>
                    <a:pt x="40" y="39"/>
                  </a:cubicBezTo>
                  <a:cubicBezTo>
                    <a:pt x="54" y="23"/>
                    <a:pt x="44" y="11"/>
                    <a:pt x="63" y="0"/>
                  </a:cubicBezTo>
                  <a:cubicBezTo>
                    <a:pt x="17" y="10"/>
                    <a:pt x="7" y="24"/>
                    <a:pt x="8" y="43"/>
                  </a:cubicBezTo>
                  <a:cubicBezTo>
                    <a:pt x="12" y="34"/>
                    <a:pt x="24" y="22"/>
                    <a:pt x="34" y="17"/>
                  </a:cubicBezTo>
                  <a:cubicBezTo>
                    <a:pt x="17" y="29"/>
                    <a:pt x="5" y="47"/>
                    <a:pt x="0" y="55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7" name="Freeform 64"/>
            <p:cNvSpPr/>
            <p:nvPr/>
          </p:nvSpPr>
          <p:spPr bwMode="auto">
            <a:xfrm>
              <a:off x="2609905" y="987574"/>
              <a:ext cx="330023" cy="291195"/>
            </a:xfrm>
            <a:custGeom>
              <a:avLst/>
              <a:gdLst>
                <a:gd name="T0" fmla="*/ 2147483646 w 50"/>
                <a:gd name="T1" fmla="*/ 2147483646 h 44"/>
                <a:gd name="T2" fmla="*/ 2147483646 w 50"/>
                <a:gd name="T3" fmla="*/ 0 h 44"/>
                <a:gd name="T4" fmla="*/ 2147483646 w 50"/>
                <a:gd name="T5" fmla="*/ 2147483646 h 44"/>
                <a:gd name="T6" fmla="*/ 2147483646 w 50"/>
                <a:gd name="T7" fmla="*/ 2147483646 h 44"/>
                <a:gd name="T8" fmla="*/ 2147483646 w 50"/>
                <a:gd name="T9" fmla="*/ 2147483646 h 44"/>
                <a:gd name="T10" fmla="*/ 2147483646 w 50"/>
                <a:gd name="T11" fmla="*/ 0 h 44"/>
                <a:gd name="T12" fmla="*/ 2147483646 w 50"/>
                <a:gd name="T13" fmla="*/ 2147483646 h 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44">
                  <a:moveTo>
                    <a:pt x="25" y="9"/>
                  </a:moveTo>
                  <a:cubicBezTo>
                    <a:pt x="22" y="3"/>
                    <a:pt x="19" y="0"/>
                    <a:pt x="12" y="0"/>
                  </a:cubicBezTo>
                  <a:cubicBezTo>
                    <a:pt x="3" y="1"/>
                    <a:pt x="0" y="7"/>
                    <a:pt x="1" y="15"/>
                  </a:cubicBezTo>
                  <a:cubicBezTo>
                    <a:pt x="2" y="25"/>
                    <a:pt x="15" y="31"/>
                    <a:pt x="24" y="44"/>
                  </a:cubicBezTo>
                  <a:cubicBezTo>
                    <a:pt x="34" y="32"/>
                    <a:pt x="48" y="26"/>
                    <a:pt x="49" y="15"/>
                  </a:cubicBezTo>
                  <a:cubicBezTo>
                    <a:pt x="50" y="7"/>
                    <a:pt x="46" y="1"/>
                    <a:pt x="38" y="0"/>
                  </a:cubicBezTo>
                  <a:cubicBezTo>
                    <a:pt x="31" y="0"/>
                    <a:pt x="27" y="3"/>
                    <a:pt x="25" y="9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8" name="Freeform 271"/>
            <p:cNvSpPr/>
            <p:nvPr/>
          </p:nvSpPr>
          <p:spPr bwMode="auto">
            <a:xfrm>
              <a:off x="2255177" y="2868875"/>
              <a:ext cx="19413" cy="26472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0 w 3"/>
                <a:gd name="T5" fmla="*/ 2147483646 h 4"/>
                <a:gd name="T6" fmla="*/ 0 w 3"/>
                <a:gd name="T7" fmla="*/ 2147483646 h 4"/>
                <a:gd name="T8" fmla="*/ 0 w 3"/>
                <a:gd name="T9" fmla="*/ 0 h 4"/>
                <a:gd name="T10" fmla="*/ 0 w 3"/>
                <a:gd name="T11" fmla="*/ 0 h 4"/>
                <a:gd name="T12" fmla="*/ 0 w 3"/>
                <a:gd name="T13" fmla="*/ 2147483646 h 4"/>
                <a:gd name="T14" fmla="*/ 0 w 3"/>
                <a:gd name="T15" fmla="*/ 2147483646 h 4"/>
                <a:gd name="T16" fmla="*/ 2147483646 w 3"/>
                <a:gd name="T17" fmla="*/ 2147483646 h 4"/>
                <a:gd name="T18" fmla="*/ 2147483646 w 3"/>
                <a:gd name="T19" fmla="*/ 2147483646 h 4"/>
                <a:gd name="T20" fmla="*/ 2147483646 w 3"/>
                <a:gd name="T21" fmla="*/ 0 h 4"/>
                <a:gd name="T22" fmla="*/ 2147483646 w 3"/>
                <a:gd name="T23" fmla="*/ 0 h 4"/>
                <a:gd name="T24" fmla="*/ 2147483646 w 3"/>
                <a:gd name="T25" fmla="*/ 2147483646 h 4"/>
                <a:gd name="T26" fmla="*/ 2147483646 w 3"/>
                <a:gd name="T27" fmla="*/ 2147483646 h 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cubicBezTo>
                    <a:pt x="2" y="4"/>
                    <a:pt x="2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9" name="Freeform 272"/>
            <p:cNvSpPr/>
            <p:nvPr/>
          </p:nvSpPr>
          <p:spPr bwMode="auto">
            <a:xfrm>
              <a:off x="2281648" y="2868875"/>
              <a:ext cx="12354" cy="26472"/>
            </a:xfrm>
            <a:custGeom>
              <a:avLst/>
              <a:gdLst>
                <a:gd name="T0" fmla="*/ 2147483646 w 2"/>
                <a:gd name="T1" fmla="*/ 2147483646 h 4"/>
                <a:gd name="T2" fmla="*/ 2147483646 w 2"/>
                <a:gd name="T3" fmla="*/ 0 h 4"/>
                <a:gd name="T4" fmla="*/ 2147483646 w 2"/>
                <a:gd name="T5" fmla="*/ 0 h 4"/>
                <a:gd name="T6" fmla="*/ 2147483646 w 2"/>
                <a:gd name="T7" fmla="*/ 2147483646 h 4"/>
                <a:gd name="T8" fmla="*/ 0 w 2"/>
                <a:gd name="T9" fmla="*/ 2147483646 h 4"/>
                <a:gd name="T10" fmla="*/ 0 w 2"/>
                <a:gd name="T11" fmla="*/ 2147483646 h 4"/>
                <a:gd name="T12" fmla="*/ 0 w 2"/>
                <a:gd name="T13" fmla="*/ 2147483646 h 4"/>
                <a:gd name="T14" fmla="*/ 0 w 2"/>
                <a:gd name="T15" fmla="*/ 2147483646 h 4"/>
                <a:gd name="T16" fmla="*/ 0 w 2"/>
                <a:gd name="T17" fmla="*/ 2147483646 h 4"/>
                <a:gd name="T18" fmla="*/ 0 w 2"/>
                <a:gd name="T19" fmla="*/ 0 h 4"/>
                <a:gd name="T20" fmla="*/ 0 w 2"/>
                <a:gd name="T21" fmla="*/ 0 h 4"/>
                <a:gd name="T22" fmla="*/ 0 w 2"/>
                <a:gd name="T23" fmla="*/ 2147483646 h 4"/>
                <a:gd name="T24" fmla="*/ 2147483646 w 2"/>
                <a:gd name="T25" fmla="*/ 0 h 4"/>
                <a:gd name="T26" fmla="*/ 2147483646 w 2"/>
                <a:gd name="T27" fmla="*/ 0 h 4"/>
                <a:gd name="T28" fmla="*/ 2147483646 w 2"/>
                <a:gd name="T29" fmla="*/ 0 h 4"/>
                <a:gd name="T30" fmla="*/ 2147483646 w 2"/>
                <a:gd name="T31" fmla="*/ 0 h 4"/>
                <a:gd name="T32" fmla="*/ 2147483646 w 2"/>
                <a:gd name="T33" fmla="*/ 2147483646 h 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TextBox 17"/>
            <p:cNvSpPr txBox="1"/>
            <p:nvPr/>
          </p:nvSpPr>
          <p:spPr bwMode="auto">
            <a:xfrm>
              <a:off x="2930045" y="3738894"/>
              <a:ext cx="1057295" cy="30799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 bwMode="auto">
            <a:xfrm>
              <a:off x="785293" y="2741878"/>
              <a:ext cx="1057295" cy="30799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EB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 bwMode="auto">
            <a:xfrm>
              <a:off x="2933220" y="987574"/>
              <a:ext cx="1057295" cy="30799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 bwMode="auto">
            <a:xfrm>
              <a:off x="3658721" y="2741878"/>
              <a:ext cx="1057295" cy="30799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2848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37" name="矩形 1"/>
          <p:cNvSpPr>
            <a:spLocks noChangeArrowheads="1"/>
          </p:cNvSpPr>
          <p:nvPr/>
        </p:nvSpPr>
        <p:spPr bwMode="auto">
          <a:xfrm>
            <a:off x="4975225" y="1549400"/>
            <a:ext cx="2998788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有中国最强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中国最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材商城，中国最火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论坛，中国最好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能培训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" name="组合 15"/>
          <p:cNvGrpSpPr/>
          <p:nvPr/>
        </p:nvGrpSpPr>
        <p:grpSpPr bwMode="auto">
          <a:xfrm>
            <a:off x="5030788" y="1179513"/>
            <a:ext cx="2798762" cy="361950"/>
            <a:chOff x="5030389" y="1179191"/>
            <a:chExt cx="2798873" cy="361727"/>
          </a:xfrm>
        </p:grpSpPr>
        <p:cxnSp>
          <p:nvCxnSpPr>
            <p:cNvPr id="38" name="直接连接符 37"/>
            <p:cNvCxnSpPr/>
            <p:nvPr/>
          </p:nvCxnSpPr>
          <p:spPr>
            <a:xfrm>
              <a:off x="5049440" y="1540918"/>
              <a:ext cx="277982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423" name="组合 38"/>
            <p:cNvGrpSpPr/>
            <p:nvPr/>
          </p:nvGrpSpPr>
          <p:grpSpPr bwMode="auto">
            <a:xfrm>
              <a:off x="5030389" y="1179191"/>
              <a:ext cx="2076537" cy="322262"/>
              <a:chOff x="957895" y="1031498"/>
              <a:chExt cx="2076537" cy="322262"/>
            </a:xfrm>
          </p:grpSpPr>
          <p:sp>
            <p:nvSpPr>
              <p:cNvPr id="40" name="TextBox 265"/>
              <p:cNvSpPr txBox="1"/>
              <p:nvPr/>
            </p:nvSpPr>
            <p:spPr bwMode="auto">
              <a:xfrm>
                <a:off x="1156340" y="1031498"/>
                <a:ext cx="1101769" cy="32206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7425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7426" name="组合 41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44" name="流程图: 决策 166"/>
                <p:cNvSpPr/>
                <p:nvPr/>
              </p:nvSpPr>
              <p:spPr>
                <a:xfrm>
                  <a:off x="957895" y="1125102"/>
                  <a:ext cx="136530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45" name="流程图: 决策 166"/>
                <p:cNvSpPr/>
                <p:nvPr/>
              </p:nvSpPr>
              <p:spPr>
                <a:xfrm>
                  <a:off x="1107126" y="1126689"/>
                  <a:ext cx="90490" cy="168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43" name="直接连接符 42"/>
              <p:cNvCxnSpPr/>
              <p:nvPr/>
            </p:nvCxnSpPr>
            <p:spPr>
              <a:xfrm>
                <a:off x="2262872" y="1137794"/>
                <a:ext cx="0" cy="144374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8" name="矩形 47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9" name="矩形 48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0" name="矩形 49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1" name="矩形 50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4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0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4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4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</p:bldLst>
  </p:timing>
</p:sld>
</file>

<file path=ppt/tags/tag1.xml><?xml version="1.0" encoding="utf-8"?>
<p:tagLst xmlns:p="http://schemas.openxmlformats.org/presentationml/2006/main">
  <p:tag name="THINKCELLSHAPEDONOTDELETE" val="pzfCkXd2zmUu6M0t0EYUvXQ"/>
</p:tagLst>
</file>

<file path=ppt/tags/tag2.xml><?xml version="1.0" encoding="utf-8"?>
<p:tagLst xmlns:p="http://schemas.openxmlformats.org/presentationml/2006/main">
  <p:tag name="THINKCELLSHAPEDONOTDELETE" val="pPyYV1qJOh0uEB.i7ZP4zZA"/>
</p:tagLst>
</file>

<file path=ppt/tags/tag3.xml><?xml version="1.0" encoding="utf-8"?>
<p:tagLst xmlns:p="http://schemas.openxmlformats.org/presentationml/2006/main">
  <p:tag name="THINKCELLSHAPEDONOTDELETE" val="pJ2u1Pg1xh0C640BzGedli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vert="horz" wrap="square" rtlCol="0">
        <a:spAutoFit/>
      </a:bodyPr>
      <a:lstStyle>
        <a:defPPr>
          <a:defRPr dirty="0" smtClean="0">
            <a:solidFill>
              <a:srgbClr val="00B0F0"/>
            </a:solidFill>
            <a:effectLst>
              <a:reflection blurRad="139700" endPos="83000" dist="50800" dir="5400000" sy="-100000" algn="bl" rotWithShape="0"/>
            </a:effectLst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15</Words>
  <Application>WPS 演示</Application>
  <PresentationFormat>全屏显示(16:9)</PresentationFormat>
  <Paragraphs>1037</Paragraphs>
  <Slides>30</Slides>
  <Notes>4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2" baseType="lpstr">
      <vt:lpstr>Arial</vt:lpstr>
      <vt:lpstr>宋体</vt:lpstr>
      <vt:lpstr>Wingdings</vt:lpstr>
      <vt:lpstr>Calibri</vt:lpstr>
      <vt:lpstr>Kozuka Gothic Pro H</vt:lpstr>
      <vt:lpstr>微软雅黑</vt:lpstr>
      <vt:lpstr>经典仿宋简</vt:lpstr>
      <vt:lpstr>Segoe UI</vt:lpstr>
      <vt:lpstr>Arial Unicode MS</vt:lpstr>
      <vt:lpstr>MStiffHeiHK-UltraBold</vt:lpstr>
      <vt:lpstr>仿宋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锐普PPT</dc:creator>
  <dc:description>本素材由锐普原创，版权受国家法律保护，仅授权购买者本人使用，为了您个人和锐普的利益，请勿复制、传播、销售，否则将承担法律责任。</dc:description>
  <cp:lastModifiedBy>荷语默</cp:lastModifiedBy>
  <cp:revision>136</cp:revision>
  <dcterms:created xsi:type="dcterms:W3CDTF">2013-08-01T08:01:00Z</dcterms:created>
  <dcterms:modified xsi:type="dcterms:W3CDTF">2018-08-29T06:4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